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3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4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5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6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7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8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notesSlides/notesSlide9.xml" ContentType="application/vnd.openxmlformats-officedocument.presentationml.notesSlid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10.xml" ContentType="application/vnd.openxmlformats-officedocument.presentationml.notesSl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11.xml" ContentType="application/vnd.openxmlformats-officedocument.presentationml.notesSlid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notesSlides/notesSlide12.xml" ContentType="application/vnd.openxmlformats-officedocument.presentationml.notesSlide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13.xml" ContentType="application/vnd.openxmlformats-officedocument.presentationml.notesSlid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notesSlides/notesSlide14.xml" ContentType="application/vnd.openxmlformats-officedocument.presentationml.notesSlide+xml"/>
  <Override PartName="/ppt/tags/tag14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3"/>
  </p:sldMasterIdLst>
  <p:notesMasterIdLst>
    <p:notesMasterId r:id="rId19"/>
  </p:notesMasterIdLst>
  <p:sldIdLst>
    <p:sldId id="2147483645" r:id="rId4"/>
    <p:sldId id="2147483641" r:id="rId5"/>
    <p:sldId id="2147483643" r:id="rId6"/>
    <p:sldId id="2147483642" r:id="rId7"/>
    <p:sldId id="2147483644" r:id="rId8"/>
    <p:sldId id="266" r:id="rId9"/>
    <p:sldId id="257" r:id="rId10"/>
    <p:sldId id="273" r:id="rId11"/>
    <p:sldId id="274" r:id="rId12"/>
    <p:sldId id="261" r:id="rId13"/>
    <p:sldId id="2147483639" r:id="rId14"/>
    <p:sldId id="262" r:id="rId15"/>
    <p:sldId id="269" r:id="rId16"/>
    <p:sldId id="263" r:id="rId17"/>
    <p:sldId id="2147483640" r:id="rId18"/>
  </p:sldIdLst>
  <p:sldSz cx="12192000" cy="6858000"/>
  <p:notesSz cx="6797675" cy="9926638"/>
  <p:custDataLst>
    <p:tags r:id="rId20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1248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3EED8"/>
    <a:srgbClr val="DDA399"/>
    <a:srgbClr val="F0ECD7"/>
    <a:srgbClr val="EDDBC8"/>
    <a:srgbClr val="95BAAB"/>
    <a:srgbClr val="CC6666"/>
    <a:srgbClr val="D4827E"/>
    <a:srgbClr val="E1B2A6"/>
    <a:srgbClr val="F1EDD7"/>
    <a:srgbClr val="D7DF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5ECCE34-2B56-4632-A8E1-CE79698FB044}" v="4" dt="2025-05-13T08:14:25.299"/>
  </p1510:revLst>
</p1510:revInfo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53" d="100"/>
          <a:sy n="153" d="100"/>
        </p:scale>
        <p:origin x="2724" y="138"/>
      </p:cViewPr>
      <p:guideLst>
        <p:guide pos="1248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microsoft.com/office/2015/10/relationships/revisionInfo" Target="revisionInfo.xml"/><Relationship Id="rId3" Type="http://schemas.openxmlformats.org/officeDocument/2006/relationships/slideMaster" Target="slideMasters/slideMaster1.xml"/><Relationship Id="rId21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ingh, Saurabh" userId="f070277a-f207-4a37-b703-28b59231ffa2" providerId="ADAL" clId="{272EA908-7862-4EC5-BDC7-F6F1F4465385}"/>
    <pc:docChg chg="custSel modMainMaster">
      <pc:chgData name="Singh, Saurabh" userId="f070277a-f207-4a37-b703-28b59231ffa2" providerId="ADAL" clId="{272EA908-7862-4EC5-BDC7-F6F1F4465385}" dt="2025-05-02T04:04:38.896" v="9" actId="948"/>
      <pc:docMkLst>
        <pc:docMk/>
      </pc:docMkLst>
      <pc:sldMasterChg chg="modSp mod">
        <pc:chgData name="Singh, Saurabh" userId="f070277a-f207-4a37-b703-28b59231ffa2" providerId="ADAL" clId="{272EA908-7862-4EC5-BDC7-F6F1F4465385}" dt="2025-05-02T04:04:38.896" v="9" actId="948"/>
        <pc:sldMasterMkLst>
          <pc:docMk/>
          <pc:sldMasterMk cId="3729795247" sldId="2147483648"/>
        </pc:sldMasterMkLst>
        <pc:spChg chg="mod">
          <ac:chgData name="Singh, Saurabh" userId="f070277a-f207-4a37-b703-28b59231ffa2" providerId="ADAL" clId="{272EA908-7862-4EC5-BDC7-F6F1F4465385}" dt="2025-05-02T04:04:38.896" v="9" actId="948"/>
          <ac:spMkLst>
            <pc:docMk/>
            <pc:sldMasterMk cId="3729795247" sldId="2147483648"/>
            <ac:spMk id="7" creationId="{00000000-0000-0000-0000-000000000000}"/>
          </ac:spMkLst>
        </pc:spChg>
        <pc:spChg chg="mod">
          <ac:chgData name="Singh, Saurabh" userId="f070277a-f207-4a37-b703-28b59231ffa2" providerId="ADAL" clId="{272EA908-7862-4EC5-BDC7-F6F1F4465385}" dt="2025-05-02T04:04:38.896" v="5" actId="948"/>
          <ac:spMkLst>
            <pc:docMk/>
            <pc:sldMasterMk cId="3729795247" sldId="2147483648"/>
            <ac:spMk id="8" creationId="{00000000-0000-0000-0000-000000000000}"/>
          </ac:spMkLst>
        </pc:spChg>
        <pc:spChg chg="mod">
          <ac:chgData name="Singh, Saurabh" userId="f070277a-f207-4a37-b703-28b59231ffa2" providerId="ADAL" clId="{272EA908-7862-4EC5-BDC7-F6F1F4465385}" dt="2025-05-02T04:04:38.896" v="0" actId="948"/>
          <ac:spMkLst>
            <pc:docMk/>
            <pc:sldMasterMk cId="3729795247" sldId="2147483648"/>
            <ac:spMk id="19" creationId="{00000000-0000-0000-0000-000000000000}"/>
          </ac:spMkLst>
        </pc:spChg>
      </pc:sldMasterChg>
    </pc:docChg>
  </pc:docChgLst>
  <pc:docChgLst>
    <pc:chgData name="Kukreti, Anshul" userId="0618bf14-52d2-4a14-8122-fd45d48ea954" providerId="ADAL" clId="{75ECCE34-2B56-4632-A8E1-CE79698FB044}"/>
    <pc:docChg chg="custSel modSld">
      <pc:chgData name="Kukreti, Anshul" userId="0618bf14-52d2-4a14-8122-fd45d48ea954" providerId="ADAL" clId="{75ECCE34-2B56-4632-A8E1-CE79698FB044}" dt="2025-05-13T08:14:25.132" v="3"/>
      <pc:docMkLst>
        <pc:docMk/>
      </pc:docMkLst>
      <pc:sldChg chg="delSp modSp mod">
        <pc:chgData name="Kukreti, Anshul" userId="0618bf14-52d2-4a14-8122-fd45d48ea954" providerId="ADAL" clId="{75ECCE34-2B56-4632-A8E1-CE79698FB044}" dt="2025-05-13T08:14:25.132" v="3"/>
        <pc:sldMkLst>
          <pc:docMk/>
          <pc:sldMk cId="2101352579" sldId="257"/>
        </pc:sldMkLst>
        <pc:spChg chg="del">
          <ac:chgData name="Kukreti, Anshul" userId="0618bf14-52d2-4a14-8122-fd45d48ea954" providerId="ADAL" clId="{75ECCE34-2B56-4632-A8E1-CE79698FB044}" dt="2025-05-13T08:14:15.376" v="0" actId="478"/>
          <ac:spMkLst>
            <pc:docMk/>
            <pc:sldMk cId="2101352579" sldId="257"/>
            <ac:spMk id="5" creationId="{685D952C-6C33-9BC4-CF59-AE8C59C7C3A2}"/>
          </ac:spMkLst>
        </pc:spChg>
        <pc:spChg chg="mod">
          <ac:chgData name="Kukreti, Anshul" userId="0618bf14-52d2-4a14-8122-fd45d48ea954" providerId="ADAL" clId="{75ECCE34-2B56-4632-A8E1-CE79698FB044}" dt="2025-05-13T08:14:25.132" v="3"/>
          <ac:spMkLst>
            <pc:docMk/>
            <pc:sldMk cId="2101352579" sldId="257"/>
            <ac:spMk id="36" creationId="{72F2A435-0D47-6A6B-E949-7FE858C30367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6D3117-AE36-48E1-8AC5-D570143F21FD}" type="datetimeFigureOut">
              <a:rPr lang="en-US" smtClean="0"/>
              <a:t>5/1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2AD0EC-F3B8-421F-939F-0552FC2529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80042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A27F31C1-656A-45DB-AFD1-32DE2031D84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05014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7F31C1-656A-45DB-AFD1-32DE2031D84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658763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A2EC08-AF2C-44E8-80A1-5FE7B6614C95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4351140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FABD95-AC06-4080-9FAB-FB1E34179650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963007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7F31C1-656A-45DB-AFD1-32DE2031D84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55976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A27F31C1-656A-45DB-AFD1-32DE2031D84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2256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61795E-D355-4F7A-8EA0-05E192FB3CE8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10355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7F31C1-656A-45DB-AFD1-32DE2031D84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2357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65A675-2167-40D4-A784-14D39E5980A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99178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wrap="square"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DE1280-9857-494A-80F0-FA689C85C97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40681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7F31C1-656A-45DB-AFD1-32DE2031D84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877540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A2EC08-AF2C-44E8-80A1-5FE7B6614C95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33145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7047A61-CFC6-4D11-8AB8-FAFC8C770B14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123381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A2EC08-AF2C-44E8-80A1-5FE7B6614C95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97749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949F73F-40C4-459A-87F2-5B4A916D8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394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49F73F-40C4-459A-87F2-5B4A916D8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int focus may2</a:t>
            </a: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BS</a:t>
            </a: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208" userDrawn="1">
          <p15:clr>
            <a:srgbClr val="CCCCCC"/>
          </p15:clr>
        </p15:guide>
        <p15:guide id="9" pos="7472" userDrawn="1">
          <p15:clr>
            <a:srgbClr val="CCCCC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13" Type="http://schemas.openxmlformats.org/officeDocument/2006/relationships/image" Target="../media/image7.png"/><Relationship Id="rId18" Type="http://schemas.openxmlformats.org/officeDocument/2006/relationships/image" Target="../media/image12.jpeg"/><Relationship Id="rId3" Type="http://schemas.openxmlformats.org/officeDocument/2006/relationships/tags" Target="../tags/tag5.xml"/><Relationship Id="rId21" Type="http://schemas.openxmlformats.org/officeDocument/2006/relationships/image" Target="../media/image15.png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6.jpeg"/><Relationship Id="rId17" Type="http://schemas.openxmlformats.org/officeDocument/2006/relationships/image" Target="../media/image11.jpeg"/><Relationship Id="rId2" Type="http://schemas.openxmlformats.org/officeDocument/2006/relationships/tags" Target="../tags/tag4.xml"/><Relationship Id="rId16" Type="http://schemas.openxmlformats.org/officeDocument/2006/relationships/image" Target="../media/image10.png"/><Relationship Id="rId20" Type="http://schemas.openxmlformats.org/officeDocument/2006/relationships/image" Target="../media/image14.png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image" Target="../media/image5.png"/><Relationship Id="rId5" Type="http://schemas.openxmlformats.org/officeDocument/2006/relationships/tags" Target="../tags/tag7.xml"/><Relationship Id="rId15" Type="http://schemas.openxmlformats.org/officeDocument/2006/relationships/image" Target="../media/image9.jpeg"/><Relationship Id="rId23" Type="http://schemas.openxmlformats.org/officeDocument/2006/relationships/image" Target="../media/image17.png"/><Relationship Id="rId10" Type="http://schemas.openxmlformats.org/officeDocument/2006/relationships/image" Target="../media/image1.emf"/><Relationship Id="rId19" Type="http://schemas.openxmlformats.org/officeDocument/2006/relationships/image" Target="../media/image13.png"/><Relationship Id="rId4" Type="http://schemas.openxmlformats.org/officeDocument/2006/relationships/tags" Target="../tags/tag6.xml"/><Relationship Id="rId9" Type="http://schemas.openxmlformats.org/officeDocument/2006/relationships/oleObject" Target="../embeddings/oleObject2.bin"/><Relationship Id="rId14" Type="http://schemas.openxmlformats.org/officeDocument/2006/relationships/image" Target="../media/image8.png"/><Relationship Id="rId22" Type="http://schemas.openxmlformats.org/officeDocument/2006/relationships/image" Target="../media/image16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0.xml"/><Relationship Id="rId13" Type="http://schemas.openxmlformats.org/officeDocument/2006/relationships/image" Target="../media/image7.png"/><Relationship Id="rId18" Type="http://schemas.openxmlformats.org/officeDocument/2006/relationships/image" Target="../media/image49.jpeg"/><Relationship Id="rId3" Type="http://schemas.openxmlformats.org/officeDocument/2006/relationships/tags" Target="../tags/tag90.xml"/><Relationship Id="rId21" Type="http://schemas.openxmlformats.org/officeDocument/2006/relationships/image" Target="../media/image15.png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46.jpeg"/><Relationship Id="rId17" Type="http://schemas.openxmlformats.org/officeDocument/2006/relationships/image" Target="../media/image48.jpeg"/><Relationship Id="rId2" Type="http://schemas.openxmlformats.org/officeDocument/2006/relationships/tags" Target="../tags/tag89.xml"/><Relationship Id="rId16" Type="http://schemas.openxmlformats.org/officeDocument/2006/relationships/image" Target="../media/image10.png"/><Relationship Id="rId20" Type="http://schemas.openxmlformats.org/officeDocument/2006/relationships/image" Target="../media/image14.png"/><Relationship Id="rId1" Type="http://schemas.openxmlformats.org/officeDocument/2006/relationships/tags" Target="../tags/tag88.xml"/><Relationship Id="rId6" Type="http://schemas.openxmlformats.org/officeDocument/2006/relationships/tags" Target="../tags/tag93.xml"/><Relationship Id="rId11" Type="http://schemas.openxmlformats.org/officeDocument/2006/relationships/image" Target="../media/image45.png"/><Relationship Id="rId5" Type="http://schemas.openxmlformats.org/officeDocument/2006/relationships/tags" Target="../tags/tag92.xml"/><Relationship Id="rId15" Type="http://schemas.openxmlformats.org/officeDocument/2006/relationships/image" Target="../media/image47.jpeg"/><Relationship Id="rId23" Type="http://schemas.openxmlformats.org/officeDocument/2006/relationships/image" Target="../media/image17.png"/><Relationship Id="rId10" Type="http://schemas.openxmlformats.org/officeDocument/2006/relationships/image" Target="../media/image44.emf"/><Relationship Id="rId19" Type="http://schemas.openxmlformats.org/officeDocument/2006/relationships/image" Target="../media/image50.png"/><Relationship Id="rId4" Type="http://schemas.openxmlformats.org/officeDocument/2006/relationships/tags" Target="../tags/tag91.xml"/><Relationship Id="rId9" Type="http://schemas.openxmlformats.org/officeDocument/2006/relationships/oleObject" Target="../embeddings/oleObject11.bin"/><Relationship Id="rId14" Type="http://schemas.openxmlformats.org/officeDocument/2006/relationships/image" Target="../media/image21.png"/><Relationship Id="rId22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13" Type="http://schemas.openxmlformats.org/officeDocument/2006/relationships/tags" Target="../tags/tag106.xml"/><Relationship Id="rId18" Type="http://schemas.openxmlformats.org/officeDocument/2006/relationships/image" Target="../media/image51.emf"/><Relationship Id="rId3" Type="http://schemas.openxmlformats.org/officeDocument/2006/relationships/tags" Target="../tags/tag96.xml"/><Relationship Id="rId21" Type="http://schemas.openxmlformats.org/officeDocument/2006/relationships/image" Target="../media/image17.png"/><Relationship Id="rId7" Type="http://schemas.openxmlformats.org/officeDocument/2006/relationships/tags" Target="../tags/tag100.xml"/><Relationship Id="rId12" Type="http://schemas.openxmlformats.org/officeDocument/2006/relationships/tags" Target="../tags/tag105.xml"/><Relationship Id="rId17" Type="http://schemas.openxmlformats.org/officeDocument/2006/relationships/image" Target="../media/image1.emf"/><Relationship Id="rId2" Type="http://schemas.openxmlformats.org/officeDocument/2006/relationships/tags" Target="../tags/tag95.xml"/><Relationship Id="rId16" Type="http://schemas.openxmlformats.org/officeDocument/2006/relationships/oleObject" Target="../embeddings/oleObject12.bin"/><Relationship Id="rId20" Type="http://schemas.openxmlformats.org/officeDocument/2006/relationships/image" Target="../media/image53.emf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11" Type="http://schemas.openxmlformats.org/officeDocument/2006/relationships/tags" Target="../tags/tag104.xml"/><Relationship Id="rId5" Type="http://schemas.openxmlformats.org/officeDocument/2006/relationships/tags" Target="../tags/tag98.xml"/><Relationship Id="rId15" Type="http://schemas.openxmlformats.org/officeDocument/2006/relationships/notesSlide" Target="../notesSlides/notesSlide11.xml"/><Relationship Id="rId10" Type="http://schemas.openxmlformats.org/officeDocument/2006/relationships/tags" Target="../tags/tag103.xml"/><Relationship Id="rId19" Type="http://schemas.openxmlformats.org/officeDocument/2006/relationships/image" Target="../media/image52.emf"/><Relationship Id="rId4" Type="http://schemas.openxmlformats.org/officeDocument/2006/relationships/tags" Target="../tags/tag97.xml"/><Relationship Id="rId9" Type="http://schemas.openxmlformats.org/officeDocument/2006/relationships/tags" Target="../tags/tag102.xml"/><Relationship Id="rId1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14.xml"/><Relationship Id="rId13" Type="http://schemas.openxmlformats.org/officeDocument/2006/relationships/tags" Target="../tags/tag119.xml"/><Relationship Id="rId18" Type="http://schemas.openxmlformats.org/officeDocument/2006/relationships/notesSlide" Target="../notesSlides/notesSlide12.xml"/><Relationship Id="rId3" Type="http://schemas.openxmlformats.org/officeDocument/2006/relationships/tags" Target="../tags/tag109.xml"/><Relationship Id="rId21" Type="http://schemas.openxmlformats.org/officeDocument/2006/relationships/image" Target="../media/image54.emf"/><Relationship Id="rId7" Type="http://schemas.openxmlformats.org/officeDocument/2006/relationships/tags" Target="../tags/tag113.xml"/><Relationship Id="rId12" Type="http://schemas.openxmlformats.org/officeDocument/2006/relationships/tags" Target="../tags/tag118.xml"/><Relationship Id="rId17" Type="http://schemas.openxmlformats.org/officeDocument/2006/relationships/slideLayout" Target="../slideLayouts/slideLayout2.xml"/><Relationship Id="rId2" Type="http://schemas.openxmlformats.org/officeDocument/2006/relationships/tags" Target="../tags/tag108.xml"/><Relationship Id="rId16" Type="http://schemas.openxmlformats.org/officeDocument/2006/relationships/tags" Target="../tags/tag122.xml"/><Relationship Id="rId20" Type="http://schemas.openxmlformats.org/officeDocument/2006/relationships/image" Target="../media/image1.emf"/><Relationship Id="rId1" Type="http://schemas.openxmlformats.org/officeDocument/2006/relationships/tags" Target="../tags/tag107.xml"/><Relationship Id="rId6" Type="http://schemas.openxmlformats.org/officeDocument/2006/relationships/tags" Target="../tags/tag112.xml"/><Relationship Id="rId11" Type="http://schemas.openxmlformats.org/officeDocument/2006/relationships/tags" Target="../tags/tag117.xml"/><Relationship Id="rId24" Type="http://schemas.openxmlformats.org/officeDocument/2006/relationships/image" Target="../media/image17.png"/><Relationship Id="rId5" Type="http://schemas.openxmlformats.org/officeDocument/2006/relationships/tags" Target="../tags/tag111.xml"/><Relationship Id="rId15" Type="http://schemas.openxmlformats.org/officeDocument/2006/relationships/tags" Target="../tags/tag121.xml"/><Relationship Id="rId23" Type="http://schemas.openxmlformats.org/officeDocument/2006/relationships/image" Target="../media/image56.emf"/><Relationship Id="rId10" Type="http://schemas.openxmlformats.org/officeDocument/2006/relationships/tags" Target="../tags/tag116.xml"/><Relationship Id="rId19" Type="http://schemas.openxmlformats.org/officeDocument/2006/relationships/oleObject" Target="../embeddings/oleObject13.bin"/><Relationship Id="rId4" Type="http://schemas.openxmlformats.org/officeDocument/2006/relationships/tags" Target="../tags/tag110.xml"/><Relationship Id="rId9" Type="http://schemas.openxmlformats.org/officeDocument/2006/relationships/tags" Target="../tags/tag115.xml"/><Relationship Id="rId14" Type="http://schemas.openxmlformats.org/officeDocument/2006/relationships/tags" Target="../tags/tag120.xml"/><Relationship Id="rId22" Type="http://schemas.openxmlformats.org/officeDocument/2006/relationships/image" Target="../media/image55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tags" Target="../tags/tag125.xml"/><Relationship Id="rId7" Type="http://schemas.openxmlformats.org/officeDocument/2006/relationships/notesSlide" Target="../notesSlides/notesSlide13.xml"/><Relationship Id="rId12" Type="http://schemas.openxmlformats.org/officeDocument/2006/relationships/image" Target="../media/image17.png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23.jpeg"/><Relationship Id="rId5" Type="http://schemas.openxmlformats.org/officeDocument/2006/relationships/tags" Target="../tags/tag127.xml"/><Relationship Id="rId10" Type="http://schemas.openxmlformats.org/officeDocument/2006/relationships/image" Target="../media/image16.png"/><Relationship Id="rId4" Type="http://schemas.openxmlformats.org/officeDocument/2006/relationships/tags" Target="../tags/tag126.xml"/><Relationship Id="rId9" Type="http://schemas.openxmlformats.org/officeDocument/2006/relationships/image" Target="../media/image44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35.xml"/><Relationship Id="rId13" Type="http://schemas.openxmlformats.org/officeDocument/2006/relationships/tags" Target="../tags/tag140.xml"/><Relationship Id="rId18" Type="http://schemas.openxmlformats.org/officeDocument/2006/relationships/image" Target="../media/image1.emf"/><Relationship Id="rId3" Type="http://schemas.openxmlformats.org/officeDocument/2006/relationships/tags" Target="../tags/tag130.xml"/><Relationship Id="rId21" Type="http://schemas.openxmlformats.org/officeDocument/2006/relationships/image" Target="../media/image16.png"/><Relationship Id="rId7" Type="http://schemas.openxmlformats.org/officeDocument/2006/relationships/tags" Target="../tags/tag134.xml"/><Relationship Id="rId12" Type="http://schemas.openxmlformats.org/officeDocument/2006/relationships/tags" Target="../tags/tag139.xml"/><Relationship Id="rId17" Type="http://schemas.openxmlformats.org/officeDocument/2006/relationships/oleObject" Target="../embeddings/oleObject15.bin"/><Relationship Id="rId2" Type="http://schemas.openxmlformats.org/officeDocument/2006/relationships/tags" Target="../tags/tag129.xml"/><Relationship Id="rId16" Type="http://schemas.openxmlformats.org/officeDocument/2006/relationships/notesSlide" Target="../notesSlides/notesSlide14.xml"/><Relationship Id="rId20" Type="http://schemas.openxmlformats.org/officeDocument/2006/relationships/image" Target="../media/image58.emf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11" Type="http://schemas.openxmlformats.org/officeDocument/2006/relationships/tags" Target="../tags/tag138.xml"/><Relationship Id="rId5" Type="http://schemas.openxmlformats.org/officeDocument/2006/relationships/tags" Target="../tags/tag132.xml"/><Relationship Id="rId15" Type="http://schemas.openxmlformats.org/officeDocument/2006/relationships/slideLayout" Target="../slideLayouts/slideLayout2.xml"/><Relationship Id="rId23" Type="http://schemas.openxmlformats.org/officeDocument/2006/relationships/image" Target="../media/image17.png"/><Relationship Id="rId10" Type="http://schemas.openxmlformats.org/officeDocument/2006/relationships/tags" Target="../tags/tag137.xml"/><Relationship Id="rId19" Type="http://schemas.openxmlformats.org/officeDocument/2006/relationships/image" Target="../media/image57.emf"/><Relationship Id="rId4" Type="http://schemas.openxmlformats.org/officeDocument/2006/relationships/tags" Target="../tags/tag131.xml"/><Relationship Id="rId9" Type="http://schemas.openxmlformats.org/officeDocument/2006/relationships/tags" Target="../tags/tag136.xml"/><Relationship Id="rId14" Type="http://schemas.openxmlformats.org/officeDocument/2006/relationships/tags" Target="../tags/tag141.xml"/><Relationship Id="rId22" Type="http://schemas.openxmlformats.org/officeDocument/2006/relationships/image" Target="../media/image23.jpe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image" Target="../media/image18.emf"/><Relationship Id="rId18" Type="http://schemas.openxmlformats.org/officeDocument/2006/relationships/image" Target="../media/image21.png"/><Relationship Id="rId26" Type="http://schemas.openxmlformats.org/officeDocument/2006/relationships/image" Target="../media/image16.png"/><Relationship Id="rId3" Type="http://schemas.openxmlformats.org/officeDocument/2006/relationships/tags" Target="../tags/tag11.xml"/><Relationship Id="rId21" Type="http://schemas.openxmlformats.org/officeDocument/2006/relationships/image" Target="../media/image23.jpeg"/><Relationship Id="rId7" Type="http://schemas.openxmlformats.org/officeDocument/2006/relationships/tags" Target="../tags/tag15.xml"/><Relationship Id="rId12" Type="http://schemas.openxmlformats.org/officeDocument/2006/relationships/image" Target="../media/image1.emf"/><Relationship Id="rId17" Type="http://schemas.openxmlformats.org/officeDocument/2006/relationships/image" Target="../media/image7.png"/><Relationship Id="rId25" Type="http://schemas.openxmlformats.org/officeDocument/2006/relationships/image" Target="../media/image15.png"/><Relationship Id="rId2" Type="http://schemas.openxmlformats.org/officeDocument/2006/relationships/tags" Target="../tags/tag10.xml"/><Relationship Id="rId16" Type="http://schemas.openxmlformats.org/officeDocument/2006/relationships/image" Target="../media/image20.jpeg"/><Relationship Id="rId20" Type="http://schemas.openxmlformats.org/officeDocument/2006/relationships/image" Target="../media/image10.png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1" Type="http://schemas.openxmlformats.org/officeDocument/2006/relationships/oleObject" Target="../embeddings/oleObject3.bin"/><Relationship Id="rId24" Type="http://schemas.openxmlformats.org/officeDocument/2006/relationships/image" Target="../media/image14.png"/><Relationship Id="rId5" Type="http://schemas.openxmlformats.org/officeDocument/2006/relationships/tags" Target="../tags/tag13.xml"/><Relationship Id="rId15" Type="http://schemas.openxmlformats.org/officeDocument/2006/relationships/image" Target="../media/image19.png"/><Relationship Id="rId23" Type="http://schemas.openxmlformats.org/officeDocument/2006/relationships/image" Target="../media/image25.png"/><Relationship Id="rId10" Type="http://schemas.openxmlformats.org/officeDocument/2006/relationships/notesSlide" Target="../notesSlides/notesSlide2.xml"/><Relationship Id="rId19" Type="http://schemas.openxmlformats.org/officeDocument/2006/relationships/image" Target="../media/image22.jpeg"/><Relationship Id="rId4" Type="http://schemas.openxmlformats.org/officeDocument/2006/relationships/tags" Target="../tags/tag12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17.png"/><Relationship Id="rId22" Type="http://schemas.openxmlformats.org/officeDocument/2006/relationships/image" Target="../media/image24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17.png"/><Relationship Id="rId18" Type="http://schemas.openxmlformats.org/officeDocument/2006/relationships/image" Target="../media/image28.jpeg"/><Relationship Id="rId3" Type="http://schemas.openxmlformats.org/officeDocument/2006/relationships/tags" Target="../tags/tag19.xml"/><Relationship Id="rId21" Type="http://schemas.openxmlformats.org/officeDocument/2006/relationships/image" Target="../media/image30.jpeg"/><Relationship Id="rId7" Type="http://schemas.openxmlformats.org/officeDocument/2006/relationships/tags" Target="../tags/tag23.xml"/><Relationship Id="rId12" Type="http://schemas.openxmlformats.org/officeDocument/2006/relationships/image" Target="../media/image26.emf"/><Relationship Id="rId17" Type="http://schemas.openxmlformats.org/officeDocument/2006/relationships/image" Target="../media/image21.png"/><Relationship Id="rId25" Type="http://schemas.openxmlformats.org/officeDocument/2006/relationships/image" Target="../media/image16.png"/><Relationship Id="rId2" Type="http://schemas.openxmlformats.org/officeDocument/2006/relationships/tags" Target="../tags/tag18.xml"/><Relationship Id="rId16" Type="http://schemas.openxmlformats.org/officeDocument/2006/relationships/image" Target="../media/image7.png"/><Relationship Id="rId20" Type="http://schemas.openxmlformats.org/officeDocument/2006/relationships/image" Target="../media/image29.jpeg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11" Type="http://schemas.openxmlformats.org/officeDocument/2006/relationships/image" Target="../media/image1.emf"/><Relationship Id="rId24" Type="http://schemas.openxmlformats.org/officeDocument/2006/relationships/image" Target="../media/image15.png"/><Relationship Id="rId5" Type="http://schemas.openxmlformats.org/officeDocument/2006/relationships/tags" Target="../tags/tag21.xml"/><Relationship Id="rId15" Type="http://schemas.openxmlformats.org/officeDocument/2006/relationships/image" Target="../media/image20.jpeg"/><Relationship Id="rId23" Type="http://schemas.openxmlformats.org/officeDocument/2006/relationships/image" Target="../media/image14.png"/><Relationship Id="rId10" Type="http://schemas.openxmlformats.org/officeDocument/2006/relationships/oleObject" Target="../embeddings/oleObject4.bin"/><Relationship Id="rId19" Type="http://schemas.openxmlformats.org/officeDocument/2006/relationships/image" Target="../media/image10.png"/><Relationship Id="rId4" Type="http://schemas.openxmlformats.org/officeDocument/2006/relationships/tags" Target="../tags/tag20.xml"/><Relationship Id="rId9" Type="http://schemas.openxmlformats.org/officeDocument/2006/relationships/notesSlide" Target="../notesSlides/notesSlide3.xml"/><Relationship Id="rId14" Type="http://schemas.openxmlformats.org/officeDocument/2006/relationships/image" Target="../media/image27.png"/><Relationship Id="rId22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27.png"/><Relationship Id="rId18" Type="http://schemas.openxmlformats.org/officeDocument/2006/relationships/image" Target="../media/image10.png"/><Relationship Id="rId3" Type="http://schemas.openxmlformats.org/officeDocument/2006/relationships/tags" Target="../tags/tag26.xml"/><Relationship Id="rId21" Type="http://schemas.openxmlformats.org/officeDocument/2006/relationships/image" Target="../media/image13.png"/><Relationship Id="rId7" Type="http://schemas.openxmlformats.org/officeDocument/2006/relationships/tags" Target="../tags/tag30.xml"/><Relationship Id="rId12" Type="http://schemas.openxmlformats.org/officeDocument/2006/relationships/image" Target="../media/image31.emf"/><Relationship Id="rId17" Type="http://schemas.openxmlformats.org/officeDocument/2006/relationships/image" Target="../media/image28.jpeg"/><Relationship Id="rId25" Type="http://schemas.openxmlformats.org/officeDocument/2006/relationships/image" Target="../media/image17.png"/><Relationship Id="rId2" Type="http://schemas.openxmlformats.org/officeDocument/2006/relationships/tags" Target="../tags/tag25.xml"/><Relationship Id="rId16" Type="http://schemas.openxmlformats.org/officeDocument/2006/relationships/image" Target="../media/image21.png"/><Relationship Id="rId20" Type="http://schemas.openxmlformats.org/officeDocument/2006/relationships/image" Target="../media/image30.jpeg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11" Type="http://schemas.openxmlformats.org/officeDocument/2006/relationships/image" Target="../media/image1.emf"/><Relationship Id="rId24" Type="http://schemas.openxmlformats.org/officeDocument/2006/relationships/image" Target="../media/image16.png"/><Relationship Id="rId5" Type="http://schemas.openxmlformats.org/officeDocument/2006/relationships/tags" Target="../tags/tag28.xml"/><Relationship Id="rId15" Type="http://schemas.openxmlformats.org/officeDocument/2006/relationships/image" Target="../media/image7.png"/><Relationship Id="rId23" Type="http://schemas.openxmlformats.org/officeDocument/2006/relationships/image" Target="../media/image15.png"/><Relationship Id="rId10" Type="http://schemas.openxmlformats.org/officeDocument/2006/relationships/oleObject" Target="../embeddings/oleObject5.bin"/><Relationship Id="rId19" Type="http://schemas.openxmlformats.org/officeDocument/2006/relationships/image" Target="../media/image29.jpeg"/><Relationship Id="rId4" Type="http://schemas.openxmlformats.org/officeDocument/2006/relationships/tags" Target="../tags/tag27.xml"/><Relationship Id="rId9" Type="http://schemas.openxmlformats.org/officeDocument/2006/relationships/notesSlide" Target="../notesSlides/notesSlide4.xml"/><Relationship Id="rId14" Type="http://schemas.openxmlformats.org/officeDocument/2006/relationships/image" Target="../media/image20.jpeg"/><Relationship Id="rId22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notesSlide" Target="../notesSlides/notesSlide5.xml"/><Relationship Id="rId18" Type="http://schemas.openxmlformats.org/officeDocument/2006/relationships/image" Target="../media/image34.emf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12" Type="http://schemas.openxmlformats.org/officeDocument/2006/relationships/slideLayout" Target="../slideLayouts/slideLayout2.xml"/><Relationship Id="rId17" Type="http://schemas.openxmlformats.org/officeDocument/2006/relationships/image" Target="../media/image33.emf"/><Relationship Id="rId2" Type="http://schemas.openxmlformats.org/officeDocument/2006/relationships/tags" Target="../tags/tag32.xml"/><Relationship Id="rId16" Type="http://schemas.openxmlformats.org/officeDocument/2006/relationships/image" Target="../media/image32.emf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11" Type="http://schemas.openxmlformats.org/officeDocument/2006/relationships/tags" Target="../tags/tag41.xml"/><Relationship Id="rId5" Type="http://schemas.openxmlformats.org/officeDocument/2006/relationships/tags" Target="../tags/tag35.xml"/><Relationship Id="rId15" Type="http://schemas.openxmlformats.org/officeDocument/2006/relationships/image" Target="../media/image1.emf"/><Relationship Id="rId10" Type="http://schemas.openxmlformats.org/officeDocument/2006/relationships/tags" Target="../tags/tag40.xml"/><Relationship Id="rId19" Type="http://schemas.openxmlformats.org/officeDocument/2006/relationships/image" Target="../media/image17.png"/><Relationship Id="rId4" Type="http://schemas.openxmlformats.org/officeDocument/2006/relationships/tags" Target="../tags/tag34.xml"/><Relationship Id="rId9" Type="http://schemas.openxmlformats.org/officeDocument/2006/relationships/tags" Target="../tags/tag39.xml"/><Relationship Id="rId1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19.png"/><Relationship Id="rId18" Type="http://schemas.openxmlformats.org/officeDocument/2006/relationships/image" Target="../media/image10.png"/><Relationship Id="rId3" Type="http://schemas.openxmlformats.org/officeDocument/2006/relationships/tags" Target="../tags/tag44.xml"/><Relationship Id="rId21" Type="http://schemas.openxmlformats.org/officeDocument/2006/relationships/image" Target="../media/image27.png"/><Relationship Id="rId7" Type="http://schemas.openxmlformats.org/officeDocument/2006/relationships/tags" Target="../tags/tag48.xml"/><Relationship Id="rId12" Type="http://schemas.openxmlformats.org/officeDocument/2006/relationships/image" Target="../media/image17.png"/><Relationship Id="rId17" Type="http://schemas.openxmlformats.org/officeDocument/2006/relationships/image" Target="../media/image22.jpeg"/><Relationship Id="rId2" Type="http://schemas.openxmlformats.org/officeDocument/2006/relationships/tags" Target="../tags/tag43.xml"/><Relationship Id="rId16" Type="http://schemas.openxmlformats.org/officeDocument/2006/relationships/image" Target="../media/image21.png"/><Relationship Id="rId20" Type="http://schemas.openxmlformats.org/officeDocument/2006/relationships/image" Target="../media/image16.png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11" Type="http://schemas.openxmlformats.org/officeDocument/2006/relationships/image" Target="../media/image1.emf"/><Relationship Id="rId5" Type="http://schemas.openxmlformats.org/officeDocument/2006/relationships/tags" Target="../tags/tag46.xml"/><Relationship Id="rId15" Type="http://schemas.openxmlformats.org/officeDocument/2006/relationships/image" Target="../media/image7.png"/><Relationship Id="rId23" Type="http://schemas.openxmlformats.org/officeDocument/2006/relationships/image" Target="../media/image29.jpeg"/><Relationship Id="rId10" Type="http://schemas.openxmlformats.org/officeDocument/2006/relationships/oleObject" Target="../embeddings/oleObject7.bin"/><Relationship Id="rId19" Type="http://schemas.openxmlformats.org/officeDocument/2006/relationships/image" Target="../media/image23.jpeg"/><Relationship Id="rId4" Type="http://schemas.openxmlformats.org/officeDocument/2006/relationships/tags" Target="../tags/tag45.xml"/><Relationship Id="rId9" Type="http://schemas.openxmlformats.org/officeDocument/2006/relationships/notesSlide" Target="../notesSlides/notesSlide6.xml"/><Relationship Id="rId14" Type="http://schemas.openxmlformats.org/officeDocument/2006/relationships/image" Target="../media/image20.jpeg"/><Relationship Id="rId22" Type="http://schemas.openxmlformats.org/officeDocument/2006/relationships/image" Target="../media/image28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13" Type="http://schemas.openxmlformats.org/officeDocument/2006/relationships/oleObject" Target="../embeddings/oleObject8.bin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12" Type="http://schemas.openxmlformats.org/officeDocument/2006/relationships/image" Target="../media/image35.emf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11" Type="http://schemas.openxmlformats.org/officeDocument/2006/relationships/notesSlide" Target="../notesSlides/notesSlide7.xml"/><Relationship Id="rId5" Type="http://schemas.openxmlformats.org/officeDocument/2006/relationships/tags" Target="../tags/tag53.xml"/><Relationship Id="rId15" Type="http://schemas.openxmlformats.org/officeDocument/2006/relationships/image" Target="../media/image36.emf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52.xml"/><Relationship Id="rId9" Type="http://schemas.openxmlformats.org/officeDocument/2006/relationships/tags" Target="../tags/tag57.xml"/><Relationship Id="rId1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13" Type="http://schemas.openxmlformats.org/officeDocument/2006/relationships/tags" Target="../tags/tag70.xml"/><Relationship Id="rId18" Type="http://schemas.openxmlformats.org/officeDocument/2006/relationships/image" Target="../media/image37.emf"/><Relationship Id="rId3" Type="http://schemas.openxmlformats.org/officeDocument/2006/relationships/tags" Target="../tags/tag60.xml"/><Relationship Id="rId21" Type="http://schemas.openxmlformats.org/officeDocument/2006/relationships/image" Target="../media/image17.png"/><Relationship Id="rId7" Type="http://schemas.openxmlformats.org/officeDocument/2006/relationships/tags" Target="../tags/tag64.xml"/><Relationship Id="rId12" Type="http://schemas.openxmlformats.org/officeDocument/2006/relationships/tags" Target="../tags/tag69.xml"/><Relationship Id="rId17" Type="http://schemas.openxmlformats.org/officeDocument/2006/relationships/image" Target="../media/image1.emf"/><Relationship Id="rId2" Type="http://schemas.openxmlformats.org/officeDocument/2006/relationships/tags" Target="../tags/tag59.xml"/><Relationship Id="rId16" Type="http://schemas.openxmlformats.org/officeDocument/2006/relationships/oleObject" Target="../embeddings/oleObject9.bin"/><Relationship Id="rId20" Type="http://schemas.openxmlformats.org/officeDocument/2006/relationships/image" Target="../media/image39.emf"/><Relationship Id="rId1" Type="http://schemas.openxmlformats.org/officeDocument/2006/relationships/tags" Target="../tags/tag58.xml"/><Relationship Id="rId6" Type="http://schemas.openxmlformats.org/officeDocument/2006/relationships/tags" Target="../tags/tag63.xml"/><Relationship Id="rId11" Type="http://schemas.openxmlformats.org/officeDocument/2006/relationships/tags" Target="../tags/tag68.xml"/><Relationship Id="rId5" Type="http://schemas.openxmlformats.org/officeDocument/2006/relationships/tags" Target="../tags/tag62.xml"/><Relationship Id="rId15" Type="http://schemas.openxmlformats.org/officeDocument/2006/relationships/notesSlide" Target="../notesSlides/notesSlide8.xml"/><Relationship Id="rId10" Type="http://schemas.openxmlformats.org/officeDocument/2006/relationships/tags" Target="../tags/tag67.xml"/><Relationship Id="rId19" Type="http://schemas.openxmlformats.org/officeDocument/2006/relationships/image" Target="../media/image38.emf"/><Relationship Id="rId4" Type="http://schemas.openxmlformats.org/officeDocument/2006/relationships/tags" Target="../tags/tag61.xml"/><Relationship Id="rId9" Type="http://schemas.openxmlformats.org/officeDocument/2006/relationships/tags" Target="../tags/tag66.xml"/><Relationship Id="rId1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78.xml"/><Relationship Id="rId13" Type="http://schemas.openxmlformats.org/officeDocument/2006/relationships/tags" Target="../tags/tag83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73.xml"/><Relationship Id="rId21" Type="http://schemas.openxmlformats.org/officeDocument/2006/relationships/image" Target="../media/image40.emf"/><Relationship Id="rId7" Type="http://schemas.openxmlformats.org/officeDocument/2006/relationships/tags" Target="../tags/tag77.xml"/><Relationship Id="rId12" Type="http://schemas.openxmlformats.org/officeDocument/2006/relationships/tags" Target="../tags/tag82.xml"/><Relationship Id="rId17" Type="http://schemas.openxmlformats.org/officeDocument/2006/relationships/tags" Target="../tags/tag87.xml"/><Relationship Id="rId25" Type="http://schemas.openxmlformats.org/officeDocument/2006/relationships/image" Target="../media/image17.png"/><Relationship Id="rId2" Type="http://schemas.openxmlformats.org/officeDocument/2006/relationships/tags" Target="../tags/tag72.xml"/><Relationship Id="rId16" Type="http://schemas.openxmlformats.org/officeDocument/2006/relationships/tags" Target="../tags/tag86.xml"/><Relationship Id="rId20" Type="http://schemas.openxmlformats.org/officeDocument/2006/relationships/oleObject" Target="../embeddings/oleObject10.bin"/><Relationship Id="rId1" Type="http://schemas.openxmlformats.org/officeDocument/2006/relationships/tags" Target="../tags/tag71.xml"/><Relationship Id="rId6" Type="http://schemas.openxmlformats.org/officeDocument/2006/relationships/tags" Target="../tags/tag76.xml"/><Relationship Id="rId11" Type="http://schemas.openxmlformats.org/officeDocument/2006/relationships/tags" Target="../tags/tag81.xml"/><Relationship Id="rId24" Type="http://schemas.openxmlformats.org/officeDocument/2006/relationships/image" Target="../media/image43.emf"/><Relationship Id="rId5" Type="http://schemas.openxmlformats.org/officeDocument/2006/relationships/tags" Target="../tags/tag75.xml"/><Relationship Id="rId15" Type="http://schemas.openxmlformats.org/officeDocument/2006/relationships/tags" Target="../tags/tag85.xml"/><Relationship Id="rId23" Type="http://schemas.openxmlformats.org/officeDocument/2006/relationships/image" Target="../media/image42.emf"/><Relationship Id="rId10" Type="http://schemas.openxmlformats.org/officeDocument/2006/relationships/tags" Target="../tags/tag80.xml"/><Relationship Id="rId19" Type="http://schemas.openxmlformats.org/officeDocument/2006/relationships/notesSlide" Target="../notesSlides/notesSlide9.xml"/><Relationship Id="rId4" Type="http://schemas.openxmlformats.org/officeDocument/2006/relationships/tags" Target="../tags/tag74.xml"/><Relationship Id="rId9" Type="http://schemas.openxmlformats.org/officeDocument/2006/relationships/tags" Target="../tags/tag79.xml"/><Relationship Id="rId14" Type="http://schemas.openxmlformats.org/officeDocument/2006/relationships/tags" Target="../tags/tag84.xml"/><Relationship Id="rId22" Type="http://schemas.openxmlformats.org/officeDocument/2006/relationships/image" Target="../media/image4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8" name="think-cell data - do not delete" hidden="1">
            <a:extLst>
              <a:ext uri="{FF2B5EF4-FFF2-40B4-BE49-F238E27FC236}">
                <a16:creationId xmlns:a16="http://schemas.microsoft.com/office/drawing/2014/main" id="{89BCAD17-E6D3-294E-FFE4-CD21C16971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1146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84" imgH="486" progId="TCLayout.ActiveDocument.1">
                  <p:embed/>
                </p:oleObj>
              </mc:Choice>
              <mc:Fallback>
                <p:oleObj name="think-cell Slide" r:id="rId9" imgW="484" imgH="486" progId="TCLayout.ActiveDocument.1">
                  <p:embed/>
                  <p:pic>
                    <p:nvPicPr>
                      <p:cNvPr id="26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BCAD17-E6D3-294E-FFE4-CD21C16971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66" name="btfpRunningAgenda1Level983488">
            <a:extLst>
              <a:ext uri="{FF2B5EF4-FFF2-40B4-BE49-F238E27FC236}">
                <a16:creationId xmlns:a16="http://schemas.microsoft.com/office/drawing/2014/main" id="{1AA64EFE-33D5-45C7-4ACF-8A07FA15D2CA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0" y="944429"/>
            <a:ext cx="1919501" cy="257442"/>
            <a:chOff x="0" y="876300"/>
            <a:chExt cx="1919501" cy="257442"/>
          </a:xfrm>
        </p:grpSpPr>
        <p:sp>
          <p:nvSpPr>
            <p:cNvPr id="265" name="btfpRunningAgenda1LevelBarLeft983488">
              <a:extLst>
                <a:ext uri="{FF2B5EF4-FFF2-40B4-BE49-F238E27FC236}">
                  <a16:creationId xmlns:a16="http://schemas.microsoft.com/office/drawing/2014/main" id="{0FA55113-B977-03F0-05DE-B63148542A80}"/>
                </a:ext>
              </a:extLst>
            </p:cNvPr>
            <p:cNvSpPr/>
            <p:nvPr/>
          </p:nvSpPr>
          <p:spPr bwMode="gray">
            <a:xfrm>
              <a:off x="0" y="876300"/>
              <a:ext cx="1819629" cy="257442"/>
            </a:xfrm>
            <a:custGeom>
              <a:avLst/>
              <a:gdLst>
                <a:gd name="connsiteX0" fmla="*/ 942786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42786 w 1816204"/>
                <a:gd name="connsiteY0" fmla="*/ 0 h 257442"/>
                <a:gd name="connsiteX1" fmla="*/ 888066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1111101 w 1111101"/>
                <a:gd name="connsiteY0" fmla="*/ 0 h 257442"/>
                <a:gd name="connsiteX1" fmla="*/ 888065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97050 w 1297050"/>
                <a:gd name="connsiteY0" fmla="*/ 0 h 257442"/>
                <a:gd name="connsiteX1" fmla="*/ 1056380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8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1 w 1297051"/>
                <a:gd name="connsiteY0" fmla="*/ 0 h 257442"/>
                <a:gd name="connsiteX1" fmla="*/ 1242329 w 1297051"/>
                <a:gd name="connsiteY1" fmla="*/ 257442 h 257442"/>
                <a:gd name="connsiteX2" fmla="*/ 0 w 1297051"/>
                <a:gd name="connsiteY2" fmla="*/ 257442 h 257442"/>
                <a:gd name="connsiteX3" fmla="*/ 1 w 1297051"/>
                <a:gd name="connsiteY3" fmla="*/ 0 h 257442"/>
                <a:gd name="connsiteX0" fmla="*/ 1297051 w 1297051"/>
                <a:gd name="connsiteY0" fmla="*/ 0 h 257442"/>
                <a:gd name="connsiteX1" fmla="*/ 1242329 w 1297051"/>
                <a:gd name="connsiteY1" fmla="*/ 257442 h 257442"/>
                <a:gd name="connsiteX2" fmla="*/ 0 w 1297051"/>
                <a:gd name="connsiteY2" fmla="*/ 257442 h 257442"/>
                <a:gd name="connsiteX3" fmla="*/ 1 w 1297051"/>
                <a:gd name="connsiteY3" fmla="*/ 0 h 257442"/>
                <a:gd name="connsiteX0" fmla="*/ 1482999 w 1482999"/>
                <a:gd name="connsiteY0" fmla="*/ 0 h 257442"/>
                <a:gd name="connsiteX1" fmla="*/ 1242329 w 1482999"/>
                <a:gd name="connsiteY1" fmla="*/ 257442 h 257442"/>
                <a:gd name="connsiteX2" fmla="*/ 0 w 1482999"/>
                <a:gd name="connsiteY2" fmla="*/ 257442 h 257442"/>
                <a:gd name="connsiteX3" fmla="*/ 1 w 1482999"/>
                <a:gd name="connsiteY3" fmla="*/ 0 h 257442"/>
                <a:gd name="connsiteX0" fmla="*/ 1482999 w 1482999"/>
                <a:gd name="connsiteY0" fmla="*/ 0 h 257442"/>
                <a:gd name="connsiteX1" fmla="*/ 1428278 w 1482999"/>
                <a:gd name="connsiteY1" fmla="*/ 257442 h 257442"/>
                <a:gd name="connsiteX2" fmla="*/ 0 w 1482999"/>
                <a:gd name="connsiteY2" fmla="*/ 257442 h 257442"/>
                <a:gd name="connsiteX3" fmla="*/ 1 w 1482999"/>
                <a:gd name="connsiteY3" fmla="*/ 0 h 257442"/>
                <a:gd name="connsiteX0" fmla="*/ 1482998 w 1482998"/>
                <a:gd name="connsiteY0" fmla="*/ 0 h 257442"/>
                <a:gd name="connsiteX1" fmla="*/ 1428277 w 1482998"/>
                <a:gd name="connsiteY1" fmla="*/ 257442 h 257442"/>
                <a:gd name="connsiteX2" fmla="*/ 0 w 1482998"/>
                <a:gd name="connsiteY2" fmla="*/ 257442 h 257442"/>
                <a:gd name="connsiteX3" fmla="*/ 0 w 1482998"/>
                <a:gd name="connsiteY3" fmla="*/ 0 h 257442"/>
                <a:gd name="connsiteX0" fmla="*/ 1482999 w 1482999"/>
                <a:gd name="connsiteY0" fmla="*/ 0 h 257442"/>
                <a:gd name="connsiteX1" fmla="*/ 1428278 w 1482999"/>
                <a:gd name="connsiteY1" fmla="*/ 257442 h 257442"/>
                <a:gd name="connsiteX2" fmla="*/ 1 w 1482999"/>
                <a:gd name="connsiteY2" fmla="*/ 257442 h 257442"/>
                <a:gd name="connsiteX3" fmla="*/ 0 w 1482999"/>
                <a:gd name="connsiteY3" fmla="*/ 0 h 257442"/>
                <a:gd name="connsiteX0" fmla="*/ 1651314 w 1651314"/>
                <a:gd name="connsiteY0" fmla="*/ 0 h 257442"/>
                <a:gd name="connsiteX1" fmla="*/ 1428278 w 1651314"/>
                <a:gd name="connsiteY1" fmla="*/ 257442 h 257442"/>
                <a:gd name="connsiteX2" fmla="*/ 1 w 1651314"/>
                <a:gd name="connsiteY2" fmla="*/ 257442 h 257442"/>
                <a:gd name="connsiteX3" fmla="*/ 0 w 1651314"/>
                <a:gd name="connsiteY3" fmla="*/ 0 h 257442"/>
                <a:gd name="connsiteX0" fmla="*/ 1651314 w 1651314"/>
                <a:gd name="connsiteY0" fmla="*/ 0 h 257442"/>
                <a:gd name="connsiteX1" fmla="*/ 1596592 w 1651314"/>
                <a:gd name="connsiteY1" fmla="*/ 257442 h 257442"/>
                <a:gd name="connsiteX2" fmla="*/ 1 w 1651314"/>
                <a:gd name="connsiteY2" fmla="*/ 257442 h 257442"/>
                <a:gd name="connsiteX3" fmla="*/ 0 w 1651314"/>
                <a:gd name="connsiteY3" fmla="*/ 0 h 257442"/>
                <a:gd name="connsiteX0" fmla="*/ 1651314 w 1651314"/>
                <a:gd name="connsiteY0" fmla="*/ 0 h 257442"/>
                <a:gd name="connsiteX1" fmla="*/ 1596592 w 1651314"/>
                <a:gd name="connsiteY1" fmla="*/ 257442 h 257442"/>
                <a:gd name="connsiteX2" fmla="*/ 0 w 1651314"/>
                <a:gd name="connsiteY2" fmla="*/ 257442 h 257442"/>
                <a:gd name="connsiteX3" fmla="*/ 0 w 1651314"/>
                <a:gd name="connsiteY3" fmla="*/ 0 h 257442"/>
                <a:gd name="connsiteX0" fmla="*/ 1651314 w 1651314"/>
                <a:gd name="connsiteY0" fmla="*/ 0 h 257442"/>
                <a:gd name="connsiteX1" fmla="*/ 1596592 w 1651314"/>
                <a:gd name="connsiteY1" fmla="*/ 257442 h 257442"/>
                <a:gd name="connsiteX2" fmla="*/ 0 w 1651314"/>
                <a:gd name="connsiteY2" fmla="*/ 257442 h 257442"/>
                <a:gd name="connsiteX3" fmla="*/ 0 w 1651314"/>
                <a:gd name="connsiteY3" fmla="*/ 0 h 257442"/>
                <a:gd name="connsiteX0" fmla="*/ 1819629 w 1819629"/>
                <a:gd name="connsiteY0" fmla="*/ 0 h 257442"/>
                <a:gd name="connsiteX1" fmla="*/ 1596592 w 1819629"/>
                <a:gd name="connsiteY1" fmla="*/ 257442 h 257442"/>
                <a:gd name="connsiteX2" fmla="*/ 0 w 1819629"/>
                <a:gd name="connsiteY2" fmla="*/ 257442 h 257442"/>
                <a:gd name="connsiteX3" fmla="*/ 0 w 1819629"/>
                <a:gd name="connsiteY3" fmla="*/ 0 h 257442"/>
                <a:gd name="connsiteX0" fmla="*/ 1819629 w 1819629"/>
                <a:gd name="connsiteY0" fmla="*/ 0 h 257442"/>
                <a:gd name="connsiteX1" fmla="*/ 1764908 w 1819629"/>
                <a:gd name="connsiteY1" fmla="*/ 257442 h 257442"/>
                <a:gd name="connsiteX2" fmla="*/ 0 w 1819629"/>
                <a:gd name="connsiteY2" fmla="*/ 257442 h 257442"/>
                <a:gd name="connsiteX3" fmla="*/ 0 w 1819629"/>
                <a:gd name="connsiteY3" fmla="*/ 0 h 257442"/>
                <a:gd name="connsiteX0" fmla="*/ 1819629 w 1819629"/>
                <a:gd name="connsiteY0" fmla="*/ 0 h 257442"/>
                <a:gd name="connsiteX1" fmla="*/ 1764908 w 1819629"/>
                <a:gd name="connsiteY1" fmla="*/ 257442 h 257442"/>
                <a:gd name="connsiteX2" fmla="*/ 0 w 1819629"/>
                <a:gd name="connsiteY2" fmla="*/ 257442 h 257442"/>
                <a:gd name="connsiteX3" fmla="*/ 0 w 1819629"/>
                <a:gd name="connsiteY3" fmla="*/ 0 h 257442"/>
                <a:gd name="connsiteX0" fmla="*/ 1819629 w 1819629"/>
                <a:gd name="connsiteY0" fmla="*/ 0 h 257442"/>
                <a:gd name="connsiteX1" fmla="*/ 1764908 w 1819629"/>
                <a:gd name="connsiteY1" fmla="*/ 257442 h 257442"/>
                <a:gd name="connsiteX2" fmla="*/ 0 w 1819629"/>
                <a:gd name="connsiteY2" fmla="*/ 257442 h 257442"/>
                <a:gd name="connsiteX3" fmla="*/ 0 w 1819629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9629" h="257442">
                  <a:moveTo>
                    <a:pt x="1819629" y="0"/>
                  </a:moveTo>
                  <a:lnTo>
                    <a:pt x="1764908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CA" sz="1600" err="1">
                <a:solidFill>
                  <a:schemeClr val="tx1"/>
                </a:solidFill>
              </a:endParaRPr>
            </a:p>
          </p:txBody>
        </p:sp>
        <p:sp>
          <p:nvSpPr>
            <p:cNvPr id="264" name="btfpRunningAgenda1LevelTextLeft983488">
              <a:extLst>
                <a:ext uri="{FF2B5EF4-FFF2-40B4-BE49-F238E27FC236}">
                  <a16:creationId xmlns:a16="http://schemas.microsoft.com/office/drawing/2014/main" id="{7A28107E-597C-687E-9D0D-F70E7E3AFE0C}"/>
                </a:ext>
              </a:extLst>
            </p:cNvPr>
            <p:cNvSpPr txBox="1"/>
            <p:nvPr/>
          </p:nvSpPr>
          <p:spPr bwMode="gray">
            <a:xfrm>
              <a:off x="0" y="876300"/>
              <a:ext cx="1919501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CA" sz="1200" b="1" cap="all" spc="450">
                  <a:solidFill>
                    <a:srgbClr val="FFFFFF"/>
                  </a:solidFill>
                </a:rPr>
                <a:t>SUMMARY</a:t>
              </a:r>
            </a:p>
          </p:txBody>
        </p:sp>
      </p:grpSp>
      <p:grpSp>
        <p:nvGrpSpPr>
          <p:cNvPr id="54" name="btfpColumnIndicatorGroup2">
            <a:extLst>
              <a:ext uri="{FF2B5EF4-FFF2-40B4-BE49-F238E27FC236}">
                <a16:creationId xmlns:a16="http://schemas.microsoft.com/office/drawing/2014/main" id="{B35296F1-3B76-4433-B7C8-DD75E6B9AD2E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52" name="btfpColumnGapBlocker672730">
              <a:extLst>
                <a:ext uri="{FF2B5EF4-FFF2-40B4-BE49-F238E27FC236}">
                  <a16:creationId xmlns:a16="http://schemas.microsoft.com/office/drawing/2014/main" id="{7C549907-C041-436D-9B7A-7308694CAD9D}"/>
                </a:ext>
              </a:extLst>
            </p:cNvPr>
            <p:cNvSpPr/>
            <p:nvPr/>
          </p:nvSpPr>
          <p:spPr bwMode="gray">
            <a:xfrm>
              <a:off x="11861801" y="6926580"/>
              <a:ext cx="330199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btfpColumnGapBlocker529722">
              <a:extLst>
                <a:ext uri="{FF2B5EF4-FFF2-40B4-BE49-F238E27FC236}">
                  <a16:creationId xmlns:a16="http://schemas.microsoft.com/office/drawing/2014/main" id="{56CE3F18-09ED-4BBC-A287-4FA81B5AE2FF}"/>
                </a:ext>
              </a:extLst>
            </p:cNvPr>
            <p:cNvSpPr/>
            <p:nvPr/>
          </p:nvSpPr>
          <p:spPr bwMode="gray">
            <a:xfrm>
              <a:off x="9849776" y="6926580"/>
              <a:ext cx="540545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48" name="btfpColumnIndicator462171">
              <a:extLst>
                <a:ext uri="{FF2B5EF4-FFF2-40B4-BE49-F238E27FC236}">
                  <a16:creationId xmlns:a16="http://schemas.microsoft.com/office/drawing/2014/main" id="{5D79EA6E-BEDF-45B5-89C6-6E1857B5C22D}"/>
                </a:ext>
              </a:extLst>
            </p:cNvPr>
            <p:cNvCxnSpPr/>
            <p:nvPr/>
          </p:nvCxnSpPr>
          <p:spPr bwMode="gray">
            <a:xfrm flipV="1">
              <a:off x="11861801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btfpColumnIndicator634117">
              <a:extLst>
                <a:ext uri="{FF2B5EF4-FFF2-40B4-BE49-F238E27FC236}">
                  <a16:creationId xmlns:a16="http://schemas.microsoft.com/office/drawing/2014/main" id="{36674682-FC84-4467-A694-8F5AD9BCDF64}"/>
                </a:ext>
              </a:extLst>
            </p:cNvPr>
            <p:cNvCxnSpPr/>
            <p:nvPr/>
          </p:nvCxnSpPr>
          <p:spPr bwMode="gray">
            <a:xfrm flipV="1">
              <a:off x="10390321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btfpColumnGapBlocker558505">
              <a:extLst>
                <a:ext uri="{FF2B5EF4-FFF2-40B4-BE49-F238E27FC236}">
                  <a16:creationId xmlns:a16="http://schemas.microsoft.com/office/drawing/2014/main" id="{89D3567F-AE0B-4432-A258-A882418D1C34}"/>
                </a:ext>
              </a:extLst>
            </p:cNvPr>
            <p:cNvSpPr/>
            <p:nvPr/>
          </p:nvSpPr>
          <p:spPr bwMode="gray">
            <a:xfrm>
              <a:off x="7837753" y="6926580"/>
              <a:ext cx="540543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41" name="btfpColumnIndicator701792">
              <a:extLst>
                <a:ext uri="{FF2B5EF4-FFF2-40B4-BE49-F238E27FC236}">
                  <a16:creationId xmlns:a16="http://schemas.microsoft.com/office/drawing/2014/main" id="{14D991E4-E377-498E-B28D-8479F6B9CD6B}"/>
                </a:ext>
              </a:extLst>
            </p:cNvPr>
            <p:cNvCxnSpPr/>
            <p:nvPr/>
          </p:nvCxnSpPr>
          <p:spPr bwMode="gray">
            <a:xfrm flipV="1">
              <a:off x="984977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btfpColumnIndicator449067">
              <a:extLst>
                <a:ext uri="{FF2B5EF4-FFF2-40B4-BE49-F238E27FC236}">
                  <a16:creationId xmlns:a16="http://schemas.microsoft.com/office/drawing/2014/main" id="{86D88C59-7691-4F69-936C-0C188D5CC05F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btfpColumnGapBlocker142225">
              <a:extLst>
                <a:ext uri="{FF2B5EF4-FFF2-40B4-BE49-F238E27FC236}">
                  <a16:creationId xmlns:a16="http://schemas.microsoft.com/office/drawing/2014/main" id="{09C78674-9855-4DA1-A523-B762BAA53DCE}"/>
                </a:ext>
              </a:extLst>
            </p:cNvPr>
            <p:cNvSpPr/>
            <p:nvPr/>
          </p:nvSpPr>
          <p:spPr bwMode="gray">
            <a:xfrm>
              <a:off x="5825729" y="6926580"/>
              <a:ext cx="540543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32" name="btfpColumnIndicator240966">
              <a:extLst>
                <a:ext uri="{FF2B5EF4-FFF2-40B4-BE49-F238E27FC236}">
                  <a16:creationId xmlns:a16="http://schemas.microsoft.com/office/drawing/2014/main" id="{6F89534F-8D05-468C-B0F2-571F463B30F0}"/>
                </a:ext>
              </a:extLst>
            </p:cNvPr>
            <p:cNvCxnSpPr/>
            <p:nvPr/>
          </p:nvCxnSpPr>
          <p:spPr bwMode="gray">
            <a:xfrm flipV="1">
              <a:off x="7837753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btfpColumnIndicator688639">
              <a:extLst>
                <a:ext uri="{FF2B5EF4-FFF2-40B4-BE49-F238E27FC236}">
                  <a16:creationId xmlns:a16="http://schemas.microsoft.com/office/drawing/2014/main" id="{B97482F8-5C38-4E58-A336-43C32919DDE6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btfpColumnGapBlocker337948">
              <a:extLst>
                <a:ext uri="{FF2B5EF4-FFF2-40B4-BE49-F238E27FC236}">
                  <a16:creationId xmlns:a16="http://schemas.microsoft.com/office/drawing/2014/main" id="{DC5C050A-7E56-460D-8052-5356D0F3A661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4" name="btfpColumnIndicator293318">
              <a:extLst>
                <a:ext uri="{FF2B5EF4-FFF2-40B4-BE49-F238E27FC236}">
                  <a16:creationId xmlns:a16="http://schemas.microsoft.com/office/drawing/2014/main" id="{BA580E30-1B85-47F2-8CC0-623ECF44F9D5}"/>
                </a:ext>
              </a:extLst>
            </p:cNvPr>
            <p:cNvCxnSpPr/>
            <p:nvPr/>
          </p:nvCxnSpPr>
          <p:spPr bwMode="gray">
            <a:xfrm flipV="1">
              <a:off x="5825729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btfpColumnIndicator943077">
              <a:extLst>
                <a:ext uri="{FF2B5EF4-FFF2-40B4-BE49-F238E27FC236}">
                  <a16:creationId xmlns:a16="http://schemas.microsoft.com/office/drawing/2014/main" id="{BC2438C2-C52F-401C-8FAF-0E79AF746B89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btfpColumnGapBlocker183556">
              <a:extLst>
                <a:ext uri="{FF2B5EF4-FFF2-40B4-BE49-F238E27FC236}">
                  <a16:creationId xmlns:a16="http://schemas.microsoft.com/office/drawing/2014/main" id="{539CA803-7773-4AEB-A5B2-0C067C2D18E6}"/>
                </a:ext>
              </a:extLst>
            </p:cNvPr>
            <p:cNvSpPr/>
            <p:nvPr/>
          </p:nvSpPr>
          <p:spPr bwMode="gray">
            <a:xfrm>
              <a:off x="1801680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8" name="btfpColumnIndicator974955">
              <a:extLst>
                <a:ext uri="{FF2B5EF4-FFF2-40B4-BE49-F238E27FC236}">
                  <a16:creationId xmlns:a16="http://schemas.microsoft.com/office/drawing/2014/main" id="{A0273D43-4ADD-4834-84FF-015F6709D377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btfpColumnIndicator495672">
              <a:extLst>
                <a:ext uri="{FF2B5EF4-FFF2-40B4-BE49-F238E27FC236}">
                  <a16:creationId xmlns:a16="http://schemas.microsoft.com/office/drawing/2014/main" id="{1563C623-4CDC-44AF-90EF-53D290C67300}"/>
                </a:ext>
              </a:extLst>
            </p:cNvPr>
            <p:cNvCxnSpPr/>
            <p:nvPr/>
          </p:nvCxnSpPr>
          <p:spPr bwMode="gray">
            <a:xfrm flipV="1">
              <a:off x="234222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btfpColumnGapBlocker152992">
              <a:extLst>
                <a:ext uri="{FF2B5EF4-FFF2-40B4-BE49-F238E27FC236}">
                  <a16:creationId xmlns:a16="http://schemas.microsoft.com/office/drawing/2014/main" id="{F758F69C-0136-484E-8EB1-04737306D1C3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1" name="btfpColumnIndicator583571">
              <a:extLst>
                <a:ext uri="{FF2B5EF4-FFF2-40B4-BE49-F238E27FC236}">
                  <a16:creationId xmlns:a16="http://schemas.microsoft.com/office/drawing/2014/main" id="{1615B6A2-762F-4FC5-97F3-B9C41C14C937}"/>
                </a:ext>
              </a:extLst>
            </p:cNvPr>
            <p:cNvCxnSpPr/>
            <p:nvPr/>
          </p:nvCxnSpPr>
          <p:spPr bwMode="gray">
            <a:xfrm flipV="1">
              <a:off x="180168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478297">
              <a:extLst>
                <a:ext uri="{FF2B5EF4-FFF2-40B4-BE49-F238E27FC236}">
                  <a16:creationId xmlns:a16="http://schemas.microsoft.com/office/drawing/2014/main" id="{B926EFED-9A4E-431B-B60B-8580688B0DEC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3" name="btfpColumnIndicatorGroup1">
            <a:extLst>
              <a:ext uri="{FF2B5EF4-FFF2-40B4-BE49-F238E27FC236}">
                <a16:creationId xmlns:a16="http://schemas.microsoft.com/office/drawing/2014/main" id="{A8978F06-5A44-451E-87E2-A24951279711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51" name="btfpColumnGapBlocker952034">
              <a:extLst>
                <a:ext uri="{FF2B5EF4-FFF2-40B4-BE49-F238E27FC236}">
                  <a16:creationId xmlns:a16="http://schemas.microsoft.com/office/drawing/2014/main" id="{390E6EA7-9F9B-47C9-A0E7-D92CA2274A82}"/>
                </a:ext>
              </a:extLst>
            </p:cNvPr>
            <p:cNvSpPr/>
            <p:nvPr/>
          </p:nvSpPr>
          <p:spPr bwMode="gray">
            <a:xfrm>
              <a:off x="11861801" y="-205740"/>
              <a:ext cx="330199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btfpColumnGapBlocker315088">
              <a:extLst>
                <a:ext uri="{FF2B5EF4-FFF2-40B4-BE49-F238E27FC236}">
                  <a16:creationId xmlns:a16="http://schemas.microsoft.com/office/drawing/2014/main" id="{A55E7C83-DFB8-4AE0-81A6-579037D08D22}"/>
                </a:ext>
              </a:extLst>
            </p:cNvPr>
            <p:cNvSpPr/>
            <p:nvPr/>
          </p:nvSpPr>
          <p:spPr bwMode="gray">
            <a:xfrm>
              <a:off x="9849776" y="-205740"/>
              <a:ext cx="540545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47" name="btfpColumnIndicator716087">
              <a:extLst>
                <a:ext uri="{FF2B5EF4-FFF2-40B4-BE49-F238E27FC236}">
                  <a16:creationId xmlns:a16="http://schemas.microsoft.com/office/drawing/2014/main" id="{BAA69C23-4366-4439-B2F6-8D841DE9C02B}"/>
                </a:ext>
              </a:extLst>
            </p:cNvPr>
            <p:cNvCxnSpPr/>
            <p:nvPr/>
          </p:nvCxnSpPr>
          <p:spPr bwMode="gray">
            <a:xfrm flipV="1">
              <a:off x="11861801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btfpColumnIndicator395724">
              <a:extLst>
                <a:ext uri="{FF2B5EF4-FFF2-40B4-BE49-F238E27FC236}">
                  <a16:creationId xmlns:a16="http://schemas.microsoft.com/office/drawing/2014/main" id="{83AFC969-406B-448C-902C-02283275637E}"/>
                </a:ext>
              </a:extLst>
            </p:cNvPr>
            <p:cNvCxnSpPr/>
            <p:nvPr/>
          </p:nvCxnSpPr>
          <p:spPr bwMode="gray">
            <a:xfrm flipV="1">
              <a:off x="10390321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btfpColumnGapBlocker712368">
              <a:extLst>
                <a:ext uri="{FF2B5EF4-FFF2-40B4-BE49-F238E27FC236}">
                  <a16:creationId xmlns:a16="http://schemas.microsoft.com/office/drawing/2014/main" id="{F4EB7144-7DC0-44A0-9095-5C302EA14C1E}"/>
                </a:ext>
              </a:extLst>
            </p:cNvPr>
            <p:cNvSpPr/>
            <p:nvPr/>
          </p:nvSpPr>
          <p:spPr bwMode="gray">
            <a:xfrm>
              <a:off x="7837753" y="-205740"/>
              <a:ext cx="540543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40" name="btfpColumnIndicator899206">
              <a:extLst>
                <a:ext uri="{FF2B5EF4-FFF2-40B4-BE49-F238E27FC236}">
                  <a16:creationId xmlns:a16="http://schemas.microsoft.com/office/drawing/2014/main" id="{B629628D-D502-4C26-B97B-15C4164B1A75}"/>
                </a:ext>
              </a:extLst>
            </p:cNvPr>
            <p:cNvCxnSpPr/>
            <p:nvPr/>
          </p:nvCxnSpPr>
          <p:spPr bwMode="gray">
            <a:xfrm flipV="1">
              <a:off x="984977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btfpColumnIndicator636652">
              <a:extLst>
                <a:ext uri="{FF2B5EF4-FFF2-40B4-BE49-F238E27FC236}">
                  <a16:creationId xmlns:a16="http://schemas.microsoft.com/office/drawing/2014/main" id="{DB2C7DEB-482E-44B0-9146-4E43DFE42A95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btfpColumnGapBlocker774087">
              <a:extLst>
                <a:ext uri="{FF2B5EF4-FFF2-40B4-BE49-F238E27FC236}">
                  <a16:creationId xmlns:a16="http://schemas.microsoft.com/office/drawing/2014/main" id="{58618B12-BA0E-4BE9-8D78-2283BE50275E}"/>
                </a:ext>
              </a:extLst>
            </p:cNvPr>
            <p:cNvSpPr/>
            <p:nvPr/>
          </p:nvSpPr>
          <p:spPr bwMode="gray">
            <a:xfrm>
              <a:off x="5825729" y="-205740"/>
              <a:ext cx="540543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31" name="btfpColumnIndicator411915">
              <a:extLst>
                <a:ext uri="{FF2B5EF4-FFF2-40B4-BE49-F238E27FC236}">
                  <a16:creationId xmlns:a16="http://schemas.microsoft.com/office/drawing/2014/main" id="{18484999-656B-48F9-B910-4318EAD6946E}"/>
                </a:ext>
              </a:extLst>
            </p:cNvPr>
            <p:cNvCxnSpPr/>
            <p:nvPr/>
          </p:nvCxnSpPr>
          <p:spPr bwMode="gray">
            <a:xfrm flipV="1">
              <a:off x="7837753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btfpColumnIndicator281532">
              <a:extLst>
                <a:ext uri="{FF2B5EF4-FFF2-40B4-BE49-F238E27FC236}">
                  <a16:creationId xmlns:a16="http://schemas.microsoft.com/office/drawing/2014/main" id="{AF240248-E9D6-4D53-B26D-43A20372926C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btfpColumnGapBlocker710993">
              <a:extLst>
                <a:ext uri="{FF2B5EF4-FFF2-40B4-BE49-F238E27FC236}">
                  <a16:creationId xmlns:a16="http://schemas.microsoft.com/office/drawing/2014/main" id="{F38A1ED4-F97E-4B41-B298-776229C9ED00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3" name="btfpColumnIndicator391645">
              <a:extLst>
                <a:ext uri="{FF2B5EF4-FFF2-40B4-BE49-F238E27FC236}">
                  <a16:creationId xmlns:a16="http://schemas.microsoft.com/office/drawing/2014/main" id="{B0EFE7E3-FBC5-4CA8-8579-51AB8600D328}"/>
                </a:ext>
              </a:extLst>
            </p:cNvPr>
            <p:cNvCxnSpPr/>
            <p:nvPr/>
          </p:nvCxnSpPr>
          <p:spPr bwMode="gray">
            <a:xfrm flipV="1">
              <a:off x="5825729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btfpColumnIndicator152865">
              <a:extLst>
                <a:ext uri="{FF2B5EF4-FFF2-40B4-BE49-F238E27FC236}">
                  <a16:creationId xmlns:a16="http://schemas.microsoft.com/office/drawing/2014/main" id="{9D4DB5D6-2766-4474-9E74-5448CA14675A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btfpColumnGapBlocker112997">
              <a:extLst>
                <a:ext uri="{FF2B5EF4-FFF2-40B4-BE49-F238E27FC236}">
                  <a16:creationId xmlns:a16="http://schemas.microsoft.com/office/drawing/2014/main" id="{F37D6D71-9F5E-428A-998A-2B7355639371}"/>
                </a:ext>
              </a:extLst>
            </p:cNvPr>
            <p:cNvSpPr/>
            <p:nvPr/>
          </p:nvSpPr>
          <p:spPr bwMode="gray">
            <a:xfrm>
              <a:off x="1801680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7" name="btfpColumnIndicator411610">
              <a:extLst>
                <a:ext uri="{FF2B5EF4-FFF2-40B4-BE49-F238E27FC236}">
                  <a16:creationId xmlns:a16="http://schemas.microsoft.com/office/drawing/2014/main" id="{D7110641-4DE7-4CCB-A3E7-02D6CB99ADBD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btfpColumnIndicator961587">
              <a:extLst>
                <a:ext uri="{FF2B5EF4-FFF2-40B4-BE49-F238E27FC236}">
                  <a16:creationId xmlns:a16="http://schemas.microsoft.com/office/drawing/2014/main" id="{969B5EA4-9F1D-46CE-B9E3-1B1A7F6F3DD6}"/>
                </a:ext>
              </a:extLst>
            </p:cNvPr>
            <p:cNvCxnSpPr/>
            <p:nvPr/>
          </p:nvCxnSpPr>
          <p:spPr bwMode="gray">
            <a:xfrm flipV="1">
              <a:off x="234222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btfpColumnGapBlocker260758">
              <a:extLst>
                <a:ext uri="{FF2B5EF4-FFF2-40B4-BE49-F238E27FC236}">
                  <a16:creationId xmlns:a16="http://schemas.microsoft.com/office/drawing/2014/main" id="{459A9FB1-636A-4206-8E81-5983A439C837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443545">
              <a:extLst>
                <a:ext uri="{FF2B5EF4-FFF2-40B4-BE49-F238E27FC236}">
                  <a16:creationId xmlns:a16="http://schemas.microsoft.com/office/drawing/2014/main" id="{39BF61FD-2C16-4CA0-B904-AA3EB0654FD6}"/>
                </a:ext>
              </a:extLst>
            </p:cNvPr>
            <p:cNvCxnSpPr/>
            <p:nvPr/>
          </p:nvCxnSpPr>
          <p:spPr bwMode="gray">
            <a:xfrm flipV="1">
              <a:off x="180168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btfpColumnIndicator111496">
              <a:extLst>
                <a:ext uri="{FF2B5EF4-FFF2-40B4-BE49-F238E27FC236}">
                  <a16:creationId xmlns:a16="http://schemas.microsoft.com/office/drawing/2014/main" id="{861A7791-1D1B-4FBD-B2A3-75846E4ED267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0200" y="8273"/>
            <a:ext cx="11705307" cy="876687"/>
          </a:xfrm>
          <a:noFill/>
        </p:spPr>
        <p:txBody>
          <a:bodyPr vert="horz"/>
          <a:lstStyle/>
          <a:p>
            <a:r>
              <a:rPr lang="en-US"/>
              <a:t>Alpha Paving TX is the leading brand of Pave America but facing tough competition from Rose Paving; opportunity in improving search marketing for all Pave Am. brands</a:t>
            </a:r>
            <a:endParaRPr lang="en-GB"/>
          </a:p>
        </p:txBody>
      </p: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1775092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verall_0_132131540530909922 columns_6_131701904647936146 4_0_131701983719174659 33_0_132140505170850236 29_0_132140505171029766 36_0_132140505170889747 39_0_132140505170930023 42_0_132140505170959938 45_0_132140505170989858 9_1_132168595448952853 10_1_132228687318498854 </a:t>
            </a:r>
          </a:p>
        </p:txBody>
      </p:sp>
      <p:sp>
        <p:nvSpPr>
          <p:cNvPr id="5" name="BainBulletsConfiguration" hidden="1"/>
          <p:cNvSpPr txBox="1"/>
          <p:nvPr/>
        </p:nvSpPr>
        <p:spPr bwMode="gray">
          <a:xfrm>
            <a:off x="12700" y="12700"/>
            <a:ext cx="72768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199F07E6-477D-4D9A-AE14-F65CC024392E}"/>
              </a:ext>
            </a:extLst>
          </p:cNvPr>
          <p:cNvGrpSpPr/>
          <p:nvPr/>
        </p:nvGrpSpPr>
        <p:grpSpPr>
          <a:xfrm>
            <a:off x="9359767" y="6215601"/>
            <a:ext cx="2675743" cy="276949"/>
            <a:chOff x="7472083" y="6375980"/>
            <a:chExt cx="4566919" cy="343098"/>
          </a:xfrm>
        </p:grpSpPr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E156B2A7-7FA2-4941-820D-73E3F4A2A75B}"/>
                </a:ext>
              </a:extLst>
            </p:cNvPr>
            <p:cNvSpPr txBox="1"/>
            <p:nvPr/>
          </p:nvSpPr>
          <p:spPr bwMode="gray">
            <a:xfrm>
              <a:off x="7472083" y="6375980"/>
              <a:ext cx="1018147" cy="3430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1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agging</a:t>
              </a:r>
            </a:p>
          </p:txBody>
        </p:sp>
        <p:sp>
          <p:nvSpPr>
            <p:cNvPr id="109" name="Up-Down Arrow 66">
              <a:extLst>
                <a:ext uri="{FF2B5EF4-FFF2-40B4-BE49-F238E27FC236}">
                  <a16:creationId xmlns:a16="http://schemas.microsoft.com/office/drawing/2014/main" id="{B93AEEF1-3022-427C-869E-555AF51F8EC1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 bwMode="gray">
            <a:xfrm rot="16200000">
              <a:off x="9534794" y="5119473"/>
              <a:ext cx="176291" cy="2762922"/>
            </a:xfrm>
            <a:prstGeom prst="upDownArrow">
              <a:avLst/>
            </a:prstGeom>
            <a:gradFill>
              <a:gsLst>
                <a:gs pos="0">
                  <a:srgbClr val="FF8585"/>
                </a:gs>
                <a:gs pos="0">
                  <a:srgbClr val="CC6666"/>
                </a:gs>
                <a:gs pos="50000">
                  <a:srgbClr val="F3EED8"/>
                </a:gs>
                <a:gs pos="100000">
                  <a:srgbClr val="95BAAB"/>
                </a:gs>
              </a:gsLst>
              <a:lin ang="5400000" scaled="1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4C71D759-C01C-4689-BCFC-5D360B34B4CA}"/>
                </a:ext>
              </a:extLst>
            </p:cNvPr>
            <p:cNvSpPr txBox="1"/>
            <p:nvPr/>
          </p:nvSpPr>
          <p:spPr bwMode="gray">
            <a:xfrm>
              <a:off x="11020855" y="6375980"/>
              <a:ext cx="1018147" cy="343098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1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ading</a:t>
              </a:r>
            </a:p>
          </p:txBody>
        </p:sp>
      </p:grpSp>
      <p:grpSp>
        <p:nvGrpSpPr>
          <p:cNvPr id="9" name="btfpStatusSticker616595">
            <a:extLst>
              <a:ext uri="{FF2B5EF4-FFF2-40B4-BE49-F238E27FC236}">
                <a16:creationId xmlns:a16="http://schemas.microsoft.com/office/drawing/2014/main" id="{9CA9C072-E2F6-4FB1-8149-21820051BCE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102664" y="893700"/>
            <a:ext cx="1759136" cy="235611"/>
            <a:chOff x="-2269853" y="876300"/>
            <a:chExt cx="1759136" cy="235611"/>
          </a:xfrm>
        </p:grpSpPr>
        <p:sp>
          <p:nvSpPr>
            <p:cNvPr id="4" name="btfpStatusStickerText616595">
              <a:extLst>
                <a:ext uri="{FF2B5EF4-FFF2-40B4-BE49-F238E27FC236}">
                  <a16:creationId xmlns:a16="http://schemas.microsoft.com/office/drawing/2014/main" id="{76786A55-32C4-44AE-93E7-275AD31F49FC}"/>
                </a:ext>
              </a:extLst>
            </p:cNvPr>
            <p:cNvSpPr txBox="1"/>
            <p:nvPr/>
          </p:nvSpPr>
          <p:spPr bwMode="gray">
            <a:xfrm>
              <a:off x="-2269853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rectional</a:t>
              </a:r>
            </a:p>
          </p:txBody>
        </p:sp>
        <p:cxnSp>
          <p:nvCxnSpPr>
            <p:cNvPr id="6" name="btfpStatusStickerLine616595">
              <a:extLst>
                <a:ext uri="{FF2B5EF4-FFF2-40B4-BE49-F238E27FC236}">
                  <a16:creationId xmlns:a16="http://schemas.microsoft.com/office/drawing/2014/main" id="{C117BDC9-4ED8-4692-A108-4BD70AAD73FF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69853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87" name="Table 86">
            <a:extLst>
              <a:ext uri="{FF2B5EF4-FFF2-40B4-BE49-F238E27FC236}">
                <a16:creationId xmlns:a16="http://schemas.microsoft.com/office/drawing/2014/main" id="{0725009E-CA9C-8056-D0F9-05854E5564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8725962"/>
              </p:ext>
            </p:extLst>
          </p:nvPr>
        </p:nvGraphicFramePr>
        <p:xfrm>
          <a:off x="333333" y="1440588"/>
          <a:ext cx="11518935" cy="4741280"/>
        </p:xfrm>
        <a:graphic>
          <a:graphicData uri="http://schemas.openxmlformats.org/drawingml/2006/table">
            <a:tbl>
              <a:tblPr/>
              <a:tblGrid>
                <a:gridCol w="889363">
                  <a:extLst>
                    <a:ext uri="{9D8B030D-6E8A-4147-A177-3AD203B41FA5}">
                      <a16:colId xmlns:a16="http://schemas.microsoft.com/office/drawing/2014/main" val="1035403810"/>
                    </a:ext>
                  </a:extLst>
                </a:gridCol>
                <a:gridCol w="2937044">
                  <a:extLst>
                    <a:ext uri="{9D8B030D-6E8A-4147-A177-3AD203B41FA5}">
                      <a16:colId xmlns:a16="http://schemas.microsoft.com/office/drawing/2014/main" val="3836586223"/>
                    </a:ext>
                  </a:extLst>
                </a:gridCol>
                <a:gridCol w="641044">
                  <a:extLst>
                    <a:ext uri="{9D8B030D-6E8A-4147-A177-3AD203B41FA5}">
                      <a16:colId xmlns:a16="http://schemas.microsoft.com/office/drawing/2014/main" val="2103097211"/>
                    </a:ext>
                  </a:extLst>
                </a:gridCol>
                <a:gridCol w="641044">
                  <a:extLst>
                    <a:ext uri="{9D8B030D-6E8A-4147-A177-3AD203B41FA5}">
                      <a16:colId xmlns:a16="http://schemas.microsoft.com/office/drawing/2014/main" val="314873848"/>
                    </a:ext>
                  </a:extLst>
                </a:gridCol>
                <a:gridCol w="641044">
                  <a:extLst>
                    <a:ext uri="{9D8B030D-6E8A-4147-A177-3AD203B41FA5}">
                      <a16:colId xmlns:a16="http://schemas.microsoft.com/office/drawing/2014/main" val="727808797"/>
                    </a:ext>
                  </a:extLst>
                </a:gridCol>
                <a:gridCol w="641044">
                  <a:extLst>
                    <a:ext uri="{9D8B030D-6E8A-4147-A177-3AD203B41FA5}">
                      <a16:colId xmlns:a16="http://schemas.microsoft.com/office/drawing/2014/main" val="1338528555"/>
                    </a:ext>
                  </a:extLst>
                </a:gridCol>
                <a:gridCol w="641044">
                  <a:extLst>
                    <a:ext uri="{9D8B030D-6E8A-4147-A177-3AD203B41FA5}">
                      <a16:colId xmlns:a16="http://schemas.microsoft.com/office/drawing/2014/main" val="4205024982"/>
                    </a:ext>
                  </a:extLst>
                </a:gridCol>
                <a:gridCol w="641044">
                  <a:extLst>
                    <a:ext uri="{9D8B030D-6E8A-4147-A177-3AD203B41FA5}">
                      <a16:colId xmlns:a16="http://schemas.microsoft.com/office/drawing/2014/main" val="50718993"/>
                    </a:ext>
                  </a:extLst>
                </a:gridCol>
                <a:gridCol w="641044">
                  <a:extLst>
                    <a:ext uri="{9D8B030D-6E8A-4147-A177-3AD203B41FA5}">
                      <a16:colId xmlns:a16="http://schemas.microsoft.com/office/drawing/2014/main" val="55496237"/>
                    </a:ext>
                  </a:extLst>
                </a:gridCol>
                <a:gridCol w="641044">
                  <a:extLst>
                    <a:ext uri="{9D8B030D-6E8A-4147-A177-3AD203B41FA5}">
                      <a16:colId xmlns:a16="http://schemas.microsoft.com/office/drawing/2014/main" val="2105170373"/>
                    </a:ext>
                  </a:extLst>
                </a:gridCol>
                <a:gridCol w="641044">
                  <a:extLst>
                    <a:ext uri="{9D8B030D-6E8A-4147-A177-3AD203B41FA5}">
                      <a16:colId xmlns:a16="http://schemas.microsoft.com/office/drawing/2014/main" val="949451113"/>
                    </a:ext>
                  </a:extLst>
                </a:gridCol>
                <a:gridCol w="641044">
                  <a:extLst>
                    <a:ext uri="{9D8B030D-6E8A-4147-A177-3AD203B41FA5}">
                      <a16:colId xmlns:a16="http://schemas.microsoft.com/office/drawing/2014/main" val="339506180"/>
                    </a:ext>
                  </a:extLst>
                </a:gridCol>
                <a:gridCol w="641044">
                  <a:extLst>
                    <a:ext uri="{9D8B030D-6E8A-4147-A177-3AD203B41FA5}">
                      <a16:colId xmlns:a16="http://schemas.microsoft.com/office/drawing/2014/main" val="3513081262"/>
                    </a:ext>
                  </a:extLst>
                </a:gridCol>
                <a:gridCol w="641044">
                  <a:extLst>
                    <a:ext uri="{9D8B030D-6E8A-4147-A177-3AD203B41FA5}">
                      <a16:colId xmlns:a16="http://schemas.microsoft.com/office/drawing/2014/main" val="3428206926"/>
                    </a:ext>
                  </a:extLst>
                </a:gridCol>
              </a:tblGrid>
              <a:tr h="23706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otal visits - monthly average – </a:t>
                      </a:r>
                      <a:r>
                        <a:rPr lang="en-US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pr’24 to Mar’25 (K)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.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2C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D5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D8C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B4A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938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6969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.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BCAD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C0B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ECD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5E5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C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5744945"/>
                  </a:ext>
                </a:extLst>
              </a:tr>
              <a:tr h="23706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otal visits - annual average – </a:t>
                      </a:r>
                      <a:r>
                        <a:rPr lang="en-US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pr’22 to Mar’25 (K)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2.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EBD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.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1CD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2.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EB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.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EAD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.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847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.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ACA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.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CCB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4.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6.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.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BD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.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2.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9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9918170"/>
                  </a:ext>
                </a:extLst>
              </a:tr>
              <a:tr h="23706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YoY change in total visit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ECD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7C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B0A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E3C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5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1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9D9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E6F6D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8D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B1A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EDD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EE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9652442"/>
                  </a:ext>
                </a:extLst>
              </a:tr>
              <a:tr h="23706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nique visitors - monthly average – </a:t>
                      </a:r>
                      <a:r>
                        <a:rPr lang="en-US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pr’24 to Mar’25 (K)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DEC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D0B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D9C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B7A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888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EBFB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D3C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C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737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2954235"/>
                  </a:ext>
                </a:extLst>
              </a:tr>
              <a:tr h="23706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nique visitors - annual average – </a:t>
                      </a:r>
                      <a:r>
                        <a:rPr lang="en-US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pr’22 to Mar’25 (K)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3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4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.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DFC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7.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CB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.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E7D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.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878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.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A69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.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C4B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7.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.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.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AD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.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9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67516"/>
                  </a:ext>
                </a:extLst>
              </a:tr>
              <a:tr h="23706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YoY change in unique visitor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5D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7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C7B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CEBD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DFC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5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3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958D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2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757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6D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BFB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D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ED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8076298"/>
                  </a:ext>
                </a:extLst>
              </a:tr>
              <a:tr h="23706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Direct visit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9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2435151"/>
                  </a:ext>
                </a:extLst>
              </a:tr>
              <a:tr h="23706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Search (organic + paid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3366637"/>
                  </a:ext>
                </a:extLst>
              </a:tr>
              <a:tr h="23706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Social medi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233864"/>
                  </a:ext>
                </a:extLst>
              </a:tr>
              <a:tr h="23706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Display ad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83223147"/>
                  </a:ext>
                </a:extLst>
              </a:tr>
              <a:tr h="23706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Referral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7423518"/>
                  </a:ext>
                </a:extLst>
              </a:tr>
              <a:tr h="23706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Others, such as emai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0943691"/>
                  </a:ext>
                </a:extLst>
              </a:tr>
              <a:tr h="23706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ges per visit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B2A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A79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D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.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C9B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.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8C8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B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E8D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.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D7C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DD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4327783"/>
                  </a:ext>
                </a:extLst>
              </a:tr>
              <a:tr h="23706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vg. visit duration </a:t>
                      </a:r>
                      <a:r>
                        <a:rPr lang="en-US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minutes)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787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7B7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8B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2C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.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C7B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.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4D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DCC9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D3C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0C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EE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3885127"/>
                  </a:ext>
                </a:extLst>
              </a:tr>
              <a:tr h="23706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ounce rat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E2C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ADA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1C9B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C3B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9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AEA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D2B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BAA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DFC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2C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D3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5499684"/>
                  </a:ext>
                </a:extLst>
              </a:tr>
              <a:tr h="23706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# keywords website ranks in top 100 results for </a:t>
                      </a:r>
                      <a:r>
                        <a:rPr lang="en-US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K)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DFC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EDD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EDD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B2A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827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.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DBC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ECD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A399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EE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7730159"/>
                  </a:ext>
                </a:extLst>
              </a:tr>
              <a:tr h="23706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Organic traffic (indexed with 100=max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EC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AD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B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EDD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EAD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D3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BD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DCC9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ED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090542"/>
                  </a:ext>
                </a:extLst>
              </a:tr>
              <a:tr h="23706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Cost per Click ($) </a:t>
                      </a:r>
                      <a:r>
                        <a:rPr lang="en-US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last 30 days)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.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.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8446064"/>
                  </a:ext>
                </a:extLst>
              </a:tr>
              <a:tr h="23706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Paid search traffic (indexed) </a:t>
                      </a:r>
                      <a:r>
                        <a:rPr lang="en-US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last 30 days)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0778538"/>
                  </a:ext>
                </a:extLst>
              </a:tr>
              <a:tr h="23706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Paid search spend (indexed) </a:t>
                      </a:r>
                      <a:r>
                        <a:rPr lang="en-US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last 30 days)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8362024"/>
                  </a:ext>
                </a:extLst>
              </a:tr>
            </a:tbl>
          </a:graphicData>
        </a:graphic>
      </p:graphicFrame>
      <p:sp>
        <p:nvSpPr>
          <p:cNvPr id="88" name="Rectangle 87">
            <a:extLst>
              <a:ext uri="{FF2B5EF4-FFF2-40B4-BE49-F238E27FC236}">
                <a16:creationId xmlns:a16="http://schemas.microsoft.com/office/drawing/2014/main" id="{9256E6A5-4036-40DB-9778-6CE92C79EA09}"/>
              </a:ext>
            </a:extLst>
          </p:cNvPr>
          <p:cNvSpPr/>
          <p:nvPr/>
        </p:nvSpPr>
        <p:spPr bwMode="gray">
          <a:xfrm>
            <a:off x="330200" y="1480815"/>
            <a:ext cx="862874" cy="3472106"/>
          </a:xfrm>
          <a:prstGeom prst="rect">
            <a:avLst/>
          </a:prstGeom>
          <a:gradFill flip="none" rotWithShape="1">
            <a:gsLst>
              <a:gs pos="0">
                <a:schemeClr val="accent3">
                  <a:alpha val="75000"/>
                </a:schemeClr>
              </a:gs>
              <a:gs pos="100000">
                <a:schemeClr val="accent6">
                  <a:alpha val="75000"/>
                  <a:lumMod val="100000"/>
                </a:schemeClr>
              </a:gs>
            </a:gsLst>
            <a:lin ang="0" scaled="1"/>
            <a:tileRect/>
          </a:gradFill>
          <a:ln w="9525"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bsite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E276F7C9-77C2-416A-BAA5-8B8B2A2E25D7}"/>
              </a:ext>
            </a:extLst>
          </p:cNvPr>
          <p:cNvSpPr/>
          <p:nvPr/>
        </p:nvSpPr>
        <p:spPr bwMode="gray">
          <a:xfrm>
            <a:off x="334963" y="5035198"/>
            <a:ext cx="854338" cy="1113614"/>
          </a:xfrm>
          <a:prstGeom prst="rect">
            <a:avLst/>
          </a:prstGeom>
          <a:gradFill flip="none" rotWithShape="1">
            <a:gsLst>
              <a:gs pos="0">
                <a:schemeClr val="accent3">
                  <a:alpha val="75000"/>
                </a:schemeClr>
              </a:gs>
              <a:gs pos="100000">
                <a:schemeClr val="accent6">
                  <a:alpha val="75000"/>
                  <a:lumMod val="100000"/>
                </a:schemeClr>
              </a:gs>
            </a:gsLst>
            <a:lin ang="0" scaled="1"/>
            <a:tileRect/>
          </a:gradFill>
          <a:ln w="9525"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O/ SEM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CAB62979-05DA-46E5-B0F7-9F894CCAFBB5}"/>
              </a:ext>
            </a:extLst>
          </p:cNvPr>
          <p:cNvSpPr/>
          <p:nvPr/>
        </p:nvSpPr>
        <p:spPr bwMode="gray">
          <a:xfrm rot="16200000">
            <a:off x="604853" y="3488589"/>
            <a:ext cx="1389429" cy="176927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ffic Sources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A4C3311F-8780-43FF-B96F-E929222F036A}"/>
              </a:ext>
            </a:extLst>
          </p:cNvPr>
          <p:cNvSpPr/>
          <p:nvPr/>
        </p:nvSpPr>
        <p:spPr bwMode="gray">
          <a:xfrm rot="16200000">
            <a:off x="1087426" y="5159598"/>
            <a:ext cx="424283" cy="176927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O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846A2A35-DAA4-4AE3-A688-F39111DCC5B9}"/>
              </a:ext>
            </a:extLst>
          </p:cNvPr>
          <p:cNvSpPr/>
          <p:nvPr/>
        </p:nvSpPr>
        <p:spPr bwMode="gray">
          <a:xfrm rot="16200000">
            <a:off x="968410" y="5726462"/>
            <a:ext cx="662313" cy="176927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M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AA28B6C5-751C-45C5-8D39-136D846AADAF}"/>
              </a:ext>
            </a:extLst>
          </p:cNvPr>
          <p:cNvSpPr/>
          <p:nvPr/>
        </p:nvSpPr>
        <p:spPr bwMode="gray">
          <a:xfrm>
            <a:off x="4158415" y="1440588"/>
            <a:ext cx="4481691" cy="4741279"/>
          </a:xfrm>
          <a:prstGeom prst="rect">
            <a:avLst/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6" name="Picture 2" descr="Pave America | Concrete &amp; Asphalt Paving Contractors Nationwide">
            <a:extLst>
              <a:ext uri="{FF2B5EF4-FFF2-40B4-BE49-F238E27FC236}">
                <a16:creationId xmlns:a16="http://schemas.microsoft.com/office/drawing/2014/main" id="{29344097-5A24-D4A1-8B77-8004EA969F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3243" y="1301438"/>
            <a:ext cx="580411" cy="60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4" descr="Alpha Paving Industries, LLC - FRIENDSWOOD CHAMBER OF COMMERCE">
            <a:extLst>
              <a:ext uri="{FF2B5EF4-FFF2-40B4-BE49-F238E27FC236}">
                <a16:creationId xmlns:a16="http://schemas.microsoft.com/office/drawing/2014/main" id="{17EAF5A8-E71F-C597-F0FF-D8A0D25B5F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3357" y="1170432"/>
            <a:ext cx="429566" cy="2072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10" descr="Contact Us | Quality Paving Services | Brothers Paving">
            <a:extLst>
              <a:ext uri="{FF2B5EF4-FFF2-40B4-BE49-F238E27FC236}">
                <a16:creationId xmlns:a16="http://schemas.microsoft.com/office/drawing/2014/main" id="{4AC8E358-F8BF-48A3-4F41-00B34BBC60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7322" y="1219378"/>
            <a:ext cx="552021" cy="154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12" descr="Turner Asphalt Reviews: What Is It Like to Work At Turner Asphalt? |  Glassdoor">
            <a:extLst>
              <a:ext uri="{FF2B5EF4-FFF2-40B4-BE49-F238E27FC236}">
                <a16:creationId xmlns:a16="http://schemas.microsoft.com/office/drawing/2014/main" id="{DC1887BD-4D10-8F2F-982D-9BA531296F0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968" b="40222"/>
          <a:stretch/>
        </p:blipFill>
        <p:spPr bwMode="auto">
          <a:xfrm>
            <a:off x="6765103" y="1251162"/>
            <a:ext cx="549139" cy="108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14" descr="Working at Cincinnati Asphalt: Employee Reviews | Indeed.com">
            <a:extLst>
              <a:ext uri="{FF2B5EF4-FFF2-40B4-BE49-F238E27FC236}">
                <a16:creationId xmlns:a16="http://schemas.microsoft.com/office/drawing/2014/main" id="{DE4AA242-DB6A-82B0-B25B-C8CF357519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5655" y="1227360"/>
            <a:ext cx="510515" cy="1569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16" descr="Pavement Experts in Denver, CO - National Pavement Partners">
            <a:extLst>
              <a:ext uri="{FF2B5EF4-FFF2-40B4-BE49-F238E27FC236}">
                <a16:creationId xmlns:a16="http://schemas.microsoft.com/office/drawing/2014/main" id="{7D34C31C-4762-2771-2A56-E17CCC80BB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4854" y="1218771"/>
            <a:ext cx="702355" cy="192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18" descr="Rose Paving Merges with Atlantic Southern Paving and ...">
            <a:extLst>
              <a:ext uri="{FF2B5EF4-FFF2-40B4-BE49-F238E27FC236}">
                <a16:creationId xmlns:a16="http://schemas.microsoft.com/office/drawing/2014/main" id="{7246A6BC-E4FF-7198-CB84-33EB20C3284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88" t="27030" r="19071" b="29133"/>
          <a:stretch/>
        </p:blipFill>
        <p:spPr bwMode="auto">
          <a:xfrm>
            <a:off x="8727871" y="1227090"/>
            <a:ext cx="449774" cy="1744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20" descr="Atlantic Southern Acquires Property Paving to Expand ...">
            <a:extLst>
              <a:ext uri="{FF2B5EF4-FFF2-40B4-BE49-F238E27FC236}">
                <a16:creationId xmlns:a16="http://schemas.microsoft.com/office/drawing/2014/main" id="{99DE3D44-314E-3702-4323-BC5AB74B18F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984" b="28085"/>
          <a:stretch/>
        </p:blipFill>
        <p:spPr bwMode="auto">
          <a:xfrm>
            <a:off x="9280398" y="1256479"/>
            <a:ext cx="539068" cy="1184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22" descr="Asphalt Construction &amp; Maintenance | Sunland Asphalt">
            <a:extLst>
              <a:ext uri="{FF2B5EF4-FFF2-40B4-BE49-F238E27FC236}">
                <a16:creationId xmlns:a16="http://schemas.microsoft.com/office/drawing/2014/main" id="{AA3F2457-D5D9-9FAF-F863-0D8A29AA8B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5776" y="1227300"/>
            <a:ext cx="461381" cy="15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24" descr="Paving Companies Atlanta, GA | Georgia Paving Inc">
            <a:extLst>
              <a:ext uri="{FF2B5EF4-FFF2-40B4-BE49-F238E27FC236}">
                <a16:creationId xmlns:a16="http://schemas.microsoft.com/office/drawing/2014/main" id="{B5B52415-0D2B-E4C8-A8C3-04CC0A8748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1538" y="1231155"/>
            <a:ext cx="531176" cy="1493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26" descr="Nationwide Commercial Parking Lot Management | Let's Pave">
            <a:extLst>
              <a:ext uri="{FF2B5EF4-FFF2-40B4-BE49-F238E27FC236}">
                <a16:creationId xmlns:a16="http://schemas.microsoft.com/office/drawing/2014/main" id="{C5AA4213-7AF8-32AD-DC2D-B81EAD5B24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9676" y="1231155"/>
            <a:ext cx="590345" cy="158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id="{8C2FC93C-92A1-1912-2ACA-229E44A6A0A9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5526313" y="1179036"/>
            <a:ext cx="418478" cy="201035"/>
          </a:xfrm>
          <a:prstGeom prst="rect">
            <a:avLst/>
          </a:prstGeom>
        </p:spPr>
      </p:pic>
      <p:sp>
        <p:nvSpPr>
          <p:cNvPr id="278" name="btfpNotesBox703484">
            <a:extLst>
              <a:ext uri="{FF2B5EF4-FFF2-40B4-BE49-F238E27FC236}">
                <a16:creationId xmlns:a16="http://schemas.microsoft.com/office/drawing/2014/main" id="{FE4C3026-8B25-CB3E-FC18-76F96A86864B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329390" y="6462392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sz="800"/>
              <a:t>Source: </a:t>
            </a:r>
            <a:r>
              <a:rPr lang="en-GB" sz="800" err="1"/>
              <a:t>SimilarWeb</a:t>
            </a:r>
            <a:r>
              <a:rPr lang="en-GB" sz="800"/>
              <a:t>, </a:t>
            </a:r>
            <a:r>
              <a:rPr lang="en-GB" sz="800" err="1"/>
              <a:t>SEMRush</a:t>
            </a:r>
            <a:endParaRPr lang="en-GB" sz="800"/>
          </a:p>
        </p:txBody>
      </p:sp>
      <p:pic>
        <p:nvPicPr>
          <p:cNvPr id="76" name="Picture 75">
            <a:extLst>
              <a:ext uri="{FF2B5EF4-FFF2-40B4-BE49-F238E27FC236}">
                <a16:creationId xmlns:a16="http://schemas.microsoft.com/office/drawing/2014/main" id="{D6B70300-14C2-952D-F151-E740AEFDFB30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38" y="946635"/>
            <a:ext cx="252287" cy="25157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766459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8A59A7-E54A-D588-5E6F-9EF98A9107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4564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28" imgH="329" progId="TCLayout.ActiveDocument.1">
                  <p:embed/>
                </p:oleObj>
              </mc:Choice>
              <mc:Fallback>
                <p:oleObj name="think-cell Slide" r:id="rId9" imgW="328" imgH="329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8A59A7-E54A-D588-5E6F-9EF98A9107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1" name="Rectangle 110">
            <a:extLst>
              <a:ext uri="{FF2B5EF4-FFF2-40B4-BE49-F238E27FC236}">
                <a16:creationId xmlns:a16="http://schemas.microsoft.com/office/drawing/2014/main" id="{6F233616-7787-8897-A7B3-A6EBA17430F7}"/>
              </a:ext>
            </a:extLst>
          </p:cNvPr>
          <p:cNvSpPr/>
          <p:nvPr/>
        </p:nvSpPr>
        <p:spPr bwMode="gray">
          <a:xfrm rot="5400000">
            <a:off x="8940852" y="624889"/>
            <a:ext cx="164592" cy="13716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CA" sz="800" b="1" i="1">
                <a:solidFill>
                  <a:schemeClr val="bg1"/>
                </a:solidFill>
              </a:rPr>
              <a:t>Rose Paving</a:t>
            </a:r>
          </a:p>
        </p:txBody>
      </p:sp>
      <p:grpSp>
        <p:nvGrpSpPr>
          <p:cNvPr id="34" name="btfpColumnIndicatorGroup2">
            <a:extLst>
              <a:ext uri="{FF2B5EF4-FFF2-40B4-BE49-F238E27FC236}">
                <a16:creationId xmlns:a16="http://schemas.microsoft.com/office/drawing/2014/main" id="{BF51F2C9-0A57-5284-140C-F1B6A62404B1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31" name="btfpColumnGapBlocker193877">
              <a:extLst>
                <a:ext uri="{FF2B5EF4-FFF2-40B4-BE49-F238E27FC236}">
                  <a16:creationId xmlns:a16="http://schemas.microsoft.com/office/drawing/2014/main" id="{FAAD0F55-92A8-7C5F-DF50-5251B22E97F5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23" name="btfpColumnGapBlocker905596">
              <a:extLst>
                <a:ext uri="{FF2B5EF4-FFF2-40B4-BE49-F238E27FC236}">
                  <a16:creationId xmlns:a16="http://schemas.microsoft.com/office/drawing/2014/main" id="{95B8AF81-8702-9CDE-5352-358302024209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1" name="btfpColumnIndicator811583">
              <a:extLst>
                <a:ext uri="{FF2B5EF4-FFF2-40B4-BE49-F238E27FC236}">
                  <a16:creationId xmlns:a16="http://schemas.microsoft.com/office/drawing/2014/main" id="{14BD240A-C251-C250-1559-25C2220D8DB2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btfpColumnIndicator796515">
              <a:extLst>
                <a:ext uri="{FF2B5EF4-FFF2-40B4-BE49-F238E27FC236}">
                  <a16:creationId xmlns:a16="http://schemas.microsoft.com/office/drawing/2014/main" id="{B5FC853D-DC24-2ADB-201E-A2A28F61DA6C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btfpColumnIndicatorGroup1">
            <a:extLst>
              <a:ext uri="{FF2B5EF4-FFF2-40B4-BE49-F238E27FC236}">
                <a16:creationId xmlns:a16="http://schemas.microsoft.com/office/drawing/2014/main" id="{932FEAD0-2362-163A-8F0B-E34347D9F029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5" name="btfpColumnGapBlocker437631">
              <a:extLst>
                <a:ext uri="{FF2B5EF4-FFF2-40B4-BE49-F238E27FC236}">
                  <a16:creationId xmlns:a16="http://schemas.microsoft.com/office/drawing/2014/main" id="{F65E0ABA-C541-BA6D-1942-26C2691F9761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22" name="btfpColumnGapBlocker834399">
              <a:extLst>
                <a:ext uri="{FF2B5EF4-FFF2-40B4-BE49-F238E27FC236}">
                  <a16:creationId xmlns:a16="http://schemas.microsoft.com/office/drawing/2014/main" id="{183E3E84-D04B-5956-0A0C-9A43E7CD28B3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9" name="btfpColumnIndicator435630">
              <a:extLst>
                <a:ext uri="{FF2B5EF4-FFF2-40B4-BE49-F238E27FC236}">
                  <a16:creationId xmlns:a16="http://schemas.microsoft.com/office/drawing/2014/main" id="{AE8D1074-11BB-BA6B-6CAD-B70B7713CD54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btfpColumnIndicator314946">
              <a:extLst>
                <a:ext uri="{FF2B5EF4-FFF2-40B4-BE49-F238E27FC236}">
                  <a16:creationId xmlns:a16="http://schemas.microsoft.com/office/drawing/2014/main" id="{625C927E-A17C-FB06-28D2-87F73D97A3CF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0343CAE1-DE5B-1168-6B69-E5D53263E1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b="1"/>
              <a:t>Search ranking: </a:t>
            </a:r>
            <a:r>
              <a:rPr lang="en-US"/>
              <a:t>Scope for Pave America brands to enhance website content to attract more users and drive conversions</a:t>
            </a:r>
            <a:endParaRPr lang="en-GB"/>
          </a:p>
        </p:txBody>
      </p:sp>
      <p:grpSp>
        <p:nvGrpSpPr>
          <p:cNvPr id="15" name="btfpRunningAgenda1Level385877">
            <a:extLst>
              <a:ext uri="{FF2B5EF4-FFF2-40B4-BE49-F238E27FC236}">
                <a16:creationId xmlns:a16="http://schemas.microsoft.com/office/drawing/2014/main" id="{2AE297FE-58E8-6822-3976-B0BB4645907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-1" y="944429"/>
            <a:ext cx="3007453" cy="257442"/>
            <a:chOff x="-1" y="876300"/>
            <a:chExt cx="3007453" cy="257442"/>
          </a:xfrm>
        </p:grpSpPr>
        <p:sp>
          <p:nvSpPr>
            <p:cNvPr id="16" name="btfpRunningAgenda1LevelBarLeft385877">
              <a:extLst>
                <a:ext uri="{FF2B5EF4-FFF2-40B4-BE49-F238E27FC236}">
                  <a16:creationId xmlns:a16="http://schemas.microsoft.com/office/drawing/2014/main" id="{90F0852B-C4D8-5D20-A4B4-6090AE78869A}"/>
                </a:ext>
              </a:extLst>
            </p:cNvPr>
            <p:cNvSpPr/>
            <p:nvPr/>
          </p:nvSpPr>
          <p:spPr bwMode="gray">
            <a:xfrm>
              <a:off x="-1" y="876300"/>
              <a:ext cx="3007453" cy="257442"/>
            </a:xfrm>
            <a:custGeom>
              <a:avLst/>
              <a:gdLst>
                <a:gd name="connsiteX0" fmla="*/ 942786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42786 w 1816204"/>
                <a:gd name="connsiteY0" fmla="*/ 0 h 257442"/>
                <a:gd name="connsiteX1" fmla="*/ 888066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1111101 w 1111101"/>
                <a:gd name="connsiteY0" fmla="*/ 0 h 257442"/>
                <a:gd name="connsiteX1" fmla="*/ 888065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89034 w 1289034"/>
                <a:gd name="connsiteY0" fmla="*/ 0 h 257442"/>
                <a:gd name="connsiteX1" fmla="*/ 1056380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4 w 1289034"/>
                <a:gd name="connsiteY0" fmla="*/ 0 h 257442"/>
                <a:gd name="connsiteX1" fmla="*/ 1234312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1 w 1289035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1 w 1289035"/>
                <a:gd name="connsiteY3" fmla="*/ 0 h 257442"/>
                <a:gd name="connsiteX0" fmla="*/ 1457351 w 1457351"/>
                <a:gd name="connsiteY0" fmla="*/ 0 h 257442"/>
                <a:gd name="connsiteX1" fmla="*/ 1234313 w 1457351"/>
                <a:gd name="connsiteY1" fmla="*/ 257442 h 257442"/>
                <a:gd name="connsiteX2" fmla="*/ 0 w 1457351"/>
                <a:gd name="connsiteY2" fmla="*/ 257442 h 257442"/>
                <a:gd name="connsiteX3" fmla="*/ 1 w 1457351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0 w 1457351"/>
                <a:gd name="connsiteY2" fmla="*/ 257442 h 257442"/>
                <a:gd name="connsiteX3" fmla="*/ 1 w 1457351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1 w 1457351"/>
                <a:gd name="connsiteY2" fmla="*/ 257442 h 257442"/>
                <a:gd name="connsiteX3" fmla="*/ 0 w 1457351"/>
                <a:gd name="connsiteY3" fmla="*/ 0 h 257442"/>
                <a:gd name="connsiteX0" fmla="*/ 1710626 w 1710626"/>
                <a:gd name="connsiteY0" fmla="*/ 0 h 257442"/>
                <a:gd name="connsiteX1" fmla="*/ 1402630 w 1710626"/>
                <a:gd name="connsiteY1" fmla="*/ 257442 h 257442"/>
                <a:gd name="connsiteX2" fmla="*/ 1 w 1710626"/>
                <a:gd name="connsiteY2" fmla="*/ 257442 h 257442"/>
                <a:gd name="connsiteX3" fmla="*/ 0 w 1710626"/>
                <a:gd name="connsiteY3" fmla="*/ 0 h 257442"/>
                <a:gd name="connsiteX0" fmla="*/ 1710626 w 1710626"/>
                <a:gd name="connsiteY0" fmla="*/ 0 h 257442"/>
                <a:gd name="connsiteX1" fmla="*/ 1655904 w 1710626"/>
                <a:gd name="connsiteY1" fmla="*/ 257442 h 257442"/>
                <a:gd name="connsiteX2" fmla="*/ 1 w 1710626"/>
                <a:gd name="connsiteY2" fmla="*/ 257442 h 257442"/>
                <a:gd name="connsiteX3" fmla="*/ 0 w 1710626"/>
                <a:gd name="connsiteY3" fmla="*/ 0 h 257442"/>
                <a:gd name="connsiteX0" fmla="*/ 1710626 w 1710626"/>
                <a:gd name="connsiteY0" fmla="*/ 0 h 257442"/>
                <a:gd name="connsiteX1" fmla="*/ 1655904 w 1710626"/>
                <a:gd name="connsiteY1" fmla="*/ 257442 h 257442"/>
                <a:gd name="connsiteX2" fmla="*/ 0 w 1710626"/>
                <a:gd name="connsiteY2" fmla="*/ 257442 h 257442"/>
                <a:gd name="connsiteX3" fmla="*/ 0 w 1710626"/>
                <a:gd name="connsiteY3" fmla="*/ 0 h 257442"/>
                <a:gd name="connsiteX0" fmla="*/ 1710626 w 1710626"/>
                <a:gd name="connsiteY0" fmla="*/ 0 h 257442"/>
                <a:gd name="connsiteX1" fmla="*/ 1655904 w 1710626"/>
                <a:gd name="connsiteY1" fmla="*/ 257442 h 257442"/>
                <a:gd name="connsiteX2" fmla="*/ 0 w 1710626"/>
                <a:gd name="connsiteY2" fmla="*/ 257442 h 257442"/>
                <a:gd name="connsiteX3" fmla="*/ 0 w 1710626"/>
                <a:gd name="connsiteY3" fmla="*/ 0 h 257442"/>
                <a:gd name="connsiteX0" fmla="*/ 2023210 w 2023210"/>
                <a:gd name="connsiteY0" fmla="*/ 0 h 257442"/>
                <a:gd name="connsiteX1" fmla="*/ 1655904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023210 w 2023210"/>
                <a:gd name="connsiteY0" fmla="*/ 0 h 257442"/>
                <a:gd name="connsiteX1" fmla="*/ 1968489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023210 w 2023210"/>
                <a:gd name="connsiteY0" fmla="*/ 0 h 257442"/>
                <a:gd name="connsiteX1" fmla="*/ 1968489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023210 w 2023210"/>
                <a:gd name="connsiteY0" fmla="*/ 0 h 257442"/>
                <a:gd name="connsiteX1" fmla="*/ 1968489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191525 w 2191525"/>
                <a:gd name="connsiteY0" fmla="*/ 0 h 257442"/>
                <a:gd name="connsiteX1" fmla="*/ 1968489 w 2191525"/>
                <a:gd name="connsiteY1" fmla="*/ 257442 h 257442"/>
                <a:gd name="connsiteX2" fmla="*/ 0 w 2191525"/>
                <a:gd name="connsiteY2" fmla="*/ 257442 h 257442"/>
                <a:gd name="connsiteX3" fmla="*/ 0 w 2191525"/>
                <a:gd name="connsiteY3" fmla="*/ 0 h 257442"/>
                <a:gd name="connsiteX0" fmla="*/ 2191525 w 2191525"/>
                <a:gd name="connsiteY0" fmla="*/ 0 h 257442"/>
                <a:gd name="connsiteX1" fmla="*/ 2136804 w 2191525"/>
                <a:gd name="connsiteY1" fmla="*/ 257442 h 257442"/>
                <a:gd name="connsiteX2" fmla="*/ 0 w 2191525"/>
                <a:gd name="connsiteY2" fmla="*/ 257442 h 257442"/>
                <a:gd name="connsiteX3" fmla="*/ 0 w 2191525"/>
                <a:gd name="connsiteY3" fmla="*/ 0 h 257442"/>
                <a:gd name="connsiteX0" fmla="*/ 2191525 w 2191525"/>
                <a:gd name="connsiteY0" fmla="*/ 0 h 257442"/>
                <a:gd name="connsiteX1" fmla="*/ 2136804 w 2191525"/>
                <a:gd name="connsiteY1" fmla="*/ 257442 h 257442"/>
                <a:gd name="connsiteX2" fmla="*/ 0 w 2191525"/>
                <a:gd name="connsiteY2" fmla="*/ 257442 h 257442"/>
                <a:gd name="connsiteX3" fmla="*/ 0 w 2191525"/>
                <a:gd name="connsiteY3" fmla="*/ 0 h 257442"/>
                <a:gd name="connsiteX0" fmla="*/ 2191525 w 2191525"/>
                <a:gd name="connsiteY0" fmla="*/ 0 h 257442"/>
                <a:gd name="connsiteX1" fmla="*/ 2136804 w 2191525"/>
                <a:gd name="connsiteY1" fmla="*/ 257442 h 257442"/>
                <a:gd name="connsiteX2" fmla="*/ 0 w 2191525"/>
                <a:gd name="connsiteY2" fmla="*/ 257442 h 257442"/>
                <a:gd name="connsiteX3" fmla="*/ 0 w 2191525"/>
                <a:gd name="connsiteY3" fmla="*/ 0 h 257442"/>
                <a:gd name="connsiteX0" fmla="*/ 2377474 w 2377474"/>
                <a:gd name="connsiteY0" fmla="*/ 0 h 257442"/>
                <a:gd name="connsiteX1" fmla="*/ 2136804 w 2377474"/>
                <a:gd name="connsiteY1" fmla="*/ 257442 h 257442"/>
                <a:gd name="connsiteX2" fmla="*/ 0 w 2377474"/>
                <a:gd name="connsiteY2" fmla="*/ 257442 h 257442"/>
                <a:gd name="connsiteX3" fmla="*/ 0 w 2377474"/>
                <a:gd name="connsiteY3" fmla="*/ 0 h 257442"/>
                <a:gd name="connsiteX0" fmla="*/ 2377474 w 2377474"/>
                <a:gd name="connsiteY0" fmla="*/ 0 h 257442"/>
                <a:gd name="connsiteX1" fmla="*/ 2322752 w 2377474"/>
                <a:gd name="connsiteY1" fmla="*/ 257442 h 257442"/>
                <a:gd name="connsiteX2" fmla="*/ 0 w 2377474"/>
                <a:gd name="connsiteY2" fmla="*/ 257442 h 257442"/>
                <a:gd name="connsiteX3" fmla="*/ 0 w 2377474"/>
                <a:gd name="connsiteY3" fmla="*/ 0 h 257442"/>
                <a:gd name="connsiteX0" fmla="*/ 2377475 w 2377475"/>
                <a:gd name="connsiteY0" fmla="*/ 0 h 257442"/>
                <a:gd name="connsiteX1" fmla="*/ 2322753 w 2377475"/>
                <a:gd name="connsiteY1" fmla="*/ 257442 h 257442"/>
                <a:gd name="connsiteX2" fmla="*/ 0 w 2377475"/>
                <a:gd name="connsiteY2" fmla="*/ 257442 h 257442"/>
                <a:gd name="connsiteX3" fmla="*/ 1 w 2377475"/>
                <a:gd name="connsiteY3" fmla="*/ 0 h 257442"/>
                <a:gd name="connsiteX0" fmla="*/ 2377475 w 2377475"/>
                <a:gd name="connsiteY0" fmla="*/ 0 h 257442"/>
                <a:gd name="connsiteX1" fmla="*/ 2322753 w 2377475"/>
                <a:gd name="connsiteY1" fmla="*/ 257442 h 257442"/>
                <a:gd name="connsiteX2" fmla="*/ 0 w 2377475"/>
                <a:gd name="connsiteY2" fmla="*/ 257442 h 257442"/>
                <a:gd name="connsiteX3" fmla="*/ 1 w 2377475"/>
                <a:gd name="connsiteY3" fmla="*/ 0 h 257442"/>
                <a:gd name="connsiteX0" fmla="*/ 2646779 w 2646779"/>
                <a:gd name="connsiteY0" fmla="*/ 0 h 257442"/>
                <a:gd name="connsiteX1" fmla="*/ 2322753 w 2646779"/>
                <a:gd name="connsiteY1" fmla="*/ 257442 h 257442"/>
                <a:gd name="connsiteX2" fmla="*/ 0 w 2646779"/>
                <a:gd name="connsiteY2" fmla="*/ 257442 h 257442"/>
                <a:gd name="connsiteX3" fmla="*/ 1 w 2646779"/>
                <a:gd name="connsiteY3" fmla="*/ 0 h 257442"/>
                <a:gd name="connsiteX0" fmla="*/ 2646779 w 2646779"/>
                <a:gd name="connsiteY0" fmla="*/ 0 h 257442"/>
                <a:gd name="connsiteX1" fmla="*/ 2592058 w 2646779"/>
                <a:gd name="connsiteY1" fmla="*/ 257442 h 257442"/>
                <a:gd name="connsiteX2" fmla="*/ 0 w 2646779"/>
                <a:gd name="connsiteY2" fmla="*/ 257442 h 257442"/>
                <a:gd name="connsiteX3" fmla="*/ 1 w 2646779"/>
                <a:gd name="connsiteY3" fmla="*/ 0 h 257442"/>
                <a:gd name="connsiteX0" fmla="*/ 2646778 w 2646778"/>
                <a:gd name="connsiteY0" fmla="*/ 0 h 257442"/>
                <a:gd name="connsiteX1" fmla="*/ 2592057 w 2646778"/>
                <a:gd name="connsiteY1" fmla="*/ 257442 h 257442"/>
                <a:gd name="connsiteX2" fmla="*/ 0 w 2646778"/>
                <a:gd name="connsiteY2" fmla="*/ 257442 h 257442"/>
                <a:gd name="connsiteX3" fmla="*/ 0 w 2646778"/>
                <a:gd name="connsiteY3" fmla="*/ 0 h 257442"/>
                <a:gd name="connsiteX0" fmla="*/ 2646779 w 2646779"/>
                <a:gd name="connsiteY0" fmla="*/ 0 h 257442"/>
                <a:gd name="connsiteX1" fmla="*/ 2592058 w 2646779"/>
                <a:gd name="connsiteY1" fmla="*/ 257442 h 257442"/>
                <a:gd name="connsiteX2" fmla="*/ 1 w 2646779"/>
                <a:gd name="connsiteY2" fmla="*/ 257442 h 257442"/>
                <a:gd name="connsiteX3" fmla="*/ 0 w 2646779"/>
                <a:gd name="connsiteY3" fmla="*/ 0 h 257442"/>
                <a:gd name="connsiteX0" fmla="*/ 2815094 w 2815094"/>
                <a:gd name="connsiteY0" fmla="*/ 0 h 257442"/>
                <a:gd name="connsiteX1" fmla="*/ 2592058 w 2815094"/>
                <a:gd name="connsiteY1" fmla="*/ 257442 h 257442"/>
                <a:gd name="connsiteX2" fmla="*/ 1 w 2815094"/>
                <a:gd name="connsiteY2" fmla="*/ 257442 h 257442"/>
                <a:gd name="connsiteX3" fmla="*/ 0 w 2815094"/>
                <a:gd name="connsiteY3" fmla="*/ 0 h 257442"/>
                <a:gd name="connsiteX0" fmla="*/ 2815094 w 2815094"/>
                <a:gd name="connsiteY0" fmla="*/ 0 h 257442"/>
                <a:gd name="connsiteX1" fmla="*/ 2760372 w 2815094"/>
                <a:gd name="connsiteY1" fmla="*/ 257442 h 257442"/>
                <a:gd name="connsiteX2" fmla="*/ 1 w 2815094"/>
                <a:gd name="connsiteY2" fmla="*/ 257442 h 257442"/>
                <a:gd name="connsiteX3" fmla="*/ 0 w 2815094"/>
                <a:gd name="connsiteY3" fmla="*/ 0 h 257442"/>
                <a:gd name="connsiteX0" fmla="*/ 2815094 w 2815094"/>
                <a:gd name="connsiteY0" fmla="*/ 0 h 257442"/>
                <a:gd name="connsiteX1" fmla="*/ 2760372 w 2815094"/>
                <a:gd name="connsiteY1" fmla="*/ 257442 h 257442"/>
                <a:gd name="connsiteX2" fmla="*/ 0 w 2815094"/>
                <a:gd name="connsiteY2" fmla="*/ 257442 h 257442"/>
                <a:gd name="connsiteX3" fmla="*/ 0 w 2815094"/>
                <a:gd name="connsiteY3" fmla="*/ 0 h 257442"/>
                <a:gd name="connsiteX0" fmla="*/ 2815094 w 2815094"/>
                <a:gd name="connsiteY0" fmla="*/ 0 h 257442"/>
                <a:gd name="connsiteX1" fmla="*/ 2760372 w 2815094"/>
                <a:gd name="connsiteY1" fmla="*/ 257442 h 257442"/>
                <a:gd name="connsiteX2" fmla="*/ 0 w 2815094"/>
                <a:gd name="connsiteY2" fmla="*/ 257442 h 257442"/>
                <a:gd name="connsiteX3" fmla="*/ 0 w 2815094"/>
                <a:gd name="connsiteY3" fmla="*/ 0 h 257442"/>
                <a:gd name="connsiteX0" fmla="*/ 3076383 w 3076383"/>
                <a:gd name="connsiteY0" fmla="*/ 0 h 257442"/>
                <a:gd name="connsiteX1" fmla="*/ 276037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236683 w 3236683"/>
                <a:gd name="connsiteY0" fmla="*/ 0 h 257442"/>
                <a:gd name="connsiteX1" fmla="*/ 3021662 w 3236683"/>
                <a:gd name="connsiteY1" fmla="*/ 257442 h 257442"/>
                <a:gd name="connsiteX2" fmla="*/ 0 w 3236683"/>
                <a:gd name="connsiteY2" fmla="*/ 257442 h 257442"/>
                <a:gd name="connsiteX3" fmla="*/ 0 w 3236683"/>
                <a:gd name="connsiteY3" fmla="*/ 0 h 257442"/>
                <a:gd name="connsiteX0" fmla="*/ 3236683 w 3236683"/>
                <a:gd name="connsiteY0" fmla="*/ 0 h 257442"/>
                <a:gd name="connsiteX1" fmla="*/ 3181962 w 3236683"/>
                <a:gd name="connsiteY1" fmla="*/ 257442 h 257442"/>
                <a:gd name="connsiteX2" fmla="*/ 0 w 3236683"/>
                <a:gd name="connsiteY2" fmla="*/ 257442 h 257442"/>
                <a:gd name="connsiteX3" fmla="*/ 0 w 3236683"/>
                <a:gd name="connsiteY3" fmla="*/ 0 h 257442"/>
                <a:gd name="connsiteX0" fmla="*/ 3236683 w 3236683"/>
                <a:gd name="connsiteY0" fmla="*/ 0 h 257442"/>
                <a:gd name="connsiteX1" fmla="*/ 3181962 w 3236683"/>
                <a:gd name="connsiteY1" fmla="*/ 257442 h 257442"/>
                <a:gd name="connsiteX2" fmla="*/ 0 w 3236683"/>
                <a:gd name="connsiteY2" fmla="*/ 257442 h 257442"/>
                <a:gd name="connsiteX3" fmla="*/ 0 w 3236683"/>
                <a:gd name="connsiteY3" fmla="*/ 0 h 257442"/>
                <a:gd name="connsiteX0" fmla="*/ 3236683 w 3236683"/>
                <a:gd name="connsiteY0" fmla="*/ 0 h 257442"/>
                <a:gd name="connsiteX1" fmla="*/ 3181962 w 3236683"/>
                <a:gd name="connsiteY1" fmla="*/ 257442 h 257442"/>
                <a:gd name="connsiteX2" fmla="*/ 0 w 3236683"/>
                <a:gd name="connsiteY2" fmla="*/ 257442 h 257442"/>
                <a:gd name="connsiteX3" fmla="*/ 0 w 3236683"/>
                <a:gd name="connsiteY3" fmla="*/ 0 h 257442"/>
                <a:gd name="connsiteX0" fmla="*/ 3404998 w 3404998"/>
                <a:gd name="connsiteY0" fmla="*/ 0 h 257442"/>
                <a:gd name="connsiteX1" fmla="*/ 3181962 w 3404998"/>
                <a:gd name="connsiteY1" fmla="*/ 257442 h 257442"/>
                <a:gd name="connsiteX2" fmla="*/ 0 w 3404998"/>
                <a:gd name="connsiteY2" fmla="*/ 257442 h 257442"/>
                <a:gd name="connsiteX3" fmla="*/ 0 w 3404998"/>
                <a:gd name="connsiteY3" fmla="*/ 0 h 257442"/>
                <a:gd name="connsiteX0" fmla="*/ 3404998 w 3404998"/>
                <a:gd name="connsiteY0" fmla="*/ 0 h 257442"/>
                <a:gd name="connsiteX1" fmla="*/ 3350276 w 3404998"/>
                <a:gd name="connsiteY1" fmla="*/ 257442 h 257442"/>
                <a:gd name="connsiteX2" fmla="*/ 0 w 3404998"/>
                <a:gd name="connsiteY2" fmla="*/ 257442 h 257442"/>
                <a:gd name="connsiteX3" fmla="*/ 0 w 3404998"/>
                <a:gd name="connsiteY3" fmla="*/ 0 h 257442"/>
                <a:gd name="connsiteX0" fmla="*/ 3404999 w 3404999"/>
                <a:gd name="connsiteY0" fmla="*/ 0 h 257442"/>
                <a:gd name="connsiteX1" fmla="*/ 3350277 w 3404999"/>
                <a:gd name="connsiteY1" fmla="*/ 257442 h 257442"/>
                <a:gd name="connsiteX2" fmla="*/ 0 w 3404999"/>
                <a:gd name="connsiteY2" fmla="*/ 257442 h 257442"/>
                <a:gd name="connsiteX3" fmla="*/ 1 w 3404999"/>
                <a:gd name="connsiteY3" fmla="*/ 0 h 257442"/>
                <a:gd name="connsiteX0" fmla="*/ 3404999 w 3404999"/>
                <a:gd name="connsiteY0" fmla="*/ 0 h 257442"/>
                <a:gd name="connsiteX1" fmla="*/ 3350277 w 3404999"/>
                <a:gd name="connsiteY1" fmla="*/ 257442 h 257442"/>
                <a:gd name="connsiteX2" fmla="*/ 0 w 3404999"/>
                <a:gd name="connsiteY2" fmla="*/ 257442 h 257442"/>
                <a:gd name="connsiteX3" fmla="*/ 1 w 3404999"/>
                <a:gd name="connsiteY3" fmla="*/ 0 h 257442"/>
                <a:gd name="connsiteX0" fmla="*/ 3565299 w 3565299"/>
                <a:gd name="connsiteY0" fmla="*/ 0 h 257442"/>
                <a:gd name="connsiteX1" fmla="*/ 3350277 w 3565299"/>
                <a:gd name="connsiteY1" fmla="*/ 257442 h 257442"/>
                <a:gd name="connsiteX2" fmla="*/ 0 w 3565299"/>
                <a:gd name="connsiteY2" fmla="*/ 257442 h 257442"/>
                <a:gd name="connsiteX3" fmla="*/ 1 w 3565299"/>
                <a:gd name="connsiteY3" fmla="*/ 0 h 257442"/>
                <a:gd name="connsiteX0" fmla="*/ 3565299 w 3565299"/>
                <a:gd name="connsiteY0" fmla="*/ 0 h 257442"/>
                <a:gd name="connsiteX1" fmla="*/ 3510578 w 3565299"/>
                <a:gd name="connsiteY1" fmla="*/ 257442 h 257442"/>
                <a:gd name="connsiteX2" fmla="*/ 0 w 3565299"/>
                <a:gd name="connsiteY2" fmla="*/ 257442 h 257442"/>
                <a:gd name="connsiteX3" fmla="*/ 1 w 3565299"/>
                <a:gd name="connsiteY3" fmla="*/ 0 h 257442"/>
                <a:gd name="connsiteX0" fmla="*/ 3565298 w 3565298"/>
                <a:gd name="connsiteY0" fmla="*/ 0 h 257442"/>
                <a:gd name="connsiteX1" fmla="*/ 3510577 w 3565298"/>
                <a:gd name="connsiteY1" fmla="*/ 257442 h 257442"/>
                <a:gd name="connsiteX2" fmla="*/ 0 w 3565298"/>
                <a:gd name="connsiteY2" fmla="*/ 257442 h 257442"/>
                <a:gd name="connsiteX3" fmla="*/ 0 w 3565298"/>
                <a:gd name="connsiteY3" fmla="*/ 0 h 257442"/>
                <a:gd name="connsiteX0" fmla="*/ 3565299 w 3565299"/>
                <a:gd name="connsiteY0" fmla="*/ 0 h 257442"/>
                <a:gd name="connsiteX1" fmla="*/ 3510578 w 3565299"/>
                <a:gd name="connsiteY1" fmla="*/ 257442 h 257442"/>
                <a:gd name="connsiteX2" fmla="*/ 1 w 3565299"/>
                <a:gd name="connsiteY2" fmla="*/ 257442 h 257442"/>
                <a:gd name="connsiteX3" fmla="*/ 0 w 3565299"/>
                <a:gd name="connsiteY3" fmla="*/ 0 h 257442"/>
                <a:gd name="connsiteX0" fmla="*/ 968435 w 3510578"/>
                <a:gd name="connsiteY0" fmla="*/ 0 h 257442"/>
                <a:gd name="connsiteX1" fmla="*/ 3510578 w 3510578"/>
                <a:gd name="connsiteY1" fmla="*/ 257442 h 257442"/>
                <a:gd name="connsiteX2" fmla="*/ 1 w 3510578"/>
                <a:gd name="connsiteY2" fmla="*/ 257442 h 257442"/>
                <a:gd name="connsiteX3" fmla="*/ 0 w 3510578"/>
                <a:gd name="connsiteY3" fmla="*/ 0 h 257442"/>
                <a:gd name="connsiteX0" fmla="*/ 968435 w 968435"/>
                <a:gd name="connsiteY0" fmla="*/ 0 h 257442"/>
                <a:gd name="connsiteX1" fmla="*/ 913714 w 968435"/>
                <a:gd name="connsiteY1" fmla="*/ 257442 h 257442"/>
                <a:gd name="connsiteX2" fmla="*/ 1 w 968435"/>
                <a:gd name="connsiteY2" fmla="*/ 257442 h 257442"/>
                <a:gd name="connsiteX3" fmla="*/ 0 w 968435"/>
                <a:gd name="connsiteY3" fmla="*/ 0 h 257442"/>
                <a:gd name="connsiteX0" fmla="*/ 968435 w 968435"/>
                <a:gd name="connsiteY0" fmla="*/ 0 h 257442"/>
                <a:gd name="connsiteX1" fmla="*/ 913714 w 968435"/>
                <a:gd name="connsiteY1" fmla="*/ 257442 h 257442"/>
                <a:gd name="connsiteX2" fmla="*/ 2 w 968435"/>
                <a:gd name="connsiteY2" fmla="*/ 257442 h 257442"/>
                <a:gd name="connsiteX3" fmla="*/ 0 w 968435"/>
                <a:gd name="connsiteY3" fmla="*/ 0 h 257442"/>
                <a:gd name="connsiteX0" fmla="*/ 968433 w 968433"/>
                <a:gd name="connsiteY0" fmla="*/ 0 h 257442"/>
                <a:gd name="connsiteX1" fmla="*/ 913712 w 968433"/>
                <a:gd name="connsiteY1" fmla="*/ 257442 h 257442"/>
                <a:gd name="connsiteX2" fmla="*/ 0 w 968433"/>
                <a:gd name="connsiteY2" fmla="*/ 257442 h 257442"/>
                <a:gd name="connsiteX3" fmla="*/ 0 w 968433"/>
                <a:gd name="connsiteY3" fmla="*/ 0 h 257442"/>
                <a:gd name="connsiteX0" fmla="*/ 1136749 w 1136749"/>
                <a:gd name="connsiteY0" fmla="*/ 0 h 257442"/>
                <a:gd name="connsiteX1" fmla="*/ 913712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305064 w 1305064"/>
                <a:gd name="connsiteY0" fmla="*/ 0 h 257442"/>
                <a:gd name="connsiteX1" fmla="*/ 1082028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305064 w 1305064"/>
                <a:gd name="connsiteY0" fmla="*/ 0 h 257442"/>
                <a:gd name="connsiteX1" fmla="*/ 1250342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305065 w 1305065"/>
                <a:gd name="connsiteY0" fmla="*/ 0 h 257442"/>
                <a:gd name="connsiteX1" fmla="*/ 1250343 w 1305065"/>
                <a:gd name="connsiteY1" fmla="*/ 257442 h 257442"/>
                <a:gd name="connsiteX2" fmla="*/ 0 w 1305065"/>
                <a:gd name="connsiteY2" fmla="*/ 257442 h 257442"/>
                <a:gd name="connsiteX3" fmla="*/ 1 w 1305065"/>
                <a:gd name="connsiteY3" fmla="*/ 0 h 257442"/>
                <a:gd name="connsiteX0" fmla="*/ 1305065 w 1305065"/>
                <a:gd name="connsiteY0" fmla="*/ 0 h 257442"/>
                <a:gd name="connsiteX1" fmla="*/ 1250343 w 1305065"/>
                <a:gd name="connsiteY1" fmla="*/ 257442 h 257442"/>
                <a:gd name="connsiteX2" fmla="*/ 0 w 1305065"/>
                <a:gd name="connsiteY2" fmla="*/ 257442 h 257442"/>
                <a:gd name="connsiteX3" fmla="*/ 1 w 1305065"/>
                <a:gd name="connsiteY3" fmla="*/ 0 h 257442"/>
                <a:gd name="connsiteX0" fmla="*/ 1473381 w 1473381"/>
                <a:gd name="connsiteY0" fmla="*/ 0 h 257442"/>
                <a:gd name="connsiteX1" fmla="*/ 1250343 w 1473381"/>
                <a:gd name="connsiteY1" fmla="*/ 257442 h 257442"/>
                <a:gd name="connsiteX2" fmla="*/ 0 w 1473381"/>
                <a:gd name="connsiteY2" fmla="*/ 257442 h 257442"/>
                <a:gd name="connsiteX3" fmla="*/ 1 w 1473381"/>
                <a:gd name="connsiteY3" fmla="*/ 0 h 257442"/>
                <a:gd name="connsiteX0" fmla="*/ 1473381 w 1473381"/>
                <a:gd name="connsiteY0" fmla="*/ 0 h 257442"/>
                <a:gd name="connsiteX1" fmla="*/ 1418660 w 1473381"/>
                <a:gd name="connsiteY1" fmla="*/ 257442 h 257442"/>
                <a:gd name="connsiteX2" fmla="*/ 0 w 1473381"/>
                <a:gd name="connsiteY2" fmla="*/ 257442 h 257442"/>
                <a:gd name="connsiteX3" fmla="*/ 1 w 1473381"/>
                <a:gd name="connsiteY3" fmla="*/ 0 h 257442"/>
                <a:gd name="connsiteX0" fmla="*/ 1473380 w 1473380"/>
                <a:gd name="connsiteY0" fmla="*/ 0 h 257442"/>
                <a:gd name="connsiteX1" fmla="*/ 1418659 w 1473380"/>
                <a:gd name="connsiteY1" fmla="*/ 257442 h 257442"/>
                <a:gd name="connsiteX2" fmla="*/ 0 w 1473380"/>
                <a:gd name="connsiteY2" fmla="*/ 257442 h 257442"/>
                <a:gd name="connsiteX3" fmla="*/ 0 w 1473380"/>
                <a:gd name="connsiteY3" fmla="*/ 0 h 257442"/>
                <a:gd name="connsiteX0" fmla="*/ 1473381 w 1473381"/>
                <a:gd name="connsiteY0" fmla="*/ 0 h 257442"/>
                <a:gd name="connsiteX1" fmla="*/ 1418660 w 1473381"/>
                <a:gd name="connsiteY1" fmla="*/ 257442 h 257442"/>
                <a:gd name="connsiteX2" fmla="*/ 1 w 1473381"/>
                <a:gd name="connsiteY2" fmla="*/ 257442 h 257442"/>
                <a:gd name="connsiteX3" fmla="*/ 0 w 1473381"/>
                <a:gd name="connsiteY3" fmla="*/ 0 h 257442"/>
                <a:gd name="connsiteX0" fmla="*/ 1633681 w 1633681"/>
                <a:gd name="connsiteY0" fmla="*/ 0 h 257442"/>
                <a:gd name="connsiteX1" fmla="*/ 1418660 w 1633681"/>
                <a:gd name="connsiteY1" fmla="*/ 257442 h 257442"/>
                <a:gd name="connsiteX2" fmla="*/ 1 w 1633681"/>
                <a:gd name="connsiteY2" fmla="*/ 257442 h 257442"/>
                <a:gd name="connsiteX3" fmla="*/ 0 w 1633681"/>
                <a:gd name="connsiteY3" fmla="*/ 0 h 257442"/>
                <a:gd name="connsiteX0" fmla="*/ 1633681 w 1633681"/>
                <a:gd name="connsiteY0" fmla="*/ 0 h 257442"/>
                <a:gd name="connsiteX1" fmla="*/ 1578960 w 1633681"/>
                <a:gd name="connsiteY1" fmla="*/ 257442 h 257442"/>
                <a:gd name="connsiteX2" fmla="*/ 1 w 1633681"/>
                <a:gd name="connsiteY2" fmla="*/ 257442 h 257442"/>
                <a:gd name="connsiteX3" fmla="*/ 0 w 1633681"/>
                <a:gd name="connsiteY3" fmla="*/ 0 h 257442"/>
                <a:gd name="connsiteX0" fmla="*/ 1633681 w 1633681"/>
                <a:gd name="connsiteY0" fmla="*/ 0 h 257442"/>
                <a:gd name="connsiteX1" fmla="*/ 1578960 w 1633681"/>
                <a:gd name="connsiteY1" fmla="*/ 257442 h 257442"/>
                <a:gd name="connsiteX2" fmla="*/ 1 w 1633681"/>
                <a:gd name="connsiteY2" fmla="*/ 257442 h 257442"/>
                <a:gd name="connsiteX3" fmla="*/ 0 w 1633681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0 w 1633680"/>
                <a:gd name="connsiteY3" fmla="*/ 0 h 257442"/>
                <a:gd name="connsiteX0" fmla="*/ 1886954 w 1886954"/>
                <a:gd name="connsiteY0" fmla="*/ 0 h 257442"/>
                <a:gd name="connsiteX1" fmla="*/ 1578959 w 1886954"/>
                <a:gd name="connsiteY1" fmla="*/ 257442 h 257442"/>
                <a:gd name="connsiteX2" fmla="*/ 0 w 1886954"/>
                <a:gd name="connsiteY2" fmla="*/ 257442 h 257442"/>
                <a:gd name="connsiteX3" fmla="*/ 0 w 1886954"/>
                <a:gd name="connsiteY3" fmla="*/ 0 h 257442"/>
                <a:gd name="connsiteX0" fmla="*/ 1886954 w 1886954"/>
                <a:gd name="connsiteY0" fmla="*/ 0 h 257442"/>
                <a:gd name="connsiteX1" fmla="*/ 1832233 w 1886954"/>
                <a:gd name="connsiteY1" fmla="*/ 257442 h 257442"/>
                <a:gd name="connsiteX2" fmla="*/ 0 w 1886954"/>
                <a:gd name="connsiteY2" fmla="*/ 257442 h 257442"/>
                <a:gd name="connsiteX3" fmla="*/ 0 w 1886954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1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1 w 1886955"/>
                <a:gd name="connsiteY3" fmla="*/ 0 h 257442"/>
                <a:gd name="connsiteX0" fmla="*/ 2055271 w 2055271"/>
                <a:gd name="connsiteY0" fmla="*/ 0 h 257442"/>
                <a:gd name="connsiteX1" fmla="*/ 1832234 w 2055271"/>
                <a:gd name="connsiteY1" fmla="*/ 257442 h 257442"/>
                <a:gd name="connsiteX2" fmla="*/ 0 w 2055271"/>
                <a:gd name="connsiteY2" fmla="*/ 257442 h 257442"/>
                <a:gd name="connsiteX3" fmla="*/ 1 w 2055271"/>
                <a:gd name="connsiteY3" fmla="*/ 0 h 257442"/>
                <a:gd name="connsiteX0" fmla="*/ 2055271 w 2055271"/>
                <a:gd name="connsiteY0" fmla="*/ 0 h 257442"/>
                <a:gd name="connsiteX1" fmla="*/ 2000550 w 2055271"/>
                <a:gd name="connsiteY1" fmla="*/ 257442 h 257442"/>
                <a:gd name="connsiteX2" fmla="*/ 0 w 2055271"/>
                <a:gd name="connsiteY2" fmla="*/ 257442 h 257442"/>
                <a:gd name="connsiteX3" fmla="*/ 1 w 2055271"/>
                <a:gd name="connsiteY3" fmla="*/ 0 h 257442"/>
                <a:gd name="connsiteX0" fmla="*/ 2055270 w 2055270"/>
                <a:gd name="connsiteY0" fmla="*/ 0 h 257442"/>
                <a:gd name="connsiteX1" fmla="*/ 2000549 w 2055270"/>
                <a:gd name="connsiteY1" fmla="*/ 257442 h 257442"/>
                <a:gd name="connsiteX2" fmla="*/ 0 w 2055270"/>
                <a:gd name="connsiteY2" fmla="*/ 257442 h 257442"/>
                <a:gd name="connsiteX3" fmla="*/ 0 w 2055270"/>
                <a:gd name="connsiteY3" fmla="*/ 0 h 257442"/>
                <a:gd name="connsiteX0" fmla="*/ 2055271 w 2055271"/>
                <a:gd name="connsiteY0" fmla="*/ 0 h 257442"/>
                <a:gd name="connsiteX1" fmla="*/ 2000550 w 2055271"/>
                <a:gd name="connsiteY1" fmla="*/ 257442 h 257442"/>
                <a:gd name="connsiteX2" fmla="*/ 1 w 2055271"/>
                <a:gd name="connsiteY2" fmla="*/ 257442 h 257442"/>
                <a:gd name="connsiteX3" fmla="*/ 0 w 2055271"/>
                <a:gd name="connsiteY3" fmla="*/ 0 h 257442"/>
                <a:gd name="connsiteX0" fmla="*/ 2223586 w 2223586"/>
                <a:gd name="connsiteY0" fmla="*/ 0 h 257442"/>
                <a:gd name="connsiteX1" fmla="*/ 2000550 w 2223586"/>
                <a:gd name="connsiteY1" fmla="*/ 257442 h 257442"/>
                <a:gd name="connsiteX2" fmla="*/ 1 w 2223586"/>
                <a:gd name="connsiteY2" fmla="*/ 257442 h 257442"/>
                <a:gd name="connsiteX3" fmla="*/ 0 w 2223586"/>
                <a:gd name="connsiteY3" fmla="*/ 0 h 257442"/>
                <a:gd name="connsiteX0" fmla="*/ 2223586 w 2223586"/>
                <a:gd name="connsiteY0" fmla="*/ 0 h 257442"/>
                <a:gd name="connsiteX1" fmla="*/ 2168864 w 2223586"/>
                <a:gd name="connsiteY1" fmla="*/ 257442 h 257442"/>
                <a:gd name="connsiteX2" fmla="*/ 1 w 2223586"/>
                <a:gd name="connsiteY2" fmla="*/ 257442 h 257442"/>
                <a:gd name="connsiteX3" fmla="*/ 0 w 2223586"/>
                <a:gd name="connsiteY3" fmla="*/ 0 h 257442"/>
                <a:gd name="connsiteX0" fmla="*/ 2223586 w 2223586"/>
                <a:gd name="connsiteY0" fmla="*/ 0 h 257442"/>
                <a:gd name="connsiteX1" fmla="*/ 2168864 w 2223586"/>
                <a:gd name="connsiteY1" fmla="*/ 257442 h 257442"/>
                <a:gd name="connsiteX2" fmla="*/ 0 w 2223586"/>
                <a:gd name="connsiteY2" fmla="*/ 257442 h 257442"/>
                <a:gd name="connsiteX3" fmla="*/ 0 w 2223586"/>
                <a:gd name="connsiteY3" fmla="*/ 0 h 257442"/>
                <a:gd name="connsiteX0" fmla="*/ 2223586 w 2223586"/>
                <a:gd name="connsiteY0" fmla="*/ 0 h 257442"/>
                <a:gd name="connsiteX1" fmla="*/ 2168864 w 2223586"/>
                <a:gd name="connsiteY1" fmla="*/ 257442 h 257442"/>
                <a:gd name="connsiteX2" fmla="*/ 0 w 2223586"/>
                <a:gd name="connsiteY2" fmla="*/ 257442 h 257442"/>
                <a:gd name="connsiteX3" fmla="*/ 0 w 2223586"/>
                <a:gd name="connsiteY3" fmla="*/ 0 h 257442"/>
                <a:gd name="connsiteX0" fmla="*/ 2484874 w 2484874"/>
                <a:gd name="connsiteY0" fmla="*/ 0 h 257442"/>
                <a:gd name="connsiteX1" fmla="*/ 2168864 w 2484874"/>
                <a:gd name="connsiteY1" fmla="*/ 257442 h 257442"/>
                <a:gd name="connsiteX2" fmla="*/ 0 w 2484874"/>
                <a:gd name="connsiteY2" fmla="*/ 257442 h 257442"/>
                <a:gd name="connsiteX3" fmla="*/ 0 w 2484874"/>
                <a:gd name="connsiteY3" fmla="*/ 0 h 257442"/>
                <a:gd name="connsiteX0" fmla="*/ 2484874 w 2484874"/>
                <a:gd name="connsiteY0" fmla="*/ 0 h 257442"/>
                <a:gd name="connsiteX1" fmla="*/ 2430153 w 2484874"/>
                <a:gd name="connsiteY1" fmla="*/ 257442 h 257442"/>
                <a:gd name="connsiteX2" fmla="*/ 0 w 2484874"/>
                <a:gd name="connsiteY2" fmla="*/ 257442 h 257442"/>
                <a:gd name="connsiteX3" fmla="*/ 0 w 2484874"/>
                <a:gd name="connsiteY3" fmla="*/ 0 h 257442"/>
                <a:gd name="connsiteX0" fmla="*/ 2484874 w 2484874"/>
                <a:gd name="connsiteY0" fmla="*/ 0 h 257442"/>
                <a:gd name="connsiteX1" fmla="*/ 2430153 w 2484874"/>
                <a:gd name="connsiteY1" fmla="*/ 257442 h 257442"/>
                <a:gd name="connsiteX2" fmla="*/ 0 w 2484874"/>
                <a:gd name="connsiteY2" fmla="*/ 257442 h 257442"/>
                <a:gd name="connsiteX3" fmla="*/ 0 w 2484874"/>
                <a:gd name="connsiteY3" fmla="*/ 0 h 257442"/>
                <a:gd name="connsiteX0" fmla="*/ 2484874 w 2484874"/>
                <a:gd name="connsiteY0" fmla="*/ 0 h 257442"/>
                <a:gd name="connsiteX1" fmla="*/ 2430153 w 2484874"/>
                <a:gd name="connsiteY1" fmla="*/ 257442 h 257442"/>
                <a:gd name="connsiteX2" fmla="*/ 0 w 2484874"/>
                <a:gd name="connsiteY2" fmla="*/ 257442 h 257442"/>
                <a:gd name="connsiteX3" fmla="*/ 0 w 2484874"/>
                <a:gd name="connsiteY3" fmla="*/ 0 h 257442"/>
                <a:gd name="connsiteX0" fmla="*/ 2645175 w 2645175"/>
                <a:gd name="connsiteY0" fmla="*/ 0 h 257442"/>
                <a:gd name="connsiteX1" fmla="*/ 2430153 w 2645175"/>
                <a:gd name="connsiteY1" fmla="*/ 257442 h 257442"/>
                <a:gd name="connsiteX2" fmla="*/ 0 w 2645175"/>
                <a:gd name="connsiteY2" fmla="*/ 257442 h 257442"/>
                <a:gd name="connsiteX3" fmla="*/ 0 w 2645175"/>
                <a:gd name="connsiteY3" fmla="*/ 0 h 257442"/>
                <a:gd name="connsiteX0" fmla="*/ 2645175 w 2645175"/>
                <a:gd name="connsiteY0" fmla="*/ 0 h 257442"/>
                <a:gd name="connsiteX1" fmla="*/ 2590454 w 2645175"/>
                <a:gd name="connsiteY1" fmla="*/ 257442 h 257442"/>
                <a:gd name="connsiteX2" fmla="*/ 0 w 2645175"/>
                <a:gd name="connsiteY2" fmla="*/ 257442 h 257442"/>
                <a:gd name="connsiteX3" fmla="*/ 0 w 2645175"/>
                <a:gd name="connsiteY3" fmla="*/ 0 h 257442"/>
                <a:gd name="connsiteX0" fmla="*/ 2645175 w 2645175"/>
                <a:gd name="connsiteY0" fmla="*/ 0 h 257442"/>
                <a:gd name="connsiteX1" fmla="*/ 2590454 w 2645175"/>
                <a:gd name="connsiteY1" fmla="*/ 257442 h 257442"/>
                <a:gd name="connsiteX2" fmla="*/ 0 w 2645175"/>
                <a:gd name="connsiteY2" fmla="*/ 257442 h 257442"/>
                <a:gd name="connsiteX3" fmla="*/ 0 w 2645175"/>
                <a:gd name="connsiteY3" fmla="*/ 0 h 257442"/>
                <a:gd name="connsiteX0" fmla="*/ 2645175 w 2645175"/>
                <a:gd name="connsiteY0" fmla="*/ 0 h 257442"/>
                <a:gd name="connsiteX1" fmla="*/ 2590454 w 2645175"/>
                <a:gd name="connsiteY1" fmla="*/ 257442 h 257442"/>
                <a:gd name="connsiteX2" fmla="*/ 0 w 2645175"/>
                <a:gd name="connsiteY2" fmla="*/ 257442 h 257442"/>
                <a:gd name="connsiteX3" fmla="*/ 0 w 2645175"/>
                <a:gd name="connsiteY3" fmla="*/ 0 h 257442"/>
                <a:gd name="connsiteX0" fmla="*/ 2813491 w 2813491"/>
                <a:gd name="connsiteY0" fmla="*/ 0 h 257442"/>
                <a:gd name="connsiteX1" fmla="*/ 2590454 w 2813491"/>
                <a:gd name="connsiteY1" fmla="*/ 257442 h 257442"/>
                <a:gd name="connsiteX2" fmla="*/ 0 w 2813491"/>
                <a:gd name="connsiteY2" fmla="*/ 257442 h 257442"/>
                <a:gd name="connsiteX3" fmla="*/ 0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0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0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0 w 2813491"/>
                <a:gd name="connsiteY3" fmla="*/ 0 h 257442"/>
                <a:gd name="connsiteX0" fmla="*/ 2973791 w 2973791"/>
                <a:gd name="connsiteY0" fmla="*/ 0 h 257442"/>
                <a:gd name="connsiteX1" fmla="*/ 2758770 w 2973791"/>
                <a:gd name="connsiteY1" fmla="*/ 257442 h 257442"/>
                <a:gd name="connsiteX2" fmla="*/ 0 w 2973791"/>
                <a:gd name="connsiteY2" fmla="*/ 257442 h 257442"/>
                <a:gd name="connsiteX3" fmla="*/ 0 w 2973791"/>
                <a:gd name="connsiteY3" fmla="*/ 0 h 257442"/>
                <a:gd name="connsiteX0" fmla="*/ 2973791 w 2973791"/>
                <a:gd name="connsiteY0" fmla="*/ 0 h 257442"/>
                <a:gd name="connsiteX1" fmla="*/ 2919070 w 2973791"/>
                <a:gd name="connsiteY1" fmla="*/ 257442 h 257442"/>
                <a:gd name="connsiteX2" fmla="*/ 0 w 2973791"/>
                <a:gd name="connsiteY2" fmla="*/ 257442 h 257442"/>
                <a:gd name="connsiteX3" fmla="*/ 0 w 2973791"/>
                <a:gd name="connsiteY3" fmla="*/ 0 h 257442"/>
                <a:gd name="connsiteX0" fmla="*/ 2973791 w 2973791"/>
                <a:gd name="connsiteY0" fmla="*/ 0 h 257442"/>
                <a:gd name="connsiteX1" fmla="*/ 2919070 w 2973791"/>
                <a:gd name="connsiteY1" fmla="*/ 257442 h 257442"/>
                <a:gd name="connsiteX2" fmla="*/ 0 w 2973791"/>
                <a:gd name="connsiteY2" fmla="*/ 257442 h 257442"/>
                <a:gd name="connsiteX3" fmla="*/ 0 w 2973791"/>
                <a:gd name="connsiteY3" fmla="*/ 0 h 257442"/>
                <a:gd name="connsiteX0" fmla="*/ 2973791 w 2973791"/>
                <a:gd name="connsiteY0" fmla="*/ 0 h 257442"/>
                <a:gd name="connsiteX1" fmla="*/ 2919070 w 2973791"/>
                <a:gd name="connsiteY1" fmla="*/ 257442 h 257442"/>
                <a:gd name="connsiteX2" fmla="*/ 0 w 2973791"/>
                <a:gd name="connsiteY2" fmla="*/ 257442 h 257442"/>
                <a:gd name="connsiteX3" fmla="*/ 0 w 2973791"/>
                <a:gd name="connsiteY3" fmla="*/ 0 h 257442"/>
                <a:gd name="connsiteX0" fmla="*/ 942786 w 2919070"/>
                <a:gd name="connsiteY0" fmla="*/ 0 h 257442"/>
                <a:gd name="connsiteX1" fmla="*/ 2919070 w 2919070"/>
                <a:gd name="connsiteY1" fmla="*/ 257442 h 257442"/>
                <a:gd name="connsiteX2" fmla="*/ 0 w 2919070"/>
                <a:gd name="connsiteY2" fmla="*/ 257442 h 257442"/>
                <a:gd name="connsiteX3" fmla="*/ 0 w 2919070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1111101 w 1111101"/>
                <a:gd name="connsiteY0" fmla="*/ 0 h 257442"/>
                <a:gd name="connsiteX1" fmla="*/ 888065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89034 w 1289034"/>
                <a:gd name="connsiteY0" fmla="*/ 0 h 257442"/>
                <a:gd name="connsiteX1" fmla="*/ 1056380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4 w 1289034"/>
                <a:gd name="connsiteY0" fmla="*/ 0 h 257442"/>
                <a:gd name="connsiteX1" fmla="*/ 1234312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1 w 1289035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1 w 1289035"/>
                <a:gd name="connsiteY3" fmla="*/ 0 h 257442"/>
                <a:gd name="connsiteX0" fmla="*/ 1457351 w 1457351"/>
                <a:gd name="connsiteY0" fmla="*/ 0 h 257442"/>
                <a:gd name="connsiteX1" fmla="*/ 1234313 w 1457351"/>
                <a:gd name="connsiteY1" fmla="*/ 257442 h 257442"/>
                <a:gd name="connsiteX2" fmla="*/ 0 w 1457351"/>
                <a:gd name="connsiteY2" fmla="*/ 257442 h 257442"/>
                <a:gd name="connsiteX3" fmla="*/ 1 w 1457351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0 w 1457351"/>
                <a:gd name="connsiteY2" fmla="*/ 257442 h 257442"/>
                <a:gd name="connsiteX3" fmla="*/ 1 w 1457351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1 w 1457351"/>
                <a:gd name="connsiteY2" fmla="*/ 257442 h 257442"/>
                <a:gd name="connsiteX3" fmla="*/ 0 w 1457351"/>
                <a:gd name="connsiteY3" fmla="*/ 0 h 257442"/>
                <a:gd name="connsiteX0" fmla="*/ 1710626 w 1710626"/>
                <a:gd name="connsiteY0" fmla="*/ 0 h 257442"/>
                <a:gd name="connsiteX1" fmla="*/ 1402630 w 1710626"/>
                <a:gd name="connsiteY1" fmla="*/ 257442 h 257442"/>
                <a:gd name="connsiteX2" fmla="*/ 1 w 1710626"/>
                <a:gd name="connsiteY2" fmla="*/ 257442 h 257442"/>
                <a:gd name="connsiteX3" fmla="*/ 0 w 1710626"/>
                <a:gd name="connsiteY3" fmla="*/ 0 h 257442"/>
                <a:gd name="connsiteX0" fmla="*/ 1710626 w 1710626"/>
                <a:gd name="connsiteY0" fmla="*/ 0 h 257442"/>
                <a:gd name="connsiteX1" fmla="*/ 1655904 w 1710626"/>
                <a:gd name="connsiteY1" fmla="*/ 257442 h 257442"/>
                <a:gd name="connsiteX2" fmla="*/ 1 w 1710626"/>
                <a:gd name="connsiteY2" fmla="*/ 257442 h 257442"/>
                <a:gd name="connsiteX3" fmla="*/ 0 w 1710626"/>
                <a:gd name="connsiteY3" fmla="*/ 0 h 257442"/>
                <a:gd name="connsiteX0" fmla="*/ 1710626 w 1710626"/>
                <a:gd name="connsiteY0" fmla="*/ 0 h 257442"/>
                <a:gd name="connsiteX1" fmla="*/ 1655904 w 1710626"/>
                <a:gd name="connsiteY1" fmla="*/ 257442 h 257442"/>
                <a:gd name="connsiteX2" fmla="*/ 0 w 1710626"/>
                <a:gd name="connsiteY2" fmla="*/ 257442 h 257442"/>
                <a:gd name="connsiteX3" fmla="*/ 0 w 1710626"/>
                <a:gd name="connsiteY3" fmla="*/ 0 h 257442"/>
                <a:gd name="connsiteX0" fmla="*/ 1710626 w 1710626"/>
                <a:gd name="connsiteY0" fmla="*/ 0 h 257442"/>
                <a:gd name="connsiteX1" fmla="*/ 1655904 w 1710626"/>
                <a:gd name="connsiteY1" fmla="*/ 257442 h 257442"/>
                <a:gd name="connsiteX2" fmla="*/ 0 w 1710626"/>
                <a:gd name="connsiteY2" fmla="*/ 257442 h 257442"/>
                <a:gd name="connsiteX3" fmla="*/ 0 w 1710626"/>
                <a:gd name="connsiteY3" fmla="*/ 0 h 257442"/>
                <a:gd name="connsiteX0" fmla="*/ 2023210 w 2023210"/>
                <a:gd name="connsiteY0" fmla="*/ 0 h 257442"/>
                <a:gd name="connsiteX1" fmla="*/ 1655904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023210 w 2023210"/>
                <a:gd name="connsiteY0" fmla="*/ 0 h 257442"/>
                <a:gd name="connsiteX1" fmla="*/ 1968489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023210 w 2023210"/>
                <a:gd name="connsiteY0" fmla="*/ 0 h 257442"/>
                <a:gd name="connsiteX1" fmla="*/ 1968489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023210 w 2023210"/>
                <a:gd name="connsiteY0" fmla="*/ 0 h 257442"/>
                <a:gd name="connsiteX1" fmla="*/ 1968489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191525 w 2191525"/>
                <a:gd name="connsiteY0" fmla="*/ 0 h 257442"/>
                <a:gd name="connsiteX1" fmla="*/ 1968489 w 2191525"/>
                <a:gd name="connsiteY1" fmla="*/ 257442 h 257442"/>
                <a:gd name="connsiteX2" fmla="*/ 0 w 2191525"/>
                <a:gd name="connsiteY2" fmla="*/ 257442 h 257442"/>
                <a:gd name="connsiteX3" fmla="*/ 0 w 2191525"/>
                <a:gd name="connsiteY3" fmla="*/ 0 h 257442"/>
                <a:gd name="connsiteX0" fmla="*/ 2191525 w 2191525"/>
                <a:gd name="connsiteY0" fmla="*/ 0 h 257442"/>
                <a:gd name="connsiteX1" fmla="*/ 2136804 w 2191525"/>
                <a:gd name="connsiteY1" fmla="*/ 257442 h 257442"/>
                <a:gd name="connsiteX2" fmla="*/ 0 w 2191525"/>
                <a:gd name="connsiteY2" fmla="*/ 257442 h 257442"/>
                <a:gd name="connsiteX3" fmla="*/ 0 w 2191525"/>
                <a:gd name="connsiteY3" fmla="*/ 0 h 257442"/>
                <a:gd name="connsiteX0" fmla="*/ 2191525 w 2191525"/>
                <a:gd name="connsiteY0" fmla="*/ 0 h 257442"/>
                <a:gd name="connsiteX1" fmla="*/ 2136804 w 2191525"/>
                <a:gd name="connsiteY1" fmla="*/ 257442 h 257442"/>
                <a:gd name="connsiteX2" fmla="*/ 0 w 2191525"/>
                <a:gd name="connsiteY2" fmla="*/ 257442 h 257442"/>
                <a:gd name="connsiteX3" fmla="*/ 0 w 2191525"/>
                <a:gd name="connsiteY3" fmla="*/ 0 h 257442"/>
                <a:gd name="connsiteX0" fmla="*/ 2191525 w 2191525"/>
                <a:gd name="connsiteY0" fmla="*/ 0 h 257442"/>
                <a:gd name="connsiteX1" fmla="*/ 2136804 w 2191525"/>
                <a:gd name="connsiteY1" fmla="*/ 257442 h 257442"/>
                <a:gd name="connsiteX2" fmla="*/ 0 w 2191525"/>
                <a:gd name="connsiteY2" fmla="*/ 257442 h 257442"/>
                <a:gd name="connsiteX3" fmla="*/ 0 w 2191525"/>
                <a:gd name="connsiteY3" fmla="*/ 0 h 257442"/>
                <a:gd name="connsiteX0" fmla="*/ 2377474 w 2377474"/>
                <a:gd name="connsiteY0" fmla="*/ 0 h 257442"/>
                <a:gd name="connsiteX1" fmla="*/ 2136804 w 2377474"/>
                <a:gd name="connsiteY1" fmla="*/ 257442 h 257442"/>
                <a:gd name="connsiteX2" fmla="*/ 0 w 2377474"/>
                <a:gd name="connsiteY2" fmla="*/ 257442 h 257442"/>
                <a:gd name="connsiteX3" fmla="*/ 0 w 2377474"/>
                <a:gd name="connsiteY3" fmla="*/ 0 h 257442"/>
                <a:gd name="connsiteX0" fmla="*/ 2377474 w 2377474"/>
                <a:gd name="connsiteY0" fmla="*/ 0 h 257442"/>
                <a:gd name="connsiteX1" fmla="*/ 2322752 w 2377474"/>
                <a:gd name="connsiteY1" fmla="*/ 257442 h 257442"/>
                <a:gd name="connsiteX2" fmla="*/ 0 w 2377474"/>
                <a:gd name="connsiteY2" fmla="*/ 257442 h 257442"/>
                <a:gd name="connsiteX3" fmla="*/ 0 w 2377474"/>
                <a:gd name="connsiteY3" fmla="*/ 0 h 257442"/>
                <a:gd name="connsiteX0" fmla="*/ 2377475 w 2377475"/>
                <a:gd name="connsiteY0" fmla="*/ 0 h 257442"/>
                <a:gd name="connsiteX1" fmla="*/ 2322753 w 2377475"/>
                <a:gd name="connsiteY1" fmla="*/ 257442 h 257442"/>
                <a:gd name="connsiteX2" fmla="*/ 0 w 2377475"/>
                <a:gd name="connsiteY2" fmla="*/ 257442 h 257442"/>
                <a:gd name="connsiteX3" fmla="*/ 1 w 2377475"/>
                <a:gd name="connsiteY3" fmla="*/ 0 h 257442"/>
                <a:gd name="connsiteX0" fmla="*/ 2377475 w 2377475"/>
                <a:gd name="connsiteY0" fmla="*/ 0 h 257442"/>
                <a:gd name="connsiteX1" fmla="*/ 2322753 w 2377475"/>
                <a:gd name="connsiteY1" fmla="*/ 257442 h 257442"/>
                <a:gd name="connsiteX2" fmla="*/ 0 w 2377475"/>
                <a:gd name="connsiteY2" fmla="*/ 257442 h 257442"/>
                <a:gd name="connsiteX3" fmla="*/ 1 w 2377475"/>
                <a:gd name="connsiteY3" fmla="*/ 0 h 257442"/>
                <a:gd name="connsiteX0" fmla="*/ 2646779 w 2646779"/>
                <a:gd name="connsiteY0" fmla="*/ 0 h 257442"/>
                <a:gd name="connsiteX1" fmla="*/ 2322753 w 2646779"/>
                <a:gd name="connsiteY1" fmla="*/ 257442 h 257442"/>
                <a:gd name="connsiteX2" fmla="*/ 0 w 2646779"/>
                <a:gd name="connsiteY2" fmla="*/ 257442 h 257442"/>
                <a:gd name="connsiteX3" fmla="*/ 1 w 2646779"/>
                <a:gd name="connsiteY3" fmla="*/ 0 h 257442"/>
                <a:gd name="connsiteX0" fmla="*/ 2646779 w 2646779"/>
                <a:gd name="connsiteY0" fmla="*/ 0 h 257442"/>
                <a:gd name="connsiteX1" fmla="*/ 2592058 w 2646779"/>
                <a:gd name="connsiteY1" fmla="*/ 257442 h 257442"/>
                <a:gd name="connsiteX2" fmla="*/ 0 w 2646779"/>
                <a:gd name="connsiteY2" fmla="*/ 257442 h 257442"/>
                <a:gd name="connsiteX3" fmla="*/ 1 w 2646779"/>
                <a:gd name="connsiteY3" fmla="*/ 0 h 257442"/>
                <a:gd name="connsiteX0" fmla="*/ 2646778 w 2646778"/>
                <a:gd name="connsiteY0" fmla="*/ 0 h 257442"/>
                <a:gd name="connsiteX1" fmla="*/ 2592057 w 2646778"/>
                <a:gd name="connsiteY1" fmla="*/ 257442 h 257442"/>
                <a:gd name="connsiteX2" fmla="*/ 0 w 2646778"/>
                <a:gd name="connsiteY2" fmla="*/ 257442 h 257442"/>
                <a:gd name="connsiteX3" fmla="*/ 0 w 2646778"/>
                <a:gd name="connsiteY3" fmla="*/ 0 h 257442"/>
                <a:gd name="connsiteX0" fmla="*/ 2646779 w 2646779"/>
                <a:gd name="connsiteY0" fmla="*/ 0 h 257442"/>
                <a:gd name="connsiteX1" fmla="*/ 2592058 w 2646779"/>
                <a:gd name="connsiteY1" fmla="*/ 257442 h 257442"/>
                <a:gd name="connsiteX2" fmla="*/ 1 w 2646779"/>
                <a:gd name="connsiteY2" fmla="*/ 257442 h 257442"/>
                <a:gd name="connsiteX3" fmla="*/ 0 w 2646779"/>
                <a:gd name="connsiteY3" fmla="*/ 0 h 257442"/>
                <a:gd name="connsiteX0" fmla="*/ 2815094 w 2815094"/>
                <a:gd name="connsiteY0" fmla="*/ 0 h 257442"/>
                <a:gd name="connsiteX1" fmla="*/ 2592058 w 2815094"/>
                <a:gd name="connsiteY1" fmla="*/ 257442 h 257442"/>
                <a:gd name="connsiteX2" fmla="*/ 1 w 2815094"/>
                <a:gd name="connsiteY2" fmla="*/ 257442 h 257442"/>
                <a:gd name="connsiteX3" fmla="*/ 0 w 2815094"/>
                <a:gd name="connsiteY3" fmla="*/ 0 h 257442"/>
                <a:gd name="connsiteX0" fmla="*/ 2815094 w 2815094"/>
                <a:gd name="connsiteY0" fmla="*/ 0 h 257442"/>
                <a:gd name="connsiteX1" fmla="*/ 2760372 w 2815094"/>
                <a:gd name="connsiteY1" fmla="*/ 257442 h 257442"/>
                <a:gd name="connsiteX2" fmla="*/ 1 w 2815094"/>
                <a:gd name="connsiteY2" fmla="*/ 257442 h 257442"/>
                <a:gd name="connsiteX3" fmla="*/ 0 w 2815094"/>
                <a:gd name="connsiteY3" fmla="*/ 0 h 257442"/>
                <a:gd name="connsiteX0" fmla="*/ 2815094 w 2815094"/>
                <a:gd name="connsiteY0" fmla="*/ 0 h 257442"/>
                <a:gd name="connsiteX1" fmla="*/ 2760372 w 2815094"/>
                <a:gd name="connsiteY1" fmla="*/ 257442 h 257442"/>
                <a:gd name="connsiteX2" fmla="*/ 0 w 2815094"/>
                <a:gd name="connsiteY2" fmla="*/ 257442 h 257442"/>
                <a:gd name="connsiteX3" fmla="*/ 0 w 2815094"/>
                <a:gd name="connsiteY3" fmla="*/ 0 h 257442"/>
                <a:gd name="connsiteX0" fmla="*/ 2815094 w 2815094"/>
                <a:gd name="connsiteY0" fmla="*/ 0 h 257442"/>
                <a:gd name="connsiteX1" fmla="*/ 2760372 w 2815094"/>
                <a:gd name="connsiteY1" fmla="*/ 257442 h 257442"/>
                <a:gd name="connsiteX2" fmla="*/ 0 w 2815094"/>
                <a:gd name="connsiteY2" fmla="*/ 257442 h 257442"/>
                <a:gd name="connsiteX3" fmla="*/ 0 w 2815094"/>
                <a:gd name="connsiteY3" fmla="*/ 0 h 257442"/>
                <a:gd name="connsiteX0" fmla="*/ 3076383 w 3076383"/>
                <a:gd name="connsiteY0" fmla="*/ 0 h 257442"/>
                <a:gd name="connsiteX1" fmla="*/ 276037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236683 w 3236683"/>
                <a:gd name="connsiteY0" fmla="*/ 0 h 257442"/>
                <a:gd name="connsiteX1" fmla="*/ 3021662 w 3236683"/>
                <a:gd name="connsiteY1" fmla="*/ 257442 h 257442"/>
                <a:gd name="connsiteX2" fmla="*/ 0 w 3236683"/>
                <a:gd name="connsiteY2" fmla="*/ 257442 h 257442"/>
                <a:gd name="connsiteX3" fmla="*/ 0 w 3236683"/>
                <a:gd name="connsiteY3" fmla="*/ 0 h 257442"/>
                <a:gd name="connsiteX0" fmla="*/ 3236683 w 3236683"/>
                <a:gd name="connsiteY0" fmla="*/ 0 h 257442"/>
                <a:gd name="connsiteX1" fmla="*/ 3181962 w 3236683"/>
                <a:gd name="connsiteY1" fmla="*/ 257442 h 257442"/>
                <a:gd name="connsiteX2" fmla="*/ 0 w 3236683"/>
                <a:gd name="connsiteY2" fmla="*/ 257442 h 257442"/>
                <a:gd name="connsiteX3" fmla="*/ 0 w 3236683"/>
                <a:gd name="connsiteY3" fmla="*/ 0 h 257442"/>
                <a:gd name="connsiteX0" fmla="*/ 3236683 w 3236683"/>
                <a:gd name="connsiteY0" fmla="*/ 0 h 257442"/>
                <a:gd name="connsiteX1" fmla="*/ 3181962 w 3236683"/>
                <a:gd name="connsiteY1" fmla="*/ 257442 h 257442"/>
                <a:gd name="connsiteX2" fmla="*/ 0 w 3236683"/>
                <a:gd name="connsiteY2" fmla="*/ 257442 h 257442"/>
                <a:gd name="connsiteX3" fmla="*/ 0 w 3236683"/>
                <a:gd name="connsiteY3" fmla="*/ 0 h 257442"/>
                <a:gd name="connsiteX0" fmla="*/ 3236683 w 3236683"/>
                <a:gd name="connsiteY0" fmla="*/ 0 h 257442"/>
                <a:gd name="connsiteX1" fmla="*/ 3181962 w 3236683"/>
                <a:gd name="connsiteY1" fmla="*/ 257442 h 257442"/>
                <a:gd name="connsiteX2" fmla="*/ 0 w 3236683"/>
                <a:gd name="connsiteY2" fmla="*/ 257442 h 257442"/>
                <a:gd name="connsiteX3" fmla="*/ 0 w 3236683"/>
                <a:gd name="connsiteY3" fmla="*/ 0 h 257442"/>
                <a:gd name="connsiteX0" fmla="*/ 3404998 w 3404998"/>
                <a:gd name="connsiteY0" fmla="*/ 0 h 257442"/>
                <a:gd name="connsiteX1" fmla="*/ 3181962 w 3404998"/>
                <a:gd name="connsiteY1" fmla="*/ 257442 h 257442"/>
                <a:gd name="connsiteX2" fmla="*/ 0 w 3404998"/>
                <a:gd name="connsiteY2" fmla="*/ 257442 h 257442"/>
                <a:gd name="connsiteX3" fmla="*/ 0 w 3404998"/>
                <a:gd name="connsiteY3" fmla="*/ 0 h 257442"/>
                <a:gd name="connsiteX0" fmla="*/ 3404998 w 3404998"/>
                <a:gd name="connsiteY0" fmla="*/ 0 h 257442"/>
                <a:gd name="connsiteX1" fmla="*/ 3350276 w 3404998"/>
                <a:gd name="connsiteY1" fmla="*/ 257442 h 257442"/>
                <a:gd name="connsiteX2" fmla="*/ 0 w 3404998"/>
                <a:gd name="connsiteY2" fmla="*/ 257442 h 257442"/>
                <a:gd name="connsiteX3" fmla="*/ 0 w 3404998"/>
                <a:gd name="connsiteY3" fmla="*/ 0 h 257442"/>
                <a:gd name="connsiteX0" fmla="*/ 3404999 w 3404999"/>
                <a:gd name="connsiteY0" fmla="*/ 0 h 257442"/>
                <a:gd name="connsiteX1" fmla="*/ 3350277 w 3404999"/>
                <a:gd name="connsiteY1" fmla="*/ 257442 h 257442"/>
                <a:gd name="connsiteX2" fmla="*/ 0 w 3404999"/>
                <a:gd name="connsiteY2" fmla="*/ 257442 h 257442"/>
                <a:gd name="connsiteX3" fmla="*/ 1 w 3404999"/>
                <a:gd name="connsiteY3" fmla="*/ 0 h 257442"/>
                <a:gd name="connsiteX0" fmla="*/ 3404999 w 3404999"/>
                <a:gd name="connsiteY0" fmla="*/ 0 h 257442"/>
                <a:gd name="connsiteX1" fmla="*/ 3350277 w 3404999"/>
                <a:gd name="connsiteY1" fmla="*/ 257442 h 257442"/>
                <a:gd name="connsiteX2" fmla="*/ 0 w 3404999"/>
                <a:gd name="connsiteY2" fmla="*/ 257442 h 257442"/>
                <a:gd name="connsiteX3" fmla="*/ 1 w 3404999"/>
                <a:gd name="connsiteY3" fmla="*/ 0 h 257442"/>
                <a:gd name="connsiteX0" fmla="*/ 3565299 w 3565299"/>
                <a:gd name="connsiteY0" fmla="*/ 0 h 257442"/>
                <a:gd name="connsiteX1" fmla="*/ 3350277 w 3565299"/>
                <a:gd name="connsiteY1" fmla="*/ 257442 h 257442"/>
                <a:gd name="connsiteX2" fmla="*/ 0 w 3565299"/>
                <a:gd name="connsiteY2" fmla="*/ 257442 h 257442"/>
                <a:gd name="connsiteX3" fmla="*/ 1 w 3565299"/>
                <a:gd name="connsiteY3" fmla="*/ 0 h 257442"/>
                <a:gd name="connsiteX0" fmla="*/ 3565299 w 3565299"/>
                <a:gd name="connsiteY0" fmla="*/ 0 h 257442"/>
                <a:gd name="connsiteX1" fmla="*/ 3510578 w 3565299"/>
                <a:gd name="connsiteY1" fmla="*/ 257442 h 257442"/>
                <a:gd name="connsiteX2" fmla="*/ 0 w 3565299"/>
                <a:gd name="connsiteY2" fmla="*/ 257442 h 257442"/>
                <a:gd name="connsiteX3" fmla="*/ 1 w 3565299"/>
                <a:gd name="connsiteY3" fmla="*/ 0 h 257442"/>
                <a:gd name="connsiteX0" fmla="*/ 3565298 w 3565298"/>
                <a:gd name="connsiteY0" fmla="*/ 0 h 257442"/>
                <a:gd name="connsiteX1" fmla="*/ 3510577 w 3565298"/>
                <a:gd name="connsiteY1" fmla="*/ 257442 h 257442"/>
                <a:gd name="connsiteX2" fmla="*/ 0 w 3565298"/>
                <a:gd name="connsiteY2" fmla="*/ 257442 h 257442"/>
                <a:gd name="connsiteX3" fmla="*/ 0 w 3565298"/>
                <a:gd name="connsiteY3" fmla="*/ 0 h 257442"/>
                <a:gd name="connsiteX0" fmla="*/ 3565299 w 3565299"/>
                <a:gd name="connsiteY0" fmla="*/ 0 h 257442"/>
                <a:gd name="connsiteX1" fmla="*/ 3510578 w 3565299"/>
                <a:gd name="connsiteY1" fmla="*/ 257442 h 257442"/>
                <a:gd name="connsiteX2" fmla="*/ 1 w 3565299"/>
                <a:gd name="connsiteY2" fmla="*/ 257442 h 257442"/>
                <a:gd name="connsiteX3" fmla="*/ 0 w 3565299"/>
                <a:gd name="connsiteY3" fmla="*/ 0 h 257442"/>
                <a:gd name="connsiteX0" fmla="*/ 2887678 w 3510578"/>
                <a:gd name="connsiteY0" fmla="*/ 0 h 257442"/>
                <a:gd name="connsiteX1" fmla="*/ 3510578 w 3510578"/>
                <a:gd name="connsiteY1" fmla="*/ 257442 h 257442"/>
                <a:gd name="connsiteX2" fmla="*/ 1 w 3510578"/>
                <a:gd name="connsiteY2" fmla="*/ 257442 h 257442"/>
                <a:gd name="connsiteX3" fmla="*/ 0 w 3510578"/>
                <a:gd name="connsiteY3" fmla="*/ 0 h 257442"/>
                <a:gd name="connsiteX0" fmla="*/ 2887678 w 2887678"/>
                <a:gd name="connsiteY0" fmla="*/ 0 h 257442"/>
                <a:gd name="connsiteX1" fmla="*/ 2832957 w 2887678"/>
                <a:gd name="connsiteY1" fmla="*/ 257442 h 257442"/>
                <a:gd name="connsiteX2" fmla="*/ 1 w 2887678"/>
                <a:gd name="connsiteY2" fmla="*/ 257442 h 257442"/>
                <a:gd name="connsiteX3" fmla="*/ 0 w 2887678"/>
                <a:gd name="connsiteY3" fmla="*/ 0 h 257442"/>
                <a:gd name="connsiteX0" fmla="*/ 2887678 w 2887678"/>
                <a:gd name="connsiteY0" fmla="*/ 0 h 257442"/>
                <a:gd name="connsiteX1" fmla="*/ 2832957 w 2887678"/>
                <a:gd name="connsiteY1" fmla="*/ 257442 h 257442"/>
                <a:gd name="connsiteX2" fmla="*/ 1 w 2887678"/>
                <a:gd name="connsiteY2" fmla="*/ 257442 h 257442"/>
                <a:gd name="connsiteX3" fmla="*/ 0 w 2887678"/>
                <a:gd name="connsiteY3" fmla="*/ 0 h 257442"/>
                <a:gd name="connsiteX0" fmla="*/ 2887677 w 2887677"/>
                <a:gd name="connsiteY0" fmla="*/ 0 h 257442"/>
                <a:gd name="connsiteX1" fmla="*/ 2832956 w 2887677"/>
                <a:gd name="connsiteY1" fmla="*/ 257442 h 257442"/>
                <a:gd name="connsiteX2" fmla="*/ 0 w 2887677"/>
                <a:gd name="connsiteY2" fmla="*/ 257442 h 257442"/>
                <a:gd name="connsiteX3" fmla="*/ 0 w 2887677"/>
                <a:gd name="connsiteY3" fmla="*/ 0 h 257442"/>
                <a:gd name="connsiteX0" fmla="*/ 3068368 w 3068368"/>
                <a:gd name="connsiteY0" fmla="*/ 0 h 257442"/>
                <a:gd name="connsiteX1" fmla="*/ 2832956 w 3068368"/>
                <a:gd name="connsiteY1" fmla="*/ 257442 h 257442"/>
                <a:gd name="connsiteX2" fmla="*/ 0 w 3068368"/>
                <a:gd name="connsiteY2" fmla="*/ 257442 h 257442"/>
                <a:gd name="connsiteX3" fmla="*/ 0 w 3068368"/>
                <a:gd name="connsiteY3" fmla="*/ 0 h 257442"/>
                <a:gd name="connsiteX0" fmla="*/ 3068368 w 3068368"/>
                <a:gd name="connsiteY0" fmla="*/ 0 h 257442"/>
                <a:gd name="connsiteX1" fmla="*/ 3013646 w 3068368"/>
                <a:gd name="connsiteY1" fmla="*/ 257442 h 257442"/>
                <a:gd name="connsiteX2" fmla="*/ 0 w 3068368"/>
                <a:gd name="connsiteY2" fmla="*/ 257442 h 257442"/>
                <a:gd name="connsiteX3" fmla="*/ 0 w 3068368"/>
                <a:gd name="connsiteY3" fmla="*/ 0 h 257442"/>
                <a:gd name="connsiteX0" fmla="*/ 3068369 w 3068369"/>
                <a:gd name="connsiteY0" fmla="*/ 0 h 257442"/>
                <a:gd name="connsiteX1" fmla="*/ 3013647 w 3068369"/>
                <a:gd name="connsiteY1" fmla="*/ 257442 h 257442"/>
                <a:gd name="connsiteX2" fmla="*/ 0 w 3068369"/>
                <a:gd name="connsiteY2" fmla="*/ 257442 h 257442"/>
                <a:gd name="connsiteX3" fmla="*/ 1 w 3068369"/>
                <a:gd name="connsiteY3" fmla="*/ 0 h 257442"/>
                <a:gd name="connsiteX0" fmla="*/ 3068369 w 3068369"/>
                <a:gd name="connsiteY0" fmla="*/ 0 h 257442"/>
                <a:gd name="connsiteX1" fmla="*/ 3013647 w 3068369"/>
                <a:gd name="connsiteY1" fmla="*/ 257442 h 257442"/>
                <a:gd name="connsiteX2" fmla="*/ 0 w 3068369"/>
                <a:gd name="connsiteY2" fmla="*/ 257442 h 257442"/>
                <a:gd name="connsiteX3" fmla="*/ 1 w 3068369"/>
                <a:gd name="connsiteY3" fmla="*/ 0 h 257442"/>
                <a:gd name="connsiteX0" fmla="*/ 3236684 w 3236684"/>
                <a:gd name="connsiteY0" fmla="*/ 0 h 257442"/>
                <a:gd name="connsiteX1" fmla="*/ 3013647 w 3236684"/>
                <a:gd name="connsiteY1" fmla="*/ 257442 h 257442"/>
                <a:gd name="connsiteX2" fmla="*/ 0 w 3236684"/>
                <a:gd name="connsiteY2" fmla="*/ 257442 h 257442"/>
                <a:gd name="connsiteX3" fmla="*/ 1 w 3236684"/>
                <a:gd name="connsiteY3" fmla="*/ 0 h 257442"/>
                <a:gd name="connsiteX0" fmla="*/ 3236684 w 3236684"/>
                <a:gd name="connsiteY0" fmla="*/ 0 h 257442"/>
                <a:gd name="connsiteX1" fmla="*/ 3181962 w 3236684"/>
                <a:gd name="connsiteY1" fmla="*/ 257442 h 257442"/>
                <a:gd name="connsiteX2" fmla="*/ 0 w 3236684"/>
                <a:gd name="connsiteY2" fmla="*/ 257442 h 257442"/>
                <a:gd name="connsiteX3" fmla="*/ 1 w 3236684"/>
                <a:gd name="connsiteY3" fmla="*/ 0 h 257442"/>
                <a:gd name="connsiteX0" fmla="*/ 3236684 w 3236684"/>
                <a:gd name="connsiteY0" fmla="*/ 0 h 257442"/>
                <a:gd name="connsiteX1" fmla="*/ 3181962 w 3236684"/>
                <a:gd name="connsiteY1" fmla="*/ 257442 h 257442"/>
                <a:gd name="connsiteX2" fmla="*/ 0 w 3236684"/>
                <a:gd name="connsiteY2" fmla="*/ 257442 h 257442"/>
                <a:gd name="connsiteX3" fmla="*/ 1 w 3236684"/>
                <a:gd name="connsiteY3" fmla="*/ 0 h 257442"/>
                <a:gd name="connsiteX0" fmla="*/ 3236684 w 3236684"/>
                <a:gd name="connsiteY0" fmla="*/ 0 h 257442"/>
                <a:gd name="connsiteX1" fmla="*/ 3181962 w 3236684"/>
                <a:gd name="connsiteY1" fmla="*/ 257442 h 257442"/>
                <a:gd name="connsiteX2" fmla="*/ 0 w 3236684"/>
                <a:gd name="connsiteY2" fmla="*/ 257442 h 257442"/>
                <a:gd name="connsiteX3" fmla="*/ 0 w 3236684"/>
                <a:gd name="connsiteY3" fmla="*/ 0 h 257442"/>
                <a:gd name="connsiteX0" fmla="*/ 3414616 w 3414616"/>
                <a:gd name="connsiteY0" fmla="*/ 0 h 257442"/>
                <a:gd name="connsiteX1" fmla="*/ 3181962 w 3414616"/>
                <a:gd name="connsiteY1" fmla="*/ 257442 h 257442"/>
                <a:gd name="connsiteX2" fmla="*/ 0 w 3414616"/>
                <a:gd name="connsiteY2" fmla="*/ 257442 h 257442"/>
                <a:gd name="connsiteX3" fmla="*/ 0 w 3414616"/>
                <a:gd name="connsiteY3" fmla="*/ 0 h 257442"/>
                <a:gd name="connsiteX0" fmla="*/ 3414616 w 3414616"/>
                <a:gd name="connsiteY0" fmla="*/ 0 h 257442"/>
                <a:gd name="connsiteX1" fmla="*/ 3359895 w 3414616"/>
                <a:gd name="connsiteY1" fmla="*/ 257442 h 257442"/>
                <a:gd name="connsiteX2" fmla="*/ 0 w 3414616"/>
                <a:gd name="connsiteY2" fmla="*/ 257442 h 257442"/>
                <a:gd name="connsiteX3" fmla="*/ 0 w 3414616"/>
                <a:gd name="connsiteY3" fmla="*/ 0 h 257442"/>
                <a:gd name="connsiteX0" fmla="*/ 3414616 w 3414616"/>
                <a:gd name="connsiteY0" fmla="*/ 0 h 257442"/>
                <a:gd name="connsiteX1" fmla="*/ 3359895 w 3414616"/>
                <a:gd name="connsiteY1" fmla="*/ 257442 h 257442"/>
                <a:gd name="connsiteX2" fmla="*/ 0 w 3414616"/>
                <a:gd name="connsiteY2" fmla="*/ 257442 h 257442"/>
                <a:gd name="connsiteX3" fmla="*/ 0 w 3414616"/>
                <a:gd name="connsiteY3" fmla="*/ 0 h 257442"/>
                <a:gd name="connsiteX0" fmla="*/ 3414616 w 3414616"/>
                <a:gd name="connsiteY0" fmla="*/ 0 h 257442"/>
                <a:gd name="connsiteX1" fmla="*/ 3359895 w 3414616"/>
                <a:gd name="connsiteY1" fmla="*/ 257442 h 257442"/>
                <a:gd name="connsiteX2" fmla="*/ 0 w 3414616"/>
                <a:gd name="connsiteY2" fmla="*/ 257442 h 257442"/>
                <a:gd name="connsiteX3" fmla="*/ 0 w 3414616"/>
                <a:gd name="connsiteY3" fmla="*/ 0 h 257442"/>
                <a:gd name="connsiteX0" fmla="*/ 2480066 w 3359895"/>
                <a:gd name="connsiteY0" fmla="*/ 0 h 257442"/>
                <a:gd name="connsiteX1" fmla="*/ 3359895 w 3359895"/>
                <a:gd name="connsiteY1" fmla="*/ 257442 h 257442"/>
                <a:gd name="connsiteX2" fmla="*/ 0 w 3359895"/>
                <a:gd name="connsiteY2" fmla="*/ 257442 h 257442"/>
                <a:gd name="connsiteX3" fmla="*/ 0 w 3359895"/>
                <a:gd name="connsiteY3" fmla="*/ 0 h 257442"/>
                <a:gd name="connsiteX0" fmla="*/ 2480066 w 2480066"/>
                <a:gd name="connsiteY0" fmla="*/ 0 h 257442"/>
                <a:gd name="connsiteX1" fmla="*/ 2425346 w 2480066"/>
                <a:gd name="connsiteY1" fmla="*/ 257442 h 257442"/>
                <a:gd name="connsiteX2" fmla="*/ 0 w 2480066"/>
                <a:gd name="connsiteY2" fmla="*/ 257442 h 257442"/>
                <a:gd name="connsiteX3" fmla="*/ 0 w 2480066"/>
                <a:gd name="connsiteY3" fmla="*/ 0 h 257442"/>
                <a:gd name="connsiteX0" fmla="*/ 2480066 w 2480066"/>
                <a:gd name="connsiteY0" fmla="*/ 0 h 257442"/>
                <a:gd name="connsiteX1" fmla="*/ 2425346 w 2480066"/>
                <a:gd name="connsiteY1" fmla="*/ 257442 h 257442"/>
                <a:gd name="connsiteX2" fmla="*/ 1 w 2480066"/>
                <a:gd name="connsiteY2" fmla="*/ 257442 h 257442"/>
                <a:gd name="connsiteX3" fmla="*/ 0 w 2480066"/>
                <a:gd name="connsiteY3" fmla="*/ 0 h 257442"/>
                <a:gd name="connsiteX0" fmla="*/ 2480065 w 2480065"/>
                <a:gd name="connsiteY0" fmla="*/ 0 h 257442"/>
                <a:gd name="connsiteX1" fmla="*/ 2425345 w 2480065"/>
                <a:gd name="connsiteY1" fmla="*/ 257442 h 257442"/>
                <a:gd name="connsiteX2" fmla="*/ 0 w 2480065"/>
                <a:gd name="connsiteY2" fmla="*/ 257442 h 257442"/>
                <a:gd name="connsiteX3" fmla="*/ 0 w 2480065"/>
                <a:gd name="connsiteY3" fmla="*/ 0 h 257442"/>
                <a:gd name="connsiteX0" fmla="*/ 2648381 w 2648381"/>
                <a:gd name="connsiteY0" fmla="*/ 0 h 257442"/>
                <a:gd name="connsiteX1" fmla="*/ 2425345 w 2648381"/>
                <a:gd name="connsiteY1" fmla="*/ 257442 h 257442"/>
                <a:gd name="connsiteX2" fmla="*/ 0 w 2648381"/>
                <a:gd name="connsiteY2" fmla="*/ 257442 h 257442"/>
                <a:gd name="connsiteX3" fmla="*/ 0 w 2648381"/>
                <a:gd name="connsiteY3" fmla="*/ 0 h 257442"/>
                <a:gd name="connsiteX0" fmla="*/ 2648381 w 2648381"/>
                <a:gd name="connsiteY0" fmla="*/ 0 h 257442"/>
                <a:gd name="connsiteX1" fmla="*/ 2593660 w 2648381"/>
                <a:gd name="connsiteY1" fmla="*/ 257442 h 257442"/>
                <a:gd name="connsiteX2" fmla="*/ 0 w 2648381"/>
                <a:gd name="connsiteY2" fmla="*/ 257442 h 257442"/>
                <a:gd name="connsiteX3" fmla="*/ 0 w 2648381"/>
                <a:gd name="connsiteY3" fmla="*/ 0 h 257442"/>
                <a:gd name="connsiteX0" fmla="*/ 2648381 w 2648381"/>
                <a:gd name="connsiteY0" fmla="*/ 0 h 257442"/>
                <a:gd name="connsiteX1" fmla="*/ 2593660 w 2648381"/>
                <a:gd name="connsiteY1" fmla="*/ 257442 h 257442"/>
                <a:gd name="connsiteX2" fmla="*/ 0 w 2648381"/>
                <a:gd name="connsiteY2" fmla="*/ 257442 h 257442"/>
                <a:gd name="connsiteX3" fmla="*/ 0 w 2648381"/>
                <a:gd name="connsiteY3" fmla="*/ 0 h 257442"/>
                <a:gd name="connsiteX0" fmla="*/ 2648381 w 2648381"/>
                <a:gd name="connsiteY0" fmla="*/ 0 h 257442"/>
                <a:gd name="connsiteX1" fmla="*/ 2593660 w 2648381"/>
                <a:gd name="connsiteY1" fmla="*/ 257442 h 257442"/>
                <a:gd name="connsiteX2" fmla="*/ 0 w 2648381"/>
                <a:gd name="connsiteY2" fmla="*/ 257442 h 257442"/>
                <a:gd name="connsiteX3" fmla="*/ 0 w 2648381"/>
                <a:gd name="connsiteY3" fmla="*/ 0 h 257442"/>
                <a:gd name="connsiteX0" fmla="*/ 2808681 w 2808681"/>
                <a:gd name="connsiteY0" fmla="*/ 0 h 257442"/>
                <a:gd name="connsiteX1" fmla="*/ 2593660 w 2808681"/>
                <a:gd name="connsiteY1" fmla="*/ 257442 h 257442"/>
                <a:gd name="connsiteX2" fmla="*/ 0 w 2808681"/>
                <a:gd name="connsiteY2" fmla="*/ 257442 h 257442"/>
                <a:gd name="connsiteX3" fmla="*/ 0 w 2808681"/>
                <a:gd name="connsiteY3" fmla="*/ 0 h 257442"/>
                <a:gd name="connsiteX0" fmla="*/ 2808681 w 2808681"/>
                <a:gd name="connsiteY0" fmla="*/ 0 h 257442"/>
                <a:gd name="connsiteX1" fmla="*/ 2753960 w 2808681"/>
                <a:gd name="connsiteY1" fmla="*/ 257442 h 257442"/>
                <a:gd name="connsiteX2" fmla="*/ 0 w 2808681"/>
                <a:gd name="connsiteY2" fmla="*/ 257442 h 257442"/>
                <a:gd name="connsiteX3" fmla="*/ 0 w 2808681"/>
                <a:gd name="connsiteY3" fmla="*/ 0 h 257442"/>
                <a:gd name="connsiteX0" fmla="*/ 2808681 w 2808681"/>
                <a:gd name="connsiteY0" fmla="*/ 0 h 257442"/>
                <a:gd name="connsiteX1" fmla="*/ 2753960 w 2808681"/>
                <a:gd name="connsiteY1" fmla="*/ 257442 h 257442"/>
                <a:gd name="connsiteX2" fmla="*/ 0 w 2808681"/>
                <a:gd name="connsiteY2" fmla="*/ 257442 h 257442"/>
                <a:gd name="connsiteX3" fmla="*/ 0 w 2808681"/>
                <a:gd name="connsiteY3" fmla="*/ 0 h 257442"/>
                <a:gd name="connsiteX0" fmla="*/ 2808681 w 2808681"/>
                <a:gd name="connsiteY0" fmla="*/ 0 h 257442"/>
                <a:gd name="connsiteX1" fmla="*/ 2753960 w 2808681"/>
                <a:gd name="connsiteY1" fmla="*/ 257442 h 257442"/>
                <a:gd name="connsiteX2" fmla="*/ 0 w 2808681"/>
                <a:gd name="connsiteY2" fmla="*/ 257442 h 257442"/>
                <a:gd name="connsiteX3" fmla="*/ 0 w 2808681"/>
                <a:gd name="connsiteY3" fmla="*/ 0 h 257442"/>
                <a:gd name="connsiteX0" fmla="*/ 2976997 w 2976997"/>
                <a:gd name="connsiteY0" fmla="*/ 0 h 257442"/>
                <a:gd name="connsiteX1" fmla="*/ 2753960 w 2976997"/>
                <a:gd name="connsiteY1" fmla="*/ 257442 h 257442"/>
                <a:gd name="connsiteX2" fmla="*/ 0 w 2976997"/>
                <a:gd name="connsiteY2" fmla="*/ 257442 h 257442"/>
                <a:gd name="connsiteX3" fmla="*/ 0 w 2976997"/>
                <a:gd name="connsiteY3" fmla="*/ 0 h 257442"/>
                <a:gd name="connsiteX0" fmla="*/ 2976997 w 2976997"/>
                <a:gd name="connsiteY0" fmla="*/ 0 h 257442"/>
                <a:gd name="connsiteX1" fmla="*/ 2922276 w 2976997"/>
                <a:gd name="connsiteY1" fmla="*/ 257442 h 257442"/>
                <a:gd name="connsiteX2" fmla="*/ 0 w 2976997"/>
                <a:gd name="connsiteY2" fmla="*/ 257442 h 257442"/>
                <a:gd name="connsiteX3" fmla="*/ 0 w 2976997"/>
                <a:gd name="connsiteY3" fmla="*/ 0 h 257442"/>
                <a:gd name="connsiteX0" fmla="*/ 2976997 w 2976997"/>
                <a:gd name="connsiteY0" fmla="*/ 0 h 257442"/>
                <a:gd name="connsiteX1" fmla="*/ 2922276 w 2976997"/>
                <a:gd name="connsiteY1" fmla="*/ 257442 h 257442"/>
                <a:gd name="connsiteX2" fmla="*/ 0 w 2976997"/>
                <a:gd name="connsiteY2" fmla="*/ 257442 h 257442"/>
                <a:gd name="connsiteX3" fmla="*/ 0 w 2976997"/>
                <a:gd name="connsiteY3" fmla="*/ 0 h 257442"/>
                <a:gd name="connsiteX0" fmla="*/ 2976997 w 2976997"/>
                <a:gd name="connsiteY0" fmla="*/ 0 h 257442"/>
                <a:gd name="connsiteX1" fmla="*/ 2922276 w 2976997"/>
                <a:gd name="connsiteY1" fmla="*/ 257442 h 257442"/>
                <a:gd name="connsiteX2" fmla="*/ 0 w 2976997"/>
                <a:gd name="connsiteY2" fmla="*/ 257442 h 257442"/>
                <a:gd name="connsiteX3" fmla="*/ 0 w 2976997"/>
                <a:gd name="connsiteY3" fmla="*/ 0 h 257442"/>
                <a:gd name="connsiteX0" fmla="*/ 3145312 w 3145312"/>
                <a:gd name="connsiteY0" fmla="*/ 0 h 257442"/>
                <a:gd name="connsiteX1" fmla="*/ 2922276 w 3145312"/>
                <a:gd name="connsiteY1" fmla="*/ 257442 h 257442"/>
                <a:gd name="connsiteX2" fmla="*/ 0 w 3145312"/>
                <a:gd name="connsiteY2" fmla="*/ 257442 h 257442"/>
                <a:gd name="connsiteX3" fmla="*/ 0 w 3145312"/>
                <a:gd name="connsiteY3" fmla="*/ 0 h 257442"/>
                <a:gd name="connsiteX0" fmla="*/ 3145312 w 3145312"/>
                <a:gd name="connsiteY0" fmla="*/ 0 h 257442"/>
                <a:gd name="connsiteX1" fmla="*/ 3090590 w 3145312"/>
                <a:gd name="connsiteY1" fmla="*/ 257442 h 257442"/>
                <a:gd name="connsiteX2" fmla="*/ 0 w 3145312"/>
                <a:gd name="connsiteY2" fmla="*/ 257442 h 257442"/>
                <a:gd name="connsiteX3" fmla="*/ 0 w 3145312"/>
                <a:gd name="connsiteY3" fmla="*/ 0 h 257442"/>
                <a:gd name="connsiteX0" fmla="*/ 3145313 w 3145313"/>
                <a:gd name="connsiteY0" fmla="*/ 0 h 257442"/>
                <a:gd name="connsiteX1" fmla="*/ 3090591 w 3145313"/>
                <a:gd name="connsiteY1" fmla="*/ 257442 h 257442"/>
                <a:gd name="connsiteX2" fmla="*/ 0 w 3145313"/>
                <a:gd name="connsiteY2" fmla="*/ 257442 h 257442"/>
                <a:gd name="connsiteX3" fmla="*/ 1 w 3145313"/>
                <a:gd name="connsiteY3" fmla="*/ 0 h 257442"/>
                <a:gd name="connsiteX0" fmla="*/ 3145313 w 3145313"/>
                <a:gd name="connsiteY0" fmla="*/ 0 h 257442"/>
                <a:gd name="connsiteX1" fmla="*/ 3090591 w 3145313"/>
                <a:gd name="connsiteY1" fmla="*/ 257442 h 257442"/>
                <a:gd name="connsiteX2" fmla="*/ 0 w 3145313"/>
                <a:gd name="connsiteY2" fmla="*/ 257442 h 257442"/>
                <a:gd name="connsiteX3" fmla="*/ 1 w 3145313"/>
                <a:gd name="connsiteY3" fmla="*/ 0 h 257442"/>
                <a:gd name="connsiteX0" fmla="*/ 3305613 w 3305613"/>
                <a:gd name="connsiteY0" fmla="*/ 0 h 257442"/>
                <a:gd name="connsiteX1" fmla="*/ 3090591 w 3305613"/>
                <a:gd name="connsiteY1" fmla="*/ 257442 h 257442"/>
                <a:gd name="connsiteX2" fmla="*/ 0 w 3305613"/>
                <a:gd name="connsiteY2" fmla="*/ 257442 h 257442"/>
                <a:gd name="connsiteX3" fmla="*/ 1 w 3305613"/>
                <a:gd name="connsiteY3" fmla="*/ 0 h 257442"/>
                <a:gd name="connsiteX0" fmla="*/ 3305613 w 3305613"/>
                <a:gd name="connsiteY0" fmla="*/ 0 h 257442"/>
                <a:gd name="connsiteX1" fmla="*/ 3250892 w 3305613"/>
                <a:gd name="connsiteY1" fmla="*/ 257442 h 257442"/>
                <a:gd name="connsiteX2" fmla="*/ 0 w 3305613"/>
                <a:gd name="connsiteY2" fmla="*/ 257442 h 257442"/>
                <a:gd name="connsiteX3" fmla="*/ 1 w 3305613"/>
                <a:gd name="connsiteY3" fmla="*/ 0 h 257442"/>
                <a:gd name="connsiteX0" fmla="*/ 3305612 w 3305612"/>
                <a:gd name="connsiteY0" fmla="*/ 0 h 257442"/>
                <a:gd name="connsiteX1" fmla="*/ 3250891 w 3305612"/>
                <a:gd name="connsiteY1" fmla="*/ 257442 h 257442"/>
                <a:gd name="connsiteX2" fmla="*/ 0 w 3305612"/>
                <a:gd name="connsiteY2" fmla="*/ 257442 h 257442"/>
                <a:gd name="connsiteX3" fmla="*/ 0 w 3305612"/>
                <a:gd name="connsiteY3" fmla="*/ 0 h 257442"/>
                <a:gd name="connsiteX0" fmla="*/ 3305613 w 3305613"/>
                <a:gd name="connsiteY0" fmla="*/ 0 h 257442"/>
                <a:gd name="connsiteX1" fmla="*/ 3250892 w 3305613"/>
                <a:gd name="connsiteY1" fmla="*/ 257442 h 257442"/>
                <a:gd name="connsiteX2" fmla="*/ 1 w 3305613"/>
                <a:gd name="connsiteY2" fmla="*/ 257442 h 257442"/>
                <a:gd name="connsiteX3" fmla="*/ 0 w 3305613"/>
                <a:gd name="connsiteY3" fmla="*/ 0 h 257442"/>
                <a:gd name="connsiteX0" fmla="*/ 950802 w 3250892"/>
                <a:gd name="connsiteY0" fmla="*/ 0 h 257442"/>
                <a:gd name="connsiteX1" fmla="*/ 3250892 w 3250892"/>
                <a:gd name="connsiteY1" fmla="*/ 257442 h 257442"/>
                <a:gd name="connsiteX2" fmla="*/ 1 w 3250892"/>
                <a:gd name="connsiteY2" fmla="*/ 257442 h 257442"/>
                <a:gd name="connsiteX3" fmla="*/ 0 w 3250892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1119116 w 1119116"/>
                <a:gd name="connsiteY0" fmla="*/ 0 h 257442"/>
                <a:gd name="connsiteX1" fmla="*/ 896080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4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1 w 1119117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1 w 1119117"/>
                <a:gd name="connsiteY3" fmla="*/ 0 h 257442"/>
                <a:gd name="connsiteX0" fmla="*/ 1287433 w 1287433"/>
                <a:gd name="connsiteY0" fmla="*/ 0 h 257442"/>
                <a:gd name="connsiteX1" fmla="*/ 1064395 w 1287433"/>
                <a:gd name="connsiteY1" fmla="*/ 257442 h 257442"/>
                <a:gd name="connsiteX2" fmla="*/ 0 w 1287433"/>
                <a:gd name="connsiteY2" fmla="*/ 257442 h 257442"/>
                <a:gd name="connsiteX3" fmla="*/ 1 w 1287433"/>
                <a:gd name="connsiteY3" fmla="*/ 0 h 257442"/>
                <a:gd name="connsiteX0" fmla="*/ 1287433 w 1287433"/>
                <a:gd name="connsiteY0" fmla="*/ 0 h 257442"/>
                <a:gd name="connsiteX1" fmla="*/ 1232712 w 1287433"/>
                <a:gd name="connsiteY1" fmla="*/ 257442 h 257442"/>
                <a:gd name="connsiteX2" fmla="*/ 0 w 1287433"/>
                <a:gd name="connsiteY2" fmla="*/ 257442 h 257442"/>
                <a:gd name="connsiteX3" fmla="*/ 1 w 1287433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3 w 1287433"/>
                <a:gd name="connsiteY0" fmla="*/ 0 h 257442"/>
                <a:gd name="connsiteX1" fmla="*/ 1232712 w 1287433"/>
                <a:gd name="connsiteY1" fmla="*/ 257442 h 257442"/>
                <a:gd name="connsiteX2" fmla="*/ 1 w 1287433"/>
                <a:gd name="connsiteY2" fmla="*/ 257442 h 257442"/>
                <a:gd name="connsiteX3" fmla="*/ 0 w 1287433"/>
                <a:gd name="connsiteY3" fmla="*/ 0 h 257442"/>
                <a:gd name="connsiteX0" fmla="*/ 1455748 w 1455748"/>
                <a:gd name="connsiteY0" fmla="*/ 0 h 257442"/>
                <a:gd name="connsiteX1" fmla="*/ 1232712 w 1455748"/>
                <a:gd name="connsiteY1" fmla="*/ 257442 h 257442"/>
                <a:gd name="connsiteX2" fmla="*/ 1 w 1455748"/>
                <a:gd name="connsiteY2" fmla="*/ 257442 h 257442"/>
                <a:gd name="connsiteX3" fmla="*/ 0 w 1455748"/>
                <a:gd name="connsiteY3" fmla="*/ 0 h 257442"/>
                <a:gd name="connsiteX0" fmla="*/ 1455748 w 1455748"/>
                <a:gd name="connsiteY0" fmla="*/ 0 h 257442"/>
                <a:gd name="connsiteX1" fmla="*/ 1401026 w 1455748"/>
                <a:gd name="connsiteY1" fmla="*/ 257442 h 257442"/>
                <a:gd name="connsiteX2" fmla="*/ 1 w 1455748"/>
                <a:gd name="connsiteY2" fmla="*/ 257442 h 257442"/>
                <a:gd name="connsiteX3" fmla="*/ 0 w 1455748"/>
                <a:gd name="connsiteY3" fmla="*/ 0 h 257442"/>
                <a:gd name="connsiteX0" fmla="*/ 1455748 w 1455748"/>
                <a:gd name="connsiteY0" fmla="*/ 0 h 257442"/>
                <a:gd name="connsiteX1" fmla="*/ 1401026 w 1455748"/>
                <a:gd name="connsiteY1" fmla="*/ 257442 h 257442"/>
                <a:gd name="connsiteX2" fmla="*/ 0 w 1455748"/>
                <a:gd name="connsiteY2" fmla="*/ 257442 h 257442"/>
                <a:gd name="connsiteX3" fmla="*/ 0 w 1455748"/>
                <a:gd name="connsiteY3" fmla="*/ 0 h 257442"/>
                <a:gd name="connsiteX0" fmla="*/ 1455748 w 1455748"/>
                <a:gd name="connsiteY0" fmla="*/ 0 h 257442"/>
                <a:gd name="connsiteX1" fmla="*/ 1401026 w 1455748"/>
                <a:gd name="connsiteY1" fmla="*/ 257442 h 257442"/>
                <a:gd name="connsiteX2" fmla="*/ 0 w 1455748"/>
                <a:gd name="connsiteY2" fmla="*/ 257442 h 257442"/>
                <a:gd name="connsiteX3" fmla="*/ 0 w 1455748"/>
                <a:gd name="connsiteY3" fmla="*/ 0 h 257442"/>
                <a:gd name="connsiteX0" fmla="*/ 1624062 w 1624062"/>
                <a:gd name="connsiteY0" fmla="*/ 0 h 257442"/>
                <a:gd name="connsiteX1" fmla="*/ 1401026 w 1624062"/>
                <a:gd name="connsiteY1" fmla="*/ 257442 h 257442"/>
                <a:gd name="connsiteX2" fmla="*/ 0 w 1624062"/>
                <a:gd name="connsiteY2" fmla="*/ 257442 h 257442"/>
                <a:gd name="connsiteX3" fmla="*/ 0 w 1624062"/>
                <a:gd name="connsiteY3" fmla="*/ 0 h 257442"/>
                <a:gd name="connsiteX0" fmla="*/ 1624062 w 1624062"/>
                <a:gd name="connsiteY0" fmla="*/ 0 h 257442"/>
                <a:gd name="connsiteX1" fmla="*/ 1569341 w 1624062"/>
                <a:gd name="connsiteY1" fmla="*/ 257442 h 257442"/>
                <a:gd name="connsiteX2" fmla="*/ 0 w 1624062"/>
                <a:gd name="connsiteY2" fmla="*/ 257442 h 257442"/>
                <a:gd name="connsiteX3" fmla="*/ 0 w 1624062"/>
                <a:gd name="connsiteY3" fmla="*/ 0 h 257442"/>
                <a:gd name="connsiteX0" fmla="*/ 1624062 w 1624062"/>
                <a:gd name="connsiteY0" fmla="*/ 0 h 257442"/>
                <a:gd name="connsiteX1" fmla="*/ 1569341 w 1624062"/>
                <a:gd name="connsiteY1" fmla="*/ 257442 h 257442"/>
                <a:gd name="connsiteX2" fmla="*/ 0 w 1624062"/>
                <a:gd name="connsiteY2" fmla="*/ 257442 h 257442"/>
                <a:gd name="connsiteX3" fmla="*/ 0 w 1624062"/>
                <a:gd name="connsiteY3" fmla="*/ 0 h 257442"/>
                <a:gd name="connsiteX0" fmla="*/ 1624062 w 1624062"/>
                <a:gd name="connsiteY0" fmla="*/ 0 h 257442"/>
                <a:gd name="connsiteX1" fmla="*/ 1569341 w 1624062"/>
                <a:gd name="connsiteY1" fmla="*/ 257442 h 257442"/>
                <a:gd name="connsiteX2" fmla="*/ 0 w 1624062"/>
                <a:gd name="connsiteY2" fmla="*/ 257442 h 257442"/>
                <a:gd name="connsiteX3" fmla="*/ 0 w 1624062"/>
                <a:gd name="connsiteY3" fmla="*/ 0 h 257442"/>
                <a:gd name="connsiteX0" fmla="*/ 1784363 w 1784363"/>
                <a:gd name="connsiteY0" fmla="*/ 0 h 257442"/>
                <a:gd name="connsiteX1" fmla="*/ 1569341 w 1784363"/>
                <a:gd name="connsiteY1" fmla="*/ 257442 h 257442"/>
                <a:gd name="connsiteX2" fmla="*/ 0 w 1784363"/>
                <a:gd name="connsiteY2" fmla="*/ 257442 h 257442"/>
                <a:gd name="connsiteX3" fmla="*/ 0 w 1784363"/>
                <a:gd name="connsiteY3" fmla="*/ 0 h 257442"/>
                <a:gd name="connsiteX0" fmla="*/ 1784363 w 1784363"/>
                <a:gd name="connsiteY0" fmla="*/ 0 h 257442"/>
                <a:gd name="connsiteX1" fmla="*/ 1729642 w 1784363"/>
                <a:gd name="connsiteY1" fmla="*/ 257442 h 257442"/>
                <a:gd name="connsiteX2" fmla="*/ 0 w 1784363"/>
                <a:gd name="connsiteY2" fmla="*/ 257442 h 257442"/>
                <a:gd name="connsiteX3" fmla="*/ 0 w 1784363"/>
                <a:gd name="connsiteY3" fmla="*/ 0 h 257442"/>
                <a:gd name="connsiteX0" fmla="*/ 1784363 w 1784363"/>
                <a:gd name="connsiteY0" fmla="*/ 0 h 257442"/>
                <a:gd name="connsiteX1" fmla="*/ 1729642 w 1784363"/>
                <a:gd name="connsiteY1" fmla="*/ 257442 h 257442"/>
                <a:gd name="connsiteX2" fmla="*/ 0 w 1784363"/>
                <a:gd name="connsiteY2" fmla="*/ 257442 h 257442"/>
                <a:gd name="connsiteX3" fmla="*/ 0 w 1784363"/>
                <a:gd name="connsiteY3" fmla="*/ 0 h 257442"/>
                <a:gd name="connsiteX0" fmla="*/ 1784363 w 1784363"/>
                <a:gd name="connsiteY0" fmla="*/ 0 h 257442"/>
                <a:gd name="connsiteX1" fmla="*/ 1729642 w 1784363"/>
                <a:gd name="connsiteY1" fmla="*/ 257442 h 257442"/>
                <a:gd name="connsiteX2" fmla="*/ 0 w 1784363"/>
                <a:gd name="connsiteY2" fmla="*/ 257442 h 257442"/>
                <a:gd name="connsiteX3" fmla="*/ 0 w 1784363"/>
                <a:gd name="connsiteY3" fmla="*/ 0 h 257442"/>
                <a:gd name="connsiteX0" fmla="*/ 2034879 w 2034879"/>
                <a:gd name="connsiteY0" fmla="*/ 0 h 257442"/>
                <a:gd name="connsiteX1" fmla="*/ 1729642 w 2034879"/>
                <a:gd name="connsiteY1" fmla="*/ 257442 h 257442"/>
                <a:gd name="connsiteX2" fmla="*/ 0 w 2034879"/>
                <a:gd name="connsiteY2" fmla="*/ 257442 h 257442"/>
                <a:gd name="connsiteX3" fmla="*/ 0 w 2034879"/>
                <a:gd name="connsiteY3" fmla="*/ 0 h 257442"/>
                <a:gd name="connsiteX0" fmla="*/ 2034879 w 2034879"/>
                <a:gd name="connsiteY0" fmla="*/ 0 h 257442"/>
                <a:gd name="connsiteX1" fmla="*/ 1980158 w 2034879"/>
                <a:gd name="connsiteY1" fmla="*/ 257442 h 257442"/>
                <a:gd name="connsiteX2" fmla="*/ 0 w 2034879"/>
                <a:gd name="connsiteY2" fmla="*/ 257442 h 257442"/>
                <a:gd name="connsiteX3" fmla="*/ 0 w 2034879"/>
                <a:gd name="connsiteY3" fmla="*/ 0 h 257442"/>
                <a:gd name="connsiteX0" fmla="*/ 2034879 w 2034879"/>
                <a:gd name="connsiteY0" fmla="*/ 0 h 257442"/>
                <a:gd name="connsiteX1" fmla="*/ 1980158 w 2034879"/>
                <a:gd name="connsiteY1" fmla="*/ 257442 h 257442"/>
                <a:gd name="connsiteX2" fmla="*/ 0 w 2034879"/>
                <a:gd name="connsiteY2" fmla="*/ 257442 h 257442"/>
                <a:gd name="connsiteX3" fmla="*/ 0 w 2034879"/>
                <a:gd name="connsiteY3" fmla="*/ 0 h 257442"/>
                <a:gd name="connsiteX0" fmla="*/ 2034879 w 2034879"/>
                <a:gd name="connsiteY0" fmla="*/ 0 h 257442"/>
                <a:gd name="connsiteX1" fmla="*/ 1980158 w 2034879"/>
                <a:gd name="connsiteY1" fmla="*/ 257442 h 257442"/>
                <a:gd name="connsiteX2" fmla="*/ 0 w 2034879"/>
                <a:gd name="connsiteY2" fmla="*/ 257442 h 257442"/>
                <a:gd name="connsiteX3" fmla="*/ 0 w 2034879"/>
                <a:gd name="connsiteY3" fmla="*/ 0 h 257442"/>
                <a:gd name="connsiteX0" fmla="*/ 2203195 w 2203195"/>
                <a:gd name="connsiteY0" fmla="*/ 0 h 257442"/>
                <a:gd name="connsiteX1" fmla="*/ 1980158 w 2203195"/>
                <a:gd name="connsiteY1" fmla="*/ 257442 h 257442"/>
                <a:gd name="connsiteX2" fmla="*/ 0 w 2203195"/>
                <a:gd name="connsiteY2" fmla="*/ 257442 h 257442"/>
                <a:gd name="connsiteX3" fmla="*/ 0 w 2203195"/>
                <a:gd name="connsiteY3" fmla="*/ 0 h 257442"/>
                <a:gd name="connsiteX0" fmla="*/ 2203195 w 2203195"/>
                <a:gd name="connsiteY0" fmla="*/ 0 h 257442"/>
                <a:gd name="connsiteX1" fmla="*/ 2148474 w 2203195"/>
                <a:gd name="connsiteY1" fmla="*/ 257442 h 257442"/>
                <a:gd name="connsiteX2" fmla="*/ 0 w 2203195"/>
                <a:gd name="connsiteY2" fmla="*/ 257442 h 257442"/>
                <a:gd name="connsiteX3" fmla="*/ 0 w 2203195"/>
                <a:gd name="connsiteY3" fmla="*/ 0 h 257442"/>
                <a:gd name="connsiteX0" fmla="*/ 2203195 w 2203195"/>
                <a:gd name="connsiteY0" fmla="*/ 0 h 257442"/>
                <a:gd name="connsiteX1" fmla="*/ 2148474 w 2203195"/>
                <a:gd name="connsiteY1" fmla="*/ 257442 h 257442"/>
                <a:gd name="connsiteX2" fmla="*/ 0 w 2203195"/>
                <a:gd name="connsiteY2" fmla="*/ 257442 h 257442"/>
                <a:gd name="connsiteX3" fmla="*/ 0 w 2203195"/>
                <a:gd name="connsiteY3" fmla="*/ 0 h 257442"/>
                <a:gd name="connsiteX0" fmla="*/ 2203195 w 2203195"/>
                <a:gd name="connsiteY0" fmla="*/ 0 h 257442"/>
                <a:gd name="connsiteX1" fmla="*/ 2148474 w 2203195"/>
                <a:gd name="connsiteY1" fmla="*/ 257442 h 257442"/>
                <a:gd name="connsiteX2" fmla="*/ 0 w 2203195"/>
                <a:gd name="connsiteY2" fmla="*/ 257442 h 257442"/>
                <a:gd name="connsiteX3" fmla="*/ 0 w 2203195"/>
                <a:gd name="connsiteY3" fmla="*/ 0 h 257442"/>
                <a:gd name="connsiteX0" fmla="*/ 2363496 w 2363496"/>
                <a:gd name="connsiteY0" fmla="*/ 0 h 257442"/>
                <a:gd name="connsiteX1" fmla="*/ 2148474 w 2363496"/>
                <a:gd name="connsiteY1" fmla="*/ 257442 h 257442"/>
                <a:gd name="connsiteX2" fmla="*/ 0 w 2363496"/>
                <a:gd name="connsiteY2" fmla="*/ 257442 h 257442"/>
                <a:gd name="connsiteX3" fmla="*/ 0 w 2363496"/>
                <a:gd name="connsiteY3" fmla="*/ 0 h 257442"/>
                <a:gd name="connsiteX0" fmla="*/ 2363496 w 2363496"/>
                <a:gd name="connsiteY0" fmla="*/ 0 h 257442"/>
                <a:gd name="connsiteX1" fmla="*/ 2308774 w 2363496"/>
                <a:gd name="connsiteY1" fmla="*/ 257442 h 257442"/>
                <a:gd name="connsiteX2" fmla="*/ 0 w 2363496"/>
                <a:gd name="connsiteY2" fmla="*/ 257442 h 257442"/>
                <a:gd name="connsiteX3" fmla="*/ 0 w 2363496"/>
                <a:gd name="connsiteY3" fmla="*/ 0 h 257442"/>
                <a:gd name="connsiteX0" fmla="*/ 2363497 w 2363497"/>
                <a:gd name="connsiteY0" fmla="*/ 0 h 257442"/>
                <a:gd name="connsiteX1" fmla="*/ 2308775 w 2363497"/>
                <a:gd name="connsiteY1" fmla="*/ 257442 h 257442"/>
                <a:gd name="connsiteX2" fmla="*/ 0 w 2363497"/>
                <a:gd name="connsiteY2" fmla="*/ 257442 h 257442"/>
                <a:gd name="connsiteX3" fmla="*/ 1 w 2363497"/>
                <a:gd name="connsiteY3" fmla="*/ 0 h 257442"/>
                <a:gd name="connsiteX0" fmla="*/ 2363497 w 2363497"/>
                <a:gd name="connsiteY0" fmla="*/ 0 h 257442"/>
                <a:gd name="connsiteX1" fmla="*/ 2308775 w 2363497"/>
                <a:gd name="connsiteY1" fmla="*/ 257442 h 257442"/>
                <a:gd name="connsiteX2" fmla="*/ 0 w 2363497"/>
                <a:gd name="connsiteY2" fmla="*/ 257442 h 257442"/>
                <a:gd name="connsiteX3" fmla="*/ 1 w 2363497"/>
                <a:gd name="connsiteY3" fmla="*/ 0 h 257442"/>
                <a:gd name="connsiteX0" fmla="*/ 2531811 w 2531811"/>
                <a:gd name="connsiteY0" fmla="*/ 0 h 257442"/>
                <a:gd name="connsiteX1" fmla="*/ 2308775 w 2531811"/>
                <a:gd name="connsiteY1" fmla="*/ 257442 h 257442"/>
                <a:gd name="connsiteX2" fmla="*/ 0 w 2531811"/>
                <a:gd name="connsiteY2" fmla="*/ 257442 h 257442"/>
                <a:gd name="connsiteX3" fmla="*/ 1 w 2531811"/>
                <a:gd name="connsiteY3" fmla="*/ 0 h 257442"/>
                <a:gd name="connsiteX0" fmla="*/ 2531811 w 2531811"/>
                <a:gd name="connsiteY0" fmla="*/ 0 h 257442"/>
                <a:gd name="connsiteX1" fmla="*/ 2477090 w 2531811"/>
                <a:gd name="connsiteY1" fmla="*/ 257442 h 257442"/>
                <a:gd name="connsiteX2" fmla="*/ 0 w 2531811"/>
                <a:gd name="connsiteY2" fmla="*/ 257442 h 257442"/>
                <a:gd name="connsiteX3" fmla="*/ 1 w 2531811"/>
                <a:gd name="connsiteY3" fmla="*/ 0 h 257442"/>
                <a:gd name="connsiteX0" fmla="*/ 2531810 w 2531810"/>
                <a:gd name="connsiteY0" fmla="*/ 0 h 257442"/>
                <a:gd name="connsiteX1" fmla="*/ 2477089 w 2531810"/>
                <a:gd name="connsiteY1" fmla="*/ 257442 h 257442"/>
                <a:gd name="connsiteX2" fmla="*/ 0 w 2531810"/>
                <a:gd name="connsiteY2" fmla="*/ 257442 h 257442"/>
                <a:gd name="connsiteX3" fmla="*/ 0 w 2531810"/>
                <a:gd name="connsiteY3" fmla="*/ 0 h 257442"/>
                <a:gd name="connsiteX0" fmla="*/ 2531811 w 2531811"/>
                <a:gd name="connsiteY0" fmla="*/ 0 h 257442"/>
                <a:gd name="connsiteX1" fmla="*/ 2477090 w 2531811"/>
                <a:gd name="connsiteY1" fmla="*/ 257442 h 257442"/>
                <a:gd name="connsiteX2" fmla="*/ 1 w 2531811"/>
                <a:gd name="connsiteY2" fmla="*/ 257442 h 257442"/>
                <a:gd name="connsiteX3" fmla="*/ 0 w 2531811"/>
                <a:gd name="connsiteY3" fmla="*/ 0 h 257442"/>
                <a:gd name="connsiteX0" fmla="*/ 2700127 w 2700127"/>
                <a:gd name="connsiteY0" fmla="*/ 0 h 257442"/>
                <a:gd name="connsiteX1" fmla="*/ 2477090 w 2700127"/>
                <a:gd name="connsiteY1" fmla="*/ 257442 h 257442"/>
                <a:gd name="connsiteX2" fmla="*/ 1 w 2700127"/>
                <a:gd name="connsiteY2" fmla="*/ 257442 h 257442"/>
                <a:gd name="connsiteX3" fmla="*/ 0 w 2700127"/>
                <a:gd name="connsiteY3" fmla="*/ 0 h 257442"/>
                <a:gd name="connsiteX0" fmla="*/ 2700127 w 2700127"/>
                <a:gd name="connsiteY0" fmla="*/ 0 h 257442"/>
                <a:gd name="connsiteX1" fmla="*/ 2645406 w 2700127"/>
                <a:gd name="connsiteY1" fmla="*/ 257442 h 257442"/>
                <a:gd name="connsiteX2" fmla="*/ 1 w 2700127"/>
                <a:gd name="connsiteY2" fmla="*/ 257442 h 257442"/>
                <a:gd name="connsiteX3" fmla="*/ 0 w 2700127"/>
                <a:gd name="connsiteY3" fmla="*/ 0 h 257442"/>
                <a:gd name="connsiteX0" fmla="*/ 2700127 w 2700127"/>
                <a:gd name="connsiteY0" fmla="*/ 0 h 257442"/>
                <a:gd name="connsiteX1" fmla="*/ 2645406 w 2700127"/>
                <a:gd name="connsiteY1" fmla="*/ 257442 h 257442"/>
                <a:gd name="connsiteX2" fmla="*/ 1 w 2700127"/>
                <a:gd name="connsiteY2" fmla="*/ 257442 h 257442"/>
                <a:gd name="connsiteX3" fmla="*/ 0 w 2700127"/>
                <a:gd name="connsiteY3" fmla="*/ 0 h 257442"/>
                <a:gd name="connsiteX0" fmla="*/ 2700126 w 2700126"/>
                <a:gd name="connsiteY0" fmla="*/ 0 h 257442"/>
                <a:gd name="connsiteX1" fmla="*/ 2645405 w 2700126"/>
                <a:gd name="connsiteY1" fmla="*/ 257442 h 257442"/>
                <a:gd name="connsiteX2" fmla="*/ 0 w 2700126"/>
                <a:gd name="connsiteY2" fmla="*/ 257442 h 257442"/>
                <a:gd name="connsiteX3" fmla="*/ 0 w 2700126"/>
                <a:gd name="connsiteY3" fmla="*/ 0 h 257442"/>
                <a:gd name="connsiteX0" fmla="*/ 2886074 w 2886074"/>
                <a:gd name="connsiteY0" fmla="*/ 0 h 257442"/>
                <a:gd name="connsiteX1" fmla="*/ 2645405 w 2886074"/>
                <a:gd name="connsiteY1" fmla="*/ 257442 h 257442"/>
                <a:gd name="connsiteX2" fmla="*/ 0 w 2886074"/>
                <a:gd name="connsiteY2" fmla="*/ 257442 h 257442"/>
                <a:gd name="connsiteX3" fmla="*/ 0 w 2886074"/>
                <a:gd name="connsiteY3" fmla="*/ 0 h 257442"/>
                <a:gd name="connsiteX0" fmla="*/ 2886074 w 2886074"/>
                <a:gd name="connsiteY0" fmla="*/ 0 h 257442"/>
                <a:gd name="connsiteX1" fmla="*/ 2831353 w 2886074"/>
                <a:gd name="connsiteY1" fmla="*/ 257442 h 257442"/>
                <a:gd name="connsiteX2" fmla="*/ 0 w 2886074"/>
                <a:gd name="connsiteY2" fmla="*/ 257442 h 257442"/>
                <a:gd name="connsiteX3" fmla="*/ 0 w 2886074"/>
                <a:gd name="connsiteY3" fmla="*/ 0 h 257442"/>
                <a:gd name="connsiteX0" fmla="*/ 2886075 w 2886075"/>
                <a:gd name="connsiteY0" fmla="*/ 0 h 257442"/>
                <a:gd name="connsiteX1" fmla="*/ 2831354 w 2886075"/>
                <a:gd name="connsiteY1" fmla="*/ 257442 h 257442"/>
                <a:gd name="connsiteX2" fmla="*/ 0 w 2886075"/>
                <a:gd name="connsiteY2" fmla="*/ 257442 h 257442"/>
                <a:gd name="connsiteX3" fmla="*/ 1 w 2886075"/>
                <a:gd name="connsiteY3" fmla="*/ 0 h 257442"/>
                <a:gd name="connsiteX0" fmla="*/ 2886075 w 2886075"/>
                <a:gd name="connsiteY0" fmla="*/ 0 h 257442"/>
                <a:gd name="connsiteX1" fmla="*/ 2831354 w 2886075"/>
                <a:gd name="connsiteY1" fmla="*/ 257442 h 257442"/>
                <a:gd name="connsiteX2" fmla="*/ 0 w 2886075"/>
                <a:gd name="connsiteY2" fmla="*/ 257442 h 257442"/>
                <a:gd name="connsiteX3" fmla="*/ 1 w 2886075"/>
                <a:gd name="connsiteY3" fmla="*/ 0 h 257442"/>
                <a:gd name="connsiteX0" fmla="*/ 3155380 w 3155380"/>
                <a:gd name="connsiteY0" fmla="*/ 0 h 257442"/>
                <a:gd name="connsiteX1" fmla="*/ 2831354 w 3155380"/>
                <a:gd name="connsiteY1" fmla="*/ 257442 h 257442"/>
                <a:gd name="connsiteX2" fmla="*/ 0 w 3155380"/>
                <a:gd name="connsiteY2" fmla="*/ 257442 h 257442"/>
                <a:gd name="connsiteX3" fmla="*/ 1 w 3155380"/>
                <a:gd name="connsiteY3" fmla="*/ 0 h 257442"/>
                <a:gd name="connsiteX0" fmla="*/ 3155380 w 3155380"/>
                <a:gd name="connsiteY0" fmla="*/ 0 h 257442"/>
                <a:gd name="connsiteX1" fmla="*/ 3100658 w 3155380"/>
                <a:gd name="connsiteY1" fmla="*/ 257442 h 257442"/>
                <a:gd name="connsiteX2" fmla="*/ 0 w 3155380"/>
                <a:gd name="connsiteY2" fmla="*/ 257442 h 257442"/>
                <a:gd name="connsiteX3" fmla="*/ 1 w 3155380"/>
                <a:gd name="connsiteY3" fmla="*/ 0 h 257442"/>
                <a:gd name="connsiteX0" fmla="*/ 3155380 w 3155380"/>
                <a:gd name="connsiteY0" fmla="*/ 0 h 257442"/>
                <a:gd name="connsiteX1" fmla="*/ 3100658 w 3155380"/>
                <a:gd name="connsiteY1" fmla="*/ 257442 h 257442"/>
                <a:gd name="connsiteX2" fmla="*/ 0 w 3155380"/>
                <a:gd name="connsiteY2" fmla="*/ 257442 h 257442"/>
                <a:gd name="connsiteX3" fmla="*/ 1 w 3155380"/>
                <a:gd name="connsiteY3" fmla="*/ 0 h 257442"/>
                <a:gd name="connsiteX0" fmla="*/ 3155380 w 3155380"/>
                <a:gd name="connsiteY0" fmla="*/ 0 h 257442"/>
                <a:gd name="connsiteX1" fmla="*/ 3100658 w 3155380"/>
                <a:gd name="connsiteY1" fmla="*/ 257442 h 257442"/>
                <a:gd name="connsiteX2" fmla="*/ 0 w 3155380"/>
                <a:gd name="connsiteY2" fmla="*/ 257442 h 257442"/>
                <a:gd name="connsiteX3" fmla="*/ 0 w 3155380"/>
                <a:gd name="connsiteY3" fmla="*/ 0 h 257442"/>
                <a:gd name="connsiteX0" fmla="*/ 3315679 w 3315679"/>
                <a:gd name="connsiteY0" fmla="*/ 0 h 257442"/>
                <a:gd name="connsiteX1" fmla="*/ 3100658 w 3315679"/>
                <a:gd name="connsiteY1" fmla="*/ 257442 h 257442"/>
                <a:gd name="connsiteX2" fmla="*/ 0 w 3315679"/>
                <a:gd name="connsiteY2" fmla="*/ 257442 h 257442"/>
                <a:gd name="connsiteX3" fmla="*/ 0 w 3315679"/>
                <a:gd name="connsiteY3" fmla="*/ 0 h 257442"/>
                <a:gd name="connsiteX0" fmla="*/ 3315679 w 3315679"/>
                <a:gd name="connsiteY0" fmla="*/ 0 h 257442"/>
                <a:gd name="connsiteX1" fmla="*/ 3260958 w 3315679"/>
                <a:gd name="connsiteY1" fmla="*/ 257442 h 257442"/>
                <a:gd name="connsiteX2" fmla="*/ 0 w 3315679"/>
                <a:gd name="connsiteY2" fmla="*/ 257442 h 257442"/>
                <a:gd name="connsiteX3" fmla="*/ 0 w 3315679"/>
                <a:gd name="connsiteY3" fmla="*/ 0 h 257442"/>
                <a:gd name="connsiteX0" fmla="*/ 3315679 w 3315679"/>
                <a:gd name="connsiteY0" fmla="*/ 0 h 257442"/>
                <a:gd name="connsiteX1" fmla="*/ 3260958 w 3315679"/>
                <a:gd name="connsiteY1" fmla="*/ 257442 h 257442"/>
                <a:gd name="connsiteX2" fmla="*/ 0 w 3315679"/>
                <a:gd name="connsiteY2" fmla="*/ 257442 h 257442"/>
                <a:gd name="connsiteX3" fmla="*/ 0 w 3315679"/>
                <a:gd name="connsiteY3" fmla="*/ 0 h 257442"/>
                <a:gd name="connsiteX0" fmla="*/ 3315679 w 3315679"/>
                <a:gd name="connsiteY0" fmla="*/ 0 h 257442"/>
                <a:gd name="connsiteX1" fmla="*/ 3260958 w 3315679"/>
                <a:gd name="connsiteY1" fmla="*/ 257442 h 257442"/>
                <a:gd name="connsiteX2" fmla="*/ 0 w 3315679"/>
                <a:gd name="connsiteY2" fmla="*/ 257442 h 257442"/>
                <a:gd name="connsiteX3" fmla="*/ 0 w 3315679"/>
                <a:gd name="connsiteY3" fmla="*/ 0 h 257442"/>
                <a:gd name="connsiteX0" fmla="*/ 942786 w 3260958"/>
                <a:gd name="connsiteY0" fmla="*/ 0 h 257442"/>
                <a:gd name="connsiteX1" fmla="*/ 3260958 w 3260958"/>
                <a:gd name="connsiteY1" fmla="*/ 257442 h 257442"/>
                <a:gd name="connsiteX2" fmla="*/ 0 w 3260958"/>
                <a:gd name="connsiteY2" fmla="*/ 257442 h 257442"/>
                <a:gd name="connsiteX3" fmla="*/ 0 w 3260958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1270248 w 1270248"/>
                <a:gd name="connsiteY0" fmla="*/ 0 h 257442"/>
                <a:gd name="connsiteX1" fmla="*/ 888065 w 1270248"/>
                <a:gd name="connsiteY1" fmla="*/ 257442 h 257442"/>
                <a:gd name="connsiteX2" fmla="*/ 0 w 1270248"/>
                <a:gd name="connsiteY2" fmla="*/ 257442 h 257442"/>
                <a:gd name="connsiteX3" fmla="*/ 0 w 1270248"/>
                <a:gd name="connsiteY3" fmla="*/ 0 h 257442"/>
                <a:gd name="connsiteX0" fmla="*/ 1270248 w 1270248"/>
                <a:gd name="connsiteY0" fmla="*/ 0 h 257442"/>
                <a:gd name="connsiteX1" fmla="*/ 1215527 w 1270248"/>
                <a:gd name="connsiteY1" fmla="*/ 257442 h 257442"/>
                <a:gd name="connsiteX2" fmla="*/ 0 w 1270248"/>
                <a:gd name="connsiteY2" fmla="*/ 257442 h 257442"/>
                <a:gd name="connsiteX3" fmla="*/ 0 w 1270248"/>
                <a:gd name="connsiteY3" fmla="*/ 0 h 257442"/>
                <a:gd name="connsiteX0" fmla="*/ 1270248 w 1270248"/>
                <a:gd name="connsiteY0" fmla="*/ 0 h 257442"/>
                <a:gd name="connsiteX1" fmla="*/ 1215527 w 1270248"/>
                <a:gd name="connsiteY1" fmla="*/ 257442 h 257442"/>
                <a:gd name="connsiteX2" fmla="*/ 0 w 1270248"/>
                <a:gd name="connsiteY2" fmla="*/ 257442 h 257442"/>
                <a:gd name="connsiteX3" fmla="*/ 0 w 1270248"/>
                <a:gd name="connsiteY3" fmla="*/ 0 h 257442"/>
                <a:gd name="connsiteX0" fmla="*/ 1270248 w 1270248"/>
                <a:gd name="connsiteY0" fmla="*/ 0 h 257442"/>
                <a:gd name="connsiteX1" fmla="*/ 1215527 w 1270248"/>
                <a:gd name="connsiteY1" fmla="*/ 257442 h 257442"/>
                <a:gd name="connsiteX2" fmla="*/ 0 w 1270248"/>
                <a:gd name="connsiteY2" fmla="*/ 257442 h 257442"/>
                <a:gd name="connsiteX3" fmla="*/ 0 w 1270248"/>
                <a:gd name="connsiteY3" fmla="*/ 0 h 257442"/>
                <a:gd name="connsiteX0" fmla="*/ 1438562 w 1438562"/>
                <a:gd name="connsiteY0" fmla="*/ 0 h 257442"/>
                <a:gd name="connsiteX1" fmla="*/ 1215527 w 1438562"/>
                <a:gd name="connsiteY1" fmla="*/ 257442 h 257442"/>
                <a:gd name="connsiteX2" fmla="*/ 0 w 1438562"/>
                <a:gd name="connsiteY2" fmla="*/ 257442 h 257442"/>
                <a:gd name="connsiteX3" fmla="*/ 0 w 1438562"/>
                <a:gd name="connsiteY3" fmla="*/ 0 h 257442"/>
                <a:gd name="connsiteX0" fmla="*/ 1438562 w 1438562"/>
                <a:gd name="connsiteY0" fmla="*/ 0 h 257442"/>
                <a:gd name="connsiteX1" fmla="*/ 1383841 w 1438562"/>
                <a:gd name="connsiteY1" fmla="*/ 257442 h 257442"/>
                <a:gd name="connsiteX2" fmla="*/ 0 w 1438562"/>
                <a:gd name="connsiteY2" fmla="*/ 257442 h 257442"/>
                <a:gd name="connsiteX3" fmla="*/ 0 w 1438562"/>
                <a:gd name="connsiteY3" fmla="*/ 0 h 257442"/>
                <a:gd name="connsiteX0" fmla="*/ 1438562 w 1438562"/>
                <a:gd name="connsiteY0" fmla="*/ 0 h 257442"/>
                <a:gd name="connsiteX1" fmla="*/ 1383841 w 1438562"/>
                <a:gd name="connsiteY1" fmla="*/ 257442 h 257442"/>
                <a:gd name="connsiteX2" fmla="*/ 0 w 1438562"/>
                <a:gd name="connsiteY2" fmla="*/ 257442 h 257442"/>
                <a:gd name="connsiteX3" fmla="*/ 0 w 1438562"/>
                <a:gd name="connsiteY3" fmla="*/ 0 h 257442"/>
                <a:gd name="connsiteX0" fmla="*/ 1438562 w 1438562"/>
                <a:gd name="connsiteY0" fmla="*/ 0 h 257442"/>
                <a:gd name="connsiteX1" fmla="*/ 1383841 w 1438562"/>
                <a:gd name="connsiteY1" fmla="*/ 257442 h 257442"/>
                <a:gd name="connsiteX2" fmla="*/ 0 w 1438562"/>
                <a:gd name="connsiteY2" fmla="*/ 257442 h 257442"/>
                <a:gd name="connsiteX3" fmla="*/ 0 w 1438562"/>
                <a:gd name="connsiteY3" fmla="*/ 0 h 257442"/>
                <a:gd name="connsiteX0" fmla="*/ 1707867 w 1707867"/>
                <a:gd name="connsiteY0" fmla="*/ 0 h 257442"/>
                <a:gd name="connsiteX1" fmla="*/ 1383841 w 1707867"/>
                <a:gd name="connsiteY1" fmla="*/ 257442 h 257442"/>
                <a:gd name="connsiteX2" fmla="*/ 0 w 1707867"/>
                <a:gd name="connsiteY2" fmla="*/ 257442 h 257442"/>
                <a:gd name="connsiteX3" fmla="*/ 0 w 1707867"/>
                <a:gd name="connsiteY3" fmla="*/ 0 h 257442"/>
                <a:gd name="connsiteX0" fmla="*/ 1707867 w 1707867"/>
                <a:gd name="connsiteY0" fmla="*/ 0 h 257442"/>
                <a:gd name="connsiteX1" fmla="*/ 1653146 w 1707867"/>
                <a:gd name="connsiteY1" fmla="*/ 257442 h 257442"/>
                <a:gd name="connsiteX2" fmla="*/ 0 w 1707867"/>
                <a:gd name="connsiteY2" fmla="*/ 257442 h 257442"/>
                <a:gd name="connsiteX3" fmla="*/ 0 w 1707867"/>
                <a:gd name="connsiteY3" fmla="*/ 0 h 257442"/>
                <a:gd name="connsiteX0" fmla="*/ 1707867 w 1707867"/>
                <a:gd name="connsiteY0" fmla="*/ 0 h 257442"/>
                <a:gd name="connsiteX1" fmla="*/ 1653146 w 1707867"/>
                <a:gd name="connsiteY1" fmla="*/ 257442 h 257442"/>
                <a:gd name="connsiteX2" fmla="*/ 0 w 1707867"/>
                <a:gd name="connsiteY2" fmla="*/ 257442 h 257442"/>
                <a:gd name="connsiteX3" fmla="*/ 0 w 1707867"/>
                <a:gd name="connsiteY3" fmla="*/ 0 h 257442"/>
                <a:gd name="connsiteX0" fmla="*/ 1707867 w 1707867"/>
                <a:gd name="connsiteY0" fmla="*/ 0 h 257442"/>
                <a:gd name="connsiteX1" fmla="*/ 1653146 w 1707867"/>
                <a:gd name="connsiteY1" fmla="*/ 257442 h 257442"/>
                <a:gd name="connsiteX2" fmla="*/ 0 w 1707867"/>
                <a:gd name="connsiteY2" fmla="*/ 257442 h 257442"/>
                <a:gd name="connsiteX3" fmla="*/ 0 w 1707867"/>
                <a:gd name="connsiteY3" fmla="*/ 0 h 257442"/>
                <a:gd name="connsiteX0" fmla="*/ 1876183 w 1876183"/>
                <a:gd name="connsiteY0" fmla="*/ 0 h 257442"/>
                <a:gd name="connsiteX1" fmla="*/ 1653146 w 1876183"/>
                <a:gd name="connsiteY1" fmla="*/ 257442 h 257442"/>
                <a:gd name="connsiteX2" fmla="*/ 0 w 1876183"/>
                <a:gd name="connsiteY2" fmla="*/ 257442 h 257442"/>
                <a:gd name="connsiteX3" fmla="*/ 0 w 1876183"/>
                <a:gd name="connsiteY3" fmla="*/ 0 h 257442"/>
                <a:gd name="connsiteX0" fmla="*/ 1876183 w 1876183"/>
                <a:gd name="connsiteY0" fmla="*/ 0 h 257442"/>
                <a:gd name="connsiteX1" fmla="*/ 1821462 w 1876183"/>
                <a:gd name="connsiteY1" fmla="*/ 257442 h 257442"/>
                <a:gd name="connsiteX2" fmla="*/ 0 w 1876183"/>
                <a:gd name="connsiteY2" fmla="*/ 257442 h 257442"/>
                <a:gd name="connsiteX3" fmla="*/ 0 w 1876183"/>
                <a:gd name="connsiteY3" fmla="*/ 0 h 257442"/>
                <a:gd name="connsiteX0" fmla="*/ 1876183 w 1876183"/>
                <a:gd name="connsiteY0" fmla="*/ 0 h 257442"/>
                <a:gd name="connsiteX1" fmla="*/ 1821462 w 1876183"/>
                <a:gd name="connsiteY1" fmla="*/ 257442 h 257442"/>
                <a:gd name="connsiteX2" fmla="*/ 0 w 1876183"/>
                <a:gd name="connsiteY2" fmla="*/ 257442 h 257442"/>
                <a:gd name="connsiteX3" fmla="*/ 0 w 1876183"/>
                <a:gd name="connsiteY3" fmla="*/ 0 h 257442"/>
                <a:gd name="connsiteX0" fmla="*/ 1876183 w 1876183"/>
                <a:gd name="connsiteY0" fmla="*/ 0 h 257442"/>
                <a:gd name="connsiteX1" fmla="*/ 1821462 w 1876183"/>
                <a:gd name="connsiteY1" fmla="*/ 257442 h 257442"/>
                <a:gd name="connsiteX2" fmla="*/ 0 w 1876183"/>
                <a:gd name="connsiteY2" fmla="*/ 257442 h 257442"/>
                <a:gd name="connsiteX3" fmla="*/ 0 w 1876183"/>
                <a:gd name="connsiteY3" fmla="*/ 0 h 257442"/>
                <a:gd name="connsiteX0" fmla="*/ 2044497 w 2044497"/>
                <a:gd name="connsiteY0" fmla="*/ 0 h 257442"/>
                <a:gd name="connsiteX1" fmla="*/ 1821462 w 2044497"/>
                <a:gd name="connsiteY1" fmla="*/ 257442 h 257442"/>
                <a:gd name="connsiteX2" fmla="*/ 0 w 2044497"/>
                <a:gd name="connsiteY2" fmla="*/ 257442 h 257442"/>
                <a:gd name="connsiteX3" fmla="*/ 0 w 2044497"/>
                <a:gd name="connsiteY3" fmla="*/ 0 h 257442"/>
                <a:gd name="connsiteX0" fmla="*/ 2044497 w 2044497"/>
                <a:gd name="connsiteY0" fmla="*/ 0 h 257442"/>
                <a:gd name="connsiteX1" fmla="*/ 1989776 w 2044497"/>
                <a:gd name="connsiteY1" fmla="*/ 257442 h 257442"/>
                <a:gd name="connsiteX2" fmla="*/ 0 w 2044497"/>
                <a:gd name="connsiteY2" fmla="*/ 257442 h 257442"/>
                <a:gd name="connsiteX3" fmla="*/ 0 w 2044497"/>
                <a:gd name="connsiteY3" fmla="*/ 0 h 257442"/>
                <a:gd name="connsiteX0" fmla="*/ 2044497 w 2044497"/>
                <a:gd name="connsiteY0" fmla="*/ 0 h 257442"/>
                <a:gd name="connsiteX1" fmla="*/ 1989776 w 2044497"/>
                <a:gd name="connsiteY1" fmla="*/ 257442 h 257442"/>
                <a:gd name="connsiteX2" fmla="*/ 0 w 2044497"/>
                <a:gd name="connsiteY2" fmla="*/ 257442 h 257442"/>
                <a:gd name="connsiteX3" fmla="*/ 0 w 2044497"/>
                <a:gd name="connsiteY3" fmla="*/ 0 h 257442"/>
                <a:gd name="connsiteX0" fmla="*/ 2044497 w 2044497"/>
                <a:gd name="connsiteY0" fmla="*/ 0 h 257442"/>
                <a:gd name="connsiteX1" fmla="*/ 1989776 w 2044497"/>
                <a:gd name="connsiteY1" fmla="*/ 257442 h 257442"/>
                <a:gd name="connsiteX2" fmla="*/ 0 w 2044497"/>
                <a:gd name="connsiteY2" fmla="*/ 257442 h 257442"/>
                <a:gd name="connsiteX3" fmla="*/ 0 w 2044497"/>
                <a:gd name="connsiteY3" fmla="*/ 0 h 257442"/>
                <a:gd name="connsiteX0" fmla="*/ 2212813 w 2212813"/>
                <a:gd name="connsiteY0" fmla="*/ 0 h 257442"/>
                <a:gd name="connsiteX1" fmla="*/ 1989776 w 2212813"/>
                <a:gd name="connsiteY1" fmla="*/ 257442 h 257442"/>
                <a:gd name="connsiteX2" fmla="*/ 0 w 2212813"/>
                <a:gd name="connsiteY2" fmla="*/ 257442 h 257442"/>
                <a:gd name="connsiteX3" fmla="*/ 0 w 2212813"/>
                <a:gd name="connsiteY3" fmla="*/ 0 h 257442"/>
                <a:gd name="connsiteX0" fmla="*/ 2212813 w 2212813"/>
                <a:gd name="connsiteY0" fmla="*/ 0 h 257442"/>
                <a:gd name="connsiteX1" fmla="*/ 2158092 w 2212813"/>
                <a:gd name="connsiteY1" fmla="*/ 257442 h 257442"/>
                <a:gd name="connsiteX2" fmla="*/ 0 w 2212813"/>
                <a:gd name="connsiteY2" fmla="*/ 257442 h 257442"/>
                <a:gd name="connsiteX3" fmla="*/ 0 w 2212813"/>
                <a:gd name="connsiteY3" fmla="*/ 0 h 257442"/>
                <a:gd name="connsiteX0" fmla="*/ 2212813 w 2212813"/>
                <a:gd name="connsiteY0" fmla="*/ 0 h 257442"/>
                <a:gd name="connsiteX1" fmla="*/ 2158092 w 2212813"/>
                <a:gd name="connsiteY1" fmla="*/ 257442 h 257442"/>
                <a:gd name="connsiteX2" fmla="*/ 0 w 2212813"/>
                <a:gd name="connsiteY2" fmla="*/ 257442 h 257442"/>
                <a:gd name="connsiteX3" fmla="*/ 0 w 2212813"/>
                <a:gd name="connsiteY3" fmla="*/ 0 h 257442"/>
                <a:gd name="connsiteX0" fmla="*/ 2212813 w 2212813"/>
                <a:gd name="connsiteY0" fmla="*/ 0 h 257442"/>
                <a:gd name="connsiteX1" fmla="*/ 2158092 w 2212813"/>
                <a:gd name="connsiteY1" fmla="*/ 257442 h 257442"/>
                <a:gd name="connsiteX2" fmla="*/ 0 w 2212813"/>
                <a:gd name="connsiteY2" fmla="*/ 257442 h 257442"/>
                <a:gd name="connsiteX3" fmla="*/ 0 w 2212813"/>
                <a:gd name="connsiteY3" fmla="*/ 0 h 257442"/>
                <a:gd name="connsiteX0" fmla="*/ 2381128 w 2381128"/>
                <a:gd name="connsiteY0" fmla="*/ 0 h 257442"/>
                <a:gd name="connsiteX1" fmla="*/ 2158092 w 2381128"/>
                <a:gd name="connsiteY1" fmla="*/ 257442 h 257442"/>
                <a:gd name="connsiteX2" fmla="*/ 0 w 2381128"/>
                <a:gd name="connsiteY2" fmla="*/ 257442 h 257442"/>
                <a:gd name="connsiteX3" fmla="*/ 0 w 2381128"/>
                <a:gd name="connsiteY3" fmla="*/ 0 h 257442"/>
                <a:gd name="connsiteX0" fmla="*/ 2381128 w 2381128"/>
                <a:gd name="connsiteY0" fmla="*/ 0 h 257442"/>
                <a:gd name="connsiteX1" fmla="*/ 2326406 w 2381128"/>
                <a:gd name="connsiteY1" fmla="*/ 257442 h 257442"/>
                <a:gd name="connsiteX2" fmla="*/ 0 w 2381128"/>
                <a:gd name="connsiteY2" fmla="*/ 257442 h 257442"/>
                <a:gd name="connsiteX3" fmla="*/ 0 w 2381128"/>
                <a:gd name="connsiteY3" fmla="*/ 0 h 257442"/>
                <a:gd name="connsiteX0" fmla="*/ 2381129 w 2381129"/>
                <a:gd name="connsiteY0" fmla="*/ 0 h 257442"/>
                <a:gd name="connsiteX1" fmla="*/ 2326407 w 2381129"/>
                <a:gd name="connsiteY1" fmla="*/ 257442 h 257442"/>
                <a:gd name="connsiteX2" fmla="*/ 0 w 2381129"/>
                <a:gd name="connsiteY2" fmla="*/ 257442 h 257442"/>
                <a:gd name="connsiteX3" fmla="*/ 1 w 2381129"/>
                <a:gd name="connsiteY3" fmla="*/ 0 h 257442"/>
                <a:gd name="connsiteX0" fmla="*/ 2381129 w 2381129"/>
                <a:gd name="connsiteY0" fmla="*/ 0 h 257442"/>
                <a:gd name="connsiteX1" fmla="*/ 2326407 w 2381129"/>
                <a:gd name="connsiteY1" fmla="*/ 257442 h 257442"/>
                <a:gd name="connsiteX2" fmla="*/ 0 w 2381129"/>
                <a:gd name="connsiteY2" fmla="*/ 257442 h 257442"/>
                <a:gd name="connsiteX3" fmla="*/ 1 w 2381129"/>
                <a:gd name="connsiteY3" fmla="*/ 0 h 257442"/>
                <a:gd name="connsiteX0" fmla="*/ 2541429 w 2541429"/>
                <a:gd name="connsiteY0" fmla="*/ 0 h 257442"/>
                <a:gd name="connsiteX1" fmla="*/ 2326407 w 2541429"/>
                <a:gd name="connsiteY1" fmla="*/ 257442 h 257442"/>
                <a:gd name="connsiteX2" fmla="*/ 0 w 2541429"/>
                <a:gd name="connsiteY2" fmla="*/ 257442 h 257442"/>
                <a:gd name="connsiteX3" fmla="*/ 1 w 2541429"/>
                <a:gd name="connsiteY3" fmla="*/ 0 h 257442"/>
                <a:gd name="connsiteX0" fmla="*/ 2541429 w 2541429"/>
                <a:gd name="connsiteY0" fmla="*/ 0 h 257442"/>
                <a:gd name="connsiteX1" fmla="*/ 2486708 w 2541429"/>
                <a:gd name="connsiteY1" fmla="*/ 257442 h 257442"/>
                <a:gd name="connsiteX2" fmla="*/ 0 w 2541429"/>
                <a:gd name="connsiteY2" fmla="*/ 257442 h 257442"/>
                <a:gd name="connsiteX3" fmla="*/ 1 w 2541429"/>
                <a:gd name="connsiteY3" fmla="*/ 0 h 257442"/>
                <a:gd name="connsiteX0" fmla="*/ 2541428 w 2541428"/>
                <a:gd name="connsiteY0" fmla="*/ 0 h 257442"/>
                <a:gd name="connsiteX1" fmla="*/ 2486707 w 2541428"/>
                <a:gd name="connsiteY1" fmla="*/ 257442 h 257442"/>
                <a:gd name="connsiteX2" fmla="*/ 0 w 2541428"/>
                <a:gd name="connsiteY2" fmla="*/ 257442 h 257442"/>
                <a:gd name="connsiteX3" fmla="*/ 0 w 2541428"/>
                <a:gd name="connsiteY3" fmla="*/ 0 h 257442"/>
                <a:gd name="connsiteX0" fmla="*/ 2541429 w 2541429"/>
                <a:gd name="connsiteY0" fmla="*/ 0 h 257442"/>
                <a:gd name="connsiteX1" fmla="*/ 2486708 w 2541429"/>
                <a:gd name="connsiteY1" fmla="*/ 257442 h 257442"/>
                <a:gd name="connsiteX2" fmla="*/ 1 w 2541429"/>
                <a:gd name="connsiteY2" fmla="*/ 257442 h 257442"/>
                <a:gd name="connsiteX3" fmla="*/ 0 w 2541429"/>
                <a:gd name="connsiteY3" fmla="*/ 0 h 257442"/>
                <a:gd name="connsiteX0" fmla="*/ 2862030 w 2862030"/>
                <a:gd name="connsiteY0" fmla="*/ 0 h 257442"/>
                <a:gd name="connsiteX1" fmla="*/ 2486708 w 2862030"/>
                <a:gd name="connsiteY1" fmla="*/ 257442 h 257442"/>
                <a:gd name="connsiteX2" fmla="*/ 1 w 2862030"/>
                <a:gd name="connsiteY2" fmla="*/ 257442 h 257442"/>
                <a:gd name="connsiteX3" fmla="*/ 0 w 2862030"/>
                <a:gd name="connsiteY3" fmla="*/ 0 h 257442"/>
                <a:gd name="connsiteX0" fmla="*/ 2862030 w 2862030"/>
                <a:gd name="connsiteY0" fmla="*/ 0 h 257442"/>
                <a:gd name="connsiteX1" fmla="*/ 2807308 w 2862030"/>
                <a:gd name="connsiteY1" fmla="*/ 257442 h 257442"/>
                <a:gd name="connsiteX2" fmla="*/ 1 w 2862030"/>
                <a:gd name="connsiteY2" fmla="*/ 257442 h 257442"/>
                <a:gd name="connsiteX3" fmla="*/ 0 w 2862030"/>
                <a:gd name="connsiteY3" fmla="*/ 0 h 257442"/>
                <a:gd name="connsiteX0" fmla="*/ 2862030 w 2862030"/>
                <a:gd name="connsiteY0" fmla="*/ 0 h 257442"/>
                <a:gd name="connsiteX1" fmla="*/ 2807308 w 2862030"/>
                <a:gd name="connsiteY1" fmla="*/ 257442 h 257442"/>
                <a:gd name="connsiteX2" fmla="*/ 0 w 2862030"/>
                <a:gd name="connsiteY2" fmla="*/ 257442 h 257442"/>
                <a:gd name="connsiteX3" fmla="*/ 0 w 2862030"/>
                <a:gd name="connsiteY3" fmla="*/ 0 h 257442"/>
                <a:gd name="connsiteX0" fmla="*/ 2862030 w 2862030"/>
                <a:gd name="connsiteY0" fmla="*/ 0 h 257442"/>
                <a:gd name="connsiteX1" fmla="*/ 2807308 w 2862030"/>
                <a:gd name="connsiteY1" fmla="*/ 257442 h 257442"/>
                <a:gd name="connsiteX2" fmla="*/ 0 w 2862030"/>
                <a:gd name="connsiteY2" fmla="*/ 257442 h 257442"/>
                <a:gd name="connsiteX3" fmla="*/ 0 w 2862030"/>
                <a:gd name="connsiteY3" fmla="*/ 0 h 257442"/>
                <a:gd name="connsiteX0" fmla="*/ 3022329 w 3022329"/>
                <a:gd name="connsiteY0" fmla="*/ 0 h 257442"/>
                <a:gd name="connsiteX1" fmla="*/ 2807308 w 3022329"/>
                <a:gd name="connsiteY1" fmla="*/ 257442 h 257442"/>
                <a:gd name="connsiteX2" fmla="*/ 0 w 3022329"/>
                <a:gd name="connsiteY2" fmla="*/ 257442 h 257442"/>
                <a:gd name="connsiteX3" fmla="*/ 0 w 3022329"/>
                <a:gd name="connsiteY3" fmla="*/ 0 h 257442"/>
                <a:gd name="connsiteX0" fmla="*/ 3022329 w 3022329"/>
                <a:gd name="connsiteY0" fmla="*/ 0 h 257442"/>
                <a:gd name="connsiteX1" fmla="*/ 2967608 w 3022329"/>
                <a:gd name="connsiteY1" fmla="*/ 257442 h 257442"/>
                <a:gd name="connsiteX2" fmla="*/ 0 w 3022329"/>
                <a:gd name="connsiteY2" fmla="*/ 257442 h 257442"/>
                <a:gd name="connsiteX3" fmla="*/ 0 w 3022329"/>
                <a:gd name="connsiteY3" fmla="*/ 0 h 257442"/>
                <a:gd name="connsiteX0" fmla="*/ 3022329 w 3022329"/>
                <a:gd name="connsiteY0" fmla="*/ 0 h 257442"/>
                <a:gd name="connsiteX1" fmla="*/ 2967608 w 3022329"/>
                <a:gd name="connsiteY1" fmla="*/ 257442 h 257442"/>
                <a:gd name="connsiteX2" fmla="*/ 0 w 3022329"/>
                <a:gd name="connsiteY2" fmla="*/ 257442 h 257442"/>
                <a:gd name="connsiteX3" fmla="*/ 0 w 3022329"/>
                <a:gd name="connsiteY3" fmla="*/ 0 h 257442"/>
                <a:gd name="connsiteX0" fmla="*/ 3022329 w 3022329"/>
                <a:gd name="connsiteY0" fmla="*/ 0 h 257442"/>
                <a:gd name="connsiteX1" fmla="*/ 2967608 w 3022329"/>
                <a:gd name="connsiteY1" fmla="*/ 257442 h 257442"/>
                <a:gd name="connsiteX2" fmla="*/ 0 w 3022329"/>
                <a:gd name="connsiteY2" fmla="*/ 257442 h 257442"/>
                <a:gd name="connsiteX3" fmla="*/ 0 w 3022329"/>
                <a:gd name="connsiteY3" fmla="*/ 0 h 257442"/>
                <a:gd name="connsiteX0" fmla="*/ 3182630 w 3182630"/>
                <a:gd name="connsiteY0" fmla="*/ 0 h 257442"/>
                <a:gd name="connsiteX1" fmla="*/ 2967608 w 3182630"/>
                <a:gd name="connsiteY1" fmla="*/ 257442 h 257442"/>
                <a:gd name="connsiteX2" fmla="*/ 0 w 3182630"/>
                <a:gd name="connsiteY2" fmla="*/ 257442 h 257442"/>
                <a:gd name="connsiteX3" fmla="*/ 0 w 3182630"/>
                <a:gd name="connsiteY3" fmla="*/ 0 h 257442"/>
                <a:gd name="connsiteX0" fmla="*/ 3182630 w 3182630"/>
                <a:gd name="connsiteY0" fmla="*/ 0 h 257442"/>
                <a:gd name="connsiteX1" fmla="*/ 3127908 w 3182630"/>
                <a:gd name="connsiteY1" fmla="*/ 257442 h 257442"/>
                <a:gd name="connsiteX2" fmla="*/ 0 w 3182630"/>
                <a:gd name="connsiteY2" fmla="*/ 257442 h 257442"/>
                <a:gd name="connsiteX3" fmla="*/ 0 w 3182630"/>
                <a:gd name="connsiteY3" fmla="*/ 0 h 257442"/>
                <a:gd name="connsiteX0" fmla="*/ 3182631 w 3182631"/>
                <a:gd name="connsiteY0" fmla="*/ 0 h 257442"/>
                <a:gd name="connsiteX1" fmla="*/ 3127909 w 3182631"/>
                <a:gd name="connsiteY1" fmla="*/ 257442 h 257442"/>
                <a:gd name="connsiteX2" fmla="*/ 0 w 3182631"/>
                <a:gd name="connsiteY2" fmla="*/ 257442 h 257442"/>
                <a:gd name="connsiteX3" fmla="*/ 1 w 3182631"/>
                <a:gd name="connsiteY3" fmla="*/ 0 h 257442"/>
                <a:gd name="connsiteX0" fmla="*/ 3182631 w 3182631"/>
                <a:gd name="connsiteY0" fmla="*/ 0 h 257442"/>
                <a:gd name="connsiteX1" fmla="*/ 3127909 w 3182631"/>
                <a:gd name="connsiteY1" fmla="*/ 257442 h 257442"/>
                <a:gd name="connsiteX2" fmla="*/ 0 w 3182631"/>
                <a:gd name="connsiteY2" fmla="*/ 257442 h 257442"/>
                <a:gd name="connsiteX3" fmla="*/ 1 w 3182631"/>
                <a:gd name="connsiteY3" fmla="*/ 0 h 257442"/>
                <a:gd name="connsiteX0" fmla="*/ 3342931 w 3342931"/>
                <a:gd name="connsiteY0" fmla="*/ 0 h 257442"/>
                <a:gd name="connsiteX1" fmla="*/ 3127909 w 3342931"/>
                <a:gd name="connsiteY1" fmla="*/ 257442 h 257442"/>
                <a:gd name="connsiteX2" fmla="*/ 0 w 3342931"/>
                <a:gd name="connsiteY2" fmla="*/ 257442 h 257442"/>
                <a:gd name="connsiteX3" fmla="*/ 1 w 3342931"/>
                <a:gd name="connsiteY3" fmla="*/ 0 h 257442"/>
                <a:gd name="connsiteX0" fmla="*/ 3342931 w 3342931"/>
                <a:gd name="connsiteY0" fmla="*/ 0 h 257442"/>
                <a:gd name="connsiteX1" fmla="*/ 3288210 w 3342931"/>
                <a:gd name="connsiteY1" fmla="*/ 257442 h 257442"/>
                <a:gd name="connsiteX2" fmla="*/ 0 w 3342931"/>
                <a:gd name="connsiteY2" fmla="*/ 257442 h 257442"/>
                <a:gd name="connsiteX3" fmla="*/ 1 w 3342931"/>
                <a:gd name="connsiteY3" fmla="*/ 0 h 257442"/>
                <a:gd name="connsiteX0" fmla="*/ 3342930 w 3342930"/>
                <a:gd name="connsiteY0" fmla="*/ 0 h 257442"/>
                <a:gd name="connsiteX1" fmla="*/ 3288209 w 3342930"/>
                <a:gd name="connsiteY1" fmla="*/ 257442 h 257442"/>
                <a:gd name="connsiteX2" fmla="*/ 0 w 3342930"/>
                <a:gd name="connsiteY2" fmla="*/ 257442 h 257442"/>
                <a:gd name="connsiteX3" fmla="*/ 0 w 3342930"/>
                <a:gd name="connsiteY3" fmla="*/ 0 h 257442"/>
                <a:gd name="connsiteX0" fmla="*/ 3342931 w 3342931"/>
                <a:gd name="connsiteY0" fmla="*/ 0 h 257442"/>
                <a:gd name="connsiteX1" fmla="*/ 3288210 w 3342931"/>
                <a:gd name="connsiteY1" fmla="*/ 257442 h 257442"/>
                <a:gd name="connsiteX2" fmla="*/ 1 w 3342931"/>
                <a:gd name="connsiteY2" fmla="*/ 257442 h 257442"/>
                <a:gd name="connsiteX3" fmla="*/ 0 w 3342931"/>
                <a:gd name="connsiteY3" fmla="*/ 0 h 257442"/>
                <a:gd name="connsiteX0" fmla="*/ 3673149 w 3673149"/>
                <a:gd name="connsiteY0" fmla="*/ 0 h 257442"/>
                <a:gd name="connsiteX1" fmla="*/ 3288210 w 3673149"/>
                <a:gd name="connsiteY1" fmla="*/ 257442 h 257442"/>
                <a:gd name="connsiteX2" fmla="*/ 1 w 3673149"/>
                <a:gd name="connsiteY2" fmla="*/ 257442 h 257442"/>
                <a:gd name="connsiteX3" fmla="*/ 0 w 3673149"/>
                <a:gd name="connsiteY3" fmla="*/ 0 h 257442"/>
                <a:gd name="connsiteX0" fmla="*/ 3673149 w 3673149"/>
                <a:gd name="connsiteY0" fmla="*/ 0 h 257442"/>
                <a:gd name="connsiteX1" fmla="*/ 3618428 w 3673149"/>
                <a:gd name="connsiteY1" fmla="*/ 257442 h 257442"/>
                <a:gd name="connsiteX2" fmla="*/ 1 w 3673149"/>
                <a:gd name="connsiteY2" fmla="*/ 257442 h 257442"/>
                <a:gd name="connsiteX3" fmla="*/ 0 w 3673149"/>
                <a:gd name="connsiteY3" fmla="*/ 0 h 257442"/>
                <a:gd name="connsiteX0" fmla="*/ 3673149 w 3673149"/>
                <a:gd name="connsiteY0" fmla="*/ 0 h 257442"/>
                <a:gd name="connsiteX1" fmla="*/ 3618428 w 3673149"/>
                <a:gd name="connsiteY1" fmla="*/ 257442 h 257442"/>
                <a:gd name="connsiteX2" fmla="*/ 1 w 3673149"/>
                <a:gd name="connsiteY2" fmla="*/ 257442 h 257442"/>
                <a:gd name="connsiteX3" fmla="*/ 0 w 3673149"/>
                <a:gd name="connsiteY3" fmla="*/ 0 h 257442"/>
                <a:gd name="connsiteX0" fmla="*/ 3673148 w 3673148"/>
                <a:gd name="connsiteY0" fmla="*/ 0 h 257442"/>
                <a:gd name="connsiteX1" fmla="*/ 3618427 w 3673148"/>
                <a:gd name="connsiteY1" fmla="*/ 257442 h 257442"/>
                <a:gd name="connsiteX2" fmla="*/ 0 w 3673148"/>
                <a:gd name="connsiteY2" fmla="*/ 257442 h 257442"/>
                <a:gd name="connsiteX3" fmla="*/ 0 w 3673148"/>
                <a:gd name="connsiteY3" fmla="*/ 0 h 257442"/>
                <a:gd name="connsiteX0" fmla="*/ 3833448 w 3833448"/>
                <a:gd name="connsiteY0" fmla="*/ 0 h 257442"/>
                <a:gd name="connsiteX1" fmla="*/ 3618427 w 3833448"/>
                <a:gd name="connsiteY1" fmla="*/ 257442 h 257442"/>
                <a:gd name="connsiteX2" fmla="*/ 0 w 3833448"/>
                <a:gd name="connsiteY2" fmla="*/ 257442 h 257442"/>
                <a:gd name="connsiteX3" fmla="*/ 0 w 3833448"/>
                <a:gd name="connsiteY3" fmla="*/ 0 h 257442"/>
                <a:gd name="connsiteX0" fmla="*/ 3833448 w 3833448"/>
                <a:gd name="connsiteY0" fmla="*/ 0 h 257442"/>
                <a:gd name="connsiteX1" fmla="*/ 3778727 w 3833448"/>
                <a:gd name="connsiteY1" fmla="*/ 257442 h 257442"/>
                <a:gd name="connsiteX2" fmla="*/ 0 w 3833448"/>
                <a:gd name="connsiteY2" fmla="*/ 257442 h 257442"/>
                <a:gd name="connsiteX3" fmla="*/ 0 w 3833448"/>
                <a:gd name="connsiteY3" fmla="*/ 0 h 257442"/>
                <a:gd name="connsiteX0" fmla="*/ 3833449 w 3833449"/>
                <a:gd name="connsiteY0" fmla="*/ 0 h 257442"/>
                <a:gd name="connsiteX1" fmla="*/ 3778728 w 3833449"/>
                <a:gd name="connsiteY1" fmla="*/ 257442 h 257442"/>
                <a:gd name="connsiteX2" fmla="*/ 0 w 3833449"/>
                <a:gd name="connsiteY2" fmla="*/ 257442 h 257442"/>
                <a:gd name="connsiteX3" fmla="*/ 1 w 3833449"/>
                <a:gd name="connsiteY3" fmla="*/ 0 h 257442"/>
                <a:gd name="connsiteX0" fmla="*/ 3833449 w 3833449"/>
                <a:gd name="connsiteY0" fmla="*/ 0 h 257442"/>
                <a:gd name="connsiteX1" fmla="*/ 3778728 w 3833449"/>
                <a:gd name="connsiteY1" fmla="*/ 257442 h 257442"/>
                <a:gd name="connsiteX2" fmla="*/ 0 w 3833449"/>
                <a:gd name="connsiteY2" fmla="*/ 257442 h 257442"/>
                <a:gd name="connsiteX3" fmla="*/ 1 w 3833449"/>
                <a:gd name="connsiteY3" fmla="*/ 0 h 257442"/>
                <a:gd name="connsiteX0" fmla="*/ 4019398 w 4019398"/>
                <a:gd name="connsiteY0" fmla="*/ 0 h 257442"/>
                <a:gd name="connsiteX1" fmla="*/ 3778728 w 4019398"/>
                <a:gd name="connsiteY1" fmla="*/ 257442 h 257442"/>
                <a:gd name="connsiteX2" fmla="*/ 0 w 4019398"/>
                <a:gd name="connsiteY2" fmla="*/ 257442 h 257442"/>
                <a:gd name="connsiteX3" fmla="*/ 1 w 4019398"/>
                <a:gd name="connsiteY3" fmla="*/ 0 h 257442"/>
                <a:gd name="connsiteX0" fmla="*/ 4019398 w 4019398"/>
                <a:gd name="connsiteY0" fmla="*/ 0 h 257442"/>
                <a:gd name="connsiteX1" fmla="*/ 3964676 w 4019398"/>
                <a:gd name="connsiteY1" fmla="*/ 257442 h 257442"/>
                <a:gd name="connsiteX2" fmla="*/ 0 w 4019398"/>
                <a:gd name="connsiteY2" fmla="*/ 257442 h 257442"/>
                <a:gd name="connsiteX3" fmla="*/ 1 w 4019398"/>
                <a:gd name="connsiteY3" fmla="*/ 0 h 257442"/>
                <a:gd name="connsiteX0" fmla="*/ 4019398 w 4019398"/>
                <a:gd name="connsiteY0" fmla="*/ 0 h 257442"/>
                <a:gd name="connsiteX1" fmla="*/ 3964676 w 4019398"/>
                <a:gd name="connsiteY1" fmla="*/ 257442 h 257442"/>
                <a:gd name="connsiteX2" fmla="*/ 0 w 4019398"/>
                <a:gd name="connsiteY2" fmla="*/ 257442 h 257442"/>
                <a:gd name="connsiteX3" fmla="*/ 1 w 4019398"/>
                <a:gd name="connsiteY3" fmla="*/ 0 h 257442"/>
                <a:gd name="connsiteX0" fmla="*/ 4019398 w 4019398"/>
                <a:gd name="connsiteY0" fmla="*/ 0 h 257442"/>
                <a:gd name="connsiteX1" fmla="*/ 3964676 w 4019398"/>
                <a:gd name="connsiteY1" fmla="*/ 257442 h 257442"/>
                <a:gd name="connsiteX2" fmla="*/ 0 w 4019398"/>
                <a:gd name="connsiteY2" fmla="*/ 257442 h 257442"/>
                <a:gd name="connsiteX3" fmla="*/ 0 w 4019398"/>
                <a:gd name="connsiteY3" fmla="*/ 0 h 257442"/>
                <a:gd name="connsiteX0" fmla="*/ 4179697 w 4179697"/>
                <a:gd name="connsiteY0" fmla="*/ 0 h 257442"/>
                <a:gd name="connsiteX1" fmla="*/ 3964676 w 4179697"/>
                <a:gd name="connsiteY1" fmla="*/ 257442 h 257442"/>
                <a:gd name="connsiteX2" fmla="*/ 0 w 4179697"/>
                <a:gd name="connsiteY2" fmla="*/ 257442 h 257442"/>
                <a:gd name="connsiteX3" fmla="*/ 0 w 4179697"/>
                <a:gd name="connsiteY3" fmla="*/ 0 h 257442"/>
                <a:gd name="connsiteX0" fmla="*/ 4179697 w 4179697"/>
                <a:gd name="connsiteY0" fmla="*/ 0 h 257442"/>
                <a:gd name="connsiteX1" fmla="*/ 4124976 w 4179697"/>
                <a:gd name="connsiteY1" fmla="*/ 257442 h 257442"/>
                <a:gd name="connsiteX2" fmla="*/ 0 w 4179697"/>
                <a:gd name="connsiteY2" fmla="*/ 257442 h 257442"/>
                <a:gd name="connsiteX3" fmla="*/ 0 w 4179697"/>
                <a:gd name="connsiteY3" fmla="*/ 0 h 257442"/>
                <a:gd name="connsiteX0" fmla="*/ 4179697 w 4179697"/>
                <a:gd name="connsiteY0" fmla="*/ 0 h 257442"/>
                <a:gd name="connsiteX1" fmla="*/ 4124976 w 4179697"/>
                <a:gd name="connsiteY1" fmla="*/ 257442 h 257442"/>
                <a:gd name="connsiteX2" fmla="*/ 0 w 4179697"/>
                <a:gd name="connsiteY2" fmla="*/ 257442 h 257442"/>
                <a:gd name="connsiteX3" fmla="*/ 0 w 4179697"/>
                <a:gd name="connsiteY3" fmla="*/ 0 h 257442"/>
                <a:gd name="connsiteX0" fmla="*/ 4179697 w 4179697"/>
                <a:gd name="connsiteY0" fmla="*/ 0 h 257442"/>
                <a:gd name="connsiteX1" fmla="*/ 4124976 w 4179697"/>
                <a:gd name="connsiteY1" fmla="*/ 257442 h 257442"/>
                <a:gd name="connsiteX2" fmla="*/ 0 w 4179697"/>
                <a:gd name="connsiteY2" fmla="*/ 257442 h 257442"/>
                <a:gd name="connsiteX3" fmla="*/ 0 w 4179697"/>
                <a:gd name="connsiteY3" fmla="*/ 0 h 257442"/>
                <a:gd name="connsiteX0" fmla="*/ 4348013 w 4348013"/>
                <a:gd name="connsiteY0" fmla="*/ 0 h 257442"/>
                <a:gd name="connsiteX1" fmla="*/ 4124976 w 4348013"/>
                <a:gd name="connsiteY1" fmla="*/ 257442 h 257442"/>
                <a:gd name="connsiteX2" fmla="*/ 0 w 4348013"/>
                <a:gd name="connsiteY2" fmla="*/ 257442 h 257442"/>
                <a:gd name="connsiteX3" fmla="*/ 0 w 4348013"/>
                <a:gd name="connsiteY3" fmla="*/ 0 h 257442"/>
                <a:gd name="connsiteX0" fmla="*/ 4348013 w 4348013"/>
                <a:gd name="connsiteY0" fmla="*/ 0 h 257442"/>
                <a:gd name="connsiteX1" fmla="*/ 4293292 w 4348013"/>
                <a:gd name="connsiteY1" fmla="*/ 257442 h 257442"/>
                <a:gd name="connsiteX2" fmla="*/ 0 w 4348013"/>
                <a:gd name="connsiteY2" fmla="*/ 257442 h 257442"/>
                <a:gd name="connsiteX3" fmla="*/ 0 w 4348013"/>
                <a:gd name="connsiteY3" fmla="*/ 0 h 257442"/>
                <a:gd name="connsiteX0" fmla="*/ 4348013 w 4348013"/>
                <a:gd name="connsiteY0" fmla="*/ 0 h 257442"/>
                <a:gd name="connsiteX1" fmla="*/ 4293292 w 4348013"/>
                <a:gd name="connsiteY1" fmla="*/ 257442 h 257442"/>
                <a:gd name="connsiteX2" fmla="*/ 0 w 4348013"/>
                <a:gd name="connsiteY2" fmla="*/ 257442 h 257442"/>
                <a:gd name="connsiteX3" fmla="*/ 0 w 4348013"/>
                <a:gd name="connsiteY3" fmla="*/ 0 h 257442"/>
                <a:gd name="connsiteX0" fmla="*/ 4348013 w 4348013"/>
                <a:gd name="connsiteY0" fmla="*/ 0 h 257442"/>
                <a:gd name="connsiteX1" fmla="*/ 4293292 w 4348013"/>
                <a:gd name="connsiteY1" fmla="*/ 257442 h 257442"/>
                <a:gd name="connsiteX2" fmla="*/ 0 w 4348013"/>
                <a:gd name="connsiteY2" fmla="*/ 257442 h 257442"/>
                <a:gd name="connsiteX3" fmla="*/ 0 w 4348013"/>
                <a:gd name="connsiteY3" fmla="*/ 0 h 257442"/>
                <a:gd name="connsiteX0" fmla="*/ 4598530 w 4598530"/>
                <a:gd name="connsiteY0" fmla="*/ 0 h 257442"/>
                <a:gd name="connsiteX1" fmla="*/ 4293292 w 4598530"/>
                <a:gd name="connsiteY1" fmla="*/ 257442 h 257442"/>
                <a:gd name="connsiteX2" fmla="*/ 0 w 4598530"/>
                <a:gd name="connsiteY2" fmla="*/ 257442 h 257442"/>
                <a:gd name="connsiteX3" fmla="*/ 0 w 4598530"/>
                <a:gd name="connsiteY3" fmla="*/ 0 h 257442"/>
                <a:gd name="connsiteX0" fmla="*/ 4598530 w 4598530"/>
                <a:gd name="connsiteY0" fmla="*/ 0 h 257442"/>
                <a:gd name="connsiteX1" fmla="*/ 4543808 w 4598530"/>
                <a:gd name="connsiteY1" fmla="*/ 257442 h 257442"/>
                <a:gd name="connsiteX2" fmla="*/ 0 w 4598530"/>
                <a:gd name="connsiteY2" fmla="*/ 257442 h 257442"/>
                <a:gd name="connsiteX3" fmla="*/ 0 w 4598530"/>
                <a:gd name="connsiteY3" fmla="*/ 0 h 257442"/>
                <a:gd name="connsiteX0" fmla="*/ 4598531 w 4598531"/>
                <a:gd name="connsiteY0" fmla="*/ 0 h 257442"/>
                <a:gd name="connsiteX1" fmla="*/ 4543809 w 4598531"/>
                <a:gd name="connsiteY1" fmla="*/ 257442 h 257442"/>
                <a:gd name="connsiteX2" fmla="*/ 0 w 4598531"/>
                <a:gd name="connsiteY2" fmla="*/ 257442 h 257442"/>
                <a:gd name="connsiteX3" fmla="*/ 1 w 4598531"/>
                <a:gd name="connsiteY3" fmla="*/ 0 h 257442"/>
                <a:gd name="connsiteX0" fmla="*/ 4598531 w 4598531"/>
                <a:gd name="connsiteY0" fmla="*/ 0 h 257442"/>
                <a:gd name="connsiteX1" fmla="*/ 4543809 w 4598531"/>
                <a:gd name="connsiteY1" fmla="*/ 257442 h 257442"/>
                <a:gd name="connsiteX2" fmla="*/ 0 w 4598531"/>
                <a:gd name="connsiteY2" fmla="*/ 257442 h 257442"/>
                <a:gd name="connsiteX3" fmla="*/ 1 w 4598531"/>
                <a:gd name="connsiteY3" fmla="*/ 0 h 257442"/>
                <a:gd name="connsiteX0" fmla="*/ 950802 w 4543809"/>
                <a:gd name="connsiteY0" fmla="*/ 0 h 257442"/>
                <a:gd name="connsiteX1" fmla="*/ 4543809 w 4543809"/>
                <a:gd name="connsiteY1" fmla="*/ 257442 h 257442"/>
                <a:gd name="connsiteX2" fmla="*/ 0 w 4543809"/>
                <a:gd name="connsiteY2" fmla="*/ 257442 h 257442"/>
                <a:gd name="connsiteX3" fmla="*/ 1 w 4543809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0 w 950802"/>
                <a:gd name="connsiteY2" fmla="*/ 257442 h 257442"/>
                <a:gd name="connsiteX3" fmla="*/ 1 w 95080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1128734 w 1128734"/>
                <a:gd name="connsiteY0" fmla="*/ 0 h 257442"/>
                <a:gd name="connsiteX1" fmla="*/ 896080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2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314683 w 1314683"/>
                <a:gd name="connsiteY0" fmla="*/ 0 h 257442"/>
                <a:gd name="connsiteX1" fmla="*/ 1074013 w 1314683"/>
                <a:gd name="connsiteY1" fmla="*/ 257442 h 257442"/>
                <a:gd name="connsiteX2" fmla="*/ 0 w 1314683"/>
                <a:gd name="connsiteY2" fmla="*/ 257442 h 257442"/>
                <a:gd name="connsiteX3" fmla="*/ 1 w 1314683"/>
                <a:gd name="connsiteY3" fmla="*/ 0 h 257442"/>
                <a:gd name="connsiteX0" fmla="*/ 1314683 w 1314683"/>
                <a:gd name="connsiteY0" fmla="*/ 0 h 257442"/>
                <a:gd name="connsiteX1" fmla="*/ 1259962 w 1314683"/>
                <a:gd name="connsiteY1" fmla="*/ 257442 h 257442"/>
                <a:gd name="connsiteX2" fmla="*/ 0 w 1314683"/>
                <a:gd name="connsiteY2" fmla="*/ 257442 h 257442"/>
                <a:gd name="connsiteX3" fmla="*/ 1 w 1314683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3 w 1314683"/>
                <a:gd name="connsiteY0" fmla="*/ 0 h 257442"/>
                <a:gd name="connsiteX1" fmla="*/ 1259962 w 1314683"/>
                <a:gd name="connsiteY1" fmla="*/ 257442 h 257442"/>
                <a:gd name="connsiteX2" fmla="*/ 1 w 1314683"/>
                <a:gd name="connsiteY2" fmla="*/ 257442 h 257442"/>
                <a:gd name="connsiteX3" fmla="*/ 0 w 1314683"/>
                <a:gd name="connsiteY3" fmla="*/ 0 h 257442"/>
                <a:gd name="connsiteX0" fmla="*/ 1474984 w 1474984"/>
                <a:gd name="connsiteY0" fmla="*/ 0 h 257442"/>
                <a:gd name="connsiteX1" fmla="*/ 1259962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635283 w 1635283"/>
                <a:gd name="connsiteY0" fmla="*/ 0 h 257442"/>
                <a:gd name="connsiteX1" fmla="*/ 14202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888557 w 1888557"/>
                <a:gd name="connsiteY0" fmla="*/ 0 h 257442"/>
                <a:gd name="connsiteX1" fmla="*/ 1580562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2141832 w 2141832"/>
                <a:gd name="connsiteY0" fmla="*/ 0 h 257442"/>
                <a:gd name="connsiteX1" fmla="*/ 1833836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2 w 2141832"/>
                <a:gd name="connsiteY0" fmla="*/ 0 h 257442"/>
                <a:gd name="connsiteX1" fmla="*/ 2087110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1 w 2141833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1 w 2141833"/>
                <a:gd name="connsiteY3" fmla="*/ 0 h 257442"/>
                <a:gd name="connsiteX0" fmla="*/ 2302133 w 2302133"/>
                <a:gd name="connsiteY0" fmla="*/ 0 h 257442"/>
                <a:gd name="connsiteX1" fmla="*/ 2087111 w 2302133"/>
                <a:gd name="connsiteY1" fmla="*/ 257442 h 257442"/>
                <a:gd name="connsiteX2" fmla="*/ 0 w 2302133"/>
                <a:gd name="connsiteY2" fmla="*/ 257442 h 257442"/>
                <a:gd name="connsiteX3" fmla="*/ 1 w 2302133"/>
                <a:gd name="connsiteY3" fmla="*/ 0 h 257442"/>
                <a:gd name="connsiteX0" fmla="*/ 2302133 w 2302133"/>
                <a:gd name="connsiteY0" fmla="*/ 0 h 257442"/>
                <a:gd name="connsiteX1" fmla="*/ 2247412 w 2302133"/>
                <a:gd name="connsiteY1" fmla="*/ 257442 h 257442"/>
                <a:gd name="connsiteX2" fmla="*/ 0 w 2302133"/>
                <a:gd name="connsiteY2" fmla="*/ 257442 h 257442"/>
                <a:gd name="connsiteX3" fmla="*/ 1 w 2302133"/>
                <a:gd name="connsiteY3" fmla="*/ 0 h 257442"/>
                <a:gd name="connsiteX0" fmla="*/ 2302132 w 2302132"/>
                <a:gd name="connsiteY0" fmla="*/ 0 h 257442"/>
                <a:gd name="connsiteX1" fmla="*/ 2247411 w 2302132"/>
                <a:gd name="connsiteY1" fmla="*/ 257442 h 257442"/>
                <a:gd name="connsiteX2" fmla="*/ 0 w 2302132"/>
                <a:gd name="connsiteY2" fmla="*/ 257442 h 257442"/>
                <a:gd name="connsiteX3" fmla="*/ 0 w 2302132"/>
                <a:gd name="connsiteY3" fmla="*/ 0 h 257442"/>
                <a:gd name="connsiteX0" fmla="*/ 2302133 w 2302133"/>
                <a:gd name="connsiteY0" fmla="*/ 0 h 257442"/>
                <a:gd name="connsiteX1" fmla="*/ 2247412 w 2302133"/>
                <a:gd name="connsiteY1" fmla="*/ 257442 h 257442"/>
                <a:gd name="connsiteX2" fmla="*/ 1 w 2302133"/>
                <a:gd name="connsiteY2" fmla="*/ 257442 h 257442"/>
                <a:gd name="connsiteX3" fmla="*/ 0 w 2302133"/>
                <a:gd name="connsiteY3" fmla="*/ 0 h 257442"/>
                <a:gd name="connsiteX0" fmla="*/ 2462433 w 2462433"/>
                <a:gd name="connsiteY0" fmla="*/ 0 h 257442"/>
                <a:gd name="connsiteX1" fmla="*/ 22474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3 w 2462433"/>
                <a:gd name="connsiteY0" fmla="*/ 0 h 257442"/>
                <a:gd name="connsiteX1" fmla="*/ 24077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3 w 2462433"/>
                <a:gd name="connsiteY0" fmla="*/ 0 h 257442"/>
                <a:gd name="connsiteX1" fmla="*/ 24077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2 w 2462432"/>
                <a:gd name="connsiteY0" fmla="*/ 0 h 257442"/>
                <a:gd name="connsiteX1" fmla="*/ 2407711 w 2462432"/>
                <a:gd name="connsiteY1" fmla="*/ 257442 h 257442"/>
                <a:gd name="connsiteX2" fmla="*/ 0 w 2462432"/>
                <a:gd name="connsiteY2" fmla="*/ 257442 h 257442"/>
                <a:gd name="connsiteX3" fmla="*/ 0 w 2462432"/>
                <a:gd name="connsiteY3" fmla="*/ 0 h 257442"/>
                <a:gd name="connsiteX0" fmla="*/ 2715706 w 2715706"/>
                <a:gd name="connsiteY0" fmla="*/ 0 h 257442"/>
                <a:gd name="connsiteX1" fmla="*/ 2407711 w 2715706"/>
                <a:gd name="connsiteY1" fmla="*/ 257442 h 257442"/>
                <a:gd name="connsiteX2" fmla="*/ 0 w 2715706"/>
                <a:gd name="connsiteY2" fmla="*/ 257442 h 257442"/>
                <a:gd name="connsiteX3" fmla="*/ 0 w 2715706"/>
                <a:gd name="connsiteY3" fmla="*/ 0 h 257442"/>
                <a:gd name="connsiteX0" fmla="*/ 2715706 w 2715706"/>
                <a:gd name="connsiteY0" fmla="*/ 0 h 257442"/>
                <a:gd name="connsiteX1" fmla="*/ 2660985 w 2715706"/>
                <a:gd name="connsiteY1" fmla="*/ 257442 h 257442"/>
                <a:gd name="connsiteX2" fmla="*/ 0 w 2715706"/>
                <a:gd name="connsiteY2" fmla="*/ 257442 h 257442"/>
                <a:gd name="connsiteX3" fmla="*/ 0 w 2715706"/>
                <a:gd name="connsiteY3" fmla="*/ 0 h 257442"/>
                <a:gd name="connsiteX0" fmla="*/ 2715707 w 2715707"/>
                <a:gd name="connsiteY0" fmla="*/ 0 h 257442"/>
                <a:gd name="connsiteX1" fmla="*/ 2660986 w 2715707"/>
                <a:gd name="connsiteY1" fmla="*/ 257442 h 257442"/>
                <a:gd name="connsiteX2" fmla="*/ 0 w 2715707"/>
                <a:gd name="connsiteY2" fmla="*/ 257442 h 257442"/>
                <a:gd name="connsiteX3" fmla="*/ 1 w 2715707"/>
                <a:gd name="connsiteY3" fmla="*/ 0 h 257442"/>
                <a:gd name="connsiteX0" fmla="*/ 2715707 w 2715707"/>
                <a:gd name="connsiteY0" fmla="*/ 0 h 257442"/>
                <a:gd name="connsiteX1" fmla="*/ 2660986 w 2715707"/>
                <a:gd name="connsiteY1" fmla="*/ 257442 h 257442"/>
                <a:gd name="connsiteX2" fmla="*/ 0 w 2715707"/>
                <a:gd name="connsiteY2" fmla="*/ 257442 h 257442"/>
                <a:gd name="connsiteX3" fmla="*/ 1 w 2715707"/>
                <a:gd name="connsiteY3" fmla="*/ 0 h 257442"/>
                <a:gd name="connsiteX0" fmla="*/ 2884024 w 2884024"/>
                <a:gd name="connsiteY0" fmla="*/ 0 h 257442"/>
                <a:gd name="connsiteX1" fmla="*/ 2660986 w 2884024"/>
                <a:gd name="connsiteY1" fmla="*/ 257442 h 257442"/>
                <a:gd name="connsiteX2" fmla="*/ 0 w 2884024"/>
                <a:gd name="connsiteY2" fmla="*/ 257442 h 257442"/>
                <a:gd name="connsiteX3" fmla="*/ 1 w 2884024"/>
                <a:gd name="connsiteY3" fmla="*/ 0 h 257442"/>
                <a:gd name="connsiteX0" fmla="*/ 2884024 w 2884024"/>
                <a:gd name="connsiteY0" fmla="*/ 0 h 257442"/>
                <a:gd name="connsiteX1" fmla="*/ 2829302 w 2884024"/>
                <a:gd name="connsiteY1" fmla="*/ 257442 h 257442"/>
                <a:gd name="connsiteX2" fmla="*/ 0 w 2884024"/>
                <a:gd name="connsiteY2" fmla="*/ 257442 h 257442"/>
                <a:gd name="connsiteX3" fmla="*/ 1 w 2884024"/>
                <a:gd name="connsiteY3" fmla="*/ 0 h 257442"/>
                <a:gd name="connsiteX0" fmla="*/ 2884024 w 2884024"/>
                <a:gd name="connsiteY0" fmla="*/ 0 h 257442"/>
                <a:gd name="connsiteX1" fmla="*/ 2829302 w 2884024"/>
                <a:gd name="connsiteY1" fmla="*/ 257442 h 257442"/>
                <a:gd name="connsiteX2" fmla="*/ 0 w 2884024"/>
                <a:gd name="connsiteY2" fmla="*/ 257442 h 257442"/>
                <a:gd name="connsiteX3" fmla="*/ 1 w 2884024"/>
                <a:gd name="connsiteY3" fmla="*/ 0 h 257442"/>
                <a:gd name="connsiteX0" fmla="*/ 2884024 w 2884024"/>
                <a:gd name="connsiteY0" fmla="*/ 0 h 257442"/>
                <a:gd name="connsiteX1" fmla="*/ 2829302 w 2884024"/>
                <a:gd name="connsiteY1" fmla="*/ 257442 h 257442"/>
                <a:gd name="connsiteX2" fmla="*/ 0 w 2884024"/>
                <a:gd name="connsiteY2" fmla="*/ 257442 h 257442"/>
                <a:gd name="connsiteX3" fmla="*/ 0 w 2884024"/>
                <a:gd name="connsiteY3" fmla="*/ 0 h 257442"/>
                <a:gd name="connsiteX0" fmla="*/ 3052337 w 3052337"/>
                <a:gd name="connsiteY0" fmla="*/ 0 h 257442"/>
                <a:gd name="connsiteX1" fmla="*/ 2829302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220653 w 3220653"/>
                <a:gd name="connsiteY0" fmla="*/ 0 h 257442"/>
                <a:gd name="connsiteX1" fmla="*/ 2997616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220653 w 3220653"/>
                <a:gd name="connsiteY0" fmla="*/ 0 h 257442"/>
                <a:gd name="connsiteX1" fmla="*/ 3165932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220653 w 3220653"/>
                <a:gd name="connsiteY0" fmla="*/ 0 h 257442"/>
                <a:gd name="connsiteX1" fmla="*/ 3165932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220653 w 3220653"/>
                <a:gd name="connsiteY0" fmla="*/ 0 h 257442"/>
                <a:gd name="connsiteX1" fmla="*/ 3165932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380954 w 3380954"/>
                <a:gd name="connsiteY0" fmla="*/ 0 h 257442"/>
                <a:gd name="connsiteX1" fmla="*/ 3165932 w 3380954"/>
                <a:gd name="connsiteY1" fmla="*/ 257442 h 257442"/>
                <a:gd name="connsiteX2" fmla="*/ 0 w 3380954"/>
                <a:gd name="connsiteY2" fmla="*/ 257442 h 257442"/>
                <a:gd name="connsiteX3" fmla="*/ 0 w 3380954"/>
                <a:gd name="connsiteY3" fmla="*/ 0 h 257442"/>
                <a:gd name="connsiteX0" fmla="*/ 3380954 w 3380954"/>
                <a:gd name="connsiteY0" fmla="*/ 0 h 257442"/>
                <a:gd name="connsiteX1" fmla="*/ 3326232 w 3380954"/>
                <a:gd name="connsiteY1" fmla="*/ 257442 h 257442"/>
                <a:gd name="connsiteX2" fmla="*/ 0 w 3380954"/>
                <a:gd name="connsiteY2" fmla="*/ 257442 h 257442"/>
                <a:gd name="connsiteX3" fmla="*/ 0 w 3380954"/>
                <a:gd name="connsiteY3" fmla="*/ 0 h 257442"/>
                <a:gd name="connsiteX0" fmla="*/ 3380955 w 3380955"/>
                <a:gd name="connsiteY0" fmla="*/ 0 h 257442"/>
                <a:gd name="connsiteX1" fmla="*/ 3326233 w 3380955"/>
                <a:gd name="connsiteY1" fmla="*/ 257442 h 257442"/>
                <a:gd name="connsiteX2" fmla="*/ 0 w 3380955"/>
                <a:gd name="connsiteY2" fmla="*/ 257442 h 257442"/>
                <a:gd name="connsiteX3" fmla="*/ 1 w 3380955"/>
                <a:gd name="connsiteY3" fmla="*/ 0 h 257442"/>
                <a:gd name="connsiteX0" fmla="*/ 3380955 w 3380955"/>
                <a:gd name="connsiteY0" fmla="*/ 0 h 257442"/>
                <a:gd name="connsiteX1" fmla="*/ 3326233 w 3380955"/>
                <a:gd name="connsiteY1" fmla="*/ 257442 h 257442"/>
                <a:gd name="connsiteX2" fmla="*/ 0 w 3380955"/>
                <a:gd name="connsiteY2" fmla="*/ 257442 h 257442"/>
                <a:gd name="connsiteX3" fmla="*/ 1 w 3380955"/>
                <a:gd name="connsiteY3" fmla="*/ 0 h 257442"/>
                <a:gd name="connsiteX0" fmla="*/ 3549269 w 3549269"/>
                <a:gd name="connsiteY0" fmla="*/ 0 h 257442"/>
                <a:gd name="connsiteX1" fmla="*/ 3326233 w 3549269"/>
                <a:gd name="connsiteY1" fmla="*/ 257442 h 257442"/>
                <a:gd name="connsiteX2" fmla="*/ 0 w 3549269"/>
                <a:gd name="connsiteY2" fmla="*/ 257442 h 257442"/>
                <a:gd name="connsiteX3" fmla="*/ 1 w 3549269"/>
                <a:gd name="connsiteY3" fmla="*/ 0 h 257442"/>
                <a:gd name="connsiteX0" fmla="*/ 3549269 w 3549269"/>
                <a:gd name="connsiteY0" fmla="*/ 0 h 257442"/>
                <a:gd name="connsiteX1" fmla="*/ 3494548 w 3549269"/>
                <a:gd name="connsiteY1" fmla="*/ 257442 h 257442"/>
                <a:gd name="connsiteX2" fmla="*/ 0 w 3549269"/>
                <a:gd name="connsiteY2" fmla="*/ 257442 h 257442"/>
                <a:gd name="connsiteX3" fmla="*/ 1 w 3549269"/>
                <a:gd name="connsiteY3" fmla="*/ 0 h 257442"/>
                <a:gd name="connsiteX0" fmla="*/ 3549268 w 3549268"/>
                <a:gd name="connsiteY0" fmla="*/ 0 h 257442"/>
                <a:gd name="connsiteX1" fmla="*/ 3494547 w 3549268"/>
                <a:gd name="connsiteY1" fmla="*/ 257442 h 257442"/>
                <a:gd name="connsiteX2" fmla="*/ 0 w 3549268"/>
                <a:gd name="connsiteY2" fmla="*/ 257442 h 257442"/>
                <a:gd name="connsiteX3" fmla="*/ 0 w 3549268"/>
                <a:gd name="connsiteY3" fmla="*/ 0 h 257442"/>
                <a:gd name="connsiteX0" fmla="*/ 3549269 w 3549269"/>
                <a:gd name="connsiteY0" fmla="*/ 0 h 257442"/>
                <a:gd name="connsiteX1" fmla="*/ 3494548 w 3549269"/>
                <a:gd name="connsiteY1" fmla="*/ 257442 h 257442"/>
                <a:gd name="connsiteX2" fmla="*/ 1 w 3549269"/>
                <a:gd name="connsiteY2" fmla="*/ 257442 h 257442"/>
                <a:gd name="connsiteX3" fmla="*/ 0 w 3549269"/>
                <a:gd name="connsiteY3" fmla="*/ 0 h 257442"/>
                <a:gd name="connsiteX0" fmla="*/ 3717585 w 3717585"/>
                <a:gd name="connsiteY0" fmla="*/ 0 h 257442"/>
                <a:gd name="connsiteX1" fmla="*/ 3494548 w 3717585"/>
                <a:gd name="connsiteY1" fmla="*/ 257442 h 257442"/>
                <a:gd name="connsiteX2" fmla="*/ 1 w 3717585"/>
                <a:gd name="connsiteY2" fmla="*/ 257442 h 257442"/>
                <a:gd name="connsiteX3" fmla="*/ 0 w 3717585"/>
                <a:gd name="connsiteY3" fmla="*/ 0 h 257442"/>
                <a:gd name="connsiteX0" fmla="*/ 3717585 w 3717585"/>
                <a:gd name="connsiteY0" fmla="*/ 0 h 257442"/>
                <a:gd name="connsiteX1" fmla="*/ 3662864 w 3717585"/>
                <a:gd name="connsiteY1" fmla="*/ 257442 h 257442"/>
                <a:gd name="connsiteX2" fmla="*/ 1 w 3717585"/>
                <a:gd name="connsiteY2" fmla="*/ 257442 h 257442"/>
                <a:gd name="connsiteX3" fmla="*/ 0 w 3717585"/>
                <a:gd name="connsiteY3" fmla="*/ 0 h 257442"/>
                <a:gd name="connsiteX0" fmla="*/ 3717585 w 3717585"/>
                <a:gd name="connsiteY0" fmla="*/ 0 h 257442"/>
                <a:gd name="connsiteX1" fmla="*/ 3662864 w 3717585"/>
                <a:gd name="connsiteY1" fmla="*/ 257442 h 257442"/>
                <a:gd name="connsiteX2" fmla="*/ 1 w 3717585"/>
                <a:gd name="connsiteY2" fmla="*/ 257442 h 257442"/>
                <a:gd name="connsiteX3" fmla="*/ 0 w 3717585"/>
                <a:gd name="connsiteY3" fmla="*/ 0 h 257442"/>
                <a:gd name="connsiteX0" fmla="*/ 3717584 w 3717584"/>
                <a:gd name="connsiteY0" fmla="*/ 0 h 257442"/>
                <a:gd name="connsiteX1" fmla="*/ 3662863 w 3717584"/>
                <a:gd name="connsiteY1" fmla="*/ 257442 h 257442"/>
                <a:gd name="connsiteX2" fmla="*/ 0 w 3717584"/>
                <a:gd name="connsiteY2" fmla="*/ 257442 h 257442"/>
                <a:gd name="connsiteX3" fmla="*/ 0 w 3717584"/>
                <a:gd name="connsiteY3" fmla="*/ 0 h 257442"/>
                <a:gd name="connsiteX0" fmla="*/ 3877884 w 3877884"/>
                <a:gd name="connsiteY0" fmla="*/ 0 h 257442"/>
                <a:gd name="connsiteX1" fmla="*/ 3662863 w 3877884"/>
                <a:gd name="connsiteY1" fmla="*/ 257442 h 257442"/>
                <a:gd name="connsiteX2" fmla="*/ 0 w 3877884"/>
                <a:gd name="connsiteY2" fmla="*/ 257442 h 257442"/>
                <a:gd name="connsiteX3" fmla="*/ 0 w 3877884"/>
                <a:gd name="connsiteY3" fmla="*/ 0 h 257442"/>
                <a:gd name="connsiteX0" fmla="*/ 3877884 w 3877884"/>
                <a:gd name="connsiteY0" fmla="*/ 0 h 257442"/>
                <a:gd name="connsiteX1" fmla="*/ 3823163 w 3877884"/>
                <a:gd name="connsiteY1" fmla="*/ 257442 h 257442"/>
                <a:gd name="connsiteX2" fmla="*/ 0 w 3877884"/>
                <a:gd name="connsiteY2" fmla="*/ 257442 h 257442"/>
                <a:gd name="connsiteX3" fmla="*/ 0 w 3877884"/>
                <a:gd name="connsiteY3" fmla="*/ 0 h 257442"/>
                <a:gd name="connsiteX0" fmla="*/ 3877885 w 3877885"/>
                <a:gd name="connsiteY0" fmla="*/ 0 h 257442"/>
                <a:gd name="connsiteX1" fmla="*/ 3823164 w 3877885"/>
                <a:gd name="connsiteY1" fmla="*/ 257442 h 257442"/>
                <a:gd name="connsiteX2" fmla="*/ 0 w 3877885"/>
                <a:gd name="connsiteY2" fmla="*/ 257442 h 257442"/>
                <a:gd name="connsiteX3" fmla="*/ 1 w 3877885"/>
                <a:gd name="connsiteY3" fmla="*/ 0 h 257442"/>
                <a:gd name="connsiteX0" fmla="*/ 3877885 w 3877885"/>
                <a:gd name="connsiteY0" fmla="*/ 0 h 257442"/>
                <a:gd name="connsiteX1" fmla="*/ 3823164 w 3877885"/>
                <a:gd name="connsiteY1" fmla="*/ 257442 h 257442"/>
                <a:gd name="connsiteX2" fmla="*/ 0 w 3877885"/>
                <a:gd name="connsiteY2" fmla="*/ 257442 h 257442"/>
                <a:gd name="connsiteX3" fmla="*/ 1 w 3877885"/>
                <a:gd name="connsiteY3" fmla="*/ 0 h 257442"/>
                <a:gd name="connsiteX0" fmla="*/ 4038186 w 4038186"/>
                <a:gd name="connsiteY0" fmla="*/ 0 h 257442"/>
                <a:gd name="connsiteX1" fmla="*/ 3823164 w 4038186"/>
                <a:gd name="connsiteY1" fmla="*/ 257442 h 257442"/>
                <a:gd name="connsiteX2" fmla="*/ 0 w 4038186"/>
                <a:gd name="connsiteY2" fmla="*/ 257442 h 257442"/>
                <a:gd name="connsiteX3" fmla="*/ 1 w 4038186"/>
                <a:gd name="connsiteY3" fmla="*/ 0 h 257442"/>
                <a:gd name="connsiteX0" fmla="*/ 4038186 w 4038186"/>
                <a:gd name="connsiteY0" fmla="*/ 0 h 257442"/>
                <a:gd name="connsiteX1" fmla="*/ 3983464 w 4038186"/>
                <a:gd name="connsiteY1" fmla="*/ 257442 h 257442"/>
                <a:gd name="connsiteX2" fmla="*/ 0 w 4038186"/>
                <a:gd name="connsiteY2" fmla="*/ 257442 h 257442"/>
                <a:gd name="connsiteX3" fmla="*/ 1 w 4038186"/>
                <a:gd name="connsiteY3" fmla="*/ 0 h 257442"/>
                <a:gd name="connsiteX0" fmla="*/ 4038186 w 4038186"/>
                <a:gd name="connsiteY0" fmla="*/ 0 h 257442"/>
                <a:gd name="connsiteX1" fmla="*/ 3983464 w 4038186"/>
                <a:gd name="connsiteY1" fmla="*/ 257442 h 257442"/>
                <a:gd name="connsiteX2" fmla="*/ 0 w 4038186"/>
                <a:gd name="connsiteY2" fmla="*/ 257442 h 257442"/>
                <a:gd name="connsiteX3" fmla="*/ 1 w 4038186"/>
                <a:gd name="connsiteY3" fmla="*/ 0 h 257442"/>
                <a:gd name="connsiteX0" fmla="*/ 4038186 w 4038186"/>
                <a:gd name="connsiteY0" fmla="*/ 0 h 257442"/>
                <a:gd name="connsiteX1" fmla="*/ 3983464 w 4038186"/>
                <a:gd name="connsiteY1" fmla="*/ 257442 h 257442"/>
                <a:gd name="connsiteX2" fmla="*/ 0 w 4038186"/>
                <a:gd name="connsiteY2" fmla="*/ 257442 h 257442"/>
                <a:gd name="connsiteX3" fmla="*/ 0 w 4038186"/>
                <a:gd name="connsiteY3" fmla="*/ 0 h 257442"/>
                <a:gd name="connsiteX0" fmla="*/ 950801 w 3983464"/>
                <a:gd name="connsiteY0" fmla="*/ 0 h 257442"/>
                <a:gd name="connsiteX1" fmla="*/ 3983464 w 3983464"/>
                <a:gd name="connsiteY1" fmla="*/ 257442 h 257442"/>
                <a:gd name="connsiteX2" fmla="*/ 0 w 3983464"/>
                <a:gd name="connsiteY2" fmla="*/ 257442 h 257442"/>
                <a:gd name="connsiteX3" fmla="*/ 0 w 3983464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229723 w 1229723"/>
                <a:gd name="connsiteY0" fmla="*/ 0 h 257442"/>
                <a:gd name="connsiteX1" fmla="*/ 896079 w 1229723"/>
                <a:gd name="connsiteY1" fmla="*/ 257442 h 257442"/>
                <a:gd name="connsiteX2" fmla="*/ 0 w 1229723"/>
                <a:gd name="connsiteY2" fmla="*/ 257442 h 257442"/>
                <a:gd name="connsiteX3" fmla="*/ 0 w 1229723"/>
                <a:gd name="connsiteY3" fmla="*/ 0 h 257442"/>
                <a:gd name="connsiteX0" fmla="*/ 1229723 w 1229723"/>
                <a:gd name="connsiteY0" fmla="*/ 0 h 257442"/>
                <a:gd name="connsiteX1" fmla="*/ 1175002 w 1229723"/>
                <a:gd name="connsiteY1" fmla="*/ 257442 h 257442"/>
                <a:gd name="connsiteX2" fmla="*/ 0 w 1229723"/>
                <a:gd name="connsiteY2" fmla="*/ 257442 h 257442"/>
                <a:gd name="connsiteX3" fmla="*/ 0 w 1229723"/>
                <a:gd name="connsiteY3" fmla="*/ 0 h 257442"/>
                <a:gd name="connsiteX0" fmla="*/ 1229724 w 1229724"/>
                <a:gd name="connsiteY0" fmla="*/ 0 h 257442"/>
                <a:gd name="connsiteX1" fmla="*/ 1175003 w 1229724"/>
                <a:gd name="connsiteY1" fmla="*/ 257442 h 257442"/>
                <a:gd name="connsiteX2" fmla="*/ 0 w 1229724"/>
                <a:gd name="connsiteY2" fmla="*/ 257442 h 257442"/>
                <a:gd name="connsiteX3" fmla="*/ 1 w 1229724"/>
                <a:gd name="connsiteY3" fmla="*/ 0 h 257442"/>
                <a:gd name="connsiteX0" fmla="*/ 1229724 w 1229724"/>
                <a:gd name="connsiteY0" fmla="*/ 0 h 257442"/>
                <a:gd name="connsiteX1" fmla="*/ 1175003 w 1229724"/>
                <a:gd name="connsiteY1" fmla="*/ 257442 h 257442"/>
                <a:gd name="connsiteX2" fmla="*/ 0 w 1229724"/>
                <a:gd name="connsiteY2" fmla="*/ 257442 h 257442"/>
                <a:gd name="connsiteX3" fmla="*/ 0 w 1229724"/>
                <a:gd name="connsiteY3" fmla="*/ 0 h 257442"/>
                <a:gd name="connsiteX0" fmla="*/ 1482998 w 1482998"/>
                <a:gd name="connsiteY0" fmla="*/ 0 h 257442"/>
                <a:gd name="connsiteX1" fmla="*/ 1175003 w 1482998"/>
                <a:gd name="connsiteY1" fmla="*/ 257442 h 257442"/>
                <a:gd name="connsiteX2" fmla="*/ 0 w 1482998"/>
                <a:gd name="connsiteY2" fmla="*/ 257442 h 257442"/>
                <a:gd name="connsiteX3" fmla="*/ 0 w 1482998"/>
                <a:gd name="connsiteY3" fmla="*/ 0 h 257442"/>
                <a:gd name="connsiteX0" fmla="*/ 1482998 w 1482998"/>
                <a:gd name="connsiteY0" fmla="*/ 0 h 257442"/>
                <a:gd name="connsiteX1" fmla="*/ 1428277 w 1482998"/>
                <a:gd name="connsiteY1" fmla="*/ 257442 h 257442"/>
                <a:gd name="connsiteX2" fmla="*/ 0 w 1482998"/>
                <a:gd name="connsiteY2" fmla="*/ 257442 h 257442"/>
                <a:gd name="connsiteX3" fmla="*/ 0 w 1482998"/>
                <a:gd name="connsiteY3" fmla="*/ 0 h 257442"/>
                <a:gd name="connsiteX0" fmla="*/ 1482998 w 1482998"/>
                <a:gd name="connsiteY0" fmla="*/ 0 h 257442"/>
                <a:gd name="connsiteX1" fmla="*/ 1428277 w 1482998"/>
                <a:gd name="connsiteY1" fmla="*/ 257442 h 257442"/>
                <a:gd name="connsiteX2" fmla="*/ 0 w 1482998"/>
                <a:gd name="connsiteY2" fmla="*/ 257442 h 257442"/>
                <a:gd name="connsiteX3" fmla="*/ 0 w 1482998"/>
                <a:gd name="connsiteY3" fmla="*/ 0 h 257442"/>
                <a:gd name="connsiteX0" fmla="*/ 1482998 w 1482998"/>
                <a:gd name="connsiteY0" fmla="*/ 0 h 257442"/>
                <a:gd name="connsiteX1" fmla="*/ 1428277 w 1482998"/>
                <a:gd name="connsiteY1" fmla="*/ 257442 h 257442"/>
                <a:gd name="connsiteX2" fmla="*/ 0 w 1482998"/>
                <a:gd name="connsiteY2" fmla="*/ 257442 h 257442"/>
                <a:gd name="connsiteX3" fmla="*/ 0 w 1482998"/>
                <a:gd name="connsiteY3" fmla="*/ 0 h 257442"/>
                <a:gd name="connsiteX0" fmla="*/ 1792185 w 1792185"/>
                <a:gd name="connsiteY0" fmla="*/ 0 h 257442"/>
                <a:gd name="connsiteX1" fmla="*/ 1428277 w 1792185"/>
                <a:gd name="connsiteY1" fmla="*/ 257442 h 257442"/>
                <a:gd name="connsiteX2" fmla="*/ 0 w 1792185"/>
                <a:gd name="connsiteY2" fmla="*/ 257442 h 257442"/>
                <a:gd name="connsiteX3" fmla="*/ 0 w 1792185"/>
                <a:gd name="connsiteY3" fmla="*/ 0 h 257442"/>
                <a:gd name="connsiteX0" fmla="*/ 1792185 w 1792185"/>
                <a:gd name="connsiteY0" fmla="*/ 0 h 257442"/>
                <a:gd name="connsiteX1" fmla="*/ 1737464 w 1792185"/>
                <a:gd name="connsiteY1" fmla="*/ 257442 h 257442"/>
                <a:gd name="connsiteX2" fmla="*/ 0 w 1792185"/>
                <a:gd name="connsiteY2" fmla="*/ 257442 h 257442"/>
                <a:gd name="connsiteX3" fmla="*/ 0 w 1792185"/>
                <a:gd name="connsiteY3" fmla="*/ 0 h 257442"/>
                <a:gd name="connsiteX0" fmla="*/ 1792185 w 1792185"/>
                <a:gd name="connsiteY0" fmla="*/ 0 h 257442"/>
                <a:gd name="connsiteX1" fmla="*/ 1737464 w 1792185"/>
                <a:gd name="connsiteY1" fmla="*/ 257442 h 257442"/>
                <a:gd name="connsiteX2" fmla="*/ 0 w 1792185"/>
                <a:gd name="connsiteY2" fmla="*/ 257442 h 257442"/>
                <a:gd name="connsiteX3" fmla="*/ 0 w 1792185"/>
                <a:gd name="connsiteY3" fmla="*/ 0 h 257442"/>
                <a:gd name="connsiteX0" fmla="*/ 1792185 w 1792185"/>
                <a:gd name="connsiteY0" fmla="*/ 0 h 257442"/>
                <a:gd name="connsiteX1" fmla="*/ 1737464 w 1792185"/>
                <a:gd name="connsiteY1" fmla="*/ 257442 h 257442"/>
                <a:gd name="connsiteX2" fmla="*/ 0 w 1792185"/>
                <a:gd name="connsiteY2" fmla="*/ 257442 h 257442"/>
                <a:gd name="connsiteX3" fmla="*/ 0 w 1792185"/>
                <a:gd name="connsiteY3" fmla="*/ 0 h 257442"/>
                <a:gd name="connsiteX0" fmla="*/ 2050718 w 2050718"/>
                <a:gd name="connsiteY0" fmla="*/ 0 h 257442"/>
                <a:gd name="connsiteX1" fmla="*/ 1737464 w 2050718"/>
                <a:gd name="connsiteY1" fmla="*/ 257442 h 257442"/>
                <a:gd name="connsiteX2" fmla="*/ 0 w 2050718"/>
                <a:gd name="connsiteY2" fmla="*/ 257442 h 257442"/>
                <a:gd name="connsiteX3" fmla="*/ 0 w 2050718"/>
                <a:gd name="connsiteY3" fmla="*/ 0 h 257442"/>
                <a:gd name="connsiteX0" fmla="*/ 2050718 w 2050718"/>
                <a:gd name="connsiteY0" fmla="*/ 0 h 257442"/>
                <a:gd name="connsiteX1" fmla="*/ 1995996 w 2050718"/>
                <a:gd name="connsiteY1" fmla="*/ 257442 h 257442"/>
                <a:gd name="connsiteX2" fmla="*/ 0 w 2050718"/>
                <a:gd name="connsiteY2" fmla="*/ 257442 h 257442"/>
                <a:gd name="connsiteX3" fmla="*/ 0 w 2050718"/>
                <a:gd name="connsiteY3" fmla="*/ 0 h 257442"/>
                <a:gd name="connsiteX0" fmla="*/ 2050719 w 2050719"/>
                <a:gd name="connsiteY0" fmla="*/ 0 h 257442"/>
                <a:gd name="connsiteX1" fmla="*/ 1995997 w 2050719"/>
                <a:gd name="connsiteY1" fmla="*/ 257442 h 257442"/>
                <a:gd name="connsiteX2" fmla="*/ 0 w 2050719"/>
                <a:gd name="connsiteY2" fmla="*/ 257442 h 257442"/>
                <a:gd name="connsiteX3" fmla="*/ 1 w 2050719"/>
                <a:gd name="connsiteY3" fmla="*/ 0 h 257442"/>
                <a:gd name="connsiteX0" fmla="*/ 2050719 w 2050719"/>
                <a:gd name="connsiteY0" fmla="*/ 0 h 257442"/>
                <a:gd name="connsiteX1" fmla="*/ 1995997 w 2050719"/>
                <a:gd name="connsiteY1" fmla="*/ 257442 h 257442"/>
                <a:gd name="connsiteX2" fmla="*/ 0 w 2050719"/>
                <a:gd name="connsiteY2" fmla="*/ 257442 h 257442"/>
                <a:gd name="connsiteX3" fmla="*/ 1 w 2050719"/>
                <a:gd name="connsiteY3" fmla="*/ 0 h 257442"/>
                <a:gd name="connsiteX0" fmla="*/ 2211019 w 2211019"/>
                <a:gd name="connsiteY0" fmla="*/ 0 h 257442"/>
                <a:gd name="connsiteX1" fmla="*/ 1995997 w 2211019"/>
                <a:gd name="connsiteY1" fmla="*/ 257442 h 257442"/>
                <a:gd name="connsiteX2" fmla="*/ 0 w 2211019"/>
                <a:gd name="connsiteY2" fmla="*/ 257442 h 257442"/>
                <a:gd name="connsiteX3" fmla="*/ 1 w 2211019"/>
                <a:gd name="connsiteY3" fmla="*/ 0 h 257442"/>
                <a:gd name="connsiteX0" fmla="*/ 2211019 w 2211019"/>
                <a:gd name="connsiteY0" fmla="*/ 0 h 257442"/>
                <a:gd name="connsiteX1" fmla="*/ 2156298 w 2211019"/>
                <a:gd name="connsiteY1" fmla="*/ 257442 h 257442"/>
                <a:gd name="connsiteX2" fmla="*/ 0 w 2211019"/>
                <a:gd name="connsiteY2" fmla="*/ 257442 h 257442"/>
                <a:gd name="connsiteX3" fmla="*/ 1 w 2211019"/>
                <a:gd name="connsiteY3" fmla="*/ 0 h 257442"/>
                <a:gd name="connsiteX0" fmla="*/ 2211018 w 2211018"/>
                <a:gd name="connsiteY0" fmla="*/ 0 h 257442"/>
                <a:gd name="connsiteX1" fmla="*/ 2156297 w 2211018"/>
                <a:gd name="connsiteY1" fmla="*/ 257442 h 257442"/>
                <a:gd name="connsiteX2" fmla="*/ 0 w 2211018"/>
                <a:gd name="connsiteY2" fmla="*/ 257442 h 257442"/>
                <a:gd name="connsiteX3" fmla="*/ 0 w 2211018"/>
                <a:gd name="connsiteY3" fmla="*/ 0 h 257442"/>
                <a:gd name="connsiteX0" fmla="*/ 2211019 w 2211019"/>
                <a:gd name="connsiteY0" fmla="*/ 0 h 257442"/>
                <a:gd name="connsiteX1" fmla="*/ 2156298 w 2211019"/>
                <a:gd name="connsiteY1" fmla="*/ 257442 h 257442"/>
                <a:gd name="connsiteX2" fmla="*/ 1 w 2211019"/>
                <a:gd name="connsiteY2" fmla="*/ 257442 h 257442"/>
                <a:gd name="connsiteX3" fmla="*/ 0 w 2211019"/>
                <a:gd name="connsiteY3" fmla="*/ 0 h 257442"/>
                <a:gd name="connsiteX0" fmla="*/ 2379334 w 2379334"/>
                <a:gd name="connsiteY0" fmla="*/ 0 h 257442"/>
                <a:gd name="connsiteX1" fmla="*/ 2156298 w 2379334"/>
                <a:gd name="connsiteY1" fmla="*/ 257442 h 257442"/>
                <a:gd name="connsiteX2" fmla="*/ 1 w 2379334"/>
                <a:gd name="connsiteY2" fmla="*/ 257442 h 257442"/>
                <a:gd name="connsiteX3" fmla="*/ 0 w 2379334"/>
                <a:gd name="connsiteY3" fmla="*/ 0 h 257442"/>
                <a:gd name="connsiteX0" fmla="*/ 2379334 w 2379334"/>
                <a:gd name="connsiteY0" fmla="*/ 0 h 257442"/>
                <a:gd name="connsiteX1" fmla="*/ 2324612 w 2379334"/>
                <a:gd name="connsiteY1" fmla="*/ 257442 h 257442"/>
                <a:gd name="connsiteX2" fmla="*/ 1 w 2379334"/>
                <a:gd name="connsiteY2" fmla="*/ 257442 h 257442"/>
                <a:gd name="connsiteX3" fmla="*/ 0 w 2379334"/>
                <a:gd name="connsiteY3" fmla="*/ 0 h 257442"/>
                <a:gd name="connsiteX0" fmla="*/ 2379334 w 2379334"/>
                <a:gd name="connsiteY0" fmla="*/ 0 h 257442"/>
                <a:gd name="connsiteX1" fmla="*/ 2324612 w 2379334"/>
                <a:gd name="connsiteY1" fmla="*/ 257442 h 257442"/>
                <a:gd name="connsiteX2" fmla="*/ 0 w 2379334"/>
                <a:gd name="connsiteY2" fmla="*/ 257442 h 257442"/>
                <a:gd name="connsiteX3" fmla="*/ 0 w 2379334"/>
                <a:gd name="connsiteY3" fmla="*/ 0 h 257442"/>
                <a:gd name="connsiteX0" fmla="*/ 2379334 w 2379334"/>
                <a:gd name="connsiteY0" fmla="*/ 0 h 257442"/>
                <a:gd name="connsiteX1" fmla="*/ 2324612 w 2379334"/>
                <a:gd name="connsiteY1" fmla="*/ 257442 h 257442"/>
                <a:gd name="connsiteX2" fmla="*/ 0 w 2379334"/>
                <a:gd name="connsiteY2" fmla="*/ 257442 h 257442"/>
                <a:gd name="connsiteX3" fmla="*/ 0 w 2379334"/>
                <a:gd name="connsiteY3" fmla="*/ 0 h 257442"/>
                <a:gd name="connsiteX0" fmla="*/ 2709551 w 2709551"/>
                <a:gd name="connsiteY0" fmla="*/ 0 h 257442"/>
                <a:gd name="connsiteX1" fmla="*/ 2324612 w 2709551"/>
                <a:gd name="connsiteY1" fmla="*/ 257442 h 257442"/>
                <a:gd name="connsiteX2" fmla="*/ 0 w 2709551"/>
                <a:gd name="connsiteY2" fmla="*/ 257442 h 257442"/>
                <a:gd name="connsiteX3" fmla="*/ 0 w 2709551"/>
                <a:gd name="connsiteY3" fmla="*/ 0 h 257442"/>
                <a:gd name="connsiteX0" fmla="*/ 2709551 w 2709551"/>
                <a:gd name="connsiteY0" fmla="*/ 0 h 257442"/>
                <a:gd name="connsiteX1" fmla="*/ 2654830 w 2709551"/>
                <a:gd name="connsiteY1" fmla="*/ 257442 h 257442"/>
                <a:gd name="connsiteX2" fmla="*/ 0 w 2709551"/>
                <a:gd name="connsiteY2" fmla="*/ 257442 h 257442"/>
                <a:gd name="connsiteX3" fmla="*/ 0 w 2709551"/>
                <a:gd name="connsiteY3" fmla="*/ 0 h 257442"/>
                <a:gd name="connsiteX0" fmla="*/ 2709551 w 2709551"/>
                <a:gd name="connsiteY0" fmla="*/ 0 h 257442"/>
                <a:gd name="connsiteX1" fmla="*/ 2654830 w 2709551"/>
                <a:gd name="connsiteY1" fmla="*/ 257442 h 257442"/>
                <a:gd name="connsiteX2" fmla="*/ 0 w 2709551"/>
                <a:gd name="connsiteY2" fmla="*/ 257442 h 257442"/>
                <a:gd name="connsiteX3" fmla="*/ 0 w 2709551"/>
                <a:gd name="connsiteY3" fmla="*/ 0 h 257442"/>
                <a:gd name="connsiteX0" fmla="*/ 2709551 w 2709551"/>
                <a:gd name="connsiteY0" fmla="*/ 0 h 257442"/>
                <a:gd name="connsiteX1" fmla="*/ 2654830 w 2709551"/>
                <a:gd name="connsiteY1" fmla="*/ 257442 h 257442"/>
                <a:gd name="connsiteX2" fmla="*/ 0 w 2709551"/>
                <a:gd name="connsiteY2" fmla="*/ 257442 h 257442"/>
                <a:gd name="connsiteX3" fmla="*/ 0 w 2709551"/>
                <a:gd name="connsiteY3" fmla="*/ 0 h 257442"/>
                <a:gd name="connsiteX0" fmla="*/ 2877867 w 2877867"/>
                <a:gd name="connsiteY0" fmla="*/ 0 h 257442"/>
                <a:gd name="connsiteX1" fmla="*/ 2654830 w 2877867"/>
                <a:gd name="connsiteY1" fmla="*/ 257442 h 257442"/>
                <a:gd name="connsiteX2" fmla="*/ 0 w 2877867"/>
                <a:gd name="connsiteY2" fmla="*/ 257442 h 257442"/>
                <a:gd name="connsiteX3" fmla="*/ 0 w 2877867"/>
                <a:gd name="connsiteY3" fmla="*/ 0 h 257442"/>
                <a:gd name="connsiteX0" fmla="*/ 2877867 w 2877867"/>
                <a:gd name="connsiteY0" fmla="*/ 0 h 257442"/>
                <a:gd name="connsiteX1" fmla="*/ 2823146 w 2877867"/>
                <a:gd name="connsiteY1" fmla="*/ 257442 h 257442"/>
                <a:gd name="connsiteX2" fmla="*/ 0 w 2877867"/>
                <a:gd name="connsiteY2" fmla="*/ 257442 h 257442"/>
                <a:gd name="connsiteX3" fmla="*/ 0 w 2877867"/>
                <a:gd name="connsiteY3" fmla="*/ 0 h 257442"/>
                <a:gd name="connsiteX0" fmla="*/ 2877867 w 2877867"/>
                <a:gd name="connsiteY0" fmla="*/ 0 h 257442"/>
                <a:gd name="connsiteX1" fmla="*/ 2823146 w 2877867"/>
                <a:gd name="connsiteY1" fmla="*/ 257442 h 257442"/>
                <a:gd name="connsiteX2" fmla="*/ 0 w 2877867"/>
                <a:gd name="connsiteY2" fmla="*/ 257442 h 257442"/>
                <a:gd name="connsiteX3" fmla="*/ 0 w 2877867"/>
                <a:gd name="connsiteY3" fmla="*/ 0 h 257442"/>
                <a:gd name="connsiteX0" fmla="*/ 2877867 w 2877867"/>
                <a:gd name="connsiteY0" fmla="*/ 0 h 257442"/>
                <a:gd name="connsiteX1" fmla="*/ 2823146 w 2877867"/>
                <a:gd name="connsiteY1" fmla="*/ 257442 h 257442"/>
                <a:gd name="connsiteX2" fmla="*/ 0 w 2877867"/>
                <a:gd name="connsiteY2" fmla="*/ 257442 h 257442"/>
                <a:gd name="connsiteX3" fmla="*/ 0 w 2877867"/>
                <a:gd name="connsiteY3" fmla="*/ 0 h 257442"/>
                <a:gd name="connsiteX0" fmla="*/ 3063815 w 3063815"/>
                <a:gd name="connsiteY0" fmla="*/ 0 h 257442"/>
                <a:gd name="connsiteX1" fmla="*/ 2823146 w 3063815"/>
                <a:gd name="connsiteY1" fmla="*/ 257442 h 257442"/>
                <a:gd name="connsiteX2" fmla="*/ 0 w 3063815"/>
                <a:gd name="connsiteY2" fmla="*/ 257442 h 257442"/>
                <a:gd name="connsiteX3" fmla="*/ 0 w 3063815"/>
                <a:gd name="connsiteY3" fmla="*/ 0 h 257442"/>
                <a:gd name="connsiteX0" fmla="*/ 3063815 w 3063815"/>
                <a:gd name="connsiteY0" fmla="*/ 0 h 257442"/>
                <a:gd name="connsiteX1" fmla="*/ 3009094 w 3063815"/>
                <a:gd name="connsiteY1" fmla="*/ 257442 h 257442"/>
                <a:gd name="connsiteX2" fmla="*/ 0 w 3063815"/>
                <a:gd name="connsiteY2" fmla="*/ 257442 h 257442"/>
                <a:gd name="connsiteX3" fmla="*/ 0 w 3063815"/>
                <a:gd name="connsiteY3" fmla="*/ 0 h 257442"/>
                <a:gd name="connsiteX0" fmla="*/ 3063815 w 3063815"/>
                <a:gd name="connsiteY0" fmla="*/ 0 h 257442"/>
                <a:gd name="connsiteX1" fmla="*/ 3009094 w 3063815"/>
                <a:gd name="connsiteY1" fmla="*/ 257442 h 257442"/>
                <a:gd name="connsiteX2" fmla="*/ 0 w 3063815"/>
                <a:gd name="connsiteY2" fmla="*/ 257442 h 257442"/>
                <a:gd name="connsiteX3" fmla="*/ 0 w 3063815"/>
                <a:gd name="connsiteY3" fmla="*/ 0 h 257442"/>
                <a:gd name="connsiteX0" fmla="*/ 3063815 w 3063815"/>
                <a:gd name="connsiteY0" fmla="*/ 0 h 257442"/>
                <a:gd name="connsiteX1" fmla="*/ 3009094 w 3063815"/>
                <a:gd name="connsiteY1" fmla="*/ 257442 h 257442"/>
                <a:gd name="connsiteX2" fmla="*/ 0 w 3063815"/>
                <a:gd name="connsiteY2" fmla="*/ 257442 h 257442"/>
                <a:gd name="connsiteX3" fmla="*/ 0 w 3063815"/>
                <a:gd name="connsiteY3" fmla="*/ 0 h 257442"/>
                <a:gd name="connsiteX0" fmla="*/ 3232130 w 3232130"/>
                <a:gd name="connsiteY0" fmla="*/ 0 h 257442"/>
                <a:gd name="connsiteX1" fmla="*/ 3009094 w 3232130"/>
                <a:gd name="connsiteY1" fmla="*/ 257442 h 257442"/>
                <a:gd name="connsiteX2" fmla="*/ 0 w 3232130"/>
                <a:gd name="connsiteY2" fmla="*/ 257442 h 257442"/>
                <a:gd name="connsiteX3" fmla="*/ 0 w 3232130"/>
                <a:gd name="connsiteY3" fmla="*/ 0 h 257442"/>
                <a:gd name="connsiteX0" fmla="*/ 3232130 w 3232130"/>
                <a:gd name="connsiteY0" fmla="*/ 0 h 257442"/>
                <a:gd name="connsiteX1" fmla="*/ 3177408 w 3232130"/>
                <a:gd name="connsiteY1" fmla="*/ 257442 h 257442"/>
                <a:gd name="connsiteX2" fmla="*/ 0 w 3232130"/>
                <a:gd name="connsiteY2" fmla="*/ 257442 h 257442"/>
                <a:gd name="connsiteX3" fmla="*/ 0 w 3232130"/>
                <a:gd name="connsiteY3" fmla="*/ 0 h 257442"/>
                <a:gd name="connsiteX0" fmla="*/ 3232131 w 3232131"/>
                <a:gd name="connsiteY0" fmla="*/ 0 h 257442"/>
                <a:gd name="connsiteX1" fmla="*/ 3177409 w 3232131"/>
                <a:gd name="connsiteY1" fmla="*/ 257442 h 257442"/>
                <a:gd name="connsiteX2" fmla="*/ 0 w 3232131"/>
                <a:gd name="connsiteY2" fmla="*/ 257442 h 257442"/>
                <a:gd name="connsiteX3" fmla="*/ 1 w 3232131"/>
                <a:gd name="connsiteY3" fmla="*/ 0 h 257442"/>
                <a:gd name="connsiteX0" fmla="*/ 3232131 w 3232131"/>
                <a:gd name="connsiteY0" fmla="*/ 0 h 257442"/>
                <a:gd name="connsiteX1" fmla="*/ 3177409 w 3232131"/>
                <a:gd name="connsiteY1" fmla="*/ 257442 h 257442"/>
                <a:gd name="connsiteX2" fmla="*/ 0 w 3232131"/>
                <a:gd name="connsiteY2" fmla="*/ 257442 h 257442"/>
                <a:gd name="connsiteX3" fmla="*/ 1 w 3232131"/>
                <a:gd name="connsiteY3" fmla="*/ 0 h 257442"/>
                <a:gd name="connsiteX0" fmla="*/ 3400447 w 3400447"/>
                <a:gd name="connsiteY0" fmla="*/ 0 h 257442"/>
                <a:gd name="connsiteX1" fmla="*/ 3177409 w 3400447"/>
                <a:gd name="connsiteY1" fmla="*/ 257442 h 257442"/>
                <a:gd name="connsiteX2" fmla="*/ 0 w 3400447"/>
                <a:gd name="connsiteY2" fmla="*/ 257442 h 257442"/>
                <a:gd name="connsiteX3" fmla="*/ 1 w 3400447"/>
                <a:gd name="connsiteY3" fmla="*/ 0 h 257442"/>
                <a:gd name="connsiteX0" fmla="*/ 3400447 w 3400447"/>
                <a:gd name="connsiteY0" fmla="*/ 0 h 257442"/>
                <a:gd name="connsiteX1" fmla="*/ 3345726 w 3400447"/>
                <a:gd name="connsiteY1" fmla="*/ 257442 h 257442"/>
                <a:gd name="connsiteX2" fmla="*/ 0 w 3400447"/>
                <a:gd name="connsiteY2" fmla="*/ 257442 h 257442"/>
                <a:gd name="connsiteX3" fmla="*/ 1 w 3400447"/>
                <a:gd name="connsiteY3" fmla="*/ 0 h 257442"/>
                <a:gd name="connsiteX0" fmla="*/ 3400446 w 3400446"/>
                <a:gd name="connsiteY0" fmla="*/ 0 h 257442"/>
                <a:gd name="connsiteX1" fmla="*/ 3345725 w 3400446"/>
                <a:gd name="connsiteY1" fmla="*/ 257442 h 257442"/>
                <a:gd name="connsiteX2" fmla="*/ 0 w 3400446"/>
                <a:gd name="connsiteY2" fmla="*/ 257442 h 257442"/>
                <a:gd name="connsiteX3" fmla="*/ 0 w 3400446"/>
                <a:gd name="connsiteY3" fmla="*/ 0 h 257442"/>
                <a:gd name="connsiteX0" fmla="*/ 3400447 w 3400447"/>
                <a:gd name="connsiteY0" fmla="*/ 0 h 257442"/>
                <a:gd name="connsiteX1" fmla="*/ 3345726 w 3400447"/>
                <a:gd name="connsiteY1" fmla="*/ 257442 h 257442"/>
                <a:gd name="connsiteX2" fmla="*/ 1 w 3400447"/>
                <a:gd name="connsiteY2" fmla="*/ 257442 h 257442"/>
                <a:gd name="connsiteX3" fmla="*/ 0 w 3400447"/>
                <a:gd name="connsiteY3" fmla="*/ 0 h 257442"/>
                <a:gd name="connsiteX0" fmla="*/ 3568762 w 3568762"/>
                <a:gd name="connsiteY0" fmla="*/ 0 h 257442"/>
                <a:gd name="connsiteX1" fmla="*/ 3345726 w 3568762"/>
                <a:gd name="connsiteY1" fmla="*/ 257442 h 257442"/>
                <a:gd name="connsiteX2" fmla="*/ 1 w 3568762"/>
                <a:gd name="connsiteY2" fmla="*/ 257442 h 257442"/>
                <a:gd name="connsiteX3" fmla="*/ 0 w 3568762"/>
                <a:gd name="connsiteY3" fmla="*/ 0 h 257442"/>
                <a:gd name="connsiteX0" fmla="*/ 3568762 w 3568762"/>
                <a:gd name="connsiteY0" fmla="*/ 0 h 257442"/>
                <a:gd name="connsiteX1" fmla="*/ 3514040 w 3568762"/>
                <a:gd name="connsiteY1" fmla="*/ 257442 h 257442"/>
                <a:gd name="connsiteX2" fmla="*/ 1 w 3568762"/>
                <a:gd name="connsiteY2" fmla="*/ 257442 h 257442"/>
                <a:gd name="connsiteX3" fmla="*/ 0 w 3568762"/>
                <a:gd name="connsiteY3" fmla="*/ 0 h 257442"/>
                <a:gd name="connsiteX0" fmla="*/ 3568762 w 3568762"/>
                <a:gd name="connsiteY0" fmla="*/ 0 h 257442"/>
                <a:gd name="connsiteX1" fmla="*/ 3514040 w 3568762"/>
                <a:gd name="connsiteY1" fmla="*/ 257442 h 257442"/>
                <a:gd name="connsiteX2" fmla="*/ 0 w 3568762"/>
                <a:gd name="connsiteY2" fmla="*/ 257442 h 257442"/>
                <a:gd name="connsiteX3" fmla="*/ 0 w 3568762"/>
                <a:gd name="connsiteY3" fmla="*/ 0 h 257442"/>
                <a:gd name="connsiteX0" fmla="*/ 3568762 w 3568762"/>
                <a:gd name="connsiteY0" fmla="*/ 0 h 257442"/>
                <a:gd name="connsiteX1" fmla="*/ 3514040 w 3568762"/>
                <a:gd name="connsiteY1" fmla="*/ 257442 h 257442"/>
                <a:gd name="connsiteX2" fmla="*/ 0 w 3568762"/>
                <a:gd name="connsiteY2" fmla="*/ 257442 h 257442"/>
                <a:gd name="connsiteX3" fmla="*/ 0 w 3568762"/>
                <a:gd name="connsiteY3" fmla="*/ 0 h 257442"/>
                <a:gd name="connsiteX0" fmla="*/ 3729061 w 3729061"/>
                <a:gd name="connsiteY0" fmla="*/ 0 h 257442"/>
                <a:gd name="connsiteX1" fmla="*/ 3514040 w 3729061"/>
                <a:gd name="connsiteY1" fmla="*/ 257442 h 257442"/>
                <a:gd name="connsiteX2" fmla="*/ 0 w 3729061"/>
                <a:gd name="connsiteY2" fmla="*/ 257442 h 257442"/>
                <a:gd name="connsiteX3" fmla="*/ 0 w 3729061"/>
                <a:gd name="connsiteY3" fmla="*/ 0 h 257442"/>
                <a:gd name="connsiteX0" fmla="*/ 3729061 w 3729061"/>
                <a:gd name="connsiteY0" fmla="*/ 0 h 257442"/>
                <a:gd name="connsiteX1" fmla="*/ 3674340 w 3729061"/>
                <a:gd name="connsiteY1" fmla="*/ 257442 h 257442"/>
                <a:gd name="connsiteX2" fmla="*/ 0 w 3729061"/>
                <a:gd name="connsiteY2" fmla="*/ 257442 h 257442"/>
                <a:gd name="connsiteX3" fmla="*/ 0 w 3729061"/>
                <a:gd name="connsiteY3" fmla="*/ 0 h 257442"/>
                <a:gd name="connsiteX0" fmla="*/ 3729061 w 3729061"/>
                <a:gd name="connsiteY0" fmla="*/ 0 h 257442"/>
                <a:gd name="connsiteX1" fmla="*/ 3674340 w 3729061"/>
                <a:gd name="connsiteY1" fmla="*/ 257442 h 257442"/>
                <a:gd name="connsiteX2" fmla="*/ 0 w 3729061"/>
                <a:gd name="connsiteY2" fmla="*/ 257442 h 257442"/>
                <a:gd name="connsiteX3" fmla="*/ 0 w 3729061"/>
                <a:gd name="connsiteY3" fmla="*/ 0 h 257442"/>
                <a:gd name="connsiteX0" fmla="*/ 3729061 w 3729061"/>
                <a:gd name="connsiteY0" fmla="*/ 0 h 257442"/>
                <a:gd name="connsiteX1" fmla="*/ 3674340 w 3729061"/>
                <a:gd name="connsiteY1" fmla="*/ 257442 h 257442"/>
                <a:gd name="connsiteX2" fmla="*/ 0 w 3729061"/>
                <a:gd name="connsiteY2" fmla="*/ 257442 h 257442"/>
                <a:gd name="connsiteX3" fmla="*/ 0 w 3729061"/>
                <a:gd name="connsiteY3" fmla="*/ 0 h 257442"/>
                <a:gd name="connsiteX0" fmla="*/ 986067 w 3674340"/>
                <a:gd name="connsiteY0" fmla="*/ 0 h 257442"/>
                <a:gd name="connsiteX1" fmla="*/ 3674340 w 3674340"/>
                <a:gd name="connsiteY1" fmla="*/ 257442 h 257442"/>
                <a:gd name="connsiteX2" fmla="*/ 0 w 3674340"/>
                <a:gd name="connsiteY2" fmla="*/ 257442 h 257442"/>
                <a:gd name="connsiteX3" fmla="*/ 0 w 3674340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1 w 986067"/>
                <a:gd name="connsiteY2" fmla="*/ 257442 h 257442"/>
                <a:gd name="connsiteX3" fmla="*/ 0 w 986067"/>
                <a:gd name="connsiteY3" fmla="*/ 0 h 257442"/>
                <a:gd name="connsiteX0" fmla="*/ 986066 w 986066"/>
                <a:gd name="connsiteY0" fmla="*/ 0 h 257442"/>
                <a:gd name="connsiteX1" fmla="*/ 931345 w 986066"/>
                <a:gd name="connsiteY1" fmla="*/ 257442 h 257442"/>
                <a:gd name="connsiteX2" fmla="*/ 0 w 986066"/>
                <a:gd name="connsiteY2" fmla="*/ 257442 h 257442"/>
                <a:gd name="connsiteX3" fmla="*/ 0 w 986066"/>
                <a:gd name="connsiteY3" fmla="*/ 0 h 257442"/>
                <a:gd name="connsiteX0" fmla="*/ 1146367 w 1146367"/>
                <a:gd name="connsiteY0" fmla="*/ 0 h 257442"/>
                <a:gd name="connsiteX1" fmla="*/ 931345 w 1146367"/>
                <a:gd name="connsiteY1" fmla="*/ 257442 h 257442"/>
                <a:gd name="connsiteX2" fmla="*/ 0 w 1146367"/>
                <a:gd name="connsiteY2" fmla="*/ 257442 h 257442"/>
                <a:gd name="connsiteX3" fmla="*/ 0 w 1146367"/>
                <a:gd name="connsiteY3" fmla="*/ 0 h 257442"/>
                <a:gd name="connsiteX0" fmla="*/ 1146367 w 1146367"/>
                <a:gd name="connsiteY0" fmla="*/ 0 h 257442"/>
                <a:gd name="connsiteX1" fmla="*/ 1091646 w 1146367"/>
                <a:gd name="connsiteY1" fmla="*/ 257442 h 257442"/>
                <a:gd name="connsiteX2" fmla="*/ 0 w 1146367"/>
                <a:gd name="connsiteY2" fmla="*/ 257442 h 257442"/>
                <a:gd name="connsiteX3" fmla="*/ 0 w 1146367"/>
                <a:gd name="connsiteY3" fmla="*/ 0 h 257442"/>
                <a:gd name="connsiteX0" fmla="*/ 1146368 w 1146368"/>
                <a:gd name="connsiteY0" fmla="*/ 0 h 257442"/>
                <a:gd name="connsiteX1" fmla="*/ 1091647 w 1146368"/>
                <a:gd name="connsiteY1" fmla="*/ 257442 h 257442"/>
                <a:gd name="connsiteX2" fmla="*/ 0 w 1146368"/>
                <a:gd name="connsiteY2" fmla="*/ 257442 h 257442"/>
                <a:gd name="connsiteX3" fmla="*/ 1 w 1146368"/>
                <a:gd name="connsiteY3" fmla="*/ 0 h 257442"/>
                <a:gd name="connsiteX0" fmla="*/ 1146368 w 1146368"/>
                <a:gd name="connsiteY0" fmla="*/ 0 h 257442"/>
                <a:gd name="connsiteX1" fmla="*/ 1091647 w 1146368"/>
                <a:gd name="connsiteY1" fmla="*/ 257442 h 257442"/>
                <a:gd name="connsiteX2" fmla="*/ 0 w 1146368"/>
                <a:gd name="connsiteY2" fmla="*/ 257442 h 257442"/>
                <a:gd name="connsiteX3" fmla="*/ 0 w 1146368"/>
                <a:gd name="connsiteY3" fmla="*/ 0 h 257442"/>
                <a:gd name="connsiteX0" fmla="*/ 1314682 w 1314682"/>
                <a:gd name="connsiteY0" fmla="*/ 0 h 257442"/>
                <a:gd name="connsiteX1" fmla="*/ 1091647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567957 w 1567957"/>
                <a:gd name="connsiteY0" fmla="*/ 0 h 257442"/>
                <a:gd name="connsiteX1" fmla="*/ 1259961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567957 w 1567957"/>
                <a:gd name="connsiteY0" fmla="*/ 0 h 257442"/>
                <a:gd name="connsiteX1" fmla="*/ 1513236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567957 w 1567957"/>
                <a:gd name="connsiteY0" fmla="*/ 0 h 257442"/>
                <a:gd name="connsiteX1" fmla="*/ 1513236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567957 w 1567957"/>
                <a:gd name="connsiteY0" fmla="*/ 0 h 257442"/>
                <a:gd name="connsiteX1" fmla="*/ 1513236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736273 w 1736273"/>
                <a:gd name="connsiteY0" fmla="*/ 0 h 257442"/>
                <a:gd name="connsiteX1" fmla="*/ 1513236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904587 w 1904587"/>
                <a:gd name="connsiteY0" fmla="*/ 0 h 257442"/>
                <a:gd name="connsiteX1" fmla="*/ 1681552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1904587 w 1904587"/>
                <a:gd name="connsiteY0" fmla="*/ 0 h 257442"/>
                <a:gd name="connsiteX1" fmla="*/ 1849866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1904587 w 1904587"/>
                <a:gd name="connsiteY0" fmla="*/ 0 h 257442"/>
                <a:gd name="connsiteX1" fmla="*/ 1849866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1904587 w 1904587"/>
                <a:gd name="connsiteY0" fmla="*/ 0 h 257442"/>
                <a:gd name="connsiteX1" fmla="*/ 1849866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2209158 w 2209158"/>
                <a:gd name="connsiteY0" fmla="*/ 0 h 257442"/>
                <a:gd name="connsiteX1" fmla="*/ 1849866 w 2209158"/>
                <a:gd name="connsiteY1" fmla="*/ 257442 h 257442"/>
                <a:gd name="connsiteX2" fmla="*/ 0 w 2209158"/>
                <a:gd name="connsiteY2" fmla="*/ 257442 h 257442"/>
                <a:gd name="connsiteX3" fmla="*/ 0 w 2209158"/>
                <a:gd name="connsiteY3" fmla="*/ 0 h 257442"/>
                <a:gd name="connsiteX0" fmla="*/ 2209158 w 2209158"/>
                <a:gd name="connsiteY0" fmla="*/ 0 h 257442"/>
                <a:gd name="connsiteX1" fmla="*/ 2154436 w 2209158"/>
                <a:gd name="connsiteY1" fmla="*/ 257442 h 257442"/>
                <a:gd name="connsiteX2" fmla="*/ 0 w 2209158"/>
                <a:gd name="connsiteY2" fmla="*/ 257442 h 257442"/>
                <a:gd name="connsiteX3" fmla="*/ 0 w 2209158"/>
                <a:gd name="connsiteY3" fmla="*/ 0 h 257442"/>
                <a:gd name="connsiteX0" fmla="*/ 2209159 w 2209159"/>
                <a:gd name="connsiteY0" fmla="*/ 0 h 257442"/>
                <a:gd name="connsiteX1" fmla="*/ 2154437 w 2209159"/>
                <a:gd name="connsiteY1" fmla="*/ 257442 h 257442"/>
                <a:gd name="connsiteX2" fmla="*/ 0 w 2209159"/>
                <a:gd name="connsiteY2" fmla="*/ 257442 h 257442"/>
                <a:gd name="connsiteX3" fmla="*/ 1 w 2209159"/>
                <a:gd name="connsiteY3" fmla="*/ 0 h 257442"/>
                <a:gd name="connsiteX0" fmla="*/ 2209159 w 2209159"/>
                <a:gd name="connsiteY0" fmla="*/ 0 h 257442"/>
                <a:gd name="connsiteX1" fmla="*/ 2154437 w 2209159"/>
                <a:gd name="connsiteY1" fmla="*/ 257442 h 257442"/>
                <a:gd name="connsiteX2" fmla="*/ 0 w 2209159"/>
                <a:gd name="connsiteY2" fmla="*/ 257442 h 257442"/>
                <a:gd name="connsiteX3" fmla="*/ 1 w 2209159"/>
                <a:gd name="connsiteY3" fmla="*/ 0 h 257442"/>
                <a:gd name="connsiteX0" fmla="*/ 2478463 w 2478463"/>
                <a:gd name="connsiteY0" fmla="*/ 0 h 257442"/>
                <a:gd name="connsiteX1" fmla="*/ 2154437 w 2478463"/>
                <a:gd name="connsiteY1" fmla="*/ 257442 h 257442"/>
                <a:gd name="connsiteX2" fmla="*/ 0 w 2478463"/>
                <a:gd name="connsiteY2" fmla="*/ 257442 h 257442"/>
                <a:gd name="connsiteX3" fmla="*/ 1 w 2478463"/>
                <a:gd name="connsiteY3" fmla="*/ 0 h 257442"/>
                <a:gd name="connsiteX0" fmla="*/ 2478463 w 2478463"/>
                <a:gd name="connsiteY0" fmla="*/ 0 h 257442"/>
                <a:gd name="connsiteX1" fmla="*/ 2423742 w 2478463"/>
                <a:gd name="connsiteY1" fmla="*/ 257442 h 257442"/>
                <a:gd name="connsiteX2" fmla="*/ 0 w 2478463"/>
                <a:gd name="connsiteY2" fmla="*/ 257442 h 257442"/>
                <a:gd name="connsiteX3" fmla="*/ 1 w 2478463"/>
                <a:gd name="connsiteY3" fmla="*/ 0 h 257442"/>
                <a:gd name="connsiteX0" fmla="*/ 2478462 w 2478462"/>
                <a:gd name="connsiteY0" fmla="*/ 0 h 257442"/>
                <a:gd name="connsiteX1" fmla="*/ 2423741 w 2478462"/>
                <a:gd name="connsiteY1" fmla="*/ 257442 h 257442"/>
                <a:gd name="connsiteX2" fmla="*/ 0 w 2478462"/>
                <a:gd name="connsiteY2" fmla="*/ 257442 h 257442"/>
                <a:gd name="connsiteX3" fmla="*/ 0 w 2478462"/>
                <a:gd name="connsiteY3" fmla="*/ 0 h 257442"/>
                <a:gd name="connsiteX0" fmla="*/ 2478463 w 2478463"/>
                <a:gd name="connsiteY0" fmla="*/ 0 h 257442"/>
                <a:gd name="connsiteX1" fmla="*/ 2423742 w 2478463"/>
                <a:gd name="connsiteY1" fmla="*/ 257442 h 257442"/>
                <a:gd name="connsiteX2" fmla="*/ 1 w 2478463"/>
                <a:gd name="connsiteY2" fmla="*/ 257442 h 257442"/>
                <a:gd name="connsiteX3" fmla="*/ 0 w 2478463"/>
                <a:gd name="connsiteY3" fmla="*/ 0 h 257442"/>
                <a:gd name="connsiteX0" fmla="*/ 960420 w 2423742"/>
                <a:gd name="connsiteY0" fmla="*/ 0 h 257442"/>
                <a:gd name="connsiteX1" fmla="*/ 2423742 w 2423742"/>
                <a:gd name="connsiteY1" fmla="*/ 257442 h 257442"/>
                <a:gd name="connsiteX2" fmla="*/ 1 w 2423742"/>
                <a:gd name="connsiteY2" fmla="*/ 257442 h 257442"/>
                <a:gd name="connsiteX3" fmla="*/ 0 w 2423742"/>
                <a:gd name="connsiteY3" fmla="*/ 0 h 257442"/>
                <a:gd name="connsiteX0" fmla="*/ 960420 w 960420"/>
                <a:gd name="connsiteY0" fmla="*/ 0 h 257442"/>
                <a:gd name="connsiteX1" fmla="*/ 905699 w 960420"/>
                <a:gd name="connsiteY1" fmla="*/ 257442 h 257442"/>
                <a:gd name="connsiteX2" fmla="*/ 1 w 960420"/>
                <a:gd name="connsiteY2" fmla="*/ 257442 h 257442"/>
                <a:gd name="connsiteX3" fmla="*/ 0 w 960420"/>
                <a:gd name="connsiteY3" fmla="*/ 0 h 257442"/>
                <a:gd name="connsiteX0" fmla="*/ 960420 w 960420"/>
                <a:gd name="connsiteY0" fmla="*/ 0 h 257442"/>
                <a:gd name="connsiteX1" fmla="*/ 905699 w 960420"/>
                <a:gd name="connsiteY1" fmla="*/ 257442 h 257442"/>
                <a:gd name="connsiteX2" fmla="*/ 1 w 960420"/>
                <a:gd name="connsiteY2" fmla="*/ 257442 h 257442"/>
                <a:gd name="connsiteX3" fmla="*/ 0 w 960420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0 w 960419"/>
                <a:gd name="connsiteY3" fmla="*/ 0 h 257442"/>
                <a:gd name="connsiteX0" fmla="*/ 782550 w 905698"/>
                <a:gd name="connsiteY0" fmla="*/ 0 h 257442"/>
                <a:gd name="connsiteX1" fmla="*/ 905698 w 905698"/>
                <a:gd name="connsiteY1" fmla="*/ 257442 h 257442"/>
                <a:gd name="connsiteX2" fmla="*/ 0 w 905698"/>
                <a:gd name="connsiteY2" fmla="*/ 257442 h 257442"/>
                <a:gd name="connsiteX3" fmla="*/ 0 w 905698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960419 w 960419"/>
                <a:gd name="connsiteY0" fmla="*/ 0 h 257442"/>
                <a:gd name="connsiteX1" fmla="*/ 727829 w 960419"/>
                <a:gd name="connsiteY1" fmla="*/ 257442 h 257442"/>
                <a:gd name="connsiteX2" fmla="*/ 0 w 960419"/>
                <a:gd name="connsiteY2" fmla="*/ 257442 h 257442"/>
                <a:gd name="connsiteX3" fmla="*/ 0 w 960419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0 w 960419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0 w 960419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0 w 960419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2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306669 w 1306669"/>
                <a:gd name="connsiteY0" fmla="*/ 0 h 257442"/>
                <a:gd name="connsiteX1" fmla="*/ 1074013 w 1306669"/>
                <a:gd name="connsiteY1" fmla="*/ 257442 h 257442"/>
                <a:gd name="connsiteX2" fmla="*/ 0 w 1306669"/>
                <a:gd name="connsiteY2" fmla="*/ 257442 h 257442"/>
                <a:gd name="connsiteX3" fmla="*/ 1 w 1306669"/>
                <a:gd name="connsiteY3" fmla="*/ 0 h 257442"/>
                <a:gd name="connsiteX0" fmla="*/ 1306669 w 1306669"/>
                <a:gd name="connsiteY0" fmla="*/ 0 h 257442"/>
                <a:gd name="connsiteX1" fmla="*/ 1251948 w 1306669"/>
                <a:gd name="connsiteY1" fmla="*/ 257442 h 257442"/>
                <a:gd name="connsiteX2" fmla="*/ 0 w 1306669"/>
                <a:gd name="connsiteY2" fmla="*/ 257442 h 257442"/>
                <a:gd name="connsiteX3" fmla="*/ 1 w 1306669"/>
                <a:gd name="connsiteY3" fmla="*/ 0 h 257442"/>
                <a:gd name="connsiteX0" fmla="*/ 1306668 w 1306668"/>
                <a:gd name="connsiteY0" fmla="*/ 0 h 257442"/>
                <a:gd name="connsiteX1" fmla="*/ 1251947 w 1306668"/>
                <a:gd name="connsiteY1" fmla="*/ 257442 h 257442"/>
                <a:gd name="connsiteX2" fmla="*/ 0 w 1306668"/>
                <a:gd name="connsiteY2" fmla="*/ 257442 h 257442"/>
                <a:gd name="connsiteX3" fmla="*/ 0 w 1306668"/>
                <a:gd name="connsiteY3" fmla="*/ 0 h 257442"/>
                <a:gd name="connsiteX0" fmla="*/ 1306669 w 1306669"/>
                <a:gd name="connsiteY0" fmla="*/ 0 h 257442"/>
                <a:gd name="connsiteX1" fmla="*/ 1251948 w 1306669"/>
                <a:gd name="connsiteY1" fmla="*/ 257442 h 257442"/>
                <a:gd name="connsiteX2" fmla="*/ 1 w 1306669"/>
                <a:gd name="connsiteY2" fmla="*/ 257442 h 257442"/>
                <a:gd name="connsiteX3" fmla="*/ 0 w 1306669"/>
                <a:gd name="connsiteY3" fmla="*/ 0 h 257442"/>
                <a:gd name="connsiteX0" fmla="*/ 1474984 w 1474984"/>
                <a:gd name="connsiteY0" fmla="*/ 0 h 257442"/>
                <a:gd name="connsiteX1" fmla="*/ 1251948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643298 w 1643298"/>
                <a:gd name="connsiteY0" fmla="*/ 0 h 257442"/>
                <a:gd name="connsiteX1" fmla="*/ 1420262 w 1643298"/>
                <a:gd name="connsiteY1" fmla="*/ 257442 h 257442"/>
                <a:gd name="connsiteX2" fmla="*/ 0 w 1643298"/>
                <a:gd name="connsiteY2" fmla="*/ 257442 h 257442"/>
                <a:gd name="connsiteX3" fmla="*/ 0 w 1643298"/>
                <a:gd name="connsiteY3" fmla="*/ 0 h 257442"/>
                <a:gd name="connsiteX0" fmla="*/ 1643298 w 1643298"/>
                <a:gd name="connsiteY0" fmla="*/ 0 h 257442"/>
                <a:gd name="connsiteX1" fmla="*/ 1588577 w 1643298"/>
                <a:gd name="connsiteY1" fmla="*/ 257442 h 257442"/>
                <a:gd name="connsiteX2" fmla="*/ 0 w 1643298"/>
                <a:gd name="connsiteY2" fmla="*/ 257442 h 257442"/>
                <a:gd name="connsiteX3" fmla="*/ 0 w 1643298"/>
                <a:gd name="connsiteY3" fmla="*/ 0 h 257442"/>
                <a:gd name="connsiteX0" fmla="*/ 1643298 w 1643298"/>
                <a:gd name="connsiteY0" fmla="*/ 0 h 257442"/>
                <a:gd name="connsiteX1" fmla="*/ 1588577 w 1643298"/>
                <a:gd name="connsiteY1" fmla="*/ 257442 h 257442"/>
                <a:gd name="connsiteX2" fmla="*/ 0 w 1643298"/>
                <a:gd name="connsiteY2" fmla="*/ 257442 h 257442"/>
                <a:gd name="connsiteX3" fmla="*/ 0 w 1643298"/>
                <a:gd name="connsiteY3" fmla="*/ 0 h 257442"/>
                <a:gd name="connsiteX0" fmla="*/ 1643298 w 1643298"/>
                <a:gd name="connsiteY0" fmla="*/ 0 h 257442"/>
                <a:gd name="connsiteX1" fmla="*/ 1588577 w 1643298"/>
                <a:gd name="connsiteY1" fmla="*/ 257442 h 257442"/>
                <a:gd name="connsiteX2" fmla="*/ 0 w 1643298"/>
                <a:gd name="connsiteY2" fmla="*/ 257442 h 257442"/>
                <a:gd name="connsiteX3" fmla="*/ 0 w 1643298"/>
                <a:gd name="connsiteY3" fmla="*/ 0 h 257442"/>
                <a:gd name="connsiteX0" fmla="*/ 1912603 w 1912603"/>
                <a:gd name="connsiteY0" fmla="*/ 0 h 257442"/>
                <a:gd name="connsiteX1" fmla="*/ 1588577 w 1912603"/>
                <a:gd name="connsiteY1" fmla="*/ 257442 h 257442"/>
                <a:gd name="connsiteX2" fmla="*/ 0 w 1912603"/>
                <a:gd name="connsiteY2" fmla="*/ 257442 h 257442"/>
                <a:gd name="connsiteX3" fmla="*/ 0 w 1912603"/>
                <a:gd name="connsiteY3" fmla="*/ 0 h 257442"/>
                <a:gd name="connsiteX0" fmla="*/ 1912603 w 1912603"/>
                <a:gd name="connsiteY0" fmla="*/ 0 h 257442"/>
                <a:gd name="connsiteX1" fmla="*/ 1857882 w 1912603"/>
                <a:gd name="connsiteY1" fmla="*/ 257442 h 257442"/>
                <a:gd name="connsiteX2" fmla="*/ 0 w 1912603"/>
                <a:gd name="connsiteY2" fmla="*/ 257442 h 257442"/>
                <a:gd name="connsiteX3" fmla="*/ 0 w 1912603"/>
                <a:gd name="connsiteY3" fmla="*/ 0 h 257442"/>
                <a:gd name="connsiteX0" fmla="*/ 1912603 w 1912603"/>
                <a:gd name="connsiteY0" fmla="*/ 0 h 257442"/>
                <a:gd name="connsiteX1" fmla="*/ 1857882 w 1912603"/>
                <a:gd name="connsiteY1" fmla="*/ 257442 h 257442"/>
                <a:gd name="connsiteX2" fmla="*/ 0 w 1912603"/>
                <a:gd name="connsiteY2" fmla="*/ 257442 h 257442"/>
                <a:gd name="connsiteX3" fmla="*/ 0 w 1912603"/>
                <a:gd name="connsiteY3" fmla="*/ 0 h 257442"/>
                <a:gd name="connsiteX0" fmla="*/ 1912603 w 1912603"/>
                <a:gd name="connsiteY0" fmla="*/ 0 h 257442"/>
                <a:gd name="connsiteX1" fmla="*/ 1857882 w 1912603"/>
                <a:gd name="connsiteY1" fmla="*/ 257442 h 257442"/>
                <a:gd name="connsiteX2" fmla="*/ 0 w 1912603"/>
                <a:gd name="connsiteY2" fmla="*/ 257442 h 257442"/>
                <a:gd name="connsiteX3" fmla="*/ 0 w 1912603"/>
                <a:gd name="connsiteY3" fmla="*/ 0 h 257442"/>
                <a:gd name="connsiteX0" fmla="*/ 2173892 w 2173892"/>
                <a:gd name="connsiteY0" fmla="*/ 0 h 257442"/>
                <a:gd name="connsiteX1" fmla="*/ 1857882 w 2173892"/>
                <a:gd name="connsiteY1" fmla="*/ 257442 h 257442"/>
                <a:gd name="connsiteX2" fmla="*/ 0 w 2173892"/>
                <a:gd name="connsiteY2" fmla="*/ 257442 h 257442"/>
                <a:gd name="connsiteX3" fmla="*/ 0 w 2173892"/>
                <a:gd name="connsiteY3" fmla="*/ 0 h 257442"/>
                <a:gd name="connsiteX0" fmla="*/ 2173892 w 2173892"/>
                <a:gd name="connsiteY0" fmla="*/ 0 h 257442"/>
                <a:gd name="connsiteX1" fmla="*/ 2119170 w 2173892"/>
                <a:gd name="connsiteY1" fmla="*/ 257442 h 257442"/>
                <a:gd name="connsiteX2" fmla="*/ 0 w 2173892"/>
                <a:gd name="connsiteY2" fmla="*/ 257442 h 257442"/>
                <a:gd name="connsiteX3" fmla="*/ 0 w 2173892"/>
                <a:gd name="connsiteY3" fmla="*/ 0 h 257442"/>
                <a:gd name="connsiteX0" fmla="*/ 2173893 w 2173893"/>
                <a:gd name="connsiteY0" fmla="*/ 0 h 257442"/>
                <a:gd name="connsiteX1" fmla="*/ 2119171 w 2173893"/>
                <a:gd name="connsiteY1" fmla="*/ 257442 h 257442"/>
                <a:gd name="connsiteX2" fmla="*/ 0 w 2173893"/>
                <a:gd name="connsiteY2" fmla="*/ 257442 h 257442"/>
                <a:gd name="connsiteX3" fmla="*/ 1 w 2173893"/>
                <a:gd name="connsiteY3" fmla="*/ 0 h 257442"/>
                <a:gd name="connsiteX0" fmla="*/ 2173893 w 2173893"/>
                <a:gd name="connsiteY0" fmla="*/ 0 h 257442"/>
                <a:gd name="connsiteX1" fmla="*/ 2119171 w 2173893"/>
                <a:gd name="connsiteY1" fmla="*/ 257442 h 257442"/>
                <a:gd name="connsiteX2" fmla="*/ 0 w 2173893"/>
                <a:gd name="connsiteY2" fmla="*/ 257442 h 257442"/>
                <a:gd name="connsiteX3" fmla="*/ 1 w 2173893"/>
                <a:gd name="connsiteY3" fmla="*/ 0 h 257442"/>
                <a:gd name="connsiteX0" fmla="*/ 2334193 w 2334193"/>
                <a:gd name="connsiteY0" fmla="*/ 0 h 257442"/>
                <a:gd name="connsiteX1" fmla="*/ 2119171 w 2334193"/>
                <a:gd name="connsiteY1" fmla="*/ 257442 h 257442"/>
                <a:gd name="connsiteX2" fmla="*/ 0 w 2334193"/>
                <a:gd name="connsiteY2" fmla="*/ 257442 h 257442"/>
                <a:gd name="connsiteX3" fmla="*/ 1 w 2334193"/>
                <a:gd name="connsiteY3" fmla="*/ 0 h 257442"/>
                <a:gd name="connsiteX0" fmla="*/ 2334193 w 2334193"/>
                <a:gd name="connsiteY0" fmla="*/ 0 h 257442"/>
                <a:gd name="connsiteX1" fmla="*/ 2279472 w 2334193"/>
                <a:gd name="connsiteY1" fmla="*/ 257442 h 257442"/>
                <a:gd name="connsiteX2" fmla="*/ 0 w 2334193"/>
                <a:gd name="connsiteY2" fmla="*/ 257442 h 257442"/>
                <a:gd name="connsiteX3" fmla="*/ 1 w 2334193"/>
                <a:gd name="connsiteY3" fmla="*/ 0 h 257442"/>
                <a:gd name="connsiteX0" fmla="*/ 2334192 w 2334192"/>
                <a:gd name="connsiteY0" fmla="*/ 0 h 257442"/>
                <a:gd name="connsiteX1" fmla="*/ 2279471 w 2334192"/>
                <a:gd name="connsiteY1" fmla="*/ 257442 h 257442"/>
                <a:gd name="connsiteX2" fmla="*/ 0 w 2334192"/>
                <a:gd name="connsiteY2" fmla="*/ 257442 h 257442"/>
                <a:gd name="connsiteX3" fmla="*/ 0 w 2334192"/>
                <a:gd name="connsiteY3" fmla="*/ 0 h 257442"/>
                <a:gd name="connsiteX0" fmla="*/ 2334193 w 2334193"/>
                <a:gd name="connsiteY0" fmla="*/ 0 h 257442"/>
                <a:gd name="connsiteX1" fmla="*/ 2279472 w 2334193"/>
                <a:gd name="connsiteY1" fmla="*/ 257442 h 257442"/>
                <a:gd name="connsiteX2" fmla="*/ 1 w 2334193"/>
                <a:gd name="connsiteY2" fmla="*/ 257442 h 257442"/>
                <a:gd name="connsiteX3" fmla="*/ 0 w 2334193"/>
                <a:gd name="connsiteY3" fmla="*/ 0 h 257442"/>
                <a:gd name="connsiteX0" fmla="*/ 2502509 w 2502509"/>
                <a:gd name="connsiteY0" fmla="*/ 0 h 257442"/>
                <a:gd name="connsiteX1" fmla="*/ 2279472 w 2502509"/>
                <a:gd name="connsiteY1" fmla="*/ 257442 h 257442"/>
                <a:gd name="connsiteX2" fmla="*/ 1 w 2502509"/>
                <a:gd name="connsiteY2" fmla="*/ 257442 h 257442"/>
                <a:gd name="connsiteX3" fmla="*/ 0 w 2502509"/>
                <a:gd name="connsiteY3" fmla="*/ 0 h 257442"/>
                <a:gd name="connsiteX0" fmla="*/ 2502509 w 2502509"/>
                <a:gd name="connsiteY0" fmla="*/ 0 h 257442"/>
                <a:gd name="connsiteX1" fmla="*/ 2447788 w 2502509"/>
                <a:gd name="connsiteY1" fmla="*/ 257442 h 257442"/>
                <a:gd name="connsiteX2" fmla="*/ 1 w 2502509"/>
                <a:gd name="connsiteY2" fmla="*/ 257442 h 257442"/>
                <a:gd name="connsiteX3" fmla="*/ 0 w 2502509"/>
                <a:gd name="connsiteY3" fmla="*/ 0 h 257442"/>
                <a:gd name="connsiteX0" fmla="*/ 2502509 w 2502509"/>
                <a:gd name="connsiteY0" fmla="*/ 0 h 257442"/>
                <a:gd name="connsiteX1" fmla="*/ 2447788 w 2502509"/>
                <a:gd name="connsiteY1" fmla="*/ 257442 h 257442"/>
                <a:gd name="connsiteX2" fmla="*/ 1 w 2502509"/>
                <a:gd name="connsiteY2" fmla="*/ 257442 h 257442"/>
                <a:gd name="connsiteX3" fmla="*/ 0 w 2502509"/>
                <a:gd name="connsiteY3" fmla="*/ 0 h 257442"/>
                <a:gd name="connsiteX0" fmla="*/ 2502508 w 2502508"/>
                <a:gd name="connsiteY0" fmla="*/ 0 h 257442"/>
                <a:gd name="connsiteX1" fmla="*/ 2447787 w 2502508"/>
                <a:gd name="connsiteY1" fmla="*/ 257442 h 257442"/>
                <a:gd name="connsiteX2" fmla="*/ 0 w 2502508"/>
                <a:gd name="connsiteY2" fmla="*/ 257442 h 257442"/>
                <a:gd name="connsiteX3" fmla="*/ 0 w 2502508"/>
                <a:gd name="connsiteY3" fmla="*/ 0 h 257442"/>
                <a:gd name="connsiteX0" fmla="*/ 2670822 w 2670822"/>
                <a:gd name="connsiteY0" fmla="*/ 0 h 257442"/>
                <a:gd name="connsiteX1" fmla="*/ 2447787 w 2670822"/>
                <a:gd name="connsiteY1" fmla="*/ 257442 h 257442"/>
                <a:gd name="connsiteX2" fmla="*/ 0 w 2670822"/>
                <a:gd name="connsiteY2" fmla="*/ 257442 h 257442"/>
                <a:gd name="connsiteX3" fmla="*/ 0 w 2670822"/>
                <a:gd name="connsiteY3" fmla="*/ 0 h 257442"/>
                <a:gd name="connsiteX0" fmla="*/ 2670822 w 2670822"/>
                <a:gd name="connsiteY0" fmla="*/ 0 h 257442"/>
                <a:gd name="connsiteX1" fmla="*/ 2616101 w 2670822"/>
                <a:gd name="connsiteY1" fmla="*/ 257442 h 257442"/>
                <a:gd name="connsiteX2" fmla="*/ 0 w 2670822"/>
                <a:gd name="connsiteY2" fmla="*/ 257442 h 257442"/>
                <a:gd name="connsiteX3" fmla="*/ 0 w 2670822"/>
                <a:gd name="connsiteY3" fmla="*/ 0 h 257442"/>
                <a:gd name="connsiteX0" fmla="*/ 2670823 w 2670823"/>
                <a:gd name="connsiteY0" fmla="*/ 0 h 257442"/>
                <a:gd name="connsiteX1" fmla="*/ 2616102 w 2670823"/>
                <a:gd name="connsiteY1" fmla="*/ 257442 h 257442"/>
                <a:gd name="connsiteX2" fmla="*/ 0 w 2670823"/>
                <a:gd name="connsiteY2" fmla="*/ 257442 h 257442"/>
                <a:gd name="connsiteX3" fmla="*/ 1 w 2670823"/>
                <a:gd name="connsiteY3" fmla="*/ 0 h 257442"/>
                <a:gd name="connsiteX0" fmla="*/ 2670823 w 2670823"/>
                <a:gd name="connsiteY0" fmla="*/ 0 h 257442"/>
                <a:gd name="connsiteX1" fmla="*/ 2616102 w 2670823"/>
                <a:gd name="connsiteY1" fmla="*/ 257442 h 257442"/>
                <a:gd name="connsiteX2" fmla="*/ 0 w 2670823"/>
                <a:gd name="connsiteY2" fmla="*/ 257442 h 257442"/>
                <a:gd name="connsiteX3" fmla="*/ 1 w 2670823"/>
                <a:gd name="connsiteY3" fmla="*/ 0 h 257442"/>
                <a:gd name="connsiteX0" fmla="*/ 2839140 w 2839140"/>
                <a:gd name="connsiteY0" fmla="*/ 0 h 257442"/>
                <a:gd name="connsiteX1" fmla="*/ 2616102 w 2839140"/>
                <a:gd name="connsiteY1" fmla="*/ 257442 h 257442"/>
                <a:gd name="connsiteX2" fmla="*/ 0 w 2839140"/>
                <a:gd name="connsiteY2" fmla="*/ 257442 h 257442"/>
                <a:gd name="connsiteX3" fmla="*/ 1 w 2839140"/>
                <a:gd name="connsiteY3" fmla="*/ 0 h 257442"/>
                <a:gd name="connsiteX0" fmla="*/ 2839140 w 2839140"/>
                <a:gd name="connsiteY0" fmla="*/ 0 h 257442"/>
                <a:gd name="connsiteX1" fmla="*/ 2784418 w 2839140"/>
                <a:gd name="connsiteY1" fmla="*/ 257442 h 257442"/>
                <a:gd name="connsiteX2" fmla="*/ 0 w 2839140"/>
                <a:gd name="connsiteY2" fmla="*/ 257442 h 257442"/>
                <a:gd name="connsiteX3" fmla="*/ 1 w 2839140"/>
                <a:gd name="connsiteY3" fmla="*/ 0 h 257442"/>
                <a:gd name="connsiteX0" fmla="*/ 2839140 w 2839140"/>
                <a:gd name="connsiteY0" fmla="*/ 0 h 257442"/>
                <a:gd name="connsiteX1" fmla="*/ 2784418 w 2839140"/>
                <a:gd name="connsiteY1" fmla="*/ 257442 h 257442"/>
                <a:gd name="connsiteX2" fmla="*/ 0 w 2839140"/>
                <a:gd name="connsiteY2" fmla="*/ 257442 h 257442"/>
                <a:gd name="connsiteX3" fmla="*/ 1 w 2839140"/>
                <a:gd name="connsiteY3" fmla="*/ 0 h 257442"/>
                <a:gd name="connsiteX0" fmla="*/ 2839140 w 2839140"/>
                <a:gd name="connsiteY0" fmla="*/ 0 h 257442"/>
                <a:gd name="connsiteX1" fmla="*/ 2784418 w 2839140"/>
                <a:gd name="connsiteY1" fmla="*/ 257442 h 257442"/>
                <a:gd name="connsiteX2" fmla="*/ 0 w 2839140"/>
                <a:gd name="connsiteY2" fmla="*/ 257442 h 257442"/>
                <a:gd name="connsiteX3" fmla="*/ 0 w 2839140"/>
                <a:gd name="connsiteY3" fmla="*/ 0 h 257442"/>
                <a:gd name="connsiteX0" fmla="*/ 3017071 w 3017071"/>
                <a:gd name="connsiteY0" fmla="*/ 0 h 257442"/>
                <a:gd name="connsiteX1" fmla="*/ 2784418 w 3017071"/>
                <a:gd name="connsiteY1" fmla="*/ 257442 h 257442"/>
                <a:gd name="connsiteX2" fmla="*/ 0 w 3017071"/>
                <a:gd name="connsiteY2" fmla="*/ 257442 h 257442"/>
                <a:gd name="connsiteX3" fmla="*/ 0 w 3017071"/>
                <a:gd name="connsiteY3" fmla="*/ 0 h 257442"/>
                <a:gd name="connsiteX0" fmla="*/ 3017071 w 3017071"/>
                <a:gd name="connsiteY0" fmla="*/ 0 h 257442"/>
                <a:gd name="connsiteX1" fmla="*/ 2962350 w 3017071"/>
                <a:gd name="connsiteY1" fmla="*/ 257442 h 257442"/>
                <a:gd name="connsiteX2" fmla="*/ 0 w 3017071"/>
                <a:gd name="connsiteY2" fmla="*/ 257442 h 257442"/>
                <a:gd name="connsiteX3" fmla="*/ 0 w 3017071"/>
                <a:gd name="connsiteY3" fmla="*/ 0 h 257442"/>
                <a:gd name="connsiteX0" fmla="*/ 3017071 w 3017071"/>
                <a:gd name="connsiteY0" fmla="*/ 0 h 257442"/>
                <a:gd name="connsiteX1" fmla="*/ 2962350 w 3017071"/>
                <a:gd name="connsiteY1" fmla="*/ 257442 h 257442"/>
                <a:gd name="connsiteX2" fmla="*/ 0 w 3017071"/>
                <a:gd name="connsiteY2" fmla="*/ 257442 h 257442"/>
                <a:gd name="connsiteX3" fmla="*/ 0 w 3017071"/>
                <a:gd name="connsiteY3" fmla="*/ 0 h 257442"/>
                <a:gd name="connsiteX0" fmla="*/ 3017071 w 3017071"/>
                <a:gd name="connsiteY0" fmla="*/ 0 h 257442"/>
                <a:gd name="connsiteX1" fmla="*/ 2962350 w 3017071"/>
                <a:gd name="connsiteY1" fmla="*/ 257442 h 257442"/>
                <a:gd name="connsiteX2" fmla="*/ 0 w 3017071"/>
                <a:gd name="connsiteY2" fmla="*/ 257442 h 257442"/>
                <a:gd name="connsiteX3" fmla="*/ 0 w 3017071"/>
                <a:gd name="connsiteY3" fmla="*/ 0 h 257442"/>
                <a:gd name="connsiteX0" fmla="*/ 2839139 w 2962350"/>
                <a:gd name="connsiteY0" fmla="*/ 0 h 257442"/>
                <a:gd name="connsiteX1" fmla="*/ 2962350 w 2962350"/>
                <a:gd name="connsiteY1" fmla="*/ 257442 h 257442"/>
                <a:gd name="connsiteX2" fmla="*/ 0 w 2962350"/>
                <a:gd name="connsiteY2" fmla="*/ 257442 h 257442"/>
                <a:gd name="connsiteX3" fmla="*/ 0 w 2962350"/>
                <a:gd name="connsiteY3" fmla="*/ 0 h 257442"/>
                <a:gd name="connsiteX0" fmla="*/ 2839139 w 2839139"/>
                <a:gd name="connsiteY0" fmla="*/ 0 h 257442"/>
                <a:gd name="connsiteX1" fmla="*/ 2784418 w 2839139"/>
                <a:gd name="connsiteY1" fmla="*/ 257442 h 257442"/>
                <a:gd name="connsiteX2" fmla="*/ 0 w 2839139"/>
                <a:gd name="connsiteY2" fmla="*/ 257442 h 257442"/>
                <a:gd name="connsiteX3" fmla="*/ 0 w 2839139"/>
                <a:gd name="connsiteY3" fmla="*/ 0 h 257442"/>
                <a:gd name="connsiteX0" fmla="*/ 2839139 w 2839139"/>
                <a:gd name="connsiteY0" fmla="*/ 0 h 257442"/>
                <a:gd name="connsiteX1" fmla="*/ 2784418 w 2839139"/>
                <a:gd name="connsiteY1" fmla="*/ 257442 h 257442"/>
                <a:gd name="connsiteX2" fmla="*/ 1 w 2839139"/>
                <a:gd name="connsiteY2" fmla="*/ 257442 h 257442"/>
                <a:gd name="connsiteX3" fmla="*/ 0 w 2839139"/>
                <a:gd name="connsiteY3" fmla="*/ 0 h 257442"/>
                <a:gd name="connsiteX0" fmla="*/ 2839138 w 2839138"/>
                <a:gd name="connsiteY0" fmla="*/ 0 h 257442"/>
                <a:gd name="connsiteX1" fmla="*/ 2784417 w 2839138"/>
                <a:gd name="connsiteY1" fmla="*/ 257442 h 257442"/>
                <a:gd name="connsiteX2" fmla="*/ 0 w 2839138"/>
                <a:gd name="connsiteY2" fmla="*/ 257442 h 257442"/>
                <a:gd name="connsiteX3" fmla="*/ 0 w 2839138"/>
                <a:gd name="connsiteY3" fmla="*/ 0 h 257442"/>
                <a:gd name="connsiteX0" fmla="*/ 3007452 w 3007452"/>
                <a:gd name="connsiteY0" fmla="*/ 0 h 257442"/>
                <a:gd name="connsiteX1" fmla="*/ 2784417 w 3007452"/>
                <a:gd name="connsiteY1" fmla="*/ 257442 h 257442"/>
                <a:gd name="connsiteX2" fmla="*/ 0 w 3007452"/>
                <a:gd name="connsiteY2" fmla="*/ 257442 h 257442"/>
                <a:gd name="connsiteX3" fmla="*/ 0 w 3007452"/>
                <a:gd name="connsiteY3" fmla="*/ 0 h 257442"/>
                <a:gd name="connsiteX0" fmla="*/ 3007452 w 3007452"/>
                <a:gd name="connsiteY0" fmla="*/ 0 h 257442"/>
                <a:gd name="connsiteX1" fmla="*/ 2952731 w 3007452"/>
                <a:gd name="connsiteY1" fmla="*/ 257442 h 257442"/>
                <a:gd name="connsiteX2" fmla="*/ 0 w 3007452"/>
                <a:gd name="connsiteY2" fmla="*/ 257442 h 257442"/>
                <a:gd name="connsiteX3" fmla="*/ 0 w 3007452"/>
                <a:gd name="connsiteY3" fmla="*/ 0 h 257442"/>
                <a:gd name="connsiteX0" fmla="*/ 3007453 w 3007453"/>
                <a:gd name="connsiteY0" fmla="*/ 0 h 257442"/>
                <a:gd name="connsiteX1" fmla="*/ 2952732 w 3007453"/>
                <a:gd name="connsiteY1" fmla="*/ 257442 h 257442"/>
                <a:gd name="connsiteX2" fmla="*/ 0 w 3007453"/>
                <a:gd name="connsiteY2" fmla="*/ 257442 h 257442"/>
                <a:gd name="connsiteX3" fmla="*/ 1 w 3007453"/>
                <a:gd name="connsiteY3" fmla="*/ 0 h 257442"/>
                <a:gd name="connsiteX0" fmla="*/ 3007453 w 3007453"/>
                <a:gd name="connsiteY0" fmla="*/ 0 h 257442"/>
                <a:gd name="connsiteX1" fmla="*/ 2952732 w 3007453"/>
                <a:gd name="connsiteY1" fmla="*/ 257442 h 257442"/>
                <a:gd name="connsiteX2" fmla="*/ 0 w 3007453"/>
                <a:gd name="connsiteY2" fmla="*/ 257442 h 257442"/>
                <a:gd name="connsiteX3" fmla="*/ 1 w 3007453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07453" h="257442">
                  <a:moveTo>
                    <a:pt x="3007453" y="0"/>
                  </a:moveTo>
                  <a:lnTo>
                    <a:pt x="2952732" y="257442"/>
                  </a:lnTo>
                  <a:lnTo>
                    <a:pt x="0" y="25744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17" name="btfpRunningAgenda1LevelTextLeft385877">
              <a:extLst>
                <a:ext uri="{FF2B5EF4-FFF2-40B4-BE49-F238E27FC236}">
                  <a16:creationId xmlns:a16="http://schemas.microsoft.com/office/drawing/2014/main" id="{EFE6A2A6-BFCB-CFD3-289B-9A770B088D73}"/>
                </a:ext>
              </a:extLst>
            </p:cNvPr>
            <p:cNvSpPr txBox="1"/>
            <p:nvPr/>
          </p:nvSpPr>
          <p:spPr bwMode="gray">
            <a:xfrm>
              <a:off x="0" y="876300"/>
              <a:ext cx="2952732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>
                  <a:solidFill>
                    <a:srgbClr val="FFFFFF"/>
                  </a:solidFill>
                </a:rPr>
                <a:t>ORGANIC SEARCH</a:t>
              </a:r>
            </a:p>
          </p:txBody>
        </p:sp>
      </p:grpSp>
      <p:sp>
        <p:nvSpPr>
          <p:cNvPr id="75" name="TextBox 74">
            <a:extLst>
              <a:ext uri="{FF2B5EF4-FFF2-40B4-BE49-F238E27FC236}">
                <a16:creationId xmlns:a16="http://schemas.microsoft.com/office/drawing/2014/main" id="{A5EEE93D-68B1-F6A4-D159-E4C96B71291D}"/>
              </a:ext>
            </a:extLst>
          </p:cNvPr>
          <p:cNvSpPr txBox="1"/>
          <p:nvPr/>
        </p:nvSpPr>
        <p:spPr bwMode="gray">
          <a:xfrm>
            <a:off x="7673354" y="6374760"/>
            <a:ext cx="632190" cy="195814"/>
          </a:xfrm>
          <a:prstGeom prst="rect">
            <a:avLst/>
          </a:prstGeom>
          <a:solidFill>
            <a:srgbClr val="FFFFFF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800" b="1" i="1">
                <a:solidFill>
                  <a:srgbClr val="000000"/>
                </a:solidFill>
              </a:rPr>
              <a:t>Legend</a:t>
            </a:r>
          </a:p>
        </p:txBody>
      </p:sp>
      <p:graphicFrame>
        <p:nvGraphicFramePr>
          <p:cNvPr id="76" name="Table 75">
            <a:extLst>
              <a:ext uri="{FF2B5EF4-FFF2-40B4-BE49-F238E27FC236}">
                <a16:creationId xmlns:a16="http://schemas.microsoft.com/office/drawing/2014/main" id="{842CB7FC-C50E-349D-6454-1B8842E52EF3}"/>
              </a:ext>
            </a:extLst>
          </p:cNvPr>
          <p:cNvGraphicFramePr>
            <a:graphicFrameLocks noGrp="1"/>
          </p:cNvGraphicFramePr>
          <p:nvPr/>
        </p:nvGraphicFramePr>
        <p:xfrm>
          <a:off x="8203475" y="6395648"/>
          <a:ext cx="3654528" cy="18777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09088">
                  <a:extLst>
                    <a:ext uri="{9D8B030D-6E8A-4147-A177-3AD203B41FA5}">
                      <a16:colId xmlns:a16="http://schemas.microsoft.com/office/drawing/2014/main" val="3933447932"/>
                    </a:ext>
                  </a:extLst>
                </a:gridCol>
                <a:gridCol w="609088">
                  <a:extLst>
                    <a:ext uri="{9D8B030D-6E8A-4147-A177-3AD203B41FA5}">
                      <a16:colId xmlns:a16="http://schemas.microsoft.com/office/drawing/2014/main" val="2817919543"/>
                    </a:ext>
                  </a:extLst>
                </a:gridCol>
                <a:gridCol w="609088">
                  <a:extLst>
                    <a:ext uri="{9D8B030D-6E8A-4147-A177-3AD203B41FA5}">
                      <a16:colId xmlns:a16="http://schemas.microsoft.com/office/drawing/2014/main" val="1360854354"/>
                    </a:ext>
                  </a:extLst>
                </a:gridCol>
                <a:gridCol w="609088">
                  <a:extLst>
                    <a:ext uri="{9D8B030D-6E8A-4147-A177-3AD203B41FA5}">
                      <a16:colId xmlns:a16="http://schemas.microsoft.com/office/drawing/2014/main" val="954812982"/>
                    </a:ext>
                  </a:extLst>
                </a:gridCol>
                <a:gridCol w="609088">
                  <a:extLst>
                    <a:ext uri="{9D8B030D-6E8A-4147-A177-3AD203B41FA5}">
                      <a16:colId xmlns:a16="http://schemas.microsoft.com/office/drawing/2014/main" val="3303214137"/>
                    </a:ext>
                  </a:extLst>
                </a:gridCol>
                <a:gridCol w="609088">
                  <a:extLst>
                    <a:ext uri="{9D8B030D-6E8A-4147-A177-3AD203B41FA5}">
                      <a16:colId xmlns:a16="http://schemas.microsoft.com/office/drawing/2014/main" val="89983032"/>
                    </a:ext>
                  </a:extLst>
                </a:gridCol>
              </a:tblGrid>
              <a:tr h="187779"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8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Rank</a:t>
                      </a:r>
                      <a:r>
                        <a:rPr lang="en-US" sz="800" b="0" i="0" u="none" strike="noStrike" baseline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80-100</a:t>
                      </a:r>
                      <a:endParaRPr lang="en-US" sz="800" b="0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ank</a:t>
                      </a:r>
                      <a:r>
                        <a:rPr lang="en-US" sz="8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51-8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DC9E9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ank</a:t>
                      </a:r>
                      <a:r>
                        <a:rPr lang="en-US" sz="8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21-5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ank</a:t>
                      </a:r>
                      <a:r>
                        <a:rPr lang="en-US" sz="8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1-2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BBCAB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8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Rank</a:t>
                      </a:r>
                      <a:r>
                        <a:rPr lang="en-US" sz="800" b="0" i="0" u="none" strike="noStrike" baseline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 4-10</a:t>
                      </a:r>
                      <a:endParaRPr lang="en-US" sz="8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Rank</a:t>
                      </a:r>
                      <a:r>
                        <a:rPr lang="en-US" sz="800" b="1" i="0" u="none" strike="noStrike" baseline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1-3</a:t>
                      </a:r>
                      <a:endParaRPr lang="en-US" sz="8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8342306"/>
                  </a:ext>
                </a:extLst>
              </a:tr>
            </a:tbl>
          </a:graphicData>
        </a:graphic>
      </p:graphicFrame>
      <p:sp>
        <p:nvSpPr>
          <p:cNvPr id="14" name="btfpNotesBox142121">
            <a:extLst>
              <a:ext uri="{FF2B5EF4-FFF2-40B4-BE49-F238E27FC236}">
                <a16:creationId xmlns:a16="http://schemas.microsoft.com/office/drawing/2014/main" id="{08F90AFB-B84F-68CC-3B72-75C2795A34A2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199" y="646183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sz="800">
                <a:solidFill>
                  <a:srgbClr val="000000"/>
                </a:solidFill>
              </a:rPr>
              <a:t>Note: Avg. ranks over the last 30 days – therefore, same rank can be there for multiple brands | </a:t>
            </a:r>
            <a:r>
              <a:rPr lang="en-CA" sz="800"/>
              <a:t>Source: SEMrush, last 30 days ending 17</a:t>
            </a:r>
            <a:r>
              <a:rPr lang="en-CA" sz="800" baseline="30000"/>
              <a:t>th</a:t>
            </a:r>
            <a:r>
              <a:rPr lang="en-CA" sz="800"/>
              <a:t> April, 2025</a:t>
            </a:r>
          </a:p>
        </p:txBody>
      </p:sp>
      <p:grpSp>
        <p:nvGrpSpPr>
          <p:cNvPr id="59" name="btfpStatusSticker656061">
            <a:extLst>
              <a:ext uri="{FF2B5EF4-FFF2-40B4-BE49-F238E27FC236}">
                <a16:creationId xmlns:a16="http://schemas.microsoft.com/office/drawing/2014/main" id="{6282FEB1-500A-D92B-C235-C2A50F3981F5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0102664" y="955344"/>
            <a:ext cx="1759136" cy="235611"/>
            <a:chOff x="-2269853" y="876300"/>
            <a:chExt cx="1759136" cy="235611"/>
          </a:xfrm>
        </p:grpSpPr>
        <p:sp>
          <p:nvSpPr>
            <p:cNvPr id="57" name="btfpStatusStickerText656061">
              <a:extLst>
                <a:ext uri="{FF2B5EF4-FFF2-40B4-BE49-F238E27FC236}">
                  <a16:creationId xmlns:a16="http://schemas.microsoft.com/office/drawing/2014/main" id="{A658FABC-C9B3-B4C0-C2F3-91D30FBFBA7C}"/>
                </a:ext>
              </a:extLst>
            </p:cNvPr>
            <p:cNvSpPr txBox="1"/>
            <p:nvPr/>
          </p:nvSpPr>
          <p:spPr bwMode="gray">
            <a:xfrm>
              <a:off x="-2269853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GB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58" name="btfpStatusStickerLine656061">
              <a:extLst>
                <a:ext uri="{FF2B5EF4-FFF2-40B4-BE49-F238E27FC236}">
                  <a16:creationId xmlns:a16="http://schemas.microsoft.com/office/drawing/2014/main" id="{BF10604F-8C5D-6C0E-A583-949EFFADB3F0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69853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16D8C1C1-BB82-8B0D-F6B7-F583CF7C9B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7375828"/>
              </p:ext>
            </p:extLst>
          </p:nvPr>
        </p:nvGraphicFramePr>
        <p:xfrm>
          <a:off x="330198" y="1383937"/>
          <a:ext cx="11531603" cy="4947548"/>
        </p:xfrm>
        <a:graphic>
          <a:graphicData uri="http://schemas.openxmlformats.org/drawingml/2006/table">
            <a:tbl>
              <a:tblPr/>
              <a:tblGrid>
                <a:gridCol w="2272003">
                  <a:extLst>
                    <a:ext uri="{9D8B030D-6E8A-4147-A177-3AD203B41FA5}">
                      <a16:colId xmlns:a16="http://schemas.microsoft.com/office/drawing/2014/main" val="438164104"/>
                    </a:ext>
                  </a:extLst>
                </a:gridCol>
                <a:gridCol w="781696">
                  <a:extLst>
                    <a:ext uri="{9D8B030D-6E8A-4147-A177-3AD203B41FA5}">
                      <a16:colId xmlns:a16="http://schemas.microsoft.com/office/drawing/2014/main" val="3749322985"/>
                    </a:ext>
                  </a:extLst>
                </a:gridCol>
                <a:gridCol w="706492">
                  <a:extLst>
                    <a:ext uri="{9D8B030D-6E8A-4147-A177-3AD203B41FA5}">
                      <a16:colId xmlns:a16="http://schemas.microsoft.com/office/drawing/2014/main" val="4287540168"/>
                    </a:ext>
                  </a:extLst>
                </a:gridCol>
                <a:gridCol w="706492">
                  <a:extLst>
                    <a:ext uri="{9D8B030D-6E8A-4147-A177-3AD203B41FA5}">
                      <a16:colId xmlns:a16="http://schemas.microsoft.com/office/drawing/2014/main" val="962766332"/>
                    </a:ext>
                  </a:extLst>
                </a:gridCol>
                <a:gridCol w="706492">
                  <a:extLst>
                    <a:ext uri="{9D8B030D-6E8A-4147-A177-3AD203B41FA5}">
                      <a16:colId xmlns:a16="http://schemas.microsoft.com/office/drawing/2014/main" val="1468939928"/>
                    </a:ext>
                  </a:extLst>
                </a:gridCol>
                <a:gridCol w="706492">
                  <a:extLst>
                    <a:ext uri="{9D8B030D-6E8A-4147-A177-3AD203B41FA5}">
                      <a16:colId xmlns:a16="http://schemas.microsoft.com/office/drawing/2014/main" val="1068822816"/>
                    </a:ext>
                  </a:extLst>
                </a:gridCol>
                <a:gridCol w="706492">
                  <a:extLst>
                    <a:ext uri="{9D8B030D-6E8A-4147-A177-3AD203B41FA5}">
                      <a16:colId xmlns:a16="http://schemas.microsoft.com/office/drawing/2014/main" val="4194978207"/>
                    </a:ext>
                  </a:extLst>
                </a:gridCol>
                <a:gridCol w="706492">
                  <a:extLst>
                    <a:ext uri="{9D8B030D-6E8A-4147-A177-3AD203B41FA5}">
                      <a16:colId xmlns:a16="http://schemas.microsoft.com/office/drawing/2014/main" val="639382534"/>
                    </a:ext>
                  </a:extLst>
                </a:gridCol>
                <a:gridCol w="706492">
                  <a:extLst>
                    <a:ext uri="{9D8B030D-6E8A-4147-A177-3AD203B41FA5}">
                      <a16:colId xmlns:a16="http://schemas.microsoft.com/office/drawing/2014/main" val="2798768486"/>
                    </a:ext>
                  </a:extLst>
                </a:gridCol>
                <a:gridCol w="706492">
                  <a:extLst>
                    <a:ext uri="{9D8B030D-6E8A-4147-A177-3AD203B41FA5}">
                      <a16:colId xmlns:a16="http://schemas.microsoft.com/office/drawing/2014/main" val="2218459743"/>
                    </a:ext>
                  </a:extLst>
                </a:gridCol>
                <a:gridCol w="706492">
                  <a:extLst>
                    <a:ext uri="{9D8B030D-6E8A-4147-A177-3AD203B41FA5}">
                      <a16:colId xmlns:a16="http://schemas.microsoft.com/office/drawing/2014/main" val="3989175975"/>
                    </a:ext>
                  </a:extLst>
                </a:gridCol>
                <a:gridCol w="706492">
                  <a:extLst>
                    <a:ext uri="{9D8B030D-6E8A-4147-A177-3AD203B41FA5}">
                      <a16:colId xmlns:a16="http://schemas.microsoft.com/office/drawing/2014/main" val="2839401629"/>
                    </a:ext>
                  </a:extLst>
                </a:gridCol>
                <a:gridCol w="706492">
                  <a:extLst>
                    <a:ext uri="{9D8B030D-6E8A-4147-A177-3AD203B41FA5}">
                      <a16:colId xmlns:a16="http://schemas.microsoft.com/office/drawing/2014/main" val="1629767304"/>
                    </a:ext>
                  </a:extLst>
                </a:gridCol>
                <a:gridCol w="706492">
                  <a:extLst>
                    <a:ext uri="{9D8B030D-6E8A-4147-A177-3AD203B41FA5}">
                      <a16:colId xmlns:a16="http://schemas.microsoft.com/office/drawing/2014/main" val="28969471"/>
                    </a:ext>
                  </a:extLst>
                </a:gridCol>
              </a:tblGrid>
              <a:tr h="254363"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900" b="1" i="0" u="none" strike="noStrike">
                          <a:solidFill>
                            <a:srgbClr val="CC0000"/>
                          </a:solidFill>
                          <a:effectLst/>
                          <a:latin typeface="+mj-lt"/>
                        </a:rPr>
                        <a:t>Keyword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900" b="1" i="0" u="none" strike="noStrike">
                          <a:solidFill>
                            <a:srgbClr val="CC0000"/>
                          </a:solidFill>
                          <a:effectLst/>
                          <a:latin typeface="+mj-lt"/>
                        </a:rPr>
                        <a:t>Search Volum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6900222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aving companies near me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8,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1" u="none" strike="noStrike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+mn-lt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1851791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aving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4,8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8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9E9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2459774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sphalt paving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,9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4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9E9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6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5877815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riveway sealcoating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,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CAB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5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9E9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0029414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sphalt contractors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,6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1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9E9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9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9E9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2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9E9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0546443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aving contractors near me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,6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121822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sphalt contractors near me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,4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0103811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aving contractor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,4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6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9E9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6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0016986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aving contractors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,4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8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CAB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6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76299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aving companies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,6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4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9E9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1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5363227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aving company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,6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2667176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da parking requirements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,9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3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4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1" u="none" strike="noStrike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+mn-lt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1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4857676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sphalt companies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,9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9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7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66195163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ealcoating driveway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,9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CAB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CAB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5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9E9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1" u="none" strike="noStrike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+mn-lt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3130534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sphalt contractor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,4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6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3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9E9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1954386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avement contractors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,9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8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9E9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3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1807871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avement company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,6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4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7778257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eal coating driveway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,6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3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4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9E9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3064727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sphalt paving contractors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,3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1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3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CAB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2829198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ontractor paving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,3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CAB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7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9E9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1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9E9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CAB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3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9E9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5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9E9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4444865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thole repair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,3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1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9E9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2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4835723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eal coat driveway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,3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9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CAB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2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8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9E9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3648221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arking lot repair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,0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1" u="none" strike="noStrike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+mn-lt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3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9E9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CA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4799020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arking lot sealcoating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8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7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9E9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CAB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2215664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arking lot fix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9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1" u="none" strike="noStrike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+mn-lt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CAB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6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8058154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sphalt crack sealing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8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5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7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9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CAB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1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1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9E9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3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296115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sphalt repair companies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8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8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9E9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9E9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1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4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1623304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oncrete parking lot contractors near me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8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1" u="none" strike="noStrike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+mn-lt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3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9E9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1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8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1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6322342"/>
                  </a:ext>
                </a:extLst>
              </a:tr>
            </a:tbl>
          </a:graphicData>
        </a:graphic>
      </p:graphicFrame>
      <p:sp>
        <p:nvSpPr>
          <p:cNvPr id="69" name="Rectangle 68">
            <a:extLst>
              <a:ext uri="{FF2B5EF4-FFF2-40B4-BE49-F238E27FC236}">
                <a16:creationId xmlns:a16="http://schemas.microsoft.com/office/drawing/2014/main" id="{42A3D3E4-DFF8-62D7-07F5-C0F0A0EBC837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 rot="16200000">
            <a:off x="3388980" y="1398133"/>
            <a:ext cx="4931229" cy="4943705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40" name="Picture 2" descr="Pave America | Concrete &amp; Asphalt Paving Contractors Nationwide">
            <a:extLst>
              <a:ext uri="{FF2B5EF4-FFF2-40B4-BE49-F238E27FC236}">
                <a16:creationId xmlns:a16="http://schemas.microsoft.com/office/drawing/2014/main" id="{FDFA0575-BDB3-BDA3-AAFC-C199CBCED4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6568" y="1484576"/>
            <a:ext cx="640080" cy="67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4" descr="Alpha Paving Industries, LLC - FRIENDSWOOD CHAMBER OF COMMERCE">
            <a:extLst>
              <a:ext uri="{FF2B5EF4-FFF2-40B4-BE49-F238E27FC236}">
                <a16:creationId xmlns:a16="http://schemas.microsoft.com/office/drawing/2014/main" id="{177D5E57-A569-28E3-E2BA-3AA261244E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370" y="1414785"/>
            <a:ext cx="454418" cy="21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10" descr="Contact Us | Quality Paving Services | Brothers Paving">
            <a:extLst>
              <a:ext uri="{FF2B5EF4-FFF2-40B4-BE49-F238E27FC236}">
                <a16:creationId xmlns:a16="http://schemas.microsoft.com/office/drawing/2014/main" id="{4E3B4632-72FE-BDED-BE5F-CAEDEC362E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8948" y="1450981"/>
            <a:ext cx="532902" cy="1495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12" descr="Turner Asphalt Reviews: What Is It Like to Work At Turner Asphalt? |  Glassdoor">
            <a:extLst>
              <a:ext uri="{FF2B5EF4-FFF2-40B4-BE49-F238E27FC236}">
                <a16:creationId xmlns:a16="http://schemas.microsoft.com/office/drawing/2014/main" id="{CAA7E131-EDD1-3CE7-472E-E51C39E262D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968" b="40222"/>
          <a:stretch/>
        </p:blipFill>
        <p:spPr bwMode="auto">
          <a:xfrm>
            <a:off x="6233620" y="1457572"/>
            <a:ext cx="640080" cy="126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14" descr="Working at Cincinnati Asphalt: Employee Reviews | Indeed.com">
            <a:extLst>
              <a:ext uri="{FF2B5EF4-FFF2-40B4-BE49-F238E27FC236}">
                <a16:creationId xmlns:a16="http://schemas.microsoft.com/office/drawing/2014/main" id="{47CA8AAB-77DE-26D1-F868-5B249F5813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7366" y="1441282"/>
            <a:ext cx="594360" cy="182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16" descr="Pavement Experts in Denver, CO - National Pavement Partners">
            <a:extLst>
              <a:ext uri="{FF2B5EF4-FFF2-40B4-BE49-F238E27FC236}">
                <a16:creationId xmlns:a16="http://schemas.microsoft.com/office/drawing/2014/main" id="{4489EFC2-DD22-67B3-E21E-2C821D4720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4156" y="1450981"/>
            <a:ext cx="682328" cy="186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18" descr="Rose Paving Merges with Atlantic Southern Paving and ...">
            <a:extLst>
              <a:ext uri="{FF2B5EF4-FFF2-40B4-BE49-F238E27FC236}">
                <a16:creationId xmlns:a16="http://schemas.microsoft.com/office/drawing/2014/main" id="{494B066A-3A4B-9E9E-DE5E-20FAB2C3A0F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88" t="27030" r="19071" b="29133"/>
          <a:stretch/>
        </p:blipFill>
        <p:spPr bwMode="auto">
          <a:xfrm>
            <a:off x="8432579" y="1437663"/>
            <a:ext cx="482821" cy="187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20" descr="Atlantic Southern Acquires Property Paving to Expand ...">
            <a:extLst>
              <a:ext uri="{FF2B5EF4-FFF2-40B4-BE49-F238E27FC236}">
                <a16:creationId xmlns:a16="http://schemas.microsoft.com/office/drawing/2014/main" id="{035A13FD-FCE3-BF83-D0B3-0CBD7351901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984" b="28085"/>
          <a:stretch/>
        </p:blipFill>
        <p:spPr bwMode="auto">
          <a:xfrm>
            <a:off x="9065210" y="1453173"/>
            <a:ext cx="644012" cy="1414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22" descr="Asphalt Construction &amp; Maintenance | Sunland Asphalt">
            <a:extLst>
              <a:ext uri="{FF2B5EF4-FFF2-40B4-BE49-F238E27FC236}">
                <a16:creationId xmlns:a16="http://schemas.microsoft.com/office/drawing/2014/main" id="{70CE8110-D4AA-4113-2954-337ED06A2D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6825" y="1424887"/>
            <a:ext cx="581573" cy="198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24" descr="Paving Companies Atlanta, GA | Georgia Paving Inc">
            <a:extLst>
              <a:ext uri="{FF2B5EF4-FFF2-40B4-BE49-F238E27FC236}">
                <a16:creationId xmlns:a16="http://schemas.microsoft.com/office/drawing/2014/main" id="{271BE892-B285-5E3D-7630-2259AF6C0D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60192" y="1433337"/>
            <a:ext cx="644011" cy="181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26" descr="Nationwide Commercial Parking Lot Management | Let's Pave">
            <a:extLst>
              <a:ext uri="{FF2B5EF4-FFF2-40B4-BE49-F238E27FC236}">
                <a16:creationId xmlns:a16="http://schemas.microsoft.com/office/drawing/2014/main" id="{413CE70E-F5E5-6D0A-D3B1-4778664569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44783" y="1429134"/>
            <a:ext cx="707487" cy="1895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D9404977-4833-1996-1E31-060100337F72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4897879" y="1409899"/>
            <a:ext cx="474623" cy="228005"/>
          </a:xfrm>
          <a:prstGeom prst="rect">
            <a:avLst/>
          </a:prstGeom>
        </p:spPr>
      </p:pic>
      <p:pic>
        <p:nvPicPr>
          <p:cNvPr id="107" name="Picture 106">
            <a:extLst>
              <a:ext uri="{FF2B5EF4-FFF2-40B4-BE49-F238E27FC236}">
                <a16:creationId xmlns:a16="http://schemas.microsoft.com/office/drawing/2014/main" id="{6C20C6DD-BF4A-000B-8E2A-C290FD8C6362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38" y="946635"/>
            <a:ext cx="252287" cy="251574"/>
          </a:xfrm>
          <a:prstGeom prst="rect">
            <a:avLst/>
          </a:prstGeom>
        </p:spPr>
      </p:pic>
      <p:sp>
        <p:nvSpPr>
          <p:cNvPr id="110" name="Rectangle 109">
            <a:extLst>
              <a:ext uri="{FF2B5EF4-FFF2-40B4-BE49-F238E27FC236}">
                <a16:creationId xmlns:a16="http://schemas.microsoft.com/office/drawing/2014/main" id="{A48FB59B-E1B9-569F-FAE9-1BF317185119}"/>
              </a:ext>
            </a:extLst>
          </p:cNvPr>
          <p:cNvSpPr/>
          <p:nvPr/>
        </p:nvSpPr>
        <p:spPr bwMode="gray">
          <a:xfrm rot="5400000">
            <a:off x="5767533" y="-1165926"/>
            <a:ext cx="164592" cy="4953231"/>
          </a:xfrm>
          <a:prstGeom prst="rect">
            <a:avLst/>
          </a:prstGeom>
          <a:solidFill>
            <a:srgbClr val="C00000"/>
          </a:solidFill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CA" sz="900" b="1" i="1">
                <a:solidFill>
                  <a:schemeClr val="bg1"/>
                </a:solidFill>
              </a:rPr>
              <a:t>Pave America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840A8A2D-D77F-FB1E-0D00-FF35BECC4B59}"/>
              </a:ext>
            </a:extLst>
          </p:cNvPr>
          <p:cNvSpPr/>
          <p:nvPr/>
        </p:nvSpPr>
        <p:spPr bwMode="gray">
          <a:xfrm rot="5400000">
            <a:off x="10351180" y="589861"/>
            <a:ext cx="164592" cy="1441658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CA" sz="800" b="1" i="1">
                <a:solidFill>
                  <a:schemeClr val="bg1"/>
                </a:solidFill>
              </a:rPr>
              <a:t>Sunland Asphalt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E20897A8-905A-18CC-0063-C0856797BD4F}"/>
              </a:ext>
            </a:extLst>
          </p:cNvPr>
          <p:cNvSpPr/>
          <p:nvPr/>
        </p:nvSpPr>
        <p:spPr bwMode="gray">
          <a:xfrm rot="5400000">
            <a:off x="11404266" y="935455"/>
            <a:ext cx="164592" cy="750469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CA" sz="800" b="1" i="1">
                <a:solidFill>
                  <a:schemeClr val="bg1"/>
                </a:solidFill>
              </a:rPr>
              <a:t>Let’s Pav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031774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6936923B-0189-B830-380B-7CF1C7BE392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1413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84" imgH="486" progId="TCLayout.ActiveDocument.1">
                  <p:embed/>
                </p:oleObj>
              </mc:Choice>
              <mc:Fallback>
                <p:oleObj name="think-cell Slide" r:id="rId16" imgW="484" imgH="486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36923B-0189-B830-380B-7CF1C7BE39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9" name="btfpRunningAgenda2Level596989">
            <a:extLst>
              <a:ext uri="{FF2B5EF4-FFF2-40B4-BE49-F238E27FC236}">
                <a16:creationId xmlns:a16="http://schemas.microsoft.com/office/drawing/2014/main" id="{7AE3E3E4-E7DD-4CBB-7C55-1CD928B30152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0" y="944429"/>
            <a:ext cx="2463844" cy="257443"/>
            <a:chOff x="0" y="876300"/>
            <a:chExt cx="2463844" cy="257443"/>
          </a:xfrm>
        </p:grpSpPr>
        <p:sp>
          <p:nvSpPr>
            <p:cNvPr id="36" name="btfpRunningAgenda2LevelBarLeft596989">
              <a:extLst>
                <a:ext uri="{FF2B5EF4-FFF2-40B4-BE49-F238E27FC236}">
                  <a16:creationId xmlns:a16="http://schemas.microsoft.com/office/drawing/2014/main" id="{E1BD611C-56F3-55AE-DDAB-92FDD1254D40}"/>
                </a:ext>
              </a:extLst>
            </p:cNvPr>
            <p:cNvSpPr/>
            <p:nvPr/>
          </p:nvSpPr>
          <p:spPr bwMode="gray">
            <a:xfrm>
              <a:off x="0" y="876300"/>
              <a:ext cx="2463844" cy="257443"/>
            </a:xfrm>
            <a:custGeom>
              <a:avLst/>
              <a:gdLst/>
              <a:ahLst/>
              <a:cxnLst/>
              <a:rect l="0" t="0" r="0" b="0"/>
              <a:pathLst>
                <a:path w="2463844" h="257443">
                  <a:moveTo>
                    <a:pt x="0" y="0"/>
                  </a:moveTo>
                  <a:lnTo>
                    <a:pt x="2463843" y="0"/>
                  </a:lnTo>
                  <a:lnTo>
                    <a:pt x="2409122" y="257442"/>
                  </a:lnTo>
                  <a:lnTo>
                    <a:pt x="0" y="257442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4" name="btfpRunningAgenda2LevelTextLeft596989">
              <a:extLst>
                <a:ext uri="{FF2B5EF4-FFF2-40B4-BE49-F238E27FC236}">
                  <a16:creationId xmlns:a16="http://schemas.microsoft.com/office/drawing/2014/main" id="{4AB50556-B685-6B84-F586-DC0DD10ABB1F}"/>
                </a:ext>
              </a:extLst>
            </p:cNvPr>
            <p:cNvSpPr txBox="1"/>
            <p:nvPr/>
          </p:nvSpPr>
          <p:spPr bwMode="gray">
            <a:xfrm>
              <a:off x="0" y="876300"/>
              <a:ext cx="2409122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paid SEARCH</a:t>
              </a:r>
            </a:p>
          </p:txBody>
        </p:sp>
      </p:grpSp>
      <p:grpSp>
        <p:nvGrpSpPr>
          <p:cNvPr id="88" name="btfpColumnIndicatorGroup2">
            <a:extLst>
              <a:ext uri="{FF2B5EF4-FFF2-40B4-BE49-F238E27FC236}">
                <a16:creationId xmlns:a16="http://schemas.microsoft.com/office/drawing/2014/main" id="{733D1444-10A5-5861-CC1F-B754585B82E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86" name="btfpColumnGapBlocker481278">
              <a:extLst>
                <a:ext uri="{FF2B5EF4-FFF2-40B4-BE49-F238E27FC236}">
                  <a16:creationId xmlns:a16="http://schemas.microsoft.com/office/drawing/2014/main" id="{3969B896-80FD-D2D0-D433-C4B6F5BE91CA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71" name="btfpColumnGapBlocker244197">
              <a:extLst>
                <a:ext uri="{FF2B5EF4-FFF2-40B4-BE49-F238E27FC236}">
                  <a16:creationId xmlns:a16="http://schemas.microsoft.com/office/drawing/2014/main" id="{C8F0EE3F-49C1-1239-6893-E94C63A43465}"/>
                </a:ext>
              </a:extLst>
            </p:cNvPr>
            <p:cNvSpPr/>
            <p:nvPr/>
          </p:nvSpPr>
          <p:spPr bwMode="gray">
            <a:xfrm>
              <a:off x="884376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9" name="btfpColumnIndicator837791">
              <a:extLst>
                <a:ext uri="{FF2B5EF4-FFF2-40B4-BE49-F238E27FC236}">
                  <a16:creationId xmlns:a16="http://schemas.microsoft.com/office/drawing/2014/main" id="{7DD8F246-B501-25DE-BD27-27D78E225D6C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btfpColumnIndicator750422">
              <a:extLst>
                <a:ext uri="{FF2B5EF4-FFF2-40B4-BE49-F238E27FC236}">
                  <a16:creationId xmlns:a16="http://schemas.microsoft.com/office/drawing/2014/main" id="{BE4CB316-D6AA-C7A3-D058-7F1BE26ED351}"/>
                </a:ext>
              </a:extLst>
            </p:cNvPr>
            <p:cNvCxnSpPr/>
            <p:nvPr/>
          </p:nvCxnSpPr>
          <p:spPr bwMode="gray">
            <a:xfrm flipV="1">
              <a:off x="938430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btfpColumnGapBlocker649020">
              <a:extLst>
                <a:ext uri="{FF2B5EF4-FFF2-40B4-BE49-F238E27FC236}">
                  <a16:creationId xmlns:a16="http://schemas.microsoft.com/office/drawing/2014/main" id="{AA51771C-A672-BB7C-1E98-037B283199E8}"/>
                </a:ext>
              </a:extLst>
            </p:cNvPr>
            <p:cNvSpPr/>
            <p:nvPr/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8" name="btfpColumnIndicator840388">
              <a:extLst>
                <a:ext uri="{FF2B5EF4-FFF2-40B4-BE49-F238E27FC236}">
                  <a16:creationId xmlns:a16="http://schemas.microsoft.com/office/drawing/2014/main" id="{D92D492D-C628-7D97-FF49-DA18B5A0E53F}"/>
                </a:ext>
              </a:extLst>
            </p:cNvPr>
            <p:cNvCxnSpPr/>
            <p:nvPr/>
          </p:nvCxnSpPr>
          <p:spPr bwMode="gray">
            <a:xfrm flipV="1">
              <a:off x="884376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btfpColumnIndicator745317">
              <a:extLst>
                <a:ext uri="{FF2B5EF4-FFF2-40B4-BE49-F238E27FC236}">
                  <a16:creationId xmlns:a16="http://schemas.microsoft.com/office/drawing/2014/main" id="{6BAB7141-2AC2-95B3-6CE2-ED50855DD80C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btfpColumnGapBlocker207904">
              <a:extLst>
                <a:ext uri="{FF2B5EF4-FFF2-40B4-BE49-F238E27FC236}">
                  <a16:creationId xmlns:a16="http://schemas.microsoft.com/office/drawing/2014/main" id="{2A9F94A6-3B70-4BD8-76A7-9C7E0031BA53}"/>
                </a:ext>
              </a:extLst>
            </p:cNvPr>
            <p:cNvSpPr/>
            <p:nvPr/>
          </p:nvSpPr>
          <p:spPr bwMode="gray">
            <a:xfrm>
              <a:off x="280769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1" name="btfpColumnIndicator731615">
              <a:extLst>
                <a:ext uri="{FF2B5EF4-FFF2-40B4-BE49-F238E27FC236}">
                  <a16:creationId xmlns:a16="http://schemas.microsoft.com/office/drawing/2014/main" id="{04DE4E9B-257A-6ED2-20DD-1F595197035A}"/>
                </a:ext>
              </a:extLst>
            </p:cNvPr>
            <p:cNvCxnSpPr/>
            <p:nvPr/>
          </p:nvCxnSpPr>
          <p:spPr bwMode="gray">
            <a:xfrm flipV="1">
              <a:off x="582572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btfpColumnIndicator756011">
              <a:extLst>
                <a:ext uri="{FF2B5EF4-FFF2-40B4-BE49-F238E27FC236}">
                  <a16:creationId xmlns:a16="http://schemas.microsoft.com/office/drawing/2014/main" id="{E8839694-9F2D-F488-C5C8-847F05C46161}"/>
                </a:ext>
              </a:extLst>
            </p:cNvPr>
            <p:cNvCxnSpPr/>
            <p:nvPr/>
          </p:nvCxnSpPr>
          <p:spPr bwMode="gray">
            <a:xfrm flipV="1">
              <a:off x="334823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btfpColumnGapBlocker397174">
              <a:extLst>
                <a:ext uri="{FF2B5EF4-FFF2-40B4-BE49-F238E27FC236}">
                  <a16:creationId xmlns:a16="http://schemas.microsoft.com/office/drawing/2014/main" id="{25BCBD32-141E-B10F-AF17-539B7F7DB482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6" name="btfpColumnIndicator314261">
              <a:extLst>
                <a:ext uri="{FF2B5EF4-FFF2-40B4-BE49-F238E27FC236}">
                  <a16:creationId xmlns:a16="http://schemas.microsoft.com/office/drawing/2014/main" id="{5FDF65FC-DA64-ACD9-ADE2-900EC3ED469E}"/>
                </a:ext>
              </a:extLst>
            </p:cNvPr>
            <p:cNvCxnSpPr/>
            <p:nvPr/>
          </p:nvCxnSpPr>
          <p:spPr bwMode="gray">
            <a:xfrm flipV="1">
              <a:off x="280769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140459">
              <a:extLst>
                <a:ext uri="{FF2B5EF4-FFF2-40B4-BE49-F238E27FC236}">
                  <a16:creationId xmlns:a16="http://schemas.microsoft.com/office/drawing/2014/main" id="{AB303C14-6B56-2EA6-3A6B-310FC031FC9E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7" name="btfpColumnIndicatorGroup1">
            <a:extLst>
              <a:ext uri="{FF2B5EF4-FFF2-40B4-BE49-F238E27FC236}">
                <a16:creationId xmlns:a16="http://schemas.microsoft.com/office/drawing/2014/main" id="{94C64681-8097-2983-6920-1E9485EE8BB2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85" name="btfpColumnGapBlocker105593">
              <a:extLst>
                <a:ext uri="{FF2B5EF4-FFF2-40B4-BE49-F238E27FC236}">
                  <a16:creationId xmlns:a16="http://schemas.microsoft.com/office/drawing/2014/main" id="{D4EC7831-BC5E-03A0-9E8C-68415118D478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70" name="btfpColumnGapBlocker512108">
              <a:extLst>
                <a:ext uri="{FF2B5EF4-FFF2-40B4-BE49-F238E27FC236}">
                  <a16:creationId xmlns:a16="http://schemas.microsoft.com/office/drawing/2014/main" id="{A58DCF85-43B2-0B7F-D5F5-47B8A70B20DA}"/>
                </a:ext>
              </a:extLst>
            </p:cNvPr>
            <p:cNvSpPr/>
            <p:nvPr/>
          </p:nvSpPr>
          <p:spPr bwMode="gray">
            <a:xfrm>
              <a:off x="884376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6" name="btfpColumnIndicator680299">
              <a:extLst>
                <a:ext uri="{FF2B5EF4-FFF2-40B4-BE49-F238E27FC236}">
                  <a16:creationId xmlns:a16="http://schemas.microsoft.com/office/drawing/2014/main" id="{0F467A7A-6EE9-0A23-3060-B3B7E8D73E71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btfpColumnIndicator662847">
              <a:extLst>
                <a:ext uri="{FF2B5EF4-FFF2-40B4-BE49-F238E27FC236}">
                  <a16:creationId xmlns:a16="http://schemas.microsoft.com/office/drawing/2014/main" id="{D9B27133-B823-6242-3CE3-5FF98A188A98}"/>
                </a:ext>
              </a:extLst>
            </p:cNvPr>
            <p:cNvCxnSpPr/>
            <p:nvPr/>
          </p:nvCxnSpPr>
          <p:spPr bwMode="gray">
            <a:xfrm flipV="1">
              <a:off x="938430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btfpColumnGapBlocker935617">
              <a:extLst>
                <a:ext uri="{FF2B5EF4-FFF2-40B4-BE49-F238E27FC236}">
                  <a16:creationId xmlns:a16="http://schemas.microsoft.com/office/drawing/2014/main" id="{325AF910-58EB-090F-DF9F-4270D3CB3294}"/>
                </a:ext>
              </a:extLst>
            </p:cNvPr>
            <p:cNvSpPr/>
            <p:nvPr/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7" name="btfpColumnIndicator743143">
              <a:extLst>
                <a:ext uri="{FF2B5EF4-FFF2-40B4-BE49-F238E27FC236}">
                  <a16:creationId xmlns:a16="http://schemas.microsoft.com/office/drawing/2014/main" id="{E200194A-4F0A-8729-EDB4-20720905BF13}"/>
                </a:ext>
              </a:extLst>
            </p:cNvPr>
            <p:cNvCxnSpPr/>
            <p:nvPr/>
          </p:nvCxnSpPr>
          <p:spPr bwMode="gray">
            <a:xfrm flipV="1">
              <a:off x="884376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btfpColumnIndicator735562">
              <a:extLst>
                <a:ext uri="{FF2B5EF4-FFF2-40B4-BE49-F238E27FC236}">
                  <a16:creationId xmlns:a16="http://schemas.microsoft.com/office/drawing/2014/main" id="{F1249834-6842-0726-0B83-84BB55AF5123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btfpColumnGapBlocker638570">
              <a:extLst>
                <a:ext uri="{FF2B5EF4-FFF2-40B4-BE49-F238E27FC236}">
                  <a16:creationId xmlns:a16="http://schemas.microsoft.com/office/drawing/2014/main" id="{54B87170-3204-6ADD-F234-F7E6C16BA8D0}"/>
                </a:ext>
              </a:extLst>
            </p:cNvPr>
            <p:cNvSpPr/>
            <p:nvPr/>
          </p:nvSpPr>
          <p:spPr bwMode="gray">
            <a:xfrm>
              <a:off x="280769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0" name="btfpColumnIndicator347931">
              <a:extLst>
                <a:ext uri="{FF2B5EF4-FFF2-40B4-BE49-F238E27FC236}">
                  <a16:creationId xmlns:a16="http://schemas.microsoft.com/office/drawing/2014/main" id="{6977FEB4-7B76-28A1-4FA4-BCC7F01D22A3}"/>
                </a:ext>
              </a:extLst>
            </p:cNvPr>
            <p:cNvCxnSpPr/>
            <p:nvPr/>
          </p:nvCxnSpPr>
          <p:spPr bwMode="gray">
            <a:xfrm flipV="1">
              <a:off x="582572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btfpColumnIndicator167028">
              <a:extLst>
                <a:ext uri="{FF2B5EF4-FFF2-40B4-BE49-F238E27FC236}">
                  <a16:creationId xmlns:a16="http://schemas.microsoft.com/office/drawing/2014/main" id="{A3ED558E-0B59-A5D7-CA66-5CF94B13B993}"/>
                </a:ext>
              </a:extLst>
            </p:cNvPr>
            <p:cNvCxnSpPr/>
            <p:nvPr/>
          </p:nvCxnSpPr>
          <p:spPr bwMode="gray">
            <a:xfrm flipV="1">
              <a:off x="334823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btfpColumnGapBlocker343825">
              <a:extLst>
                <a:ext uri="{FF2B5EF4-FFF2-40B4-BE49-F238E27FC236}">
                  <a16:creationId xmlns:a16="http://schemas.microsoft.com/office/drawing/2014/main" id="{C89B5A36-AAA1-51AE-D03F-5A6AB9F2E75C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9" name="btfpColumnIndicator210533">
              <a:extLst>
                <a:ext uri="{FF2B5EF4-FFF2-40B4-BE49-F238E27FC236}">
                  <a16:creationId xmlns:a16="http://schemas.microsoft.com/office/drawing/2014/main" id="{CF8DA727-4C8E-4B8A-3986-AEDB29A977F8}"/>
                </a:ext>
              </a:extLst>
            </p:cNvPr>
            <p:cNvCxnSpPr/>
            <p:nvPr/>
          </p:nvCxnSpPr>
          <p:spPr bwMode="gray">
            <a:xfrm flipV="1">
              <a:off x="280769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396828">
              <a:extLst>
                <a:ext uri="{FF2B5EF4-FFF2-40B4-BE49-F238E27FC236}">
                  <a16:creationId xmlns:a16="http://schemas.microsoft.com/office/drawing/2014/main" id="{33D89EB3-1B4A-E754-E3C3-49148D3A2DD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F6ADACD-6925-4DE8-A425-F595D8D8D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4" y="1"/>
            <a:ext cx="11526836" cy="876687"/>
          </a:xfrm>
        </p:spPr>
        <p:txBody>
          <a:bodyPr vert="horz"/>
          <a:lstStyle/>
          <a:p>
            <a:r>
              <a:rPr lang="en-US" altLang="en-US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M: </a:t>
            </a:r>
            <a:r>
              <a:rPr lang="en-US" altLang="en-US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se Paving invests heavily in paid search advertising; Only US Pavement currently investing in paid search amongst Pave America brands</a:t>
            </a:r>
            <a:endParaRPr lang="en-US"/>
          </a:p>
        </p:txBody>
      </p:sp>
      <p:grpSp>
        <p:nvGrpSpPr>
          <p:cNvPr id="20" name="btfpColumnHeaderBox799102">
            <a:extLst>
              <a:ext uri="{FF2B5EF4-FFF2-40B4-BE49-F238E27FC236}">
                <a16:creationId xmlns:a16="http://schemas.microsoft.com/office/drawing/2014/main" id="{765A988B-4D3C-4949-A995-D4F4C1E2615B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6288775" y="1517574"/>
            <a:ext cx="2572326" cy="288219"/>
            <a:chOff x="6366272" y="857047"/>
            <a:chExt cx="2477492" cy="288219"/>
          </a:xfrm>
        </p:grpSpPr>
        <p:sp>
          <p:nvSpPr>
            <p:cNvPr id="6" name="btfpColumnHeaderBoxText799102">
              <a:extLst>
                <a:ext uri="{FF2B5EF4-FFF2-40B4-BE49-F238E27FC236}">
                  <a16:creationId xmlns:a16="http://schemas.microsoft.com/office/drawing/2014/main" id="{252DC390-41DB-4DCC-B25E-BF56A7790BEE}"/>
                </a:ext>
              </a:extLst>
            </p:cNvPr>
            <p:cNvSpPr txBox="1"/>
            <p:nvPr/>
          </p:nvSpPr>
          <p:spPr bwMode="gray">
            <a:xfrm>
              <a:off x="6366272" y="857047"/>
              <a:ext cx="2477492" cy="288219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>
                  <a:solidFill>
                    <a:srgbClr val="000000"/>
                  </a:solidFill>
                </a:rPr>
                <a:t>Paid search traffic</a:t>
              </a:r>
            </a:p>
          </p:txBody>
        </p:sp>
        <p:cxnSp>
          <p:nvCxnSpPr>
            <p:cNvPr id="7" name="btfpColumnHeaderBoxLine799102">
              <a:extLst>
                <a:ext uri="{FF2B5EF4-FFF2-40B4-BE49-F238E27FC236}">
                  <a16:creationId xmlns:a16="http://schemas.microsoft.com/office/drawing/2014/main" id="{ED6FD3E3-CC95-48B5-B1B3-45BD1C93EBEF}"/>
                </a:ext>
              </a:extLst>
            </p:cNvPr>
            <p:cNvCxnSpPr/>
            <p:nvPr/>
          </p:nvCxnSpPr>
          <p:spPr bwMode="gray">
            <a:xfrm>
              <a:off x="6366272" y="1145266"/>
              <a:ext cx="2477492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" name="btfpColumnHeaderBox187732">
            <a:extLst>
              <a:ext uri="{FF2B5EF4-FFF2-40B4-BE49-F238E27FC236}">
                <a16:creationId xmlns:a16="http://schemas.microsoft.com/office/drawing/2014/main" id="{EC744913-2726-4830-8029-67A4EF84F939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3309487" y="1518278"/>
            <a:ext cx="2572326" cy="288219"/>
            <a:chOff x="3348236" y="964653"/>
            <a:chExt cx="2477492" cy="288219"/>
          </a:xfrm>
        </p:grpSpPr>
        <p:sp>
          <p:nvSpPr>
            <p:cNvPr id="22" name="btfpColumnHeaderBoxText187732">
              <a:extLst>
                <a:ext uri="{FF2B5EF4-FFF2-40B4-BE49-F238E27FC236}">
                  <a16:creationId xmlns:a16="http://schemas.microsoft.com/office/drawing/2014/main" id="{7BC01BA2-0829-4030-AA16-A0FDB08DB146}"/>
                </a:ext>
              </a:extLst>
            </p:cNvPr>
            <p:cNvSpPr txBox="1"/>
            <p:nvPr/>
          </p:nvSpPr>
          <p:spPr bwMode="gray">
            <a:xfrm>
              <a:off x="3348236" y="964653"/>
              <a:ext cx="2477492" cy="288219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>
                  <a:solidFill>
                    <a:srgbClr val="000000"/>
                  </a:solidFill>
                </a:rPr>
                <a:t>Spend $K</a:t>
              </a:r>
            </a:p>
          </p:txBody>
        </p:sp>
        <p:cxnSp>
          <p:nvCxnSpPr>
            <p:cNvPr id="26" name="btfpColumnHeaderBoxLine187732">
              <a:extLst>
                <a:ext uri="{FF2B5EF4-FFF2-40B4-BE49-F238E27FC236}">
                  <a16:creationId xmlns:a16="http://schemas.microsoft.com/office/drawing/2014/main" id="{29DBA5C3-F9CB-4761-AE20-794C5E988431}"/>
                </a:ext>
              </a:extLst>
            </p:cNvPr>
            <p:cNvCxnSpPr/>
            <p:nvPr/>
          </p:nvCxnSpPr>
          <p:spPr bwMode="gray">
            <a:xfrm>
              <a:off x="3348236" y="1252872"/>
              <a:ext cx="2477492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7" name="btfpColumnHeaderBox793910">
            <a:extLst>
              <a:ext uri="{FF2B5EF4-FFF2-40B4-BE49-F238E27FC236}">
                <a16:creationId xmlns:a16="http://schemas.microsoft.com/office/drawing/2014/main" id="{97DD5DF4-7BD5-48AB-8590-F10BBE728633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330200" y="1500094"/>
            <a:ext cx="2572326" cy="294983"/>
            <a:chOff x="330200" y="1072850"/>
            <a:chExt cx="2477492" cy="294983"/>
          </a:xfrm>
        </p:grpSpPr>
        <p:sp>
          <p:nvSpPr>
            <p:cNvPr id="29" name="btfpColumnHeaderBoxText793910">
              <a:extLst>
                <a:ext uri="{FF2B5EF4-FFF2-40B4-BE49-F238E27FC236}">
                  <a16:creationId xmlns:a16="http://schemas.microsoft.com/office/drawing/2014/main" id="{547EE73F-FF62-4D08-89F8-7A248E8935E2}"/>
                </a:ext>
              </a:extLst>
            </p:cNvPr>
            <p:cNvSpPr txBox="1"/>
            <p:nvPr/>
          </p:nvSpPr>
          <p:spPr bwMode="gray">
            <a:xfrm>
              <a:off x="330200" y="1072850"/>
              <a:ext cx="2477492" cy="288219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>
                  <a:solidFill>
                    <a:srgbClr val="000000"/>
                  </a:solidFill>
                </a:rPr>
                <a:t>N of keywords</a:t>
              </a:r>
            </a:p>
          </p:txBody>
        </p:sp>
        <p:cxnSp>
          <p:nvCxnSpPr>
            <p:cNvPr id="42" name="btfpColumnHeaderBoxLine793910">
              <a:extLst>
                <a:ext uri="{FF2B5EF4-FFF2-40B4-BE49-F238E27FC236}">
                  <a16:creationId xmlns:a16="http://schemas.microsoft.com/office/drawing/2014/main" id="{165BC8FE-E1C3-4CED-A567-13E6CA0B0BD3}"/>
                </a:ext>
              </a:extLst>
            </p:cNvPr>
            <p:cNvCxnSpPr/>
            <p:nvPr/>
          </p:nvCxnSpPr>
          <p:spPr bwMode="gray">
            <a:xfrm>
              <a:off x="330200" y="1367833"/>
              <a:ext cx="2477492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3" name="btfpBulletedList109036">
            <a:extLst>
              <a:ext uri="{FF2B5EF4-FFF2-40B4-BE49-F238E27FC236}">
                <a16:creationId xmlns:a16="http://schemas.microsoft.com/office/drawing/2014/main" id="{298DA627-4034-4DD9-8F1C-94DABECBF0C2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9248217" y="1875743"/>
            <a:ext cx="2619933" cy="2819609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spcBef>
                <a:spcPts val="900"/>
              </a:spcBef>
            </a:pPr>
            <a:r>
              <a:rPr lang="en-US" sz="1100" b="1"/>
              <a:t>Rose Paving invests more on paid search vs. US Pavement </a:t>
            </a:r>
            <a:r>
              <a:rPr lang="en-US" sz="1100"/>
              <a:t>whereas rest of the peers do not invest in paid search traffic</a:t>
            </a:r>
          </a:p>
          <a:p>
            <a:pPr lvl="1">
              <a:spcBef>
                <a:spcPts val="300"/>
              </a:spcBef>
            </a:pPr>
            <a:r>
              <a:rPr lang="en-US" sz="900"/>
              <a:t>Opportunity for Pave America brands to invest on paid search</a:t>
            </a:r>
          </a:p>
          <a:p>
            <a:pPr>
              <a:spcBef>
                <a:spcPts val="900"/>
              </a:spcBef>
            </a:pPr>
            <a:r>
              <a:rPr lang="en-US" sz="1100">
                <a:solidFill>
                  <a:srgbClr val="000000"/>
                </a:solidFill>
                <a:latin typeface="+mj-lt"/>
              </a:rPr>
              <a:t>Both US Pavement and Rose Paving operate with a high </a:t>
            </a:r>
            <a:r>
              <a:rPr lang="en-US" sz="1100" b="1">
                <a:solidFill>
                  <a:srgbClr val="000000"/>
                </a:solidFill>
                <a:latin typeface="+mj-lt"/>
              </a:rPr>
              <a:t>CPC </a:t>
            </a:r>
            <a:r>
              <a:rPr lang="en-US" sz="1100">
                <a:solidFill>
                  <a:srgbClr val="000000"/>
                </a:solidFill>
                <a:latin typeface="+mj-lt"/>
              </a:rPr>
              <a:t>(~$6.5+) and low </a:t>
            </a:r>
            <a:r>
              <a:rPr lang="en-US" sz="1100" b="1">
                <a:solidFill>
                  <a:srgbClr val="000000"/>
                </a:solidFill>
                <a:latin typeface="+mj-lt"/>
              </a:rPr>
              <a:t>CTR; </a:t>
            </a:r>
            <a:r>
              <a:rPr lang="en-US" sz="1100">
                <a:solidFill>
                  <a:srgbClr val="000000"/>
                </a:solidFill>
                <a:latin typeface="+mj-lt"/>
              </a:rPr>
              <a:t>opportunity to optimize SEM strategy to lower CPC and improve CTR</a:t>
            </a:r>
          </a:p>
          <a:p>
            <a:pPr>
              <a:spcBef>
                <a:spcPts val="900"/>
              </a:spcBef>
            </a:pPr>
            <a:r>
              <a:rPr lang="en-US" sz="1100">
                <a:solidFill>
                  <a:srgbClr val="000000"/>
                </a:solidFill>
                <a:latin typeface="+mj-lt"/>
              </a:rPr>
              <a:t>Opportunity for Pave America brands to start investing and </a:t>
            </a:r>
            <a:r>
              <a:rPr lang="en-US" sz="1100" b="1">
                <a:solidFill>
                  <a:srgbClr val="000000"/>
                </a:solidFill>
                <a:latin typeface="+mj-lt"/>
              </a:rPr>
              <a:t>bid on high-volume unbranded keywords </a:t>
            </a:r>
            <a:r>
              <a:rPr lang="en-US" sz="1100">
                <a:solidFill>
                  <a:srgbClr val="000000"/>
                </a:solidFill>
                <a:latin typeface="+mj-lt"/>
              </a:rPr>
              <a:t>to</a:t>
            </a:r>
            <a:r>
              <a:rPr lang="en-US" sz="1100" b="1">
                <a:solidFill>
                  <a:srgbClr val="000000"/>
                </a:solidFill>
                <a:latin typeface="+mj-lt"/>
              </a:rPr>
              <a:t> </a:t>
            </a:r>
            <a:r>
              <a:rPr lang="en-US" sz="1100">
                <a:solidFill>
                  <a:srgbClr val="000000"/>
                </a:solidFill>
                <a:latin typeface="+mj-lt"/>
              </a:rPr>
              <a:t>capture high intent target audience</a:t>
            </a:r>
            <a:endParaRPr lang="en-US" sz="900">
              <a:solidFill>
                <a:srgbClr val="000000"/>
              </a:solidFill>
              <a:latin typeface="+mj-lt"/>
            </a:endParaRPr>
          </a:p>
        </p:txBody>
      </p:sp>
      <p:grpSp>
        <p:nvGrpSpPr>
          <p:cNvPr id="62" name="btfpColumnHeaderBox279529">
            <a:extLst>
              <a:ext uri="{FF2B5EF4-FFF2-40B4-BE49-F238E27FC236}">
                <a16:creationId xmlns:a16="http://schemas.microsoft.com/office/drawing/2014/main" id="{9DABF459-BC4D-457F-A240-68F1CCCE32B4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241867" y="1534782"/>
            <a:ext cx="2619933" cy="291303"/>
            <a:chOff x="9384308" y="4861757"/>
            <a:chExt cx="2477492" cy="291303"/>
          </a:xfrm>
        </p:grpSpPr>
        <p:sp>
          <p:nvSpPr>
            <p:cNvPr id="63" name="btfpColumnHeaderBoxText279529">
              <a:extLst>
                <a:ext uri="{FF2B5EF4-FFF2-40B4-BE49-F238E27FC236}">
                  <a16:creationId xmlns:a16="http://schemas.microsoft.com/office/drawing/2014/main" id="{DD6785EB-E97C-4EDD-8A11-D77EE37D2337}"/>
                </a:ext>
              </a:extLst>
            </p:cNvPr>
            <p:cNvSpPr txBox="1"/>
            <p:nvPr/>
          </p:nvSpPr>
          <p:spPr bwMode="gray">
            <a:xfrm>
              <a:off x="9384308" y="4861757"/>
              <a:ext cx="2477492" cy="28543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>
                  <a:solidFill>
                    <a:srgbClr val="000000"/>
                  </a:solidFill>
                </a:rPr>
                <a:t>Commentary</a:t>
              </a:r>
            </a:p>
          </p:txBody>
        </p:sp>
        <p:cxnSp>
          <p:nvCxnSpPr>
            <p:cNvPr id="72" name="btfpColumnHeaderBoxLine279529">
              <a:extLst>
                <a:ext uri="{FF2B5EF4-FFF2-40B4-BE49-F238E27FC236}">
                  <a16:creationId xmlns:a16="http://schemas.microsoft.com/office/drawing/2014/main" id="{43808DE9-D727-45D6-B01B-FD0E8040B99A}"/>
                </a:ext>
              </a:extLst>
            </p:cNvPr>
            <p:cNvCxnSpPr/>
            <p:nvPr/>
          </p:nvCxnSpPr>
          <p:spPr bwMode="gray">
            <a:xfrm>
              <a:off x="9384308" y="5153060"/>
              <a:ext cx="2477492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Rectangle 18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z2dD7pS103gZfJ6l4USC3jqtWOPR/ue0umjYEY9KlLthURXCUyUuZbmGDPUXB2idlVQc+R1c0j6vNnMaKvr/AghcgjyTjoGcS2U6lyGcWZbvoYqQsrFJ5DN1RdHsB5gZU4BjQJ6xKwDUEsW8X/QQ4uIPkrhyjIfLLN7ZR3puqzBiN1rMnctBA0J594at1EN5QJYMsPufr2eabAYzIDriNpy1GurybA3KWqcTPRKYh436jQqOHiPaCJtAtzpRgB7Igk7tw7BcBhai66Lc0jpyzFEK/4NRoFF+cso+ThI1HNgDMZbpFoCsJQtilLqk9nQPGX6RXGboCTf8hOOcHaKoTUKF81dro10jOa8Xb8mBGZBE+xk1l9MAy6INl4AKPS/xGlFcbpIEvxqLrzQ7/eMzZ1AgKtg4c9i9v3iRGVJlU0kgQAY7EVXqVgIXO3Q4B+Glq0otjxeinHCbh2r+t/A+ZUesyxm7bY8BcE8yVcurveX/SBszoaX+jTFVa6pGoAyHVOewlFapYIj7s34TD9yr6TMLsZG/EIQ8k6rYuC3mO3jPqEWC8dIjrt+J8U6guGI0k40IgUKomT9NghY4L2AdqG6v/bViG1CZIAJAfq1h9XfWFuAcMFd0W92BW8gDUgAwm933zwqAFGOTKx6fnfx6Hnp2QsLrWUZbXALLBtzK7AQP4iswOaHaApVr34A+R3U4Nrok1Ar4psOGuAIUwTuUpKt4Wj/zeR7XbOJ4DR4SYljGjA0WByXvLO0rHLRWVt2M4GXtqMb6DeAlFG1n4/whiWYaPJH1EGCIoCJLsQi/p+1J8521gpVx/3gq/KofVoWiO/9ZGB6jj0SyVcQksALv1rDGHlm44oO+wK/fDxt1QJ17joK10dZh3GQaBK8XqFdGGpIHnTxug6QFsKOgLED73JTMewhmaf0qm8eLq2Uh5dKKlr9BAwv8t4jrGc3dJ41wg/zSQYbdPGttZ/B1vkrW/wBUZct8SB0dy0579Dxouepy6R3WxNqWeBCDiVk0JjrA8bDVuMbwkBw0GjZFU9I5sYbx6N4qY5pHnjvl1SIlglJMm97OhV3CDSpk46NFcwecaqiSi0uVGJn6PWGcyFXw96Bxo8npO3twUkFv7U7ruo9jKCVjCv24AZZmBxrvnjJOYbpRB7plkFGeZBcANxrZuDznu3feyGxDmmffTBwvkRNYNTQnPUbC4CqPAl2pPtzhQZ3ICjkBs+oIQdV50lgqgtBdRjGt1bqqaXbrS4Ex3kLJ8hcNbTKqeZXpRCgWyf6o/6h1/HSGGyx0xRmHpAsHhzY+RTxclmVm7xhWkdC41Um8D/gjEJrWFjDLpBEa6XnQYCPvZct3T9vFUVZq9+aDgemu0gtwKrFLAoj8aw/mtASaoU+fyzh8qIx00TaSFkfI1m/D45gViwbiXwAAdA6N9Bira4B9dkspHaR00LfgxneeJp6CEDAYm9Zw6NVAHQISXFccldpYty/shcO0S/lHIacVhWhu9yq6tH9TVtgGkwDzSvlOVKTz5FQuoCBBbqaYDj2qlMRabXtkaeooOwKoiF0Dd7NcMJ1TbFY47yjztJjnK2mJwuFEQZbcd8tQq5ALaFKK/6CbmHp9sdF2A3NbFVUhaJSX1qU8uovS12qTAqD3vhuTcjQlUJMf0bRodzTKlwijQ5VyqaGOOZxHZYPaf/cfaqHUtkkKMffzftVdfLj4iZsSZswVCg3SfR3amc5ktPKf9vYpKqs5YvilaG6PZL0zQDaeATw5BwcaL98PiWyFavnMt1yS8gexNV9p3YQZF/TZ8kx0NpQzpwbTTHEsnJkdAAll7bfcPW5n/R1PgwL1JOahjZ5yg7ubIlxNp+oCCsYABaPhFItC0x7D1GhSnnQYbFt8vqsy4ajy7esD7UIN+jl6NxSMHC0uFLQe9uCiGCBxLrSkIeMA7yMwNA0Jk4gTK3X7E/O2THDgCcia40H3uxVvIS+fnkUHK2ryiWzfzuj1yQ00KIL5Q0iMfyaProIxUV8T4UWT3iACsRmmOvPXvo1Y2UqNgPf78RoBjOsKRtA6tlWnVdTnO7WnERGT+RrLrXPQyIGxYEfKL2N7Ic2uVlX2xcgWiyic3BbvfzTFbqcpgYWVEMAF86gsA9vs7iDd26wkzXPM9QRTD6snm1L8hwyFCx8HCf5E6LHvW8IETOGXUrnOzx3cDRQdTNWGrBEmS1w5ZCUnmxY2cLj6kHRiSmNFyZ+sUIWBBFsXnEgczrwpkAItx5+rPOp8xxI+YBf70poVWC7A52+wGQkQhiHComU/IuVdbAsw26NzqSGRAU6b1VJBph1B8IMd+8coSteuMDs0vpOs9eEQ3/HQvF2OQag1RWOrlE8WNd49eGKR2GVkkvUIE08ak1BtnM58YSXXUScGeK7g6Apk11fSK1Zp7l9S+gpcG2eTpn87qJTEjNP1tDy8C5r0J5pWP1EyC4M9VVc8LTTUR+txEBf1l+Vb34S0BGCqdGC62OA257+6/iJKUYr9FSNouL97vpYvx+nnyQOC0BD9RcLZB/uIoEIBjAfx9W4vY2wq9CWcbLEZn6MK1+VFwjPTHNflW+ZyR2fBX/3BG6Hb5tu6xw9PHleS68f37EpX6YIGuYiCaZvD0qU7BQgYe5ZzsAzxaTMrRJKS3O5ZqJtH8YzkoLdxUKaEQWGw1v0/pqqN4FsrHYS/jzbyih+qeBRW+YEqJt5pn7vOVJOTKYw+QVCo+e7aPayy/iGd6CobpF9cPlhVIWOSaKPMzaHqzYDf4qxBiAAn4VZ4smq5AybAvPHb7XQXwVmDAVfKJ8tplQRBiBRmrjyJIw+gWYDCkhWB5CoVXg18lkbXQs265WKxdgLs6pc7QlCszF4uC6qgIG1pofrvx7TBiFlBMm2RCm1NqqEkxG+y6KiOZgcgDDPvjdI6FWKomMNBg+oxPPCMVfZotFO7ZSol+BXngSw7G0qUlP5hgzaAaNVma/ap22fQHvNo3UdatL/cgCaQa4+v1Zld8mtxUQUMGstqPWN8bPG0+EG7bf30klkLPPSMGeNOa6Pj/hEB7EDcDjRFibH5rpD7R4laCV6VtgzGQRII6T8hizz2qwnsdoFcO2FBJfOEbNcYMvMNa7HC9AaNPYbuGjd6L+klbOggiIy+0jI02Tk1QS8zXar/co1U0or4rddkRdY91vv/PZ0YM2yX3rm4xS7D8atNXqLq2ZAfLiOdeDJj4IBGSatRSShozr2It/RFT+c8fAvQlzpKC8SdaWMnpvNAqIMhiAtTJ+A1MqYJ0KQFWz1r7hBvtpDO822/khNrttRTeY5/KMY554h3VzX4/46z9K0GeSU/s8HJNDs+Vbe5dJ5A8dTn9Eh8ee0Jkyk6myy67a2Q/CBoCZqUD1DDt/r1Zml85FDejIh8otfWvBlaOOgMM8WUWjgBUJELYq73NeepjFlzpSKaOBYxTWHzr0BFyoFFt1WflWY67KyjeKC/8mymSPi7BRAZ+sO8syUaJvE2+f9roYOHaH+a9g0mNJrpxUAJMHiF6ippwMGaI+LK9dcRX0n71EhbEvaKNYptW5go6yRwLxHBZmOA6UMXVbKVNehpCcdcevJPJV2B7qggjGEy0FP2ltWBzbX/I1fae4aqz4JIbtuQFgkrF7J7uCEY6uBlL9ELbq9EWQxnuoNHBBeEOwG/kdUgyUw2rtBwIYl0+M8/DMziJqiRPtjntDqnylDju6PYKPGquriPuVVknNYE8B9dv+1/DGdIY6pWVwXYWdwxMVersDr7UZnTpKsArQq8J7NvYEjWz0NCyI+4Axvor2jyMBLUUZqXCTBC4zWbl2JIiAVlSOFXTNnztyLnZACpqwn7GdHKsQIIY4G0HtDDGngdyqfaxvhmqrQkJ+0AKhuM2/IIBQPelnFQn0MV9v32lXEk6GXVlRVqOhY9CTbYqDsfUoRpRPcbGpJ7DgGO3DVWdJhtLk09tBu5+grQISGcX4x/RYWMWW+UMzyl/mVVjNkW4vKvdPb2YU62N6fGwmHdCV5qVglkBQ3XJUWCvciiH2P10wQPXHPQA+ErLUpuHEAKekGMCGMaJ2a3cETVgscpMTy0laTPTC/SfWpIy5/dNSML5sG3gd+3QwR8hS3YqYtO28mKvOHveC/AUrcUTgcV87C7r4E6O+R/bp+IoeUVMepmLeNZhMhtyWKwYOWqTCAdF9oRhjPv5kn0YoHlohOnopGVN6dciHkKN8gALef7k6bA+UF6cXvsi3prUM8UMPC19aKOg+04k3X9NUnnTPIcL1btkDw5CYtYjHhNeuRXPkWWGi3Hz6LEp/WnUvlMysx3ebMAVtMdUUUriyzSjoTRaQ5NeQmtkjiupGa19lqGMrpCnMG1UaZviup2RHYzp1n0hxtTwCArb9SWmM+SI4UzsqHqG5OTeQEyiig2Thg20Q31aM/eiTbcSMVKbPpUThkfpquh62EBUY0jXmHxgwXWmWsDT6dad0z3fdy7+Tx8LClLzlxj/UXuvryfFqgb8lfbpuwWVEiipg7j9HSDHnYzILxol1A5vi2dBRqBULyaLmXssOEtnhTgHyu0gbwAoM8xkkFalHWpaVHNOOuEE37EB9Gfy0woisfaDAf9QLeEnoC9wwqu+G+seXJjsS6zb96uBP4A7RwwiQRqdSZdf+mB+fisqt/KTY6Z/Cl3LAbvze29vk7RWGAmQ1f/0u9BQHoBwtYAzgbV0Uhdq6MSctL48uDTpVbh3g2H1aLnVhTTYR5+XkvnGbvyCILkdWuPbZl1zYxSjAxymFcL9kLiW1ahIiD2GTrqngv9lQTdn0Xe0IdFhBvAVokn4kS2+dNntbIerjXbXjx1I+xHuFpI/ww6hYb3h4Kdfhf2kMtNAoMd+ZsvxPOzD6bUDmOR+TcpIBaWDmVMjIwpOXK/zSq3jeB7Eag1BGE9+jGE3x5hx1Q7u224fdpdtvn/hwj4UFccrzJj/KiNxvfdDk5iOzscA364KW2OzG3jrFW0g6PLLmkyTU9ZdW8yh1osvvjnmOBNixz+K2q8jLy2VMDm4VyRL9dDyn74xOB3DbcH5Oyrlamv8UK7lu5Gwseoc9gzD5Z1AqIk1yxSWhU+8UuKPmpuEXDxtIjYe6RG+Vhtfl/ysIdeG0cmzn6zj4Jguj9l/OokTgM1Nm87UGQ908C6nY8F/PxJkMeP26APk+IoQxAs1YA8UjrwaVNVxKSq7GP8WOG6JagAckztMGBME34Y7maN/7mzuJHtIA8Sgv3k3yO65BbD2VvpBleRNdr2AcPt666Rfcdv1LvuVv3FizVmVuAJk9NWJYJcTjE5w8ATyAlVLgs1uXBLSEehtNcI5kaoN9/34n1nPenJItLp1jQ3x3UPR9rEAb7HsxaSgkX3FaRE2lW9fDDlA3hl3smkCFmzikH4CuHxYh7K9fZ9pWnX3QdzMuOlMpiBf+rFfLWxIjwD98X+jjSGzql2DqChMFW0e3PHplExqbq1Ralbe3MhI8wEAPo9U85No1Zg7EheM9ZCUrn/7mqmbFInxV8FJpHDh/bEDsMVrSIAA9RPLuobctb2VT6B/OloixoEgdK5z2foTSviCXGXT5Byuo4yF0JWT9AmITxq+qDKsVLcHLcmfnTMSDWgS9rCKnB5LzZXTJj69Ppaf0DOoyENNYFxGqZu8AEzuHrHVQ7o0xBx/wil7KbkFN1o0e+ImSfjIOWw3MBr+B29zdWZ7RtpV0fzhSeyDIW/7x3bGcETsBQcFOc3EOFxz4XMniuZROp8jixXlXy4rwpfG75mSeolvg+/o424RKRilkyJC4M51+EmdLswUPdvbm6gfxiqdpS2UTw5w+5xUyWit2CK9rXuw0q9ZkEYb9tS0w5SyQMBwAWBFBCmRMskfME5U+OXd2vWnPXuBEsVMtwpViKCopSyZ/musWwlDowxoKTLU2MOLMlRw4CTc+/idHKzWeA5sm1ycEyd/3tCHvVh9LVQ6W23c4I/qUuwSJo1Ko0itdcokuxvHozV9edIodLaXBO5TnX/io/aZblp7My3PUSBZAB4ovpw29K2qpIntYME7D/FghU0P/pk8X3mo6yDcg/0mBtHO0mWNOJhdIR0o17PqQ18RGs8+J1tu4Gf/izTYhwt/13oP+Fuebo3Crs429NJJ/dJ+mH2/iNdmUbnhNO2tsE3f0REUwoUoMbSTuU0hjXvgvwtdzUidYsx15zakMRhAIKAbhSjcfRtG9lLRpMFbS5qdRQ+h4Qh0k4MXlkvx/KCix0PlXXMqCk3u9l2c3mVGuiTx1pDnS4nptoFqHjmzKitnORuxH6BhxWq3D+9XubIJq+pZQL3KvbcV1alR6e1J2xuSYs0b/1imHfu9S7SY7A/ofb373niIlgOoMIUj0GF5eEEDb6pc4vwMIi+KpQkvwV+vUVxldgqofNmdETr6UkteQ3ewSr3bO6aal4HbfjQqBg74OhP05iPI+wdnF0xIrqodlyJp3RUWb70nJzxMP4SsH5LdtC8YPRGXoBFY0G9dh7dU/MvpO/aVXv08nEZXzBfR2MHCsrM4RlrCbeipcEFHcS9llEn2wjYYqvR0JrujNsj02E0cHGWUbV87+/SSsq+NpWfeQPQ6sK13FZDhuDVmifLOCH2KesAuRQDOhypz2kpMmsziL8NCEFMVcgtzs9tgPNN92GvgJSOb4a7q4sniE4o8yggw4fWSNDtK9pdZXd3fg8oAthglGGdzDEFf93Sinhujigbo4NG/K0RuPkR3fLP63pdSja9qmP8a5Kep1rzy6ZBbCFcktQQDtLzVftXpZ3bGgg6oQfeMZEyCWXlWJRpK/w9ayGVNNCY1tE09PzOIaiG3D1lO3xsk+CG8Li7gjsG/vFa0+Hw+mNHDcpktqOdr5l1nQbz+HYK02Lq5dNpOStyUjcNnHoikiTDsazK4+kEkLuaqV35KzuFkfT/PJBv917ILn00lahEuD4ab3iUfqURbzD4iVsjRVs5tEnK7b/imDuxk5dX4QNo4Bz/lUbjFg0F0pk8k0DfGrttjp8LXB5Dnbhq42DDi7CrejkSS9nH1sgucOJaqQ1sj2CuWN4NN2c9Z/9uCdbL95nukC2VV4gjzyWAYaYQBRCV+uLmvtlE+Hs2pj6b13yuhYiYGOcVzrIHiNGH5AmU6WrDkcl9zuoLS1Ik8E3/smKgDIlmJM6tKZPgEI8T3QQDDbVEiDQZINMrCkXRdEVEc5dPE+yMMXdMKCmI4ihekR1LPSv7Nx+bndjaDYooM6Ivb7GbB4utBmKxzNcuc+vDWXCzKMOo1a5TC8fajtBNarH0rDEBNE+6jfCfIQPKFzSRPQOEvA0USzWEkSiW4moX85bv5iHrq89oI/9aFIcCmwROJSq9lNSCHVRTaOb/pNFeBuuACpnwEa/1s2BwNyNsFUn1N0ApYm0IH8spnB9N6Zzli0BkGJG19nJcNDKxMmtRebSyrmgvSQO8FVvdb/+OFq+y3HBkTOGc/CaQWtNRrLVotqMReGffUKuGFanZGm7sji3QEGm8W69LT9Exv+uX7HiHtWI1Fx5r9sCGKb0Pm0f694KXVZE609PryNSWRxWzKnas/nT88rLsiQEcIIu1OXMkicvvQFD4SzM+wix8ynItfRhTPngXRlRhIk1QDtuYGX8taGJIZ9Kb2DuFASnjzMoOQ8N3tfYPqgqRLAc8/M0Rz/vMqKSoaViIMHNKzTD+LINohYiupUzXzQA04oq1ggf7lncQT5XgYiXyQaohIZo2EAe7wPjqGvllHLnhITThoLrUm52ssaj8uk21ZQojuSrzVZSakQp5wDED6NWe60Nalb0eA0kEMSutZHKRqP/cVHClxYUAU5egeyKJBXdX32iYC5kWfC/gTqhQ3iPVv6rW2jgdTSucu+maZNBggjF4qjN/1nfcVRcw8Q+fNTBf8O2qpGM1nNaqrsxypAYv9fcUOPPYoOCpsqp0VetUAqbfAozfMKeoU4H1xlrnLh2Ikm6C/YkOOoKKzp4eyvZfHsfk2VmVAh6RlW6hQ54EPzUT3WM9KTPilAqtEilWIp0R2Rr8KNvoWKZtsxVfMVbkMM5lpspXl1LnejERfTbnJfq+LFve6zIKyJ3BeuhHopS0kUWrC6YgOJ0Qq2gM/nFFnxlOkr0ALUY6+EL+gBaUIbA8v/uT8pUnMh10QhuwOko4J8qitX7rSzZR2f1aVHlwCdI+1vq9NtwF97A9UQLrciHIdp5pNCXzXP6korOPADYz9zG/7Nw67SLjp9URaAyhQJ+DK4fTn/4Atl15ccphXPe/jMO6ipIFH98grQfdXZz3i/vRmh6Asi4uxIU75Rsamz/u7RgRMSQ6+gLycrSraDH+C0Dku9nNR6F6t9ykW0DW1nmdy4qHD+O69gQPxcz7w96B1BAgQdEbVrfHaGW27pnist8DrBpu1upD2YJiUgrYtptg+xyAjYB84aZE0EMkxJQmnoJikaNLThALL29R8HQdR+4JFIZyhWCxS2/IvIQ7FhZT5MtEs2k9ZF55bZgoXeds1eNlGpSrLgddwZlwr4nNCzIOjbNHF4WH7PhU4nugYpYmo7M70oQmzVSEIOQJc40INMOxo7Jy1lIf2TOMn+nfOvrslSWhV4TWbSoPH5QlYgYF+yVpBHAI0WcLQ1300Bx5lo3R53HerxATxnuk0Sx5kRywWTI8WYKLoUbf4gsJvJRw66SAyQBm2xOuP0wIVYfhIk+dSJldLzgN6ozrAY9cwBQPxsNHbdhdxQCCyVVbVNd3zMpwVhMt2CasvSdiWPDEA+hVMCspSMZrvjN5zmqzZBQOqLhjI1hSdX+QwOs0u9coDIyvWXnDt1kfqbMAkybWtvHJF667BAdhtyNCnYStZvPCYNVzE8pHdB2zdfvDCNy7DktetdoWCn33x6vp8vT+LWJUQXsuYkbJIO51ZU0TbZY+zB1kFs8dM7v8i8bz8v3HeJAmV1v7ZqeAzQdagUDso8jvY0NJM0QGALKCeRTB+nFkwKMtfJqYwqhcIxt3VXyCkeSLEvprRfTYUpy2Ir6FWc2reb3cUPW7nGm9tB9T1XvCnJRB1WiJ/XVaiX8RxnuSeGN+fL4KBxcdlVeGaTaMHunmgNwrIwYGRtBJaTILRuikXQFIH1OmBfkMYapxfBFxPlMglJlJ+t4/p9BXwtkeJHepv7AOHjJc766BrhSImcB+xPko7uMo0yCw6kVIXx2+KGttPqs2QW3DG3QIK4GS/jDyJmLeX2fOx5LQ0ckYrKrWsVooqhKEEBrxhMITMi3AMdxJVrwOvrLZ0fzatIDJoPS6s8CXVs1jfyJd9z0QN7H8BDYK6mZ0g5lU2gbPDjtxw0t997sdq40fap1fJkqaK37bGsuUUnAgdsnvuBbnZcvmXzcTEP8apkiApJQFYJwohwt+95i5U8qepgvuId8jHoCtwmtwNoRVxV5rZ3CE6UxTv6S/nzKE/beqHF1Suy7LZe3HCBkHmufTjw5OB97lckUWaXFthvzYEBd86kOy8He4kGiEVb9ieA/+XsSuJrmL37WGJ7Kr81FIGADhvfh9/db2Dn/eNgcvWH56wFBesAdornTHa1l4iyNZhBrdkkKT67uGJoPg04U1XKfT4PTAcxWXz367a6FD/OaOcvdh8id1ZK+92t5tPAQY+NBmQ+s5WQgvE0ZY7vFsonJdcxcHMkhSqZ6LXpdEGKwu+Cr8kb3WP8PF7oh4r8La4sW6jbZ+vuKBM3dZWq7m/dB4CAZ6mrqiDbiW4V5sMjOv3MOYGJjnCGRbWtF/ZT4biAcAxWXz1+74rKO+7rEjiNF+s1bsgZN7fa22hwDQef01bHFGTzDTHwLbfOHSfKl/+2nU4IHpW/zwWMalyr2cA1nJIq2WKiZ6rLWVPbuXq3MuBlU5FKbtwtbnR4JTzfovdnLHOsb64LnNHSFr0Mtrg8myIW+d7vH59Mmkgef/kLPHDMkjRA0p0ZD9Cgy1djVHKzMFNNB492J9h21BI3okfG5r89zQa36d9vPoSCI7PF9V9hjDLl4HMVY8487cG1SxuKfmqvG3rG8Daaj4OzfZ0ihHASQ1FQRtl5eyhXtQtZ2t5BO4bHTqRY9vgiNX0dBuzzcClBjSujo2R64aWi0vXaC9AwAXbFpwc5mxKr4Rqblo88HNdIM5I6oI0rEj4xaGO3y8qHITVE5lAMlj/UwtDgs96n9mTnZW6o43FFDYv7eKz1jy54esLAsHut24QR3wc4RuHb8RsEpuQ8juyVxyFlz5dvN0J/ciy1iAZHIpYPOuACYenrY4siZF/udGC9i5Fw40zoVzAKoM6pA/OiHO+w5wDpp4sl0ifo7nUdTiNBYL1ItY9depzZeGIvVJ9xF1NgvxAiqLuSSZbSfLs923GgdjRNZMYSAPCoRZ2weZES9cPRmNkEAzzsTyxWFRqzAe93LdfJMNBOebkJiRmWAkn5OLQIQKyeq8FHxVjsMoB3UmjQNjRIrnaXWt9vxp7Il4vG6IdnEMQcguT3bwfpBVEM4CgQTaet9YiXkl0SBn70Vy1fM8/0o4tE01KzWCjV6OhxacuGEvvnv4WXyJmiVEgc+HgW29NnUOOV3yyEnUhbnGMkt1H0wLdNhG7XLoZ12+Km5+IqK2y+oJizuY0yX61rLeKo6hFeJpPd++6Evywm5TImYPM1erBAWuiRpyR9IEgkBeK+EOJFV0JCKJXxKAxLTPC/IWLt95SL+wvf2wiVxcL+1fmIGB9/RjqlP/6phraA220Cx14N6BYeCjKVzH7KNzN8N9nU8+bpSSXURI13lKsqYoXyJ5TB0MgqiLeIJPv27WpSV3hgz8YrG/4ZJJ4v6Fs9cCOHCs7yaA4DKeGlCOUriPXCZT+jR5hinRB0XHc1P/cDAbn28NBRmA4BqyhAHlnEIW/3SFi192U8KC5yhLzIoiGMKeyo1IadPri5rhOa+btTcZEJA4xeKUvQDlWY4Zw4dK6XeLU+6f/OE2q4V25XvjvDZQfJwSv3n5NYJh9uGac5kI9Y2W04eZmxaCUuIV5LyflJ27w7lZ8ToNW1zwWuK336DmXGcpGm2E7GVeHzkooIN+YNAqkwhkzp4RsjfVlqIaF5TswU6n733eXTbQFr4u/7KZuKh9Q0QVg0Pu4jBflpanZmexOGZ/kwiKem90SaMxvya6yJ+DFQblO+H0jIRvPfbCDeHvLUq64S9VJZeuaQuV+F9PqsTJ9Bxa6f4d67c1LHPFPLCyoijPgGgnFHUcxd67D9Dt1lfR0cZIgisFdUEUSiZzMbSAnG6m0h564v3OdeafH639pb5sMPDi7mPwwGBwgWn+n9TkbKxS23bV/my84Evph0PXf1wlcYyv9VLBojq5lQHaNT4PdAe2sdZNzSCuJD8zLqTcdoIOwWFkkCzMFGQDgWZ6dXmr/rwFUr1b85DvCIkXfCZzQHM0Yj86S1CMhDqTkad2Zy8yTxb6iVNjrpmmpvQiSkVEzblDGC3yOfI4D5P3GbnEM4jL6eSWM2rLksCRKN02wzLFDap4V95z1hlM/RSjf0FPI74v7OCa9Lq+a0OX5bZmNCtheE5RTEj8g/mOa/zeon75DqfyeUer7T2vaX8wOGOKfZ8MkP5YTkSbX+rHNKjTaIjaedrc5hH9PPX3Mt15RA7w/gz7WrPqAmUgJShC43C69ai/eUjzal7nrGn2L/f0c57ey/5y8L7bM6DfxRPeR7aFOAjiI8zA4cZkGPLAcGjofsu8fcAP9EEhMus03xq+bJAKnnfb0t+OSTvMXUAAej0RNrE8B8pc8L9aANA/0jsTypoMmhfunlfVqJ0QRUh4vDVdtOvPBcJEO68JVkSeBUhN0Af+Wk1iRN4ULgI1ravjeFClKbnZTha4gM+6qmZnX0Fuk/Xn/O9BZNEH9sEc8Dbizn2snV895XOjyO9/QhgMY6LJ8minBBhlOyujrZIrgLSZsK2CfvWomETsbJ4URyzTNELPyUGmWxiiDwMjsX2Z2nMy3WXWDOIDoqH2Fxswg6ZYrCoHw9rlRuB6oKDCfemjIiv9PiQcxqbZMI/igpq1eSnOj/Yg1ra/TliQ2qC5vDOlCmciIYuGiKFsLrka0Zcn2Tb9BcaHOfxwPnUYqnggolAQ+Irwqp0NWrAXnHMdI5pv3kl+rA4/tnXmy1rWwWi90O4bz6Vn9THAaU2HddCGxAxwYu/YZrZsmgpsweE4iD16bZUvDmjn9HwC46xKxqT9XdNFOFxzBP+Du+wd9TNoMaQojjsDH/AxB8AZ80RVtOrSX+F3MOZfB2Q6glhW6DIXGOmxw3XwyI7736SloSCzBo213gDXCf5cEPWn16ofAlSfaBQwqXSLLtBS99fZJAdtFR9xAACwkyul2e7KvZ6Ms4qcfXxiXhZJ5EvnBt0EOaMLHJ4DjvUGXgVdYao3q/exy8Zhvzfvsw4ThLHLXfweirVUgnjkgtZkKSeZoUigjY3ptl4LJgeIhGD32zE/sS+x81kxl5dzUhyhrSko/0h7KMT5E+b7p6jYAihBaIdZdQfYoYTohW97iiTG4HzyRaXjRacyNPFOsVHOnGE3X/Eyue7/Iu5OqANDCW2lgm6/7kNscmKwRPJLmi0W0AyM9rFX6MP5BK2b8ct7yd2BidTNWcj0KUA3OdYHeGkJUiN3wySvwy5Qw6B+0OhkH9kSYgHl2tCtkNfsQCMygyZ7awfbRErAN7iJkakwYwf2AEf+Cg4ipSdM63xaVpRJujnTDDzKQ2kK5LoIU+6tpMhHrNuvshaisTBteMD5tyKG5JDfF4MEpLjjMYpZsdTf8W6BpVwNBk3XUCLuQKpiC1giOuU11DKNVim8vuACCzgfyPf1OVOPADKsqrEiinXA/eEPOAnENE/vieupjoT7KanyPFpWqHdqiInDb+N3yB6tX6bmf79LPZYzlAxEkTLadtaY5hc3Pka+H/p9rkwMwavn5PGKzz1E1eHWTrlIgk3KX34PvjOfcrQzg1s7y8zWmgePd9LkzM4rJk96tfdt8MZDyQRG4v2TR4N/zxRG5cwJrI/thtXfZxUK2PMoUOukSGeL637Rl0T8zLfn0Q9t5uQwx+Y/6kjew5V3ITK8CPnZEGI7p374yXIOA4JavyhdMSN89TGImoHh66O1ST+Ng7VQ3RpTyouAC9v4Pr+X6A/xHvqH+rD+Fe3UDFJ/PSCbe0Qc0Ox60lhcKaPrp+usDmzn0TYPBvY4sUWslQpZIfc9Pn0KY1hF4/7jd3NYiwWxqxB1kD94nZD0ZOSVx4V/tE/rOs5GTcwsEi2gl+oPxTiIJFbBBaxmfR7Js0ay+DYPnWk8q31oZ+isga5PLjVqPFUdyztzbo5nqmovWsq+UgtNww3TBAPV2zvjU3jwsdqgM0aR0b6bEFvqZFwG8HmsVQjSd2HFgEpgd4ePIBwgZIFHmQCtodxdZvAU5lmev+vBGhkG8vmFCPUaWWFZKXAHYAT5M7yenodKdUAyqCWsx9YoL/D5bf5HCtdAW/Fl7E9cRbf5gYeEJZHo4qR4+Oyxt2PJwQX5TEY0m/9loq2RVlSwdtgHtexwjWremA5kRO0yT+riNCgkE5I7pF/xRSCBXiaGu2mBUgPk2qlUxApGmD43pwJZPsZmKJb64uysCHEi7UUwZLIzPjmF7xr+5mHoLWwf4UK2z2Q5s4uCyhEqvjzVPDbnbk5NOQv8OaS2lbLpAsuz2xcKC2v7NZTwMp1SLMapAYnkvIOAmPwj0nzR5eO676c+FfEz2hikos0lRczhXMM6bzRZ/fU6LsDj/n9P3TMbING95UJKuQzucsHK8fnY6T4HpvV1s7wjmMJhWHqWV+a5bQDBpNELzeKfYkLQFtNSXCykHoHoUi1SI89aJ7P+Q1suzPRjmyIixN/PpttAkZBrnuWmT1Nw/msHFNQLCq/7BavwFAWjo8D/bZBV23+ABh0k8cVFOTsvc99DEhzkRGwRTsIjIfsiVZ3lhAwI65a8ff84RuNqOfovjWbZvIqwgDsSkiJqh7ispnRCph2Pjcs787uTES5w14GvB6elZa18BWY310qGm8F7xGSJFJ7YHE4aofYY0jkOG17Qm+5/7YXLxzm9kp1w+NeuxrQEVN4B9QDNyzsNyevHncH9ZQhGP8gsMnKcQME8nBQiA9sQl2U8Wr6LNeUJqzbC72WY91C05NhCd38cGQBqTPnID8bF8FZPG3XXNswTbkeIKakyxq0U+RduljrgsRx4kRswAadwwU/p+obh/7INucNzDOZx4ProtwUtepArhFC7+m2bHxjW67yZ1npCxrDiO1plKONtb3hIUMe/rGORNnkGJRxDuGGZResA6n3SkFXFh0qpphFANZ6UqHMoyqG48wf6DiCRz3p7Xwf2bAgTmm0AQopjReVxsN5t9BNHZhtZ+U1/Re21y94b32MrGlPEYmjOKdLwCXa3GGKBy+w0dJ/thHI87pdJUYOusv+/h6+7S1OeEMkJtCUM/0KnwSBQcf9BY9P/DB8xHPi0AhVJU/CL1HI4HKJOHvxtxGMcTyL9Xlrpf6UyIhGqpbfJYUVnWzlLR//nERTstSOnB9g0PbsnZcELv1XVE2EVeShp1wcbRqVUuCFoqAlE3izK+347+zUPY/5Ere4QNy6644tJC9GdsxzKzCztg4NbwRfOnvIJVRci8qTz17FE4bn0J2phRGzJExj6QtwsufFj0/XzQdD8KxOriQwC0Ab+TVKypT16lJFxrwh6Ooek065fcWeG0aGeaJTAHHDIlqhbtCsPNwnAkb6kz9snzGw3vmeq5RC954oYIw8Ndj16/MkxZvG/KlivNUJgoKio7AyvvyJykgexz50r8t/QdXnOofPLBPHRzPxkSZusx67TZad5sAdb3JnL0fmcXTenAnAd32nuNErJ8Dj4pzEdUSuncjmze/Cho1eqWRNxzXsRFcMhZ84WpJIpMjUS12n+PYv+mkrIcu9DBAPVdne9C3csJBiustdl0F4UfvZifncbdqQqRKKwmctfN1IHtR1Iq7e6AUMH2kd5SEZmtNyvvZdO8VVkv/LQUZvXiYq6myv7t7jzd8uFLSNk+yBl/qcG97h9eCZQdG2wSdCSq8biSwRElBM1oEvlMae5UkjX+FlOO7cc5QIZhJwOPuNqhAEIVKHp2DNScTXp3kcRvY8I9KvcXbjh2tuGYxxlHi9Zrbpee4Cr5Y8u5sH1WXx2uaOCwlZsl8fLjprOPTnB5sHWeA1k+C1Japs65rU4rkWPIzrhPN7WP9fNTXJH9B/YthQ1cjYX/wek+Ex4SY0fOBpLba0uou+wQgxSsOjRm/iQ5ojLo/kM+sFY1l/MY8LCTuNA39CEU/WWJS9POlHIQb1P2a+WTnojh1q4Fs1OGs4wmPlADM6e38sGRO20VmuTUor78ic8gKd5si8DY45g9KFS0pMOwD+MoJMSvFIpel7ITw8ydeCrLndFoFI3isLhxH0zpfVvhXafm7jk1n6oBj9SbpPF/jGceecYHYH1ViXYVfYhsognU/N9Xon/tQ7vFPNYaz/PSIRYoZzj3zB3r9HrDHTo1QiAvEetO0dLRIG7qDHbX+07pcwMJgu5clK7S3UaFNYGgC0JWrPr/l2yzlzJMSvkzxLfatV2ksee3IJ1kcNRZLIoxmdSCID0A9XxwJ9ODV8IeI6xGr/b6vbDWvzEvOa4SlDM6RmZi9Wn4Rnq29riCVy9y0W4ccwXLF8q3txIetG6Uv00HHKP4kQJHpNqwC/m/3LZaW4TSauHfYJQRFjmvY2k2lThO4rEfTq8N08GSPdOOhawewbJL4ZBiZVoAkXmi3LRDzKkITqh2IfVhWnrDSG29TxQbssm+Nc6o1VjY4Usb5L+wNau2CJWFYNRF4us/FN6Oo4Zk911iVxVNmByk3ajieEgG348AOX3UHN/YjHxlZGImiZSwzegrNmpHeRLV9C7JwYHu2QSx4qYhVBLzwDPT2xloy8j14uqKtgZjUqYjwAS80gyVD5/B7CavscEnzLEUABX5iodbU/3Wwan6LTYBU0RWBKSRnK+JfmYtXAPNh59+bi090OStJH51XcVEOzoN1dWUoc2EhtQoBE8uOpjxOLNwpSK3i+Oh0vu2j3Tc7GY+Z6PXMlAn4MNWtqRVYYXtLSogmqeTRouaExj1qzT1xS8qch+Z0F8/rBFCd7D+Z+sa6D//CcOpSwr9nmP6cSzR7h6iJacyU/3cif9VGifOI7UfGT4IbF5GDIuSs1saDkPICMaMeN+Q4ElGRFbckgOh23oXoItNLZ4rZAWff6oLsrUS5iDdYwlLAdFPWwOHaTVuNM/hlqvAR6y/0GUtn0cUKTmNu+AvCl0beVVGp6VZBEFEINJ9OEcOoJAl7UiW6KraxD6Bzl6wCq3LWHgszvHMNg/Y1FP/aBm/jTI5aNwd06GNj3k9WhqNgMhMJTIygge5f6XtsCNaMeVR8t0vVKXCuzbupMlQ7McZ0OWowV0ngDlQbXqX35/6btLJQr2mUKSVfRvJ1OQPBj5if9mJ7JPMdIB+nR+QgfENHKGzzTHGfeNG4Xp8E0fvQdJ8r9suLj5WaW9eSnS7g38Gwim9nFOgUe1vG7j9AA70NNZS8H8OisXi0QS94gsllF3Mp3mXopLuh/VxDEkSY7dWdcMyzoOXYHrCoXEegtm4Lxgb5awsNO1Bi+iqV8CJsvUf3Z8995rTGR9eKYwII8s8TSGtpvfK2v8fqRd4kk8nv0XBPSPSXKlx+yW/Dw0ZAoFdV5c9cAqOXiEWlYU5K9oT71uXmKi16u3AKvRfhAcNFmFn8Ac7DiTHj3NEwU3x1eyubgiwzMYYzX+cCjNg6fzf5gLbGh/EDx15S4RWlcMvKJFjR1m08HjmhAeSDB8AwE/44L5nzzqRo/i+wmoaX/PqH2FW11p1D5wlNpDgZZuLAQAnpQMMogzmsazz5TBrwWJ81gRipn7mv36k/IzFT8jG2+JX0jchn3XVH0FZ9EqNEemaPFLycx2H4rSHLqNAYFj5URSdw0NIMm0Af+xuOGpOVY3hiZKKDld/ijK1vEDi/CYKjIcmHV7VKsm4514xd2MiVDnj9m8u4a4Hfl9ud9ElezlJZNr6+fC5UjPS4pRhNWWa7FP/ntX7/m8iD1tEC5LzfYHVdHHgtIzzhf8hw5tJHZ44Nyl7Py251mnv2svj0AE5TqkGdE5Om6JFOjS8+S0iZVHyR4sS9wCGS05v4CqoFdCP8EvZKzQ23CK1cZu0rRIJ+h72REdfokz4k1PnEGuPdBTM1aBD0Y4TOJ27vqYnGUPSx163bTfr7MwXkwhh0NQu83PE1h7ZMtirfbCy0lQ5d2E4hLMscmalwq58JkoyyNLmRD0Uc/8VKIJ3MmOkqJY48sB/ABVCKIyXLwVLrgJmcZfIVrhc92Ot8Vm9mNhfluJQ4KuYfpLFXCgCbmSlZYeeIhQjpn5uaHjnNDt+JwUbkYXv15A4WuFIMtqi9plhx03/kJ8kQda/lrwzAdDuGisjbKa3UtiJ+kcTTHHD8u/g2kUVTiN7G3fStNk8bZsJQdXh+iPltyA1N+OenijjndGo/AVhf/Rq5WKVQqguL9bTiZ8pN90l8S1SsQeIaYlCW1rAEsVM+SyiBMVO3mWEZZu+/8GaqIuLf9VL+CaxyCzFkQeIO+wzk29sD8rzyRcg6Z5nglUGvvqvc2vPQ+lAQ86q9PxK4HrnUVRCNPXwPlMU73L9GqFUA+wZW6fz9MUknDFo+N+GxsmOZA55Vlpal3dK99U6vhkMrSjynFqcRo9YgJb0ydrAuqBOrdcmNQ/vVLcPR/rhG/JQlwJpkLoB4Ya0+C6vua4MGP5z6xigMPad3cTkOeLXjm+vEIoc31OCqHeEStrHpyNU8Kc6O+YG0nxmg+xixfm1ztDnXyimtJhkF8Ivku/CTcsv75gH1Ejz/PFNrNp9qm7RgGJX57ld/8N5stcI1ZGuQQyk1h6g1W5IMb65jRLXrTNYLNgpf/+ZGQ9AHzbcfonxupC9iqmmilqBOy8g6VzWmDg1tIS4QzePwu3lOqnl19uh8VPlVTNQ4mGuEBReFJuyLj5Kgv05T8Vj2aG57bGyaeCqjm5sgXahjsqCEt0P8gJTH5Vith7FfuFIYin73cHhWvhqoqeYhNTBAs/lWu7qh/qfcBAW62BQYLFnMpT3KOsv+1u1ingdXHNI1oVKVe05d9kXPf90X1clhoIQuR7ljs/zOto+OTqv6ZN7L4WRJuMuKMYSdnMRYqi1ePbQlzELMkkw8mFnQZWlQ79wCX01uuB3mnaEPDS4mKzHOTucehKqIgI/Dx9AoZz+NjiIbsFVJ/M+Gvpq0WTvNF9t4O9pwz73UPAjTzCnusOc3TbqY+fqlUjisLnVAxnc1WNtE56RaQkb4DEYDJU7XZiVPuPxtxaGkgxPKiHlrpGBVBuApB03mzZzYpqPKLzWQ5JBkB3uTtkGY6mq0VeBp1almF6Gv/940XxLzKYBjZiwXI2utcVT2v/6w1GDINuhZII9cs2GfRIelQI3iSbnME2lhHzqGkYoddF43T9Z91eeAr23HoWTcub1txUcBeXI88iLC4LXEar7W1C4yBDxtnmRx9BSGfjqsjP4btwNhIxTwNx2/ay0TXWJkjFIOimZXxF9fwNlAJwuWAaIkEl160/iiZ9HWBlwToftG/I6loSHxA6eXpmn/GKC6ML4jdicwRAohJhfXj0ODpDm1xUu2+b28e5V3HZIOp5bGPInGP3Vup7ZZJLtOGlVOR4/ly89+o5f4FcVHJ4+Uqhzy9+fmSzwMtyF8tocnOxrUZ9uvZRTFm6ur4sa41qqi9wpbAT8aNy3u8ZrHkFy+aWGgyWD82O1TjkNABSR8h1nexV4/xCGMIVHRUkkBVa90SilWqloh3gEDSqh/tbPH7P8e4riMduKYPz00Qu55gBT8j1F3LgHiU18S0+onXKjrZvFo6HTrE6vQE4xNN9Nu51EGNY84A3iuB/Vn7+2BHjc/IF21sfjDDiEUZxxUtQ3/GAVmEG1RQGmhYxjCoy3DpDvSnJdutQOUf3cPWYaBTUNJx4kY5t9h+axPlO/P2+kFS1Y5399jbq45i4irIBl8sSUBH0t0hSGdbeSCGPBy6IEnWHtyjkrtj3eNk9n4g5ie1AcoR9KNWth5z9444dGpcX51NFXqpWLWI+q7xABCU2nkevD++ncxlp7TgS3MAajTEpIpdhmUeEmdp5MwbNk3VO4gYkoiYqdhK5ECx4T8AJRtgWvWOZN6o9FwuB64nI8BMHGOuyNWGaAoqO7OhB4uGnOveErM3nPbsNm4uAyMY3Hp91tebPyXKZWgz4ftEZkDe96ExuaalwZj0794U9V8R4zOoC0Zm3NnUchKt6F7tPgxUwIBgfXpAkUR36nYl0NBRhJIsg+CS/tULyHR6H59qPpB2+IcQ+uBNzyfVgmHP3PGfa2x5wuV0QWpUglD6IixAViWVG8Z5+5SgtYI67mK7COBP8Q7hYiBfBzujTO3d2Fi0AJizpJPAjZInTkrJs7UvKlLZ8VKYl5ptSbxRAggFmQmy61TdQTTTmBThRHvdgLx6/wyBPfrBnjb4+YPkICYQT6UIGKReh2yhQsi/BnnKGkyYBMK6bTQyaLcUC4JCoWaSmGJtMzogvtZAugC7GQ78US25WSAcLL9feXWAq0vS54ZxXRq43p4UiJLf/XhjNvWWg0I4Qfkvyrg0nrCyGr+cFYajxJL0Awbuv771LpalGO+mdEpAxHLo1RCErdS5SskUrOx8pBV/KS2+M24ZbZ3eOVQA8C7cKzgEj6/35kDhWTCsxGIte7lDx/Go4Hhp2A1S8tFFQBhGgZ+rL4vlCtR39p5kmeOycVHDAWauu1ab44gf1ammXSW3kzXtl0Y0GyGC3Da0vQrI2l/Xp76gFS38exEFuosCW1guEx0C/+Ok8w0IFKGgjRxNMYoq/PGUM1ZGKG/8PhrDifb569xZAYSjqlF4tJh8FPTz0zSqTZVV4KEpTWM/u2IkRhHrrNUsHp9Dn1Z/48qqWhYm4albXbb8D5mU0eQodL9isZfLh+5FDOqYMjBGjZl5/MROJplYuUIsFS07YQdivSucpSPyD/YiUqhMYetu8+cFiR8VagalafwhxM4XkEeXjvJ/VTRjQihvsjLUrzIkSOEaNSjexL6vihZIrQQE7AeBr/yzPVNhdPexCbb7BmdfUdFbuJHZF1Q2jgAe362ShV1FXWZj5cmOm4RcRjx8PYoln8Yc7Zc2ImY1wFzx76tGfPl8Ud9o5U2W0vgf3LIHSSUkpPi0Fms5//2lvMq5xbwObpnNlBlPS4jZRAXHFjftYG5LowLCdG3kN56xvPRYVO6hyjY1DxRYp2lQcjzXCf4/klgml08K9JeOaMV1qh/X9/fU2K69sRsCT5veC7+QqS1pfoNEnwLGQ7OyfQ5x/62CO4f2yYnYQvjTi9pJgXr8zlXAXlECLw/+iH4zO3jRNuD1hhOMu6CvuYXXtTDtBikJu3R2ppNnLy0/IoTK7FDdeRLoyQld5cICBK41B0Mmp4wx1x6T+YztTZwTuok6gH/Z+gV18Gwb2A203i9m15LJk3JxHkeV0OEk3rMBoNqdbvtfvzBIjiGSA5fNr3rYjBQTUbwiCeHBmp1PGnel96jCkUe/v3QZxAjq4ZLDIhXo2NrMxWMFNbOPpw6hRfYzLOY7cX3VcQI9UZ4ibYucqjHxoeZLA+Zu6IQaz1wXERhe1OHDJozgUR5pzNkZFWmH6PYVcKzt5KSE4cktYuAFnY/UX5h+PNsIYFn7KteSHDwFkBl1Qoe7AFhJnBSRXvofW36/Fzpiw6XrICc12xMrPtVeqs5sBxYiptDhu8e1bui87KhCWgCGXCo/ZzwugF76YHIYk9qxqHCBhVbdCgrnMsycLbIJp3fyzkVMrUQ+j9GeCOoKcpDitXFISmVLnTLysnuC+TstakEPzDAbDT//JMP6gNhqlic3SI69OxKQsydff3opk+ityCSG9ugQG5pSEBnnujbIvEXzOPRUk9StIwDTg/EsfRTI5qy2nb0vKmrMmxY+2imi3dooKm40L8S6jGklNb7V5eVHvqUuKcnzlDWLViH3q2qBK5jXR56BBkXXdp6+VWzun0xptWQBErRzHNi6oETGYJ62FpS2o9ScIrcxq4lIXWa922BbYiQIc0/QCmlWdwwrTr5GnLnBJtL60JkZyRZZSyQPJ2svBQBr/+3pM7RBY7caGa0ZsPTL+Nhjg3NhSXeFU0Xxi2xRQyojTl8mOLaccbKIUI1HrCPDBHlII98N6QvIsV4pxqYn4GT9PBA795Gal+3i/heYYJI98mQhbcC+mid0ZoJA+Exy9dcJq0UzKJniAxSyQ7H3iPDlak5/Gb9mh18i8w1c3U34HtgdFqzDCxKEaGolSBqbXROXfqc9wY+dGwOlVXjRohQKX2uwsIhDwf4Y5UB4rZeeg2lmKFFEX8CCWiWW6WvBc5nYaRTq1KkzD4x8OOEMtCElHbmulJeqNkNo2HOXqgEjjVrLG9tJuyBj25Rva0Tlx2xHt/0Rd7TjKVO6efsOqx+BrBYGr2PoyOij+RDLLq8UuIbloskBJ3uFRizb/P0yjoEHeYbvvFKDfJaWg/SS4KpXzy0VFmthqt+qxp8MggHoWfnDNjCNVF66lr6ZT8Sbeq0FB8SStVvQZDUAgkvLSLspZj7fR6yaKzKaxJM78k9/8z2By++gE3VV3BlVM2+1Jju05pzlqgtqDd54VW149Dp8yeOqJzVr0e61ObXD5IJ5F4uTyAWB2wvB3sTJ+TxJiOYcssqyEk59GQ97EIcYmdZjb9UGcNNitwUs0al6sWP2Vnum0qAvkOyYyiFJnwWSAgYIvp6BLb2ftv98HuPfyd3sDIiNqMPsorSZ/xh2qVxUoRaFRc5bI4f8uD1vnPD5o/ICdL5PvU7EaLBC7hrmmUG1YZB1JSQxwHU55fO3hV/70ep0Ss3FSGdNHCSWwbUfBm5VaQHVyuPAp4CTOijNer3/kCqO9KftMzABxN5tRoIENoMPFPZOvM6PrL7EET5HOnK/NPXlqGTCgyHI4ZMcG5FOdohhw0shiB8o4+OYHNXwHiE3JNWrBOSakLuy9njnw/+MDx6xSMHIbFcPTY+02NEBNsiSrL7/BP+v3F1cAf0WxPBVB3HJ5JY67pq4/m/yX4gpe4pk73rgzSgQ5oQ/06O5qnmTZ2vUpY3mRjwINwh9hDwLd0ecISF/n9tq2zGGhClDMCI4AA9DS1V/Unpeyifk4sNScXXDTjznNFYP224nsWdSzF5wiaIlAm5hWN8E4QAy52EbKRO0tvhpzkg/9h6z+/P2WbahhBcNcJ+YfPT/Ayf3HYeWx6b7jSjVGWXDYM8jskOcNrRNS1Pdq828X24q1WThA2Sa+UgB/8fa5AisK1RNpy3DU3IK7omy5/mWDjt22mIcVt4rBjUN/Sl4JVO0unBZUxfF+k2MVQmBDip9ESKI9DhXVofR7uYTgJvvYKIa5N+5QG5Fqih6NtkSsVWb0o8aaFoIp5TyM6EjD3glv8A71e98PF8cFGr/cFFJZiMb1276yrbRMs6wH/vg++IcaZHAwgw+CdrFzAE5vILbxpxYQ0tM7ZEy4dsL8twdwIq1QL4DcmNyfgCqatNqvO5b6V/TZH/zVA2I26FO1Tcxq1upZw+8h2vg62LXIY6lfRJSkM0Oya4w7X5pxfSyXI6G6fSuNVCvYcC3G2j3iDohpPLQ1IfMQOoSdY9Ka8vQUnOWYy8YYdRqgd/lyi42Tx+rvS0uEZw810vA6bTmPbXV2hPnXGa0NLVY2M2sGJxRuJqgvg/cLJXPwto67fJTqMYuclg4dvf7OvaNelVQH6wPqzwOTnF8U04Bl3Eu5t8lbU5Mx/dRgx9hITcN72mY4R46bWlV5RCV7EVfL7c5KugbP1QPXvLE74xgEV8QF6qQDiHIl8XJKLwIFwAqtPEmt+orMyOENiihokVSX4yOIB1cQQVA3hx8QcLxOH5ipSibk/KLhuxy+MJ3FVHtvpcNmQRsD02WYV95So4XeBqb5Q5Qlu4NUQjGKkgup7Xo3I9jbfOHZBAu7nFfsThjou8GCz8GlStd3ieJGt9342dzt056bJtWzDOhnYQabwI9WNzme5dzJ5KR7UZrd9Y4fX0eMYwhKpCwRhccLAoorK0Nk+60xykix2QqnRBSFcivqI+spwK4fQehtep5EzMc0LBcWSN8Lnwar1jN5vUtaOaydFQA7YHMEuH73G7T/M0uyDehiA5QsLr7m5hLgHoCt0eB+QOTj8hhBbbZmklUtWyHpIrZgtNWwUaZMn5ypD5Fpp6abelspHYz+1J2KhkVktCFj2eezm+wO8szE44427E0htq7L3RiAO7UhFDyvbSv2rioZkLUj4GOLDVJXcEJrkfyJK5lUxd04gBv+WH5tnVtHBj+B3qamrYbo0f6hWEdulTfOTFtRPqiq+57wzGYqI24hg3EEmR7d70Yggwt2HZdPRgWtpb5L9XTa3XuwD/Abp8pBMnukLwF/Lzrvctw9DJT1iQmGnBh+iLVcn3rSG9v2cdV4N/rtsftIshBg571HfAOb0Qdwo4/sbH3hCs3lm8WVAaor7w5eSn4R2j434ebdRnbRW3+TvpUKCQsciORdB5ctRsYr+GEyT7vEgTGx6sKkvMy424qrhcWIDNpvBSy70ozAGzfACqwPTBHU1ykcR0MPNn3sXFLVikTW344cA0EixeRjgQv0zHSgy+fwyWrt3FK72VrGAQDO5FTcFOGKxe4zNKdidSUZQQPvnAndJkQNCmVAOPSk8QhD3Pa3wxAUKRRfA3ukzDsC3qJfcDoNa6r78pTFGeRRATs5xC25fWwF2JXVJpGs1LkEjWwk4N3ebMyEZoX2Plbzjlkb1NyA/JCkroFIdJ82LNgTpv3J4x9L4QQ0tMYcPbR8ZZARDG2krNNa9kxXkJ2sPnI1ry214q0AClZv0c+KP2s42C5fp04bVIK6Ah3qEbuiGleKJKPHQGqwtsBUqcZ7Im+/uZvHA4STvYFQH9r8jMtVmVlPWgj89ezTCKq+zBvNgMmJbJ5VavafpvROx8C4LvH7q1FwvVAxeI7v8pPQP9cXr82VcRQ9ZJeky4N3oRKMvB78220M4ZwANJ69eqqdQDRNDJlK1kwLMJ5w+lVHy591Ox6iwUlr4Eau2YF8AogUzLneiT3ep6MDIQsuku4oHjkwN6clqjWP08c84oDNPyOlfCiiyaGfB2jif3T9xtKCYSfXe1gU3JlfxK3UArmO2Ecc/Pe/n9mioT1eDMJLsz1Vt9+wpL0d8749qY1AIigv/eMRfCg08Ou30ZT+cAv8GrlUQcQyOTuTmN5LKTTcdJT7K7au92mydr+9P7GX9Hzx/8IksclXlYeWWGRXr+ApZXrYGK6I4rC5NrAyVs+M055hT6z2SHZsIgsSe8l+Q1kwQPgZmOzSfXd7JJd6g1upDh1Uqz7J/EmNhlq0JirRDk84fUKYIT1OcjuY1+3cj45tsegcV+wj+v7bpEKj4VWKnZcI2cAdrvMhdsQh9l4SbdmbFJJBhdeZvODmbkTgFiIrfL+9oX1SLuFPv91i0//W9Gw4AXtSi1/cOGuzOHfzl80K6HLMLzYbhCn0AewP2RRp7QXOrw1tMckKy/RIS6v3QI/+KUtXUBNhwnrgXFIFlDxvHZFKtQOiXBuqzwMel8G0pNpWUwMTyvwEtd6/FmqRUntjM30IBawjQHfbsywSCeGXROfjbUbtRxnJ/gYF14ZmKKtbdnJ4LCO+Lr2borFy4384S9lNcm0zC6zckalkPrEZRQVwu3kRDcACutpSizSdNT6z463l+bXtt2Rrlq3KXwmjnZ5Oce/2QvFqWoLrPYW0MgzZTCQOlxGSaIMn1/pBdI56XEky/kTI/OgU4r5psQZ3xJ/IHG60aHwo3rScHQN/cTco2H2rfjQe8WS+aFpo2Abw1JBEvGkNPzxiedkPyJFJ4W0itGFkx+/OKGuE9HhdCfJyGxwPPygO8nWSY9IfvpcOpCDUnPNEuljQaCIV7Ln0tnlCsHogktMi33DeQ3qGbv9BHJgEWtWHCB5AYER+H871JYDt2O9ZhVZARAt1xfZscbUGdNLF/70GEGJYUBFE+EC7LjCVhNbS0RRZJ3iWQJojzYfz33oYJKoYyMrok79YbrKFJ8SJQuymRe9Xr7sQEq/WK0oZiXpssc3YtkXb5/CK46Hkc2wr9BcUGbV67zG8GKYzzyHGRTOSdDO/KueZkSobofW4wVsUZf4GWU9wNDhprIRSUuPBLVAZgJnOmVkCPBVuV9jzYjl0FYWi9/8CDzQkOdhXUaYVzn/wBK0Cb6EuVuevd7+tmplP58LrE063F3RUn7mAu2wyBR5L6lUu36kUHBTCNN13DV1cX2gkNw+8CxnhS6XKUKiiz6UbotHUP/sZmXm1J8fQS3Bp7LVDdUgj1iteazcjpSWqHDeBWUCRzcpUw2lOUghAGNxXUexU+gX/14NV1+PYWRcIF+VrybzMRXoV77h5+X1+7B3asyPfxtHMqsMkX2AzLRZrIdAQLpjxnQCbMZeZur3MCEzFMOd3eDN95x5vW0ISjrPC3aL+F5bHfhCWIfjhesmTvTVtMCeWE8S4VKnHH7tI/MONLB12RgiNN6RTkNBqh8cqTwOALu1kAPzUTNp5FKkVS1kPPEN1x7AdlvlYuBYHsaArWfoY3gKFyOK+X0oriXyvOZ9/cmHj7MV2fZZZ5kIC9EeU2ZiRiG8zmeWCmPYwkShesdiJ+KYHQZWxTfgS9W0RNf0ND47R55v8CCe7RECLf0YCDrKTtroeztrjiVXrcfeCkrjDOb3I8Jp1OZvu7hpDVPSjyaFgGJwkQhcFWM4+2io9cwW84bCxqAAfxeuzBjLA020n4ygS5tJp8zY4npM+FedM033pfpyhmLol15jcmq6CrBJusbSL+lMa8rzVtHa6FQXVnxSbb9lG3MPdUBkhI6X/cakrKrfeaWqxk3aH6DDmDqioVQ4IhTnkFXBzcYxVkVr90UxnttgabJfhcvTvk6LRmyQpE5QEpMi2rl1E++L6NAA8VZrZ59hW11dWGd+Iu4mvztHFer/xIccMX70hUjgdq9bdVAZylFEBQ/s/kTbbq9HNLYSxk+u1WUH1akDpBRLk3G809G2cA0/SFFc0HBCImu9J4fxbkh3jkBpTYyIJ84m3TcYuYDS9FDBtzDdcg7NNm+adI9bxN77W5SrcgXpH+IjsUVm9C1BgXeH8nr/i0fQOwHMyRdgf/L1XmPXFZwGBuwRPDcM3h+Yehs4uhy6JFoDM0ra1uA5Hld3xtzLj60NRUcPv01Ow3N/22YazoJtRLTNY9qZVG4wgI2cgEfwjD8c47VG3kuSRe+9catKcvAUQ1vpHiz0zyAIU3VYZAXKP+0TLVvpn2vMqK3W23d9UTymBJSr2dybdPvsgUKav0jDpZ8Npy3QLY1nbbo+AEkWgwaXH9kcKRKE/kFwdhprjjsGvev4Ee9QqJwkXlOGp0sNNiAqi+JwVC+vey63zjUu3xwUuPYhdb2blFoOocarHIunVsfqOpMIhM7m1tcC8TEAuUaR3jmTRcCQz/+Gq7gHjIqx1PU/RY7BV93Wfdg9k+XQI8ewI3e/T09X1Tb+4t0HV+terSfN0x9nrah1G+RLWAo8cgatN2Shp3IHlMmVnaHkoG5sGUC5dSqIlqKPFPCaeGehCDYu8xW29vUS++KmwZqnFAceo2nTeyxrYllSgHcMQ/ny0B7fUAs2CPVee9N3ODanA/TxPYelL2OmDWDXKWGVmFJA5WOur3IyMg+6X6PAV6HlXyfFqHuRPlz3L9Zprd5Il0RHMsP4qtzFVrIXp03viN6vzNjZ0siT41hz6VWJAI30K+ZM7NG85YvnPm9jvVqkHYZ1pLTlI9X0K11YEGVqWXgHECb1wE1psA+a4gM20CcmH1cQZUf9bFHZ0zVDvYzzQdcRPKNWZPCe/3Adm9QSvwYFdgq236zKxQwMR9btsjHx4Ij1B15YwCk+tmhRCY8MV8bi5znkMocCHsiSzgfFYauWuaj0P0bJRMVmWjYBYf/2RfNJAL5YQR99TLbmjUgcW+oDlg4vRcai7FjKtTfzmwrwzKEnmLnXPlAU46JHSM5VESnfFST3+BQovcFBsBXJ9WmYSa9jX7VFmYFgR7Akb7XmCruEhHHZvPCDpuq5fl7SbD/1xGGc/yCvyOTMZN8MaGoYSG1bqgbOGNJZBWbnFPtICop0ZZlM0/1xqSFA8BfP2plNfFu6QLd6fbDTHTL1nvEjgjeGxYZZ+HnZbsyPDmsBMl+Geo5L5BJd7bt+8Zl3XoXB01GhBPQKc5pKQMajnmuTxBxlmpI3u4ubHe5uSj0iDWoVNw9paQl9BP4zqA0XmUqnmMGcWasvnqsvJ84YKCA5xiR23NXSV6xPoS4Zpy4IGvvpyebO2E87SBOf11sBUTfM77ofxIpnMslemWNe3S2yOTEYc1WVgmVvB1pJxVLr2yS4SNlc9Li2kmvr9KIT1Fn8JaGVDXGLF5zSqjnnymnKYM7H7JAQ2j//4hJiy3Ad1OgUbMIShQ4HecuI5J1Y+YnxIaSlmlBhZLUm1mVyLhqkr7RSLsFWCL45Sv9ha3ZakdGEP7JYde/gwo4020RNp5sTPdnYAak7rTKE4zDKI9YJJjMGzTo4oNIX5dRrSU4RXaKPbEZK0hBKqkHHbNnj8rO1AnMr3hftk1FV6ZPwp8ZG2DolqX0dun0/EO4KBXR/H1fN/VYV50S0uwCsemxSReNDZarTBNLmhzaIVJ0/8sfrp/kUlepnzHKm75o9OPHq17Ga/o+rerkjEAaMDt8lOuuEvkA9pxWLAFpFkpnvtQJq+t7kPEjdF2r4wVxSQzo40GF7N7cA64lLseaAT9aOT/M5TfK7ZKULgw62Rdl6gyB6NwC4WEU1O1qcEEfqZlWJyXO7gcQeUOyVT3vWSRS5tm1OSurfzKvU30ehXhZiH4K5T+h3FGQZsv8bamCULLHUjP9NY2LCizZ0XcJvF8CSrgWqOCKoATadejiU5f7BHoszIIVVPVVh7NIL5/A0ESefGbz41hcm/FMNQYJCducF9Mw7OvbSSGLNbnCKZWKx5cr7WgwfJRmz1E23y+CXUDPY5UswqJB43G0hI/FuxEv9U/JOG85hzAsPc13xgBT/3i/RBy34JZFtSQiIckc4/akj1Pg/Xb7H2KfbAzFk1EUHKSLZqoVuIrLTqAFt/OicuEakj3KVSsip4v/jGttF6BsCwp0BIAuA265iA+zyAPC+UKFXdkqRFN8efGawaZ2h5FO+EpEIUKaO6xo+IMxcV3KNuTfkPoQmKN7mhsHez16bb/QYJsSRCB8hgiuzkiqCIAx14p9BfY3dusdHuzTzPaZ0dlocxiEQeAvNk/Vg2bneiXlklAyLTCNaZuZY3zgyk5Vf/9eZT0YTRJ7NRdVvKABtapRcvVqYFrwkV7mNzzLCJdRC34Ykg6KitLdp0geYKEEQuPPsXUJ7TP7afafEbc4JDn1Sn49dHM1N2d+bJ4fKXMEyqc/qtge9WH3qUdIaHKrI4Ka+vXNdn6RfA2AO+hdELlnEipHC6zOY8GZSFNrpj8QwcpA/d9UPUkT2CgQdD0rU48RhDHsSJt5jQnEhkHdOnlnr+guwKNsO0YZjHwLoOl9nCQpY6aaJwL0KHrIoIioQKdd/CmTrb2GdUXKPHmhYw1zWF1o3nF3d9X9B7Js5tIdmJTjX4R5Xp9xsl1obU/KokxPnEsGvZHMAcb5K4MrlMOAdTCKeT4C0jOx9QsuMR+f0417nMG2vFeOOc8rNAbtrlosgmbC+IklWi1FCHR+kBWvcghCfgqG3bXBR/yCUG5wMPGSWPp9XuaIot5rhXc49uayY0U8NIRUs/CVueGwt5hnLxS8Rs/Iv1OuB87Pv/8JUDcI/P2TZGnWQeV+YnHa5gnwtIKS42OlTpfalRs07/tcYryMtLPqWSoNNfJnt8bVMYZnZlOFOKHx34Zer4i6mUNapJBrfRZaC5yscuIj7JBnw4/Wk5/skMnUFC+PsFp4ZBzwGwfmYzcy6YM0cqS91xGkQavABD7cvK0obSDhl7SxzHTVRWj3IZ55HumXOwT/Ix3tp4RFD0M5XU8QMxhNoMVhve9drJ0ZxUq5v9PXlCf3R+lwvVnCOCJOA7V6uW3m3PR0nK6NUraxl5t+0YfO9b23tiJbBiAPy8dxWv1IsC09p0KeRQleYNKT8v/O18T6Z/xL/LHWFSjkfObprOyX3u6srJChOMBWvEMz+x/wZccMl6fwTbWZ9/JQzwEWBYCgmjg7Yv9xvCBbxl1bfp5aPWIB5UY6NhapkkrozhCMpoko2xd2g873Z89KzaclrucsPNOzPIkgBJ7Gh+3iOMDdrqWx3Wa7T77Zw7MjE5iTgIQtFmsSS1EKPoycIE9w0rU6Utu0lPTNypQR1+SZEINA04pi9L6mpdOG5Ssg077dchwb6eAJLZZUrf1r8paDdyqA3Ntr8IPB8Q+5W5zsLU7KNp9tOCl39SPRnk4N3KvCVsE2rpoUs11CdBykJ7aS45zROK3x9XLQZ3cR9+6+nQkm7/wz1BYwsCfyoo3pyGzkW9oV40RO3HMK8ha6jotEcpJjAiz8iwQFXq91ilCGrFMagpq6PBOdotMeeXC70MroAw8VS7t2UIQ9yp67/6NS4z0BdokHr74NOSlnK+ueSxpg2/JhSkZJM4oXASXKPCYnxd82bK52quG+IMS+9Pf3slfcQatODoh6M9No47+vmLU/NXYZfXkXWr31Ydb9uDT+iLZ0hX3x5BooOnGS3BU7sq8O9qJv0qH8REVRWFn6gQL2hYIfFt8dUIqF8lhvcWL9XXgUar+h2lb7rZoHl6fnib7wkhWPuQECjwBMsegPqcnZ/h8EncLFGYftdk1KXBFuGThAGg/5LvOufmNo+NY0w/eZX6PWx3ZEIi3tNES7xaO2cDUohLuSwtfJQvfKrsPr03vI3Dndzj2tEwE1e2IzSbIgI+2L2ijZTwqIXe9X13h6c/8DgXFfFXzbAtt0HRwYfuQoCEOjtjL9/iNxPTv5OE166VtFbV0RPC3+rt7ET5JVqpgu0dTHA8Tp5T4yVhY6RTHvAkCLdxgncEHG9ZXdgsEEhjHw8ACQIdmAiOu+nD8Nt2snpW9Zn5qXUMPgcw+WeaPLNqK6+B4KwxDxSKb/YcGa1oT4jYZBTGySvP+PxHSXr35jh5rFk3nSlSDegk7bdiyQqK/WnOvx5owRmF86nYnmMp+NbMzhM5vSWG8Lv9vZoBbOYMAe80wHRKra2S9qkRI+M7o8eFgeuKaQxh9MXM+Tnblf9Rn+MEF1v2uf2gdCL1h7WEMtMrzVtzsdFcDa5GPXX01+wP3RvURc12VehGBvEZuXFikFLA0CDTFeGpE1a0VLuueHOXdlt6psH6oLr4yq+lKWDiqDjd8fFMaApiW4ag8JzHBg2GD0CyPNMw1otJ3V18KSedFl57o4Fm7CImEoo/No+iOysfE/9xx77Hca16ur6MYcVJdL1Ah1quDKTnuGBkgt1BfwjBLOpjPflxfKbb9s2ZkqiWfRsSFXOh6rkJ5BZbnwr5KVADteQo8eyxy3Ew+fWhb7hOqMzYXLUI2wdeUBSgj9YPbAsAhk1mR7oMSaJ+NhWy57gBtV0/RahcX6a+nWJ4SkOF0nJoCKEIXeoQySvrjk2lsSLZzKBAMyE+GrBOEECIFN59/8On9tbdvujztD7Xz8fNs+I0tMjrj5tpW9+erKdMCMy0Kjr4U2/EvucJbi3CaRzO/UuJ1rHoQL1TM+T4TRqcf2hB6mTUvih4EWp8p/0XUlJ+gbM5m+FjUDW8pSk8aXO1+fMKhSlXgcfSuwSrXvlzAhzbVVVK6t0O71AMF6vKXXKfDKo9bmTZ38SW+dOMdHRkfAg2THrFRtOM814eI8RGt8BbdXj/BUcFcvlS+sjv4UmmPZ72083q5of3ae/DdjbV1+KSZfjzPHsl5hY5wBqh7I2PrBHxMXetv92oRalFPYUrXFH2+2dQeGs9AFA21FGmOBsNjzOU9M1e+GtoIhKI9gsGWBdfuGD4ER9if62wcWdnb2YDygAqUlvIlEBmf8vHn2n0S72HIHwPOD+YEAmYDO5wMlCMyxvW4rTeZBiXd0PmhP0cGvYenayHghY+raX90mXOjODbv4g1RGvVNnt1JrjxWW1y3UzXZ067EiVe/lGYF6l5gcFdroE6EjL+cstW45aNWFmOxMWw7uepSBsOGUxfFU7KWK/Ks9lM3I+771rXs2kAJ1YhEIZsWVZa7l1xI4ZF4A6ybH3Pwl8+LTK6j8KE0GSpLd03zBpAkmTUcPgT7YOpqHwsFxDt8dB4Ijuid3yXTgX80IOSRf53GcNghnSvcnTBkn3J7Fq6C+g5MeA5Clp/olIh0Hbf9DpW9LkdMmtGjgujKRQsI8v5XBcSHO48Hv8lkGbjkuJ8DD8JK3VwWnVX3NgYC1bGhPoOUW9SjZkJfwppv2TRrbv6y6RMAAINpjQgIS0RWfthdNsSx5Hp+nePwS5rtOYdOQmNYN9gjut4RF92usBT7bQh+bpAnxd+TB6f5yYSVO1buXT0HelnbNgvrP8qD+vlTjapgqBWjxS22iqYySZcgCCrpV2xUdzH4scCxk7DsrvwnpIbXF2bTDuARj6wW11vGtWhd20RHTHi3MMV0OJxMHovnuHIP+O5l25OYSx/SsM5gGZ3w5O/bZUXiSrGGVrBB/IKr3DMvtO9op89uuT9WVZXEcsGe27aCSqvVBcHwf7rwG9e02592cTmRrSPgiF191Ju33D3b124+/nRqv0mboKXgP366ggt2LQJ6fieQbCfr1H+oQv5ClCLr1F/FenqckaSn0916y5vHGpR4qWKM9QzAsv+dDfHJ54LJCNR/dgl+KNMaadaGsIV2y8qL7J/FTzIj8FOiWntFJvdY2WznacgeD6OAeoUCA+1zW/ETKzPwuXzfm9WDP7UvvV0cD5PSOS6+WNSNhU+Xu25Mi4U+2P9VYHKLiTPkfCenETKRhTrz2FmH5Cg0cmwtR5Fw3LBI+l4iFMM7cm3461Og5VE+lo/9Kqws3o+gkynM8ZYj3n66tTZLFEbwQEeOOFHuWQpa3TP2DvlYn+q3fD/fIYelLrXfwUliDVcuCn6XyexDUVof0NePhIhdlM5shGvXszAL64bOqu4AwblxjHP2WapQH6So76FOXDh/7Kw6yIdGqh1gH9VRpMIa+Y0U7ehz77ONG4xsJRpve9dcA+AsC8tskfuxsVVcW42VugpEd2w2g/anccTUL3ztiiBc9z48A2eA2lqaYydvrrxJWHBhm5pqJ/51KRw8etz99zgKQltoqq+dZigZbt6I9++Hc1CeF7r1q1MKqeImb8LaDcAePleC3K5vlxAia8zjnJT9Hnsmx5yEkO86sAiP0v6pnos41EaJ/VNvKHMmo7x/bhxDO0Aycq+wtXRPPuVDeCJJKpJf48iRTZ9hDWU4rj8+9yU3K0nmb3ZT7WQAhI8YAL0VolYcXNpNzzwjJERnMOU9eA1RlT+fVLUbBcRnxhlfro08GJDNVTCPiCz0mvxazewpgBd7XYPsKtbti9KvausVnZgTEEvnWU4FUxQlPNphpCdfUHL9nYT5f9ICtQLUWJTjc/aV+qxOqNM7db2B0I3CnukgdZyMVW7a27rZ9AqsNNT7+geZLK4uAMSgAJaq6sIVw3kF1xDBSck9nS6Q2ofjYTiT7JdQZT8mYSvL3xBOiCfzsIBfPJSus8SBi00FuRI3gkb1c8oJexC2ZaS4hmsaubUzfJ1GL2xNgWkWa0U1Top4dtWO4WGKvzO5K/oEwyMpFPjSlhuILVqNdnSMlrXDrcioGGUfjDz9s+bQvm1//MWBpoX96tnCnwaZjugdlYfHli/uaVMKvNq/aZiJANDerlS+aDaIOAV6Dy1NUxRIZvBh1O/Xfk07Al1tnTJule3OznWoXUYkY3Jk4eYOycLbUUpKRtJIsDbQ0mbj6PQ4Is+kTtrpMAePqOwYx7G0ZMXq64hYNH2RDU5C8630moZkKTFzxpmVjW7t70wlJg1mjxIGz8mTu6XB/AzXnv52AnQup0q/Luv1ES0oVSrERfE9zkBoCIIBrLmmhasNfjOorpbx++yIs9C0Pt+gItQak4kY+i3bPExlsGAp6KtwllNLNE1O89jwXnfWm0fPXXZg9GM3bqFQXh4FkQFdfbeS9CugrXXxKCR0+Zoa+ElkeghVMKstxdPXk+oEfkFyV8XIW2QO//D7fuldjvySyEPsh920kLQf1skV5X6ijCai8M7r2uvXSbqE2ZgzsFSSa6jLki2MrsFegYThuuZTYK5FRcH7fnxKv+3p+f1bpHWgRgwSPY9grCcuf2hMlngPmhTF72Zz7QHjkVxnA8R7Q4ukuBAjxfRSt4IurKFiMj4SoSslvh228MJvHMpu82ncVNe0HrMkZNggj1zWftV+E/L/FRW4iijd/H81e2jXboZW3EBNwXK9CS6hA14NaCbADm1gCQePFQVg55IpmpvOE1qmkTqW8yxBH/yn9IdB92xfUZaEpw0ixGNHu15pK2UPgzTnnI6H5gcwcdQ1XhRIO7Lae0g/G1nT6+C6l+595GRmSQ0XeH4GGsBHuwicbmEZSk/am9I2SEVU2KiZ1Z1AygY3zf4GhJqS3mWVAb9B6RzINtR5hLPZPintgTVIOyBVNEVv2VQmVI/wCwUo44eULamX3dIW0o1rwS8DhsaxZ5hlRojHWcF04piV1NBul594q+5udBkSlQeSJBYSAgZM3zTFclE93S1SYw2xMhLhaWJic9XKjuZzJEtolsbtPJPT8aBE8kpl8aQhQrYvnTRdev5VR6p1jv8D+bg7Ibx+eKhk8/rGzVIYzWkNj/L989sBe4dq7YIV3/HL8sZo+Om4PmM+lJriEffV83iDlSrtc5tahZ0572X1j5AqJyu/5x3Uw95sycg1YkshhehnaVyIziGH7dAne9yOcDZyaU/HOOsS0hBmgVlsH283qyKQXoKiL9oLOIxC6rtkkFf064872F8O29Dc4MWw4g+pdrKvNEpHotSRydYFhqVQhGdYbthhG+qMG7edmKDyfiMl2VYWUSIFb9zIwa64HzPj0t+9aGZxxdd9kG0WYhbJv1lL/wZNeLEiKayyueJ5MJlq2GPUjIz4BuSbapgsZPQqhxnwrVK3R38blKhZJnFx4n+3Y2mk/KVOLcD5GrpxesbNrYI/IIl0oeYwZRpQc5/aQoicYihWF7i4H9uKHmAZC4QXAAvlSdFwpAlhUOCKOLnaJnu2TyOpo0nG7Rdbjq68PuTqaur691bxwnsf2G5WV6awHxllziJTwCK1x8/liN0Gw6rAUY/kMboT1mUdnzQLYmMUzqNNSib5GdpRM5lV/vA4InV9aWXUOyJOqmhkBrXMnHtNg6iuFAh8NiELKzhc7Rbyvaivm/SYfUuBH+WMd3HFdv5k736rKlJ5d+uFodgG911wliYCg7GuEq2ELzgxwNov9/yrtCQ12LuG2GfItgfwfABidE7od6FShHZ4e2N4P2+gNnM29yogFlY/GPJeVSOVkdRA3WM/izVSyBidUXAjqUmfJwMUW23W5I82u5e9afAbtwgIMgCdvG2f7oR2FNZP3GNQrangFuwtL2PyKinhl0AvLTzywc9vdTmMZ9gUWNnrde83QJWy6g5ymDkjRJkUKa/S/CdVW47AAumPo05/mTznSon8G6OmOqsdwFMoatv5ubGjCU0Ga+EBAL0p5jX7qazej5/wSPNsYitFmALuMBbN/r9NfYA66qz3zqD+eF/7Ud+IvlAyIg2Xp+aeUjF+ompT/oQY9FpRKTyxkYDmb4yoAptPCEInrRlx6MatOtNemD7hUBoJLW300yu3ZeuCfVYIETGdRiubHcinmMdXDFLtrAQpyrYccfCZVOnPxdejcJp6NPO1Nx/ORo/1g5uIXviM96V51liTjcrI1OQpHaec5smGtSnJqDGeJUAXZy42rJIbyk2jEPbqHVdZwywBUAkVO1grXO+bPIro4MuevyBXI1XxHYKhBhwPRkLtioNUx5BgGCJy3N3PAQ5QCLYCQ0eHx3QK2vATXx61NKAqgvPtle5zA+vhrnVex0tF784ma7AjUO49dcumiCkcbdjEmpXhJZ06xalW+3zus6+PWQSlCS99rrOtH/6X64rPiyKTv1u01O+4Ef+YbD82glDh4TRaseEXyVsha0kygkMihR32gpIQyR0c/5ZO9XkFN1QmvxRjw+YmSmZULN1pnNv3EkSHCkFata+og3ERgmxCotr59RMgNsufTsctqam63IjUZq5IaDsV4uGGrZXeCeMBvLgMy75US0mW6sVedBckeB2dPosu2P5Z/SWQ1Rp2Oj50IsMp/OUEs0l79778S0skBzfWCOAR2kO2FjP1Zkxy4jvCAeuomAiCaZcaw7ek6q7UTpmyes9sqQ262zY/JqGX9I9W8EBK7i08cfUxuAroZONhRKT0GcWwjpzKivWbCTn+AIOpb12sM1JhnW1qEsnCOmLgHDi6jCKtTYRJoL6uRAJZNMZWR+Q3Zeq7Zee9sxCWcvRbsO38DIGlfUSzdCklH7dd3h/gCLkh9+maw6v6QtZPDKT+kbVgmmCJESCwh7x8oo77O5Nc14E0jYbu4VHFMAWu9VyjYOc+mQpp+5keECy5By1AJJ+0eRHN9mvPiKsparz5ialHb5NQ08ai51/UbGmDF3H3XCBiyheex/e167KTGIH7cCubSWn4uPlzrkwtZovwGUc34N4PFKr3J8fRLl7NeUG+2NadxPFyDORzklYF7N75nBKps/D73ekNwdTFR6sBLztZubIrRFc3ULyNSNHbwAcvNKiK8kj1RLc7U2cK0jil5ew7YNGJt0l7y/KFhI6iIR/XH5jfiOKJo0k+miMHBhGAFG7MQ1T4QNJlrvEzE1aZkl/I5dqjT04+c4oZMu9+zJ7RyL2pCoZ5n8UvBaw11RxqImzK/hGev36uISbwCtu5e2oPYv8987Ubhsss/Pd8sN814dH8SjREbPSfEWkYNr7LwQBSb6nELU7msGZIz4bAesmRRdEqVGvG/mvRONJPfaDrFe69r29s1kKX3FvrIGMCaYT+s/mHj2XvB9vvUbjaAf3S26lcwlXUYlMhylwDrNVrpVTTFVA2L2DvVCtA69QZBTn8Uhbh3NUiQ/WWtToVsimxZjQ199fczZpjl14t2ndNJ0vc8Sb+/WyWwnzXXFoKwIkCpGGqDwIbCK8X1J7+piWaWPQlT1akPu3MFq+v07X4WL8KgZf32rWt+fqmKkMKVBw9fOBl+pjyibIv3Kzhe3OmIk0sBKuD+plXmpaUAMiE3GQeWiYCSFdgMJQKZtZ7Z+m3j4Qz/GsKN2TevwSlrL8IHJAKpW8es1hjvbau9Ovt/blXWw0VibkCT4tjsjyN/5MJvpVjSRtEfh0q+Co3lQ4/1qTmQuKmEjLWMbvM8RhYnaYHRamYCxGxkAFAHqNPVA9/cDPqnHpSYyN32FQpkO4YP6XIH7xAHo2sjlTYYxR6H4R/YMP65WszrgbvpIjJAtu7rUZu5FPxE7cbEQTB70WsLUeB0u3CcmWJrcAIjOxjeKKOqK3LzeJXDR4XuyCZvr9EhZMZ2rxyyjEL0MmgoZNHZ3AlgICgYmdGVglZlUbtCzu2K3USd8Q1ZbyHJ70goe4rsYo6utrm68JPNILmZybIMT0KY0GubIwAlXhG9rnx84VfYwI8xWmzTidaeDdoiDY3lf8cIDvXgneqKOmMISkfoxI4l/MCkaOeCLpena8dZLCpTEgTiMNCQwnuKwXCp2fhELR+eP6mVWELeacZ+9mLJJwKmU1hwZ+mtmydjWNgLuPWLelvd8WnpPbY71/V9+wekP1KxKitcV+t/cU53tHk7PipKtTT/4x6BKur8F0BCjht+qCr/Tra+Zw5GRIpVHfGzZDaicdMV+CRPWwqXQp80EkgpfrSzk1bcz66J/jg6lfXQ3wpKkWyl8p8Vsx32/0obQsvfrBLqEMzw4hXy1HAdlkYe8URXSc8YkRa8/hHBrCoa/6WlV3CB7Zni2IrKTBLMRSkUGyV0c8bwkuEDGV7wTrFVNZ72ao+OtcqPnxgx6fCguRpcszQsSb0JlW8osMa92nM3FrPNMNaqqMZr1eRoUSrCYE4c+lXK5i5QvjPmDcYY9ADq1OLGKu3CExXZIRDm3xY7c5WwXjco7os5PYZOoOlqH4XtISv8Lc9l5AjSygVfQKRmQWUAz8HmJuVbGLcokupCqQq79ktWiY+evniTmocmeRMv8xsebDvba7tJGmh0P/VdISDluqxfwyniDp5saKDRkt3ch4ualxzWaRZ/QEIB0XL1N/eALctlG12cutEK9XoVqRAwCfS6KMzxLW0ZsQl1CyBW9B+pUy/k0USU3oBhRcfdMYJ9GlgPnCOqhg4qAceKM/T7jECjq1vqfXaRTtoVOaIMPJdbyMYpDLoio/vOqhG3d33uZ9RVMoxNy9+WDx6ywuPppgsRVP8y0au8FAlxlqpdR5fiu3vHFeOV6lCAwVFiTddWdorIB0pyA9m3doODMx/YH5WI24RDsjqr+NJCtVmaPhwzMpA7TSyCJctmqH5EUSxZ2FX0Ac3DnjO80+uB7s9wBKTXCDr+is/AUbwIBkiHyvd3HIR3tl/92aDnPMA5tLGa20bIlD6i24ortTvk5+JeJGE3JOPTQgqHqkzqBv5WH7t1ZciGFjf5yEMA60vprgr1I5L9ph48MjCeDsUq02lD6N+on0dvTKCMFTeep8Kt//ledjpOjXSx6FMxtUlBgQAfxov48mCQ7BNJl+JCiaOeXWGxtL/8hEabMhutBRLZlD5H1L" title="Mekko Graphics Chart">
            <a:extLst>
              <a:ext uri="{FF2B5EF4-FFF2-40B4-BE49-F238E27FC236}">
                <a16:creationId xmlns:a16="http://schemas.microsoft.com/office/drawing/2014/main" id="{E24AED42-6D0D-A5EC-AA1B-C0D170A3554D}"/>
              </a:ext>
            </a:extLst>
          </p:cNvPr>
          <p:cNvSpPr>
            <a:spLocks noChangeAspect="1"/>
          </p:cNvSpPr>
          <p:nvPr>
            <p:custDataLst>
              <p:tags r:id="rId9"/>
            </p:custDataLst>
          </p:nvPr>
        </p:nvSpPr>
        <p:spPr bwMode="gray">
          <a:xfrm>
            <a:off x="6288777" y="1736399"/>
            <a:ext cx="2619933" cy="4301795"/>
          </a:xfrm>
          <a:prstGeom prst="rect">
            <a:avLst/>
          </a:prstGeom>
          <a:blipFill>
            <a:blip r:embed="rId18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>
              <a:solidFill>
                <a:schemeClr val="tx1"/>
              </a:solidFill>
            </a:endParaRPr>
          </a:p>
        </p:txBody>
      </p:sp>
      <p:sp>
        <p:nvSpPr>
          <p:cNvPr id="28" name="Rectangle 27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z2dD7pS103gZfJ6l4USC3jqtWOPR/ue0umjYEY9KlLthURXCUyUuZbmGDPUXB2idlVQc+R1c0j6vNnMaKvr/AghcgjyTjoGcS2U6lyGcWZbvoYqQsrFJ5DN1RdHsB5gZU4BjQJ6xKwDUEsW8X/QQ4uIPkrhyjIfLLN7ZR3puqzBiN1rMnctBA0J594at1EN5QJYMsPufr2eabAYzIDriNpy1GurybA3KWqcTPRKYh436jQqOHiPaCJtAtzpRgB7Igk7tw7BcBhai66Lc0jpyzFEK/4NRoFF+cso+ThI1HNgDMZbpFoCsJQtilLqk9nQPGX6RXGboCTf8hOOcHaKoTUKF81dro10jOa8Xb8mBGZBE+xk1l9MAy6INl4AKPS/xOe2ATT0O4eN3fZNgCSBlqhj2IKNKNZDHBR/x15iTwJ6jt4+DGXIUPUnB7hnT6cV1de8DIzbmCan8SWLbxqtwEPEYK/frXOySMQP9Hq9ED4tZcQ4Q9XF6VvxZllbNqSHFBkgscjtXrGq2cnKuDaqvohP+pPJvU85d3FpLc201JAWBXm9cXoGtZb39RSCfIWtJOb8no+wjLhpyQ5hFgjCW53jbk8GPcHYBn7xArCBqwONwmCjCxRwnc3pVQC4AKbC7T0x5FNyQdZANHf9FSrUqFdeLwlpsJHrkvmagBht8XYSIe90q314i0FvO+38pCARTfVfTL2AOOX2VlyvgX6tw7GLvbZCr+TFt7xh6npPedK9Ik0exTutY8v7Ntb1225M+xgak+4hCJKEQWGAjYLNN+OTi+S3VPjElFQTPv+ijU30NFeV9fztdoyFbPa6pkKM211lhrgjGZwsPRUncpzv7lVHio1fAEwqS1zl0Ps8/usYAYWJVy9uLTAcbbMERrNWpkvrcwReGZ9IA4EZi9WDYSqHMXH9v/sEmx+mqdPejXl6ncCwVO4BeoxZCFbX1bnM7QdWEMoF8Pb9k2M+stGALSpaaP+WT7IgyMD/Hew2i/vR3EGTRQ3wupS72l7hAWgf8ncJtA/x9qDe+792XkesMvboyZKY4BuuVLQanq65qsaVFBeAMadimFEl53QloBIV4nKHc+Tai+IlpDIoFoaLVFfP5qrREHaZDl4FcxuldLETjJIPLPxKn9+2HnB0ljwLr1QyXrwGU8d008rD/PLgQ0Qiib5zbELqZGRVdDiJnVOO4FQKRG03+rHcaC/knDZcev86N2J7LQAPQGLR7F1QWg+71fMbN5cfQzln9EWDYkTJ+dnV80Cfmj01pZNtcQ0Yk29JcTDBDbPRGBPkoG4aBb+hBI1rKtiTvDqPXbsMU5k+4TGIJAn540XvSsBeQUu/0vqRsPHOVdU1XMicn6WANZUyORLEYfwyETC67TWKIXcX705w0DKuaa9JhwikfKMgeRcGowqr+glDWvaozIz8svzpXH2SL2z60ClZRAJTiiZgZAuksp1T/yyIoq/5aWQHvf/zGxOAjp2JYIn7J5YxfO7H99Hr6KH4/ErKFbWdUrx8ivfRvO8w4jNrlSmdEuO6ibXLHyuUhv/oikbj828AUD554GnU/LR+4ev4vDo3LPluAaNR72c9KM5L+lsba45NNVKIe9RiyAna59nrq++/emu5D9c19NjrZK26DTrZyoesP9QFhE0ZtWBH3yBsqw3Dejm2Pxg4JGAVGcoZcDCKUcV6WxA6PTbcC/q+pCvj07tS1wflrkgxCw814Cq0NYeNqWi/IRfpwDdOUEVJHqSOLrlu/bqLlV19m5gNPENa494fE3y77KVdfZaHVn7AHKPYuI7uuuqzJ2bDZeKP8lMkISa3I4fDcnBq780b8DXIYYio5VfJvpORxFpNkOS4MyNGjdg0BMIqlA4aTWZu/YybB4+4voZ1FfpKn3veRaz/bkG2iS5y74JqYfoozLuwQitbCNhayhZAhrJ8Km3voNPK2lLg0p6rpKfCd8pwTaqxNrhDWaYKk7F98/a592iG+iU89B3unyp3JNxkOSY3DXuW97Mho0eyTYifexvH5Lqq6dk7g5wax+eBdpe28KLW9MLywQ+5N6HgCbdpHge49BUCOQbdd5YOMcvkIMOSz/PojZv4utrBY741au9V9cxHDa3jzDa/e+UEZZmTbEpuEscI65lEL5MuLqZXPZU9iQGgauhDi/oAokBUjzkYqctUxAco5uZVeBhdduk9M08L0lJbNVQOQMvHum1IOZp6zKcvbW08jPnOd3IuFAZQVCcUfRdId7OLBWgDzDQ4+aLhBoF+oUicnvkZIeDfkRcEFLkyBxQo51sGgBbtYAqMaSQAFswLj8XWwmosk/6pxrf08nM5pAIvuz5oGQk6IF+75DHri7xvnifPda3OmMljlVon96NKHt2tokroRZ6bqxjrRhFltQ//Cl1QdXyp27u7S5u28N3Eb2f0zHkcz3+PBc97oJxv7SyuVf2IAOxKFWN0kSUC0SBexNiW71k+G0VuAkuqdRzooHOcurWVjr1NT3dg0EDsSoOlxMLEzo7Woi+VWs0p0hijdJGnTGov1c+MwIZhv60gokgKmkVX00Cd4lkszQLz6w5y2UQlDgAl8kqk5AEcvWqAAHOBsz3Oo4qgoj8ssp6Rc5nhgJKiDDtY5gJ1OehHFGMFg41W96eqm0a7h5EHzYWXkdU6Ex4T+VHW4ww39qh1RY9JkfkldjHxU9IK1Yb7nkkVtY+wWYVr6z4JtpMVkLMwWJwq2wskInOj8/bcBkn44Qpse0do5X7Pvpha0wlKtMzDZGY6DZ21RdVUW9vjoHQ/Wjemg0f7TlQTmAC3f3N5TMCNhq5lBh52jQlWCrWIY7ZRic/1B1YH5pEvkNTECjpmj5fl39D7wJLnLzRYuWfcErD92c5GFY8g9X0uAu2t3elIdJJcFY1EipsOPqGxu/UDxmSJUxFIKOSKMyUq5dzsDGCf7I7jWIUxNLPQqOzNY49QBMDE5ZiiccuyMCTd5E+RPiqkOOvOUPntqI5UwdBbJ6067svgkc3ADMNibwXBI0wh/MBqxQ/NuYHfDsBW5V0sVWgIDwvbIbAgzPiFlMfD6ZlXorHzHYlB3boV2MFhDFvMUIkaHfz4Vi3YYkf7cCxGJT5PHEOhWyTqihqLtEw6nihaSGYijjA2EI9rlqB8Y6s9s/mNziW9XZYrdkPmXRIRI6r5ZDhbSNo7Q5EfnVSL98E5UjNeBKkA5avQaJXB+SExYklrCf+tCKOhgMIpWriT5Pg0idVZ0T99uiY7wvldTpoKMTDDVNDunOMYav5swRpBAwfuzV4kDKznABLQujxxMIEUaLIcx7wZQQFGo5vC+YV/34pvTHKPAX2Qc8gxZ0GNtm9AFvTv7z1M/WzpmCqOIoYnOBMP/61DHL73LtppS6SuvntJc9gAprt3o4qmz6v/QSlrnTXhFpqAyjFA18jJV13wqV97R+Z1A6VnTDiGpy1/SUh4IIOxTEDV7yBddZ7yy/CmcJZZji9Ap83U4wwcDO7butBOHowbBuE+1SY/muv1bytfNoE+bOEnWi6eIDM83bGzRyAB3hsSlSosf9IPxJBcidVmh+QQ2vkxrYk6mRNap5DyX9BKsC+p99vxnbPCZyUWhRNj0XsIfHW7m/vGdcLb13h/rhLC4ctsooer5ra/yeJdaqhzUy9raFV3AJInQacAJ7m//HZiOzvpP9B/H8AQwpTTr4jytaHKr650Q0/Q1+90zJ0ct3iioGaC3oMFy8IbdYbgH5r8wAPT0Ccj45TtXNlox6GVf/6HlSO9eRs9qs+sQbneuKYzxsCrW+tuvFbDObR6rT7VyLylM0ChdUV02QGkftsgTb6msc/fN1oSyVLU8ULXQyjM+eYpCnNf2OB1GLTNnRlu80z6zLM7GF0F0cXAlAdajrtjxgO8AcY1p3xlq5+hNPaspDKgcG5c/rD0gWhkiaXzMFlsx99ED1nSQOml6tmcq9hIxcehlLxprhlq2XdUFBSGpYpmZ/Z4ysqFSQugztLHFIZBTshlfBEfTe8o6lWG/j9f8XK8XbLVq5fqcDtCT/rX6USkbEq1bEfBEKvRWf/75Ki8OS7mVN7wwL7/EtuAEYInYtgxMkGeXKWYPMXec1QPPpWym6JGeLX8A/qMcfYRJOdQzOrqearPH9X94O2X7PpROpQ++g1Rcal0ky+fTco888OmNLMEsNizMg9mZh+bNcyRtXJlXwMEyhSfKoJCHlpvyzFYMnhRWqvMt5c7YJMnCZ9S2dkjMwvr8Dh/+CARrDHAG3eB28gFwTwsVdO4+wgdfk/fo5go3xv8OANjuad8Km/sHC9MrFt/73b+yQQQE0A0e3RtzcOSNtlEwR2vlSQW7DglHl7VcwKWgU8nNeqfNZtn2b5ERdEDVSTD4+KcEww4zONhzyvcLWfbQx81A5KB9T3IEofeM5EwoftVp1/UveApgls6CeaMA99Hx8u+RRwH/7V3NwyjBbF88JgZ3wycZAHue6Hvd7EFmMGpZzNUvdtH2c8jhYIUNe6rCHglcMQRvA9HxJNAhQIlgHtSSqdp8nFw1QgQrQReMnymorcLYRYJf2j8R+h+u9aP+Orc8icdR9pwo6YbSH0L2jkTa5xgNg1SeieK1B6JV1HK46PzmShCnXi5aACl2urUBBUAxU3HUtRKag3Wn9vj8a163zIsmAWY7eH15kWRT2PEEzboRoZM5UukoulsC2I4ZAeV0kmMy/d8iGVTMVatQcO8ROfhRKW8VQfZdQkSA9EBxwGLkMHqtABJfhYoUqt7xUhp8L6rrtno/xatHCxytmQmC2t8N/46nAPBDT7/PiCyaQmdV5c4wOhuaMc8cCL8R6n1DBIipBQPx/fmOcJbtwYZCoaQ8Cq7f5669gXmae62x+mLsAZskTo5t2gv2tyhavhpW34cIxaFZIyWRHj/5NrUi2W1/wwva8Jpi30/HMvjiVmcsLBWhkQYlH963ajkTBhf051i0UsoA4GCasJmf8LSik5Lx/049TMztctUYLYwCytcv8jopZktmADQmrE7vFEjHgTPddfNzwWar6jaBQaji87VibusOeQO6V7X7SBd0A5uuxnw0m+srCSvYQvQ8TM1WEgj/g7HbP3AJ7g/fd/VoCLsrCq4MPSsxJlIdj2BuVncBs3fxvw77RtwiNYR4vsvEaRmjgqxGccvumot5Ka5U12JR+s5MqboXPsNQ4IF5gKrymLNSlXJHnlaEXkojLiMWWpQQxhUNdNF6+wuCD1JBAOeqGKv9WZc3YufHR9FOSf1YLaxJ8RPDhmhxQ/qdtMbYFtQmEukmv6DuX5ctLVUi8Np3AzmxN5eMxjJpPFqMC3vOovFHeYeDuEuD0tNRLmOSG43DjOXHAseZ5WUCGg/ig1rt7HyNbxNRBu2EiKm4yBF0oc5KWdWphLcXxtEpLo40SEmxlJLwWMgw+b6fQ4qei0hFYAzXxHrB8IxLCZ/CebRK6gh+6yJx84/aXeOXcTdDyiN8K64VrTpuk5HFSWRHRebLZuvlyXOdbzWiBdDk0lY9/Dn7QmeRy2lcB98rm3LEYASDqJTfRiMyDOg5YNCUWXeoANc6t+ATDtOyIonlZAOMi2hkk4h+zgTx1lPK4WQpTAuaCwBE69FZoLXuP7dK4S/s/nhfwTlgak3+rirujK/7QHY2V9uqEQKuS7d73CgD7zMhGFI6emcFaV/dhwwED+fX9B05opFXzjgIC7v0sKsh9haDfiUayddUMk7loDqVwSR345WsbE0GcU4OXcF0qlzG3Qdi4pR+lpijwnqsZlJe4IGLBtC78kRgnopadaPoBkp0GfbTFGDt8o2r+Nr5ZSQouQIK2vVRJHfSKh0x6MtZaenvcJfB2yieXWuSnWnUJjq1C3fTTCkl5XA1vDm4sxGaWqSTMe7551ZmxL3crtSi2iaQ0iFwgX9o1FJI+5hkOxM4ZMVB2wh8/8RvygF7X3FU9t3HVGaUDTHQtcThcUjMMtG2X3kE1Yjlv9fQ6byRrE9oIXI3S1SO9JMEqllfMcoy/6+VMCNFkGmoY6yPqbv0sDheCg57zfC6R28JU/lgQ/9x8r3wWM/FT+D4cfzBNzR1+H/ACdYUkXUYL52HWXK+R3onTZZEfN447LLiMTiX0X83xVm0YA03b7Z98WhcRygZkcqhl19koguaNn9f3qsboiKJ7p35SDRAUy70of52gEIdN7j2vIu1F/AMZ+Vvkm6gynb9GBnvBvVdl/jSlGM5bGQtVFWIurXXOXHaTSaZuLnW8MQs41SjU2bhlXeFZhT/GI5WoxgNbtg/VB58LDxj6+OXbOQOqTcmkL/Z3u3Ij+3ta5xUDEP31dtkNTN/JayRe5I3bTv9Mu3BMGfknrzPg/AgKAUaFF9JX0wG1WjDBDDiDVAaeHdneZJcBI0iThcIZcg94ibCv4a10glydRb7Ova3zJ9q2c+wMDsDnnO2xGlGS/uihA4WEYug2gWOvlt90nF4MF499XGdvkbB5/OhZYxcy+OiKxQT+r2ifHI3gI9wRVQ3UahwDf2LwjNTdKAXxN9ne1Z8jk1vkJW/RZ3faKZOdfzZH2jTn8czoLQHuCDxuMUicbw9UWNoxkDSw99yBNUbSoDB0z2iQQ/bU+ce7rdxOrMGHbwmjRQm4lpkwB0XDhS3IHdTlRj2Y6BJK4s3j5EZZMHsC5n3EgGzhqGsHvVuyFwz4V5U5j9I+JfzlfGM9BLDVgkiAJPOKlAS/UpIDhaPF+JTk5zRxO2VHiH5NQoQHQolYYpMzDhh6a6ohgowMobkRWCog2NBldDsD/4Q2IBuLED+lhh5CpkVWIntHTX/tn3n27QAPSSyMOzTxqWlZhL+B/kwUxy1KjyNSI6Qi0aQGRxYvL4+/s3VQ/BrUDBklsa31j2AJFArs4E0+54HMvp5EXG6qp5/GS7c0fMrrEzA08Y0RqAogjqf3BnhUwRd1Ao15gaVW0eAFl30pF95RtgIUeM8tQJuqJD/KYfz3UDpqlmpGgN5owD+P9Cc1xvray0ylYSCX3uUBn0ozlXnRIzbLaCi4bCviYMYFeMLI+ngLHgAK3T4dcR+ZFFmRBJMWIZph41qy9mF5UZXD7nCvpjN2m7a+YDgqMyKtNZSpl3uHtSA+S6eTdjVqEjyGPED8DqfyefM6h90yclI6d/GcBFvJIyT7Bc6JNLuD1+WDR3bhb3dDsKr4xcjn0EBUjFJD35gF4vcvc6hKi09VAUho1FKJFOAyC4wWdPo28wo5gcm/Tb46nljEPbH02W5tpBfoFV+sPyQ005hMFBqgia86JyklUFAGuodalH4HpuS/6J99CMpTcWa/yk4Nho60ACsBrvMxZf4197YzgP4hbIoWbG/XF2ATUpAI57czmk2qlkI8lnE1rEQP+xxTMOOt+0Qg/1zFrtzSb6S6NgrpR2tMmXHQpxAX5xxgnbKJYYONE2O2hNLRULtJJW1ShqwthNcDS7ngFH9rF2c9wHdPkOhob6UgCjMFlkpuRNB7xBFaTPvuAHZ98WaQDdJkN5eC4MQ/Tk5mj28A8a+3Jv69/5BUFXpTft7rv48PxgPNUuA0/b4D238d262dQGCewVKbBufTEm+TuBIvddZhKcCvCyeZPuTykghWVd1eWfDgWxstC8AZOhr5HyQ6gDe1A+eKX3wfeKSnK7zmDXSPmuSsiOBfUuW7ov/NFczGSOMMP9Aw1L8ppUlRXHTetVC+dmxPX80wF7YNbLY5jwJIWKtrJlKhHbmT0KOHEtv7ygOq7bz6Nm5U7Sdo2zZPXqundcSzvSDlTf7VzeidRjau+7hwqd3GiYQMdMBMrqS4ouOzariNP6noieRTcrpDobb78/jYqlaNMpPk8NOaOrA1yNqE5vhewgjm21fxSYsCkQmMRm5zT1RLXKUMDho3sv8wRs4Cm1sbrHOuaztts9H4BhutqbVxRD4eh28Be6ntbxAGCE9bQ5B5H6KzI1IT8RyxOuHoPXc7f1eqcmPmvqrF2TemirsYPZigSL7mBAzauPNEeSz/qIO/fExkF0rbBJRhRSTy8kLrxJx4g0MpWL9bBstqREmRJ/GvtmJ/zVyPEzGTVZxbMaCixY7QKipcE8a3cw8U7oOFpxOjbQ/CHjwqUJVxSU8YkRiEksi6+9XcknE+wX+MZjOCRqxUj9Y9MUv6hd53exUmtJ1F3l9gc4XJc3d42i1/bhQfIiT4QxBCqtANbOYyV8jtB1Jvra4ViKL2jg+jJr8h/uzWYfgPE/rnzlpEksOMO8I9G3NjovBEpGd5o6eFp7Rbw6F8cRksWs4CEGPbnojBPIDMjKb5DjVu4k5lUJL6O5zGXtAOdm5hctak/H+g9jG5vDD+xW8aXgNsat9v1q7SK9r6nwL53GILf6AyJMe3adXLGpF/QJF3BfRgRnXKJwRBHIEM7um5sx7wschr5hhDp1zlqTAr2HcS9kWbgUyMo4F+i35xCrJ0n65yrKxJvVXtxi4xHs2plj4+uFg6Pmm8x7sGICnKGDrLlf9i4/ub0VFeaKdn7COvwSqYH+8AnjZ16ICsjiqUS1+6D31rvTYyqh4Cy6Gw6JdFCY9LMLoxD+hoGKDwzAx5InYnJxypZrDFE5B5p2od6ToYLdmBd5BORf1J6pioIoU4Mu1JuO/vG+8nKaiXtbXSfKlfSk1gWtr2Ce/ifYhH+Tfs0QZBX4XNq+Y+J0D4pmjFQZ4lspT0ETwJDOFzszzahV2pIgt27JtWrZnH3mgq766OXUmDFFdqUwjES7i348LvHyM3NZgFUsaEOH5NwJanVYncbGoJsNua8gigK++OnOD/Vzy1sIvhy9osQtVsrYVzB1qZD6RyRvIUkhlnd6IlzFiJsuuhBSy7N4DnprIaXoHovYifzvOXCMk0YJFxjFEnYEnDiUnUFBeFhzkYj48NEwZihrAsM6qviGkRPV8GQT1QlAsaBf76vGI2UyCIcM2lPcU1oEmK7yD42bXaK+bCTrVgWtgdfzlHxW1pAYX19sjNhIkM74Nn8prOWwfwsy2yHdNJ5L11f7L+qEQ8Dzjk1qgfEI64VQXDseRGgXNCRsp6rs/xyeVhB9aB2FNLluwriOywESSj1maznB8LoHoPrWgmjnfsH1un8PU9UbFqraRTtQI4kqqJae8ybm4FDwfNRYgi7wsqOU0IyWZJRwFTog4UDmAtE2UriEf2dByg92/5fvdqc/KK0asCrVHonpk2D7tdrhQI6nlyErki0Bhxgs9K1voZNlf/3kBfBG+d61z1s3q85LAeogDhNoZEz5AQDTiE7ucgKrojZZrSyVgS5XPp/pTJY6Hi23EMBShOvMHOt4pZXZRh8EPMhDhrFPlHZHj9IduHxEQ91P9emsOq2d/nNtKlw2+v7VJmBaZQW7c6EDPEi35Z2aIZXf69rY2BmPRDaw4hvf9O+Q1SOaPfJ8CeZ0+7Ze7kf8d4BKd0cvi0pXwLa+ETS5gEaKSUdvwUs9klTfmwLonK7011C0UVmzgGoquRCxxFvgxHaA8AfXy6AXH6FOBuD7WgrjkNsImVriKPhFvjGlGP+28aItOv+0Pt1y3GjzMQDe9XmTZeuJ6l5M8hqzGCWBHShe3y0q8u40DUt5fIqUKZu3SefCyOYETO6WptjI2mgB6Oa0M/vFdwyXibE+mc3GGcqmaFXkIBbPsALLppxfHfTO4DtRtx/DuPd/eN5qTSA/jnME/kBLbGLt84oeTguyd080qyHHVM39udi/tqnypsjqSB9MpIgEnpzEBNHEyBmVRY/uddSR0+e6CHKj87hcewVs8TSwVYpJsSDRV/H7buWZRxf+cicDukksqbu+cGyuESPBXC3j1UAN72DtecDabgnpMMmTNjXjoVvyHVJ6cDxsPK6ptHpWaL+5e3qgL5x5JAn5YIoaicRhQoI2YqtIjko7v3E91AtHJAt65LMRCnSgV76OFrmQV+jUrLvRy84RLFW9rXUCdNqAXDcRckBlWxSod3Xa52uvz+9EN1WAlLVTEME81yvLbYFHMqpgH/3fevKgmh/R48db9VQ3sTsVmwfVblxR4S/mPqqlA87WURQyzw8aNt8GC/XOLiZhbZuffbcsTskmpgIDo9+b2wP4A8vZf+npM8iohCoqOAD7dNZowZWoz7TAlFj+WFF8PhrJMyt2LWbGVhXz3ACWqKHM/TyEiu5lXeZDZMfM5Rm0ZeOdz3KPJGsDK+EKrIYRxMrKNE0Af2ZIPuVBT9b3OAs1MXBFjXF2L17dqsuWZwrjpJdooXva3jU4/YhK49B2ZY8wOv669lJrs7L7gII5pVdWIaXT3655gzLtBxu4Vsjp9uUAhR9f4i0rCVjj4QjepkyfOqrrd5NyCcfjGKgkHxEv33TbDqVsfZyMxvAS49HWfO+pVIhSWs+v16bY0BCqyFlGmCNovOywA5q2r0AEy8ovDlFCSyw93A9vrUlAOUdgPX5Zv1+CmtzfBihhNNQ2EBS/KlqtzzpaFaIsRGoobSDeY1BY3wtVEu4dl4tPKqb7Dwz8S8Hx58jPJLpfoR99tFkuIvQktplE9BKe/ax/eDR25aqCPocoyjQ/n5GZwgyrY/uO7Cs8SqFMDPdJOx7AN/7ZNwr+6x0E/JPPFrUDDGQbi568mRbKO4QeOCwiptEV9ZArbmewiklyn+w/h5LsKFJizx5r5y2kXp5R5eTfPFOcw4v5mXYMDZyhX/V8ntD2L6Xm5sPsaj/WrLEA8aPKgFXluGnsZQ8Klt4cbSf8UMOTi1TbudRo8PAXLGeZEfPAEHAfOqMROafVGKvP0GHtQHfLpeGJr3mo46B4L+SJuQdLlhjmfms04GvuBVQ10rz8k0S7zmPg+qScOQh+cjUbNLP2QZYNL4UwCu1PVJTDFiORwch6DvfKeQKXFAKtJEozsZ9tM4+3Y8iZW5dv4peEYdmzwPWbyKGQIgmPmhwBc06xvE0Y8C5wYEkUGmNDVYQf5j8f4ihmO2ua7lbQkuVhIHgD6kD6UcETRxpLJ0Qd5TfNpQ4uEpLqqDwMyw0DXeeY0nHXOst41VdRv08Kp4DTVJMNqf+eEuOHePG7vgW/Ibxqf3Mxjvk0k6Pko8einsEasAUuYxE+59CoWtwrQpyWHqNgqL6SlvH+kLFJW9FZbO9rmDlVeVHpDt+NywLn3msUwbR7qeFJHjaTjajufoqBlb3rDSt/i9sZqPYjT9YuQozr10INZil/roHnDsSwWc9z85pjPSw0/V4ogJpjk/GlsZdljKA/aJBo8P4z57uo2UkKzlQOpzRxAHmc47TfXxKjU1YH2KPHcGoCqvSfjcVkTGYzM4hXKyOIQWBRPc9BhhBnM/gtdJDwo6b+qt5Fo4RicURqGwXiuy4ACsTEQ8+RiWwoOJ/CJ2l/Kn7BvNAnGGXVUDpLECai+CPjEqb9oES0TLZqSTLmCem/3UR+xDpcVQGw5CYzriPR+DOgkT+oNW4dFDtpHHQ7eMbIECVbSVn+cNaHPj+JEhpF7JuhS/12Fh7Ca01gVhP/jAwXxs3hd8lhyGe/pmoiB9pJfC0FtiFX2jfUJ0rYwi4bZv9VfaSWtAbBTfAxcooxTdQBBUR9naoWmhBn2Ljz18rbvuh1cRB9p6AxGaWu/mdMzQ4e/l8bx5WXl+32myonvwtZ08xAn4RYjM3XJ8HuL86GuNNIGnKGcql+DLaBKNwj5+WcCrkHLWbk51m+OI/6u4eW0tBQnrqxEaioawOCbOJuW7TQu2IICP6Oq2JEnDMyvcHGUdUdjN7uMi2wgznJBupKorgddwuuFzk6unF+1cm4/rkTTC7FwS7hCe2lxs9GYDrJQFFKVBC+fJqounz/upIhSjDQVhW4E4f16oXUdpFva9gKT8xkrLbXkrDGepK9997Aee9Ei158pfpiCzBprzVFl0XWuS1iDIqYWU99Dh3sGQl0w/ZUqQ5fUI8AZfVJEo/Z9Wfbr70ZshYOR4AaOiPNxbPC0jRl0Egwe22JVBMlAccaIwz2yEIqShSTXFjiaawoTLiBuH4xobJ3rfQ8XZaahoITnOPzuTGj05qUzStnl6dPb3EL6sZV1pHiKM93+vW++L7Fn/8UH6ez3Qt1ETyIt++maX5ASBIOc/Sra+I+ggALHZrypnM46pr9o33/oAE7rc+ghr/U1jDRNnUGAQK8U/b60dcXYaX+oMzc3JBgSyZYzNwPpKpvXLt8SRRz+J3wOoNVtb1PlUn2Vo8G1I+yBy7tw3mnoQvX2IBtCa24f4xJUtIBGZLFCkQ8Umr/Jbm3xJYYV1hQ+yd8IyE6PMRmz30AxZh7QkL1w+wLHlrULI+GT2oSRKu/ZcJ4QjT0X0ODWjyNbTCZ3b3UF/cUQIKyhzJ+zDBgewaEV3Y2EPV3928T1ihrMS4ziH8IVqrTIHlSx+uDw+wyXa6Y862Twc+1oLTSlWtjMpB1mPFWqx+Ddp+oie3EGBJEWkf3FFQyoV911+BaTXBWqRUMllqp4VYm8uTdM2XfZidhIhvQBh8oyOUEavINY0dTn45iRGN8WAYcgXl6OhDuWEpWiBEtcxWsx8CH0YnWiYfuDcaVfcaeBShGXDpQt7kaj/K02l7fDdtsEwpUFk0ZKjQ93UzA69A94L1iDz9bTeW/DoPd67QTWgZQdkgw00wAhsKIAKghrpxFtX4NNsnIC9AD+cSCzoyJrEJYaLs6f5JU2kc8oIJ0D+zcxi7MpFRk2qFONw5NceoIyHWUDxVpYsSL9WW7x3xCkHArdY3nfMDSaC8ezVJKBa1NpKsklaA+uK2zAFYmi8OH/WVNfyIap31FVaJ5nvL/KDXqPUG8iiwkiS39fVLpfHoGIaQZFVmqIbd0ecTOucgqB4q/BwUkig+4Y8lQlGlT37Vc5hxQe+gq8srTxkxwyX3h6Jdy4+smCPlZT+2u9xNiVzo/InF6qU5sZjEmBCX+W/VaE1A3BG83dk5E8VKa64lVCtTqsTau4hnAgvEsxt20eTMLlHLHgXJBXGFgG+PW7baONolLpUSYeX0yu95Rbz5GPStEVwF8T4wzfVW8xLTFvtha+kk5ttgQxjjlr0QCZprslqLdUiz5TiLC4FZ9cEyMPAGz9wntEHeGPDK+CUrnZe3RAtuk76YPQ2nKCZWWrr71uHiGld3MjdOYt6n0CEbQYpffcFGjxSj50Bfw1D/Y5C/a8iZeKNYyqwd9qBnbxrp+vyDzz5gxQTEHTL4kTNcdogvR9ZdwQ9nN6kKBNq6SXLMp7OJ8yQBHfv29mHjoN3U6wLBsMQFXUZAa7fm0rYeEGSnlmw0lyd+WRTAtzA8mXVQSqcz422DVkXGg7btZuTVq5STdPBpyX6b1dXcPadEe6zSWerYhv4a5Mx9/ViqbkmYJH66xd5gsIPgvtzjSUn3oy6Ul0fyK3XrEr0FF4j3UwVn79ZdcNWW2AXpRLPYCapNu2p1EZ9UhOutK++LvaF5Rv8qsA0Ih1bJEFsuDlYd81Od666HvVOdADbJV/RKqLb7uw0pjH2W7+j8EA+r8qEHX0aD91Xz3QV+RshT6W8UsE38VrM+6I+lHclMCRwaSygWhRpBwb3cfuiKy0PN+3dNE92rVAOhXFTOSrgALN8wiqlLyj1c9EcjV6wxr0Lm1GHpNg5LZp/ynAyyf3sN8whGlJ6iqMDI64IWFQoJoDTGyuY+xWInigapTO/g3oR9Wn09z+O9TZhRBGNbBZaWw2kxXnWJGZB5xnxslTn1VatncdgEcoda7F7ebmhCGHpQTexB/PASp4U+h6J0T6rQh1AKJEjRlwV4GqY2tFR6oNUPbt1J3iwkeu1v6MTAEjmnNd7fk2pLbPdYylAylets+UX99+E79OQLPtRL4M0knC0cnK6sUOTL8I3xAyk0ras16ZR7vB6al681+t/ngKQog5q2E6wX0hE8CvFY2VoxKYemhhFeT4MhsUepw2Ljy6zOopY/U+OjgXIffRjiR9MlomGnEB3HKYBq9wtfDkaToC8ewNSol+axpYV2gtbuWYcN4lO1keMXomrTlqh+gaw6FZfdhbZ9Ezr0F6CMdVZsOOqidCcyEdAUc1SOxIRhXHPsyCtcvoHNja45LT/MadTve5VZ/IJ543CV8aJbFtMRmQkFfFBXgi905mKRd+zbOcKPed6xA/vQ05WQ/nfRGhShqdQr20fB3T55s9cHWuKOJ3wlufbaB/g7g5mPZf9Utara/RnA0Wn4jqBxbFqVVoDD7QE0DSsIzc2knaz9BGbxpbELf49R4xP8kJAE8bFMgVHeDz+h21xyTvwMEkBRZaEWCEEoWuo3th5mwyHX9Rz4aLGAvxnhdjsWNkitbBj/8XMxNGwJO1wAooL00/kJCUkpoje1P9HqGxYWa2B/NujNUUSu4NgFO1I8q6/LQDdyRZ2KHiJxrGXx8VlixpFkwlLvOeJ0zM98Hmf8PQyiprwjFz/zgcUmkADPSrOA7ZCOG4BB59CLe4s2HIGWXFRda8GBQoFN/zZE0Az8gZPo8e0kvYCY+3A95msvYsEv/Yt6kCJyfqenDb8ndvBA1HmZKUsSVOYsNO8ueIcLpVdBUtEnw+qR5gaFWHwqucR0FRBIDISljavW4NEi+d3/URKAjaA9xfF7S+gelLdbJN3+kv4+ePBsZt+blnqOgMxFWi/yGEXWSI3d5r1sfmDS5uqGjG1TME9oqItX2ttJTV1bJe8otU4tg/vzlutCtQclUaRO1gJCZeWMhlUKT0xRemrNXukuHPscj3n6DD1OTyuTlAeB0NSnOUK3AWNQmng/W9Hypb1bg1LfaKjXLd2J7qqgvRwqSl9ggw55KXfDSak5pVDzBEfQ3eFm4tT0Vw2Z2WvDE6l25TUhmVZ48BMaE5xJMyqUb7WVoZXxB/jaQVgn1B3tbD8grTVJtlykVomg4WfNY4c1JsuWQZZW0XXk5qHj/yJvZ1VQsSs6fVvzRYOPD/vzZDm0TllVza847zyLhNlLxMmhOTIHZj6T2LvBdrJwv4lUXleZlaScF58dxzbGjvzIBgh3Orq+Q7QF9JSyuoDGU1++VXYbmnvObMdJUU8jkJujIpWjmtf1krJ5b7RES41HZg+m6iC43vT29fHI/0zVQCUnZlgFKudi4KjV8tokrUKU1X4N3bbjofjKeZ3E5GZYnq9Evfeiff8sfi4NboAnIeKvxK1LqOIfUrLwEHz/1kUbq716I2pwn1H6YqL5Hk7HsEOkydy/N9rK8Y+/TBPqVFeWhZBujjkxcGumqexv+rnD710Pcc2w6iKjewnmwCzHRjHDw18qDn8x2tu5Z+H4Ru8r8l16obpnrCdMq/wSWFmDBVXL8ju44Efd2z18DAU7QGSQmQ9E5nJQqj8Iop6lhnaSKGSTZX2CTpTVV5Bl/59KqOWvg1E/r9JQk9PwzXWiKSx61awK6Ga0ps1MF4y7PkYUaZAOpBVuD2JyYP8Tq53PUDrWkD6HrtSx2yIaACTqy0iA64LjB5W2wwGzY6g9dLudP9yxydcPFAxZA67hKkjOktnpLpApwfH0e8lf5U2ptQU3HgQtBf6aTXL12kFL936ue7bR/5TaRkzOKJPWJxwIAji0Y5OolFWtz5lI4YWuiABH9irPGNeIjC/RPnZ4NNwVhfaU4YzqjcTH81aSY0nrs87qbS+QnHHg59SlecZUFiFiSLWzL3cgBE3QSa4TQOF+e2u36R/9OTI2FRYlipOU+cg6SqnowoQxuUHCVhZ9zqpwicWb+32SpAzMoIFf220MOEvODBGK9DgyOq3QCoUlQFaQxSR/hjQ5HodcLeUaKwaoDvw5QF8dyQFpehH0qEieA1FyhvXlOaUIQfZ0dRnHGDWEaagP/Tksy7NYoNhHt3FCMNpuPaEJOF1SlZSCTWF0frg/yY0CeAWuwl5MiNry5cZWW+27mcBpkoWyStGXu5wttSOacsPrl7rPvtiwvK0GZy47ncdrPo+2tvzT+P0azU4Mk27cgOAr4WCl6IxqBd63ctbi18ibVOKkZAOauFBW4OOENWGNdLjm/kc5hj4EnJZBWOg0artiQ2y22swfiaST+phuMzwkm+uoaXtNNZPGCjyO1rLwLhh3DRIY+zw4LezRl8N8/XpIZgE5YmbGTPYtm+MhIBG8xJtFt3DGCG7953ZR+y1Nji8lbsIOQm/9R5N1qoKGARTHnLV0E+k2IPiYNh2jl5yMI4dIriBmAz93Ie3FkZcx68ymjx6bINpncU9ikzKVpxCfj/I4eAMkF7nGNYCHLec8hsBXIMQ4meuMKHLUs3BUKMP7NXqKW8qR0KOkZ1GwmChQozhUtaFCwawUJ8xYbrjF0lrCiWphRGTQPn9Rd4e7WV+Wm8xvUAOGCAjtPVjee6MwHcJYj+G2zigH+hbi7/yIULkFWAuCC+S5PVusREVOQx04W389Lk0wzS63Ha/daFZioxnnEM5BytZUSm7nsAT7vNp+Wjitg348fLd7s7bb61q66l+N2F4YI3hRyHbkaC+BOJXGZWq5WJDEC9Xm+3pStGciuKu/EvnhP+/rLDMIsRPRD0gTsERSqBCVknR67iMCoCzYs2qWGJzL4h9yItPPxaHZwc1TxFvLzAQ1Ypo169+2EFG5VBrnVb4rA2mpIT7GZOCVcwedm5LODbhvYJWxOwl2UPVLE/M/CRWMDR2Y7yuzccrXEpvE8nEugcxrgnRiOsbo+penNrhElPyDKXB4FQN1ZMwkiHie+0fGcubK7ETbXMc5xvu1iSbVdvVL69JuVP6rXotsogTIkGUvwmPKdyV1fNfqaMzk74LyZf+QUNAi8o7tavXYArGUNHl85uUzXjwGmHhC5Hdwf3fzbI5b6EJE/GDDe3ui5mSqSPrIg3T0HRCm8kiX9mUwED/OAac6mHLfBVJWbr1WS/2RQtXZDpJ6OX1/4wsJBwlWH8FERPfr3Gtet1qGVbfw3sPIsNdrwdDztZzK1afrzKSvAJ6WSK+4AIz+tL0gvteB+7J7QymSiP8cBzFo9uoAFFV/TOIsXnm2JsAodHmLkQRdOm74ycQOoyJlPWR3AH86thrwMbVThC7l/EU90HcbhssraGv3Jpz14nbiqBXcDMKkK3TUiSBfmpDnhYvz8EQAo1I/OK2amceZ74KNVkw4K9uOj1qs9kg3MbrAvjZxTm3xDsIH+IGypwoifVdZV+7hBLpiFQ/D/A1jcGVjJzGWZmk9ZtclNrq+7bQfst77HRtXb1cuDp3ay9QK3UgWrrcJt2jOCMRXi/LIP/QAnzwFXU4rF0mJzXabPvmycDIUcU6WaN4mS/lhrWl/vpmRr5RoZIHh8YW480nOlKjBGK3aHVYDgevb1JQDsyqxfqR6TT97PkiYliJBmyHvpKp2+Vz3g1MOAYwaJ8M0/VqFzwlDV4I62UaHeO97J7hFYCuziMBuaI0OKbkESFV23Gx5NI1VWLxwgtWvuno8TI1GiwIAsrzRIPHvqQD4hr0KNKS650EmZQ31HwMdnKaCFwXWJgofHW1KWVCZtMVVf0Kb0CSFTC0CiTSb6u50p+K8Q7IDQCwKb9x6JR7Vmo9t3bxxDhEyzlINJS20t7hcn5s495hJN0rdK4FSC171Lm+YP8YiTVw1Nz1iTqSHxFZv3SrokaQzuEHQm12eU5dHPvoatlUJfoWZtCLYPM5nr/TEfxdiCqCQizeRBGl21KnwfpEezP5SsapA0nWgRjDwCbtcaJyRqxppovh/S/BpoJQNiezP7b4JWl6G5jY1/q2zVOa6fNHL+sqCrSlLL2Rhsv43XqRWBA7MMP1+uaktfBRfrLIO5hkyvc+ZEp8kahUkUflC9nnMtOjPXLk70w2p+kfA0M4bdQvJxhtdR0yxmJAW6fz2lFFMJMtFpVjDl0xG3kWAz80CTZoNYhYDkgUIrVn3UcCGEHoZDxynPdXABP0ZasJcYHL0MtUh2Eqdptj0lQL/0E9UY9B4kpKu7JvK0ZCHPZF0xRhHKTSzeZlnnHdWm6+6W0LhbOskI40qhnZpttDJAOuWrne2q1KUDynox1qqZ6xM2yDBh3v1qx1i8TxJkW7odxdF1/k3jP0IoXjqjDBObSSG+aCDG+Mm64811tkU878QR/qKcaY3Qr3/BHwC5kdW9mSCzirZltkiBYWAoAN3kZ+Ywd6Rw4PQXwSgYydl78EUj9jfFUWmtDHqon5EBk/YbPPOxXhqcxbJf2K6vwviiSKZ/vL7Dk/T3h7uldl2FL3ukFED0tlv9FZR0d/IYTVVLswrMJlp28vD5MOCmOSIMzF94HkV0cfJf69AknmI5j1NTgXZ6KiEGTezCqqNuxN6aXsOI3ih0oK5j78+a3Rx5LkHqgePORtRkge/TnQb0tuXo+oLXWSP+vSAklPOw7jVebc5zJj/FalF3PPks1npn6db8ka1b32rzm8sLyCGEd95RE8FYv6Vln0aBJ+U1nUWFB4EmpXFCjMbobfCysxR6C3Yt0IWth1qZXpy31eCj81rohTzWmnOJmfMVQHjxNhBg78+/1gI8Ts26oqNUDp7d7+siRHRlSE1PDWGT4dWgGJSywuWc2kC2bUA23RhfjMP4XCG1ZsqwYQKWoiaVoUHPEaIDWaShBURGRewoWpZ/+aWeDLcOj42RGiaLjcuPw+URLYeWT7Vb+ySPO6211sTjPQQlhd3/QOkCxMI4TIggp4Iq+ocxHZ6AwmhhglEu2+LblmhaLHNiyFXQRYIvXPVjAAggH8D2dwfOPRvqKYBtYGnVibpssPz9lfXnicYqPT7HCx4etVJ5SpQgLivEuGlDNqQAJqxjg2XktYs/ZGhgY/KeJ5V0Z4kvPIrg/IcAek41T+UwpuZXfJDHzAeHf+peLDYdD7NhSCJqVBy778pR2gf9Wr0ebJxHoKjJJBCnMO94mBdvXDI4BfiC/8dC6x5TzQ1ME4SWNj5ivyW0oWIJGNNB/YZ101tTX01rXHxl4WQrm0W7BH6izBPsDQVIJ9wwxCV4jTZ2L3Maa5EkM3d7l13/B+lQjxs/ma37r59kB0PQeiKhYSZoQJ4s4bFOp96fJAzmwRAm4Mr3PnLjNwSxNP1wIBwjfHMpoY4WQoeJMO8z1yealbro5sgOV1bFcINNLWPwZGqykLT8XIlwT8gwjYvPjuwuj82ty89MUYLjfk2PVykOgVTaj0D75aN9d6eFPWwyoeVHaGTF3tL1200G41hC3QbUyJa9bGQsUaofnFDgcsJfEMAb9SFq08JOHJUI6gXLIyJvEC+047kLY9+SHNiwD4b6fVCstJb+XpaegfdR6tMtlSnEwCCmlRUd10MY89mhhsWfGdbwxBE+05yWjrTa3rAgB9wJ/GOpMM5VNhI5v85W2xCe2SmF/PBAAshWzONDnENWN74BCYdirrZQkJ/nq4N2kYu5PJ2gc1Phu14cHdLQ0ogI/akaTmnKX6UpIRSR54Qi3u5LTMrVZkwhuqDKM0R3rjHQmMresZIbqVgXkVdouEO5WruufNi9X3zoHDL75qrI5F+Z/sO9yEQ95HdTCGvSr4dxrgIAWMTfpY00MsFog8MdSUiboKB47CgIE/hOa0H89+i+auJBhn14TM5Qk5Wiw9fL29xyAqS0wT/BMd+ngM4q018/qyiiTTF1e8n6Uhsap+1a3/Fh1yYXaM6dSlszDH3HMFbobCn2MahKm+Lm8M5YUH9NBA/EBUIscRb6FUu5hT1FpeesGSwuVAN7jSQ/cTcJwx7F8jvdbIyMQR66Yr5S1u7gNKGqmd62zBmQPWs4eHIJnBKe+9WIznhZfK9Kt3LbQ7ZhMIK8CTXa0KijjSaLvMLJqI5W9R/ce6/Ux+PXljltek5fa8UG5t5kqF6mfHxOTyKgQEQHMT5ltv2qVFn42M+kfjgi4s3KKRc8ff6eO3rBTpAH47gQNZxIogkYfdba7shx8P8CFrPe2YapqMxR9UcFRMwUdAO3i2WwW9x/+EclVBXyapyEb22xc40mkUi3DEncbdEs5i8yhN8AwcK/uOQ2SwTqpasnBDUX/590aj3tqwDgCEyneis/JvoXmzCbkUKnsn5G9sGwtJ34j7QRyTM05VcwIcbKsRMZS+IbcLobRruhWmnxyTo4OO8VIrEbbxvNCG6MuoQSiX1rphbbaVL1LKeZNO/ttNKRpjmrP3cMiyxwy+Wn7K5cSLxbOOrKdkzYLo60KtIgNYgLQK7UIRiGvMV3NKE/VJD8fBNGm4+ObvD2TarzqpHqwfd0p0XloChlu2uRerAJTME8NNH8y1+ZTI+7Cj5r1T7DuR/ir/M+Mz0HxT/td1QEdd7dh5aI2WWvvqH41KGubON9A/1/1gHbQB3vciR/Xm86FCA/fJYuUOt7H/z/9vIbfLv3Ierv0vmExyPF8e89vvMkoeDR18AJi6aeYfVQ7jbZvow3r7R46Q3MyNn7XymVgB2EF+UUTB1PjtRxD6QMomFZDkf7UUO4DpVYDsLNCLNs5OuRE4wGk7HnF0lNCr1khaadYjVL9h25ZNVqi91VhkruoWLtIX+2zldEh/tBJ3vT1voaBWTStQEtXh/Xhe0GVG9PguAECWGiiv8i2dDFiiyuUEnZJfzRuUU9Z/kJaG46UeR9BlbzfP2SgJo9ftkD4ZJPBJ/y0J8xhJUs4aI3+7GYH/lNgysLMLugyVe6tvkwOch4FQJvjGAtosldu0Wu5yoF8Pls7+Kp3R4Pyh2qJ7zxrddGSigFBoSvbU0zAWOHo8vf4S9o+Zqal7SXQw8Hwz3mFXoDyePhfzDyB4MFOA7ur8nTqC8pRdETaKx/rWhDn6e6JOGebhb+4+JWZG40pjcTZnjyGAscePgEUIgFp6wzM6Aici7ltoyWI7pXke7gRA7hn0S2ZBOb4r/2ySRz+DK2klCEfbMfrPkYlRz0ufvJJy+KflEpdDapGod7zYrfE5pQ6ZBdgusEnq3/Sbn8qm3/+FQ6vCyqy+CIa2Cg4OqgopYwTEDtBx02UK08rTk0be2gLNFWetagWq/5Q2z1dH3PjwiricgPDE6FkW1A2nvefbojA6sDeYuMOBHVrnUcWP/XVV5o2B62X5OHiFq6puXjlbYxYIifSvgX6ISTTcfc5O+Ji2YJllKU6BGURoWZi0VLruzq8FBR2GWQDdDOSpH3Rsylw3rfNVLaAoAo7eg9V9H4Wbd9WQwTuaIJvh26bt6x/41Olt0/tE0YPfQSrcb3Ot+f5TI9BpDXHfC34C8OdVVT0AtXqR3uZSSjuH5U4lomYEcxGOA7Ug5ssja/3gJvD5K0yFPBFtmPRrtOceUcBy2mFYMrLy40WPCBNLwEq+AZnYh8jUhoTf69KwU3yTTBgmdvAGnUFJ0cqepvwEBJakwI/x9QAMTcUcFMjkCP8yDvawE4Ph5VDzmBpP4fVmc/yGx2Jt3WifYTFVz+wruigX+EQ1K6tEqkL8JJlGMOifuKo6d350UrPqNud/P6aYAnbBU1CGozOEV3ZDvo/xmQCSMzmZgM9SjV+s+q7GrMFrqNx8oId2dxfLpO3YeyPSXDS4xIMfSYBOBO05jdgCYy0FU5feAaHEXUqMafVombMtfkytvXJHJL5Bghg7xvho8fAKteuyMtZn+glhCPusEh0vUjF/OSw/bX07NQYZGlbSAEA9aOlJ/6xbIxlCVEJrpsJuJzBkxOnpbfZgZsIoihDdc16CLuRZNBMWCNIXDvGa5DclGKf5EV3sCx+E74Q2JxRsW6Zax/3Qw+6t24i9qNbeKbFSGkJVov6hLtT67wVO4SpK1mN9TUuAyP3iR+7YTXtQx8CV3har2izqbGxBwccnrzFfRy+H8jC14vKfuQUz9udc4gs+a2Ifr/J70RCk+92sucxYQpMLlu4ntcVqozLf2sZl7mZA9mlhjtOz0TwpzMMu0L1lWjiZdg9Iu68x/XbCE3fv5uHtoLOEanMFHsRrjgANwre5fIo9cCuXodxKm3LP4oOL+1chZGN9wOXpT6J73pw+Nn4sC8in0kxf8DxUF/4c5IEDuT3fDdUaqVV+Gq3+RM3GU2RnkTXrJNabz0t5KwH/9Xo9VRbc/WTw70Y4UkZQX2ugn5VS5qaLcej5pE2WFwL8gWVsGKRfCg++4QQDyDWMY63OuxS36CKpQo1vvZkMZunqYggPcwBQWaIJgvMYKvkfV+hyIXTpNsWmxhGvIvNTS0r+PtywDw2IiR0tKXusNKj5rndLZlkg16qmPRrn1xPuGIcYBpKG3oDslexouqhB0gXcCNgKtnohPe1ZYejRJb8zf1Uf0bxrrF0WwiUN7IiiFsPU8LMg4hFshSGhVbDQbwd/yB8pHZJYKOHC/EVuKgMoMM9B7vqVNpsu2Vxiy7+1syJSTgpp8vYArz+t+IZ2DsBciKPiasnL26sNQTzCUmbIM+4HoZBMiDPemExH/3BxD2h22vFqpnJCMFUxL3/Z5F3lBQEqt9jjtP/EHeGKHd2xl1NoTcR6OM3R0HdSOrZqO7ExtImmnsJbSNCu32hnp1IaXN0eVKSOGLWJkjJgSXplhCJAU4xoMHTKZa4Z8ppAEhWb/MRAkqUKcdxaw7qWntaJdbA+EecrQpvl/XAlFRuUtuxwCw9U9F3UDvc3g0b8bS9b2IPf+L8eZQtNmj6Eea99FW3+2UDi3c3fYCccZgoxpIkO3d5yA41VhBzwJwv8f0V0bzGJrt01q6lDrXL6WvdVLs8sXquNGemXvlVJFERnAqrFd6MSwtMA0/lWipPSavcQfqvlZBz7TqtFdBmhaShymPfsGK+GegbUzpUxjIHTiK34tnrI9re6XwNf2354dQG56gy+M31n/EJi6OJe5xtZRRFGwQGyleO5K7gr1YDvO6JjdiJSRyTXqCsdLba6f1qaXx93+cTJ1reN1VVnXnYsJ2wp01+cy9Pa7N+Z7Ak/jKuSpGOv5Q10o2nIv0v01DWcVJO1u+rKjZw69V5Lz2H0wmzkTIdxI/vBgPxat5A5wlfq6//cePOtnh5huFVo65eiK3EZGpfji5xe0nOMvx9Npx+Fk4SscDN4vWMgcNQuLR5r8yui3RmIu60vAAflhx6+8N98zgN1C1gQT/YHM7xz5K3oztnGyX67ySrgMVYxRnBLytTICPABvG2zxnZFWCmT7e2mDYCLEfoMEiArEd53TsLQwOLalnK3Bs7Xyy1e2eEOxLeQafEAisIX/bjy+rbYif/RBF9/gcaQxWIhM9bN2mcV8rw1nkTMXpQPqVLJtXFaEEbD6cKYBvwY4obki0eb3XVcQIAgGXfZcVQebq8YCTFjf/fXrzdJfCc2gX86iHNjDvfchZzEnhq03ObVUhgoAjraHMQVk8jVVBHAN7+dy6KlrnoVxYQ/7m8agAbVkf4YedDzfwwrC1oHrAi9fZXPmQZ+uj+VaO4MLYohkYcD0QvS5QsgVW6leK5PeWKVnuOwVFH17mn7oKMo89w5PurP8bkgpO2eP8FunWhUK6OILawEZxNBu2Ol4Hi8MX6bRWtu/zam2svYPGV8J50JN0Lt3+3Ly95iOcdIZK+DrZABXyEu9ZH+biZTEX3TCGxWO2b50TmlHSMcgPC6Ifn8mHgfU1A8t5t3A0TSI24MVwx/LBEW4DBzjw35fuELKDEg7yjXr8lNenu8EcbKl+H9u+X/+8XbrxMVkRQUmza5QaAHfhCg1YhjBvjlGUD9by5oL7zk7VmgkRD4z/m9wjaw+DaOoRsiPrQ0+SeccuwA40DfsbtShpzkwZoXSalCdSWgfA7/7Zsf5CO1Oja9z8VLmqKS0SanKaSEJAtKUJJHB3GGoGlvJJAf0DnJJZEuWDcnpDO/Vnv3IIHA2SFENx7TXMSx1LL/DoDKs+UzhtzDkXcRmmlDzqqJglrpGnHWwOOHAjb/H1vU1WTsmG7n71sNC8dVfiD0d2sdfUS6F4rFTjXZxxdWTGjsc2nabOF08onlwkVGHy46b2QI+nhTy1njs8hpIDV7ZKOmVElX/PFtByOol7QHPA+W+egP2b+c5SbDV0+OLNM5/U9cyUFftBZ8syFmkORpDZCMyLw9bDd11WLILE4ujZGkubaj70NO0RhiKIpmuMddpt6xLMieeg5vp+Tm/9lNsU93kmlc9UujkOmuEt2oQWvAvOrbdiRF/6r5VsiAFHgeM6x0MT0GUMl/dvYGbzvcXxSUhSwh2JW9R+7UGRjckuRufz9IXLFoevMFMzprImWEbokiLx6EVQLnvdkXHjLJ1dvyROvVSgxDMjfJrzwW2gx/McfMNa9ywBdQQj0yvViXc+phEs3cASLAsAu9eJlLwG55LZLaiVwOdQbb+VQtEsYRsbxX2KiZ/eXJGTL9RU5Xb/wzk8lnVNbIKEMjQIHr9mAxSTPcZAtM1HLoB9ucvmTe701hfYWDLiRcaWLbAz6inim7H5aEBScOfM5GGGi6E96Z9wtexXTo3aUZSeHZp6idCLYfY5qaSqgTWyx8qd6WFbVjhjMdoCNhIDX85AU73P5NeMcKIILoYrQY7BM127LWGlRW100UGMr1M3R0Xk2bBvrEsdiNq7Yn3LcYwA8JnH2t2oLFw6fBMgI2mOUWQZRur/lFWf+L3UUmb/8kkXCHx3wOIvyCh4XZUoXfMX4PiqFEzNRodeBNB3sutoMfKey8xm3ojjSoq4yVThtdJ8Ao48SoTjTg/OxPSG5oFhJTJnF7/n1ZKkV+0J/3PADcCanI3fPSPv6dLtMaJtoK5IoUsKMGgpQGbGcdeFNm35pj7E/P8G3Jf9pKzfbHTqoroWVc8lZd6QNgH+L4z6NlADFpcoDF+lKW7wbpa63VJdzlNMqKix9AgNXhDsvWj5TEdzVx8PDr5d4DW8+S4yFQv02yt8ZJMC1C5qfmazPWTsUKmRAawXqtJ7f+ePpJ/ehMm/EPq+kPGGyLDFaQt3fBTGzbGcWMGnp/fSJ2z7CJeRkQe/PooIrDdADI7WBfqkdLT/Nc8PBrhGMdILW60zbH8e5zKlf50LCXojgqgdAPNBhTVD6o/4tUGRUnuFWpTg0FUtR34Jq5vVRGiB7RMqe0aUeWtycnwBZhredJ/sY5pCe6r5Rdc7E28wEVDVajH53u9lxqa6IVU7p/vzUCN0Jhq+FfIzsJIofH1W8ocD5GaEwpNk/LliXU1rWBm/Y7z6NCembQ9i977h9zX4yZEIH6Rzn6YDj0SgZJP/3EHIfLBAEV7JhiyWES6fFaILgGMd+7ANoWo0MQFd4mor59D8Jv60TH9Qt9qYOmPm8p2GPmGjnaKc4iJ48006FQz6Obes50OOl5XW8SK8qbbGPpdFFruwRHcVcsH+OOij9gc7cmzeKfIx6YSTE7HQE6htB3HY3w0gTkQU9YHFuQyTeob1Xf8qDIHwCcfEDPGAejmBYbpydW+OsKYuzGK9z2roolJim89bARwMaOkY4uP987+hAxdhsxnd/97FFzvO5c3ZaXKjBu9qMOoRrkcby/OBrt3dVcMhlR/sxXpfPMwVKIvv3qNFZCJccIB7W1hKgdJRTzXvF8lyYNJ3wQw7qgD9iLB1xRmsQHObgwelEY6d+dGXI3yoowDZEZyzHMW9zG+4kniEXpltY5Tir7z7u5RMCjKlHqXge3CQOUHZkSExUByIaXXiebEuNv+1eoAsj+N1wzxOaYGxZwDLvRyUZOKqHAYgop9m1TJXm9w0MAhSEtuqFqvh7gkIJy4EFBy3RuMK3pa7sa00nAWhBzP9WyBQOlygapEElECZ9YvnSfrQdSGhVVcKpWGzgmld3FCgrCNnSwZxcwHjOzPXZU8GaA0XpntjnhAew7fc6jGps8C1/MDUjMk5+YsVL7DJJKFMbK/M2VHFYUQ4Kem/aRBlaSdKM0BVRjcesPUlETYsMHLM7Pxh8VAbgaaeoCEhIZ2m0VR5hsevNxlm0N8ndJZTP7/dkef+9P5fVTID3b+6VM6w69pILzZegzSaa2bw+Geds5398ifuhAIDx2V98t9NX530alIJ8CiVTXciG13mRbkv04+XxGvzhY+pfUoDIlk/6wmMjCPJ3tYX3JbmJ9PUJhEt505EaVM4YXdIzxF86/9moB7NYWkhDUBJtbfcXhYTRKLhCte4iteuqYdL03HSJNw54iBuCQpNuDr00qpMA4JOnPaC/DGS0OhVV2P5X1PniuMS7+cq/rjU6oPR4tWrP2Vyui0rTtKtfd9PPzquqSuwnJvdutTba8QvQbzLZyL2R0+iNiQXFwU8/SM6cj0T/bhcdbf7nB7QVtizGv0phUfMf8c0dQnRnq750Dzg49BbhBnYFtwa5qDoGYXGe617NbSxI7EmdBQvOQ1kNplxUptI4Dz5utN7T8mbsENluB9e+61ppzJYtp1IhfB040OwF/0BoD7vvRiRO/Xjhy3K3eh4NP6I3pFaMJyXPwCcAzVHe+fmJ88jFrzP1VbUeB9kIIN6bhsu7VybumdoOPH5G4q+BBXvFEeNEoOxOAwopOYYEQdlNd7ijVq7xnowbpOgIWguZQRATJzjQ4Kv3qQz8rkk8RMRCOFH0B+O8ynQ7UhVjw8FJTCc3pTSzTilhWFjF9d3OK3jewlbK6LS00hYXa5hg4hV8qqzBERJQmlNyAtdC0kptoAMrZzKS3VAl0gsPT/8y6Q/m+piUBBhtWHXFqIORi+rgMfwgPYwMr2PCtnScb9yYXZiBS8ibeMXiFfzXxnQeyDAcUUWO24jJHNthJmJ27S1TGBCSnsOP7xdtCQJEjU61MxxML1anvZjSpD0VGULyuKZ03HLpx+4NEP2PK+Z7hQexF7GShm8e6scUUsdQyyaw/VN1+sQdfCSZrtLHVbhrR9jRwD2GwCIciWbcjXQPTbsSz/bjWbLta0QWEscsX74C65UO4455ENLXplsdHhJm/jn2LmiF+cOEnljUi5kwqAE/C4ISpUc/T+EOgMIFiwIE16JkOOW2OFmJhWysm13mcKASoB+Hwm61HICY65z6hKGhXoz2ArwxTPSlNx54uXe4ioW+vAwcoZJDVLoQciOjno6D68Fg8Zd7ZhA/G+nh6JTcWMLF8gOkT5bsBxrg9JNJjs4u/O6rNqAa8AWEjY3LZ5XzpPLEmJ7xBstHQu1g1QB50eIafjW0gSEL4YDSwM6PU0t6ErrXKZlLHXM3klPGmcZEqNIvtMKSw36aAKdknADnQsNZB7mMGPefaA7tH1p6Zap8eGPO7zCg0VKFwdFCGRxfoWiuNmilnDcoevejKgwz2xllEbE6f7b5NUW/+UeGMPtjztxKOfvH6H8AXIEfJSShe62bjGD8g94V9pl7y0rX6LeWDcWUc7879XvmSUnpF0JGMrWh0OUQ+JIa3zdDWSrn9Gs35J6b8kFd8EvoTRQrtjG9mLfzEOE13B+rmkdW1oe3KS/fjvo/Op53qZObskc5X+IWU6dRme4CikUY4FzA3rmO5QCrz0ftrHgc6lqgOg/N/+knmogGpXpuOXfe76yW+H5VI/fy1o4z+Vcv0Q/3WOFXXbftXKvRLq77crv5dqHWE5QrftFXknTzdYzNMojBjs6A4bkvKJzcohxagDJJGsLKEbJJuhgzT1wuHDXJB74kwVu5IRuVanfCjP/gWOVXupjGXa7NXP5ABl9IGsC2G8D312FzgXh20tLpSNtrJdQk+8HuNF9Dwx6lUMB2Befpu8UKsS95G3pXT73SymLBxMDt3LUkDqMXTUIzAzgnv8P7hsBqVX08k+zwm5MLejZzMJ3oc0TjMzs+4T4utG5yXeBQyEPAihN8aUkwGPKkg2gmGH8RwBHorHz0nbmUL5KPkthEiID7oGbE734WlLjNGaTAbdXv1PjUbqI6puyHF94GtDNyaCTMdlFQH8H3XrDeoGpL/xVmUpAl07/tEyZ4CXR1p996vsz1p/kKIDgOjmfdjJJEmlaZWSoZZFjoooAADR+9bdNTGZ86UgGmaRpXBfDJ45VtQhvqmcCauDCncfRCAG0d9zCOKubgQ3hOwWGOGA8K7wp4Fp5NT1a9MWSYoN91hq/UKT/vnUw9FjKvIA8q4ni8hBgV5EUWp+TX8JEXNex1iQPXMOXb03cEvbdEa5TUqKOXEoQA1EPAXujp1HPOTCajp14w5BZXueU264vts17mXk1Yzmw2U5KceFvqXTXZc+Bb7+zleTOe7+1+jQbVN0sCLT+6sdP8qBvQ9D+t1Iw3zbfU27m4AJDKO83IZf+9HofaTWAgC/G0nWC0YcprAOB6k1BHJZb2Y3cINUJrLHjG73twk+gI7g3sFUvn2qVs4eLxiiD2D9sIEpDFzMI7ONU54lELm+xQf64Pufn3bf+YWJrvDfRiotDyyEJ5pGort+YJ1PHRVS1jhnEIH6Z7srftAKONWrS5eRAa2Dl+rg75H80lm+OdGf545yfnzrj+jGkvi1+txMyHDsjMa4lvth/eM9Oc6d5zf6sbyl+W8XK43l2ga48tO0cV6Qj0brk/Sb9r73LVoHJBn9Og+flU7NaLh7rmK7Gcwp4lQsPAV3zublMmklts58Deb5mSYA82Znu2llKJQ9Jsw/dmAPsMVUumHp0/fwxaUnHexG5rxRN49zAcAaLYSIbsFk3PSRK+dYf8lziSuLAwUGkQ4w3AOa+LViP/hQFDtdOOklUJr92RygPe+on3dmCPsM+3sNBRDrsK++FEJ9TE/UFHkVletkMChtlPxISGZoUZOy8QkM+1GXrYLb8j2EOblXFBq7afx1xI9voh7QSufwYb342wYfBocF0XAPVNIYtND1MNDNuIce413d0Z8z5y2u2/j+yFRf+9aLCvcJA7LW/dSLLGs5zZ5Hzh7iZ2pBw6YDm7KDgmPwHaaxnnFDjlo1nRu8iOipypXP35E+at77kTuS4ERQ9ZTgrRqlaCzHTqnf/WF8fv7YTwe3ROCj1Y8uZZkdTnoMlbaC0n8fci6kVJVEwKLIsPf0Jt8kRu4mS2g6m1Qvj71zX/Mx0TYwR8aNhjRjTod97LwhhsEmIAIwOlEVtfFo4Y1jyJVeldhQ9fbAhEyHwMiIHloJ10WxXJAc4kkPRDo6ni60RGcJ5PHI7H1JmgajNRHBVk07qi9ERSAcid950ZyU5Yx+85WFrTu1jtHuverW63viVwzDYeFIw1mdaDvOHLPbgYz/VRqAcVD+2khXbO5ZSHgmgInOjOQgP2CKtm+l9DtjF1kEvg5f7iRE9eV5irngowojfCqMyZNISehYaxXGRdlZB9qHDrk4YmGyPVpY5qoMLzHP8R/8nCIzCIKSyKy21KKYEBgW7+5T2fWf8x0K5ywk1/DT9uWBggAtYcqZxA3RqLOO6+TGhd628tbRy6rBb7CXj4nX4vNWQGDeDA/uBMW3hGdGE4o52mwvJaq7Lf5sZ0KsnWL2YDoz8zM99nkj27MYxGoClPkSLlm0wJBagIE7E+JA2WXVjg3idcI0RpSOyHHLZ4hFdXL1+yv9L43xrc7FXnL8I6BLZO0pGHHLo+2lm1LbrbY00njzLQ0Na8w01WoqBK2V9tPH/xVymnq6E4c1xOQAqpP4Y6rUAEnzd2COc/4IyLPoO6I28jULOSOuG8yI6SFL5k2qln6o8kSsI7rC6s7fNoSSIlc/RTIVGOjLwVm9d1cfIf76cA50Fe1lYB/aLcthxoa74n6M9xAEw3YbS31vC+U/95IZFRSmfjuetDVHEAq36e+pYpjGvJ6SnrbHG/o6jYAuZ/mWE95JDXXjtrS/5aTskJOFdVhs2WzN7U48RZ9wMIq6AO2MlNZy5RHXYWUqMjVHIyDLPKDuRS6FciGrsUdeXg+jnBIzsVjWiCw3te//LWFpGJT9y7Dt5mx+leSXWvqRv0hp8b6c+5Cdwv+yTULy+q7K0GauAyLzakqqPXSba0sNSTtC+iUM+sohSCJ2LXgGBkkYZTIfjVpSbFnGHTnG3EOsEPRkMe6jMP92Z4tddFVNPNX+ue5OtMnjwrp5VnJsCH0A/vznJ0knHPvNfcGS8YeLFQ293eN+RezXoy5pJVpwXheW65VzZ9IhgfjGOEparkt6jKqatMsAUcUogh2gqxRwr7cm7y74gIeZ62CCl5qChq6sUwc0mdP+NGdun7TYQWIfhxFfhWrdxjVSLfzEta8Fgubi05g7mXa6uVjLxQZ9PYLhiauZFZ/Gjk9tOSXPxFesrwhbLYGUEWefXRFqF9nCTdUOGYZkSTBxYusxhyZItLIPa1ve6//g6tUg50sBM4cAHUOg320TTBsMrxX6RSjFn/EzCvCGgdBYHfrHpZmZduxUYlKgd+B5D/tWCn4tm0z1NdQNLAAvuitRRr2UIO76i0lA/plt6ms2IuJTjCECIC/CRD6+MiwCNwHOAG2+di0EIY0X5KB8SFpVnaoyJABIRyfEFdczvNgSiDYM6c1RqtdHynxqknvtcIk5ow+zvpN2LfomBj3Dy+yzqxf0ViDL53nMz0osEUp6Wx26EZdaDyfPOQd57Zlh+Ae0T2K/+zixZBzSXV5kZL3Zx2wRaGNku+MX1upLZVlyhwLtRXlFMaaxzs9QjyK+v2dLeaglm+JXFZ/quYHlQLRVe5xzgnO1d8roi9RoXDoUPtVuwhqkFN54tsHC1Immws8ZcAnyox5DGxlV/rvTAM1us9snX20570t+MTOTx92Twe2OGJcxcJ8ohEADsmPNsPZSgeWepJZgQWFDOC/doVR6n6bH+7gY25hgVFRjA/3kWq6bIXaOfmDVvqatJeDvImZI10qcWgsjxhF1vIBO4Ee+cbXf1UqHvd3zyZaEft8W9UgHmiLepx99rRroNIvXEZN4tWty8HfAYdAP0vOLeRI4qJVlD/9lML2dimGeVREjbbm9Q+PiWcM3DFmPfj7QhmkHO1s6m6MpMa54dMlX7sBcPlwed0g1WtCKEM1Y76O60xKrdKpPGXKUQoK4diz2ku50JZ3K7K/bXZN8FtkblV3yLWtLAUNwqztg71MW5u4yDOH49ISEurA1r0gq0uv/srFE3OyUoH8mFCu+vN92P/KVCviPHSajZrE4kyvZtiVHD0C/Ft0sf9L39UeED8XF26RaZVNb5BY80duAzi8/cTRlHbCPz62H+HiBvpy4NIO1E4OEMgWIXzK+ycOznbSWutgF8g6GQnA0cFFY2ieiEjpfImdclS7FU5H7NwJP5eEpeD5WmgLtKVjXv3vJH+ufdismAB+uw0ERNXRzS6cBnZPRfxoPglkZfRu6gkRZjZLOTNUizbSKNQXClTCXeuC3+SSWJMWrdXkwCzJinspiz7LGxNtgDvf80seVzMRXghJYlYgsSfbXtf1K7WXBbNxa+Plwv112ooINEm2OL/5aXWSNBY6lxaRH7YSEE8DM5f0YhW2EfPmk1MpIJ84kSdXdwMv28yLzXohkyhKuItnT2q08Ju5QYDlO4axc/GOwJJUB5q+JBTV+f2iGuyhJ8alFxVRtQ49575OzzXxPZD7JQw2EAmo64OYhEedtyp5O57oJRJ7w+RqN0HHlELxFLnjtK1SMf/mvtGU5gfgkAV84uIuPhEBvSUD+PvumiAVG6MJqxQoF5ciG/mQzBHclTcX6+hTkGSRUBRg5/Mw9acu/HlYfg7XJ4DWZ0G76jp/53D2UschJH6yOzuP2Y03xFNnUMXFlFw2z6JJ9v3n3hHsiJ24yWeEXlsoZ+N6oNM62npEij85Jiq7SLTuHDp0O0JVnyA6Pz/MRUQK2fhh2ec3nNeVlDewpc/WxiHW+f0ad5ar+549HSKDiXfHh4ukdW+P72U+VWCf10FMRe1LVkHiPVC6Hz8NepbcaK4dLeYH8IJrNNdDnkUGRnDabNHTtmNwEvaOuxH9abo9bs5nD7Pzk1w/DS4CcX9h+jCW+pvWtCchBJhrMPdKdshcC3Lhxw6EDMb1FQPYUZzZYmJ2LvaXPpn21rG3mLJ8yDNci1YYtHpN+xR3huFV4tuJuw+yeGLCAMtjvZ+Oai52uWJSjmW5X+FPX6t/1WCbLP2/jw3b9LKyeA3l7QtdDvnPN4Pfb6xOTH2ZYhTsG7t/oABpBr2z9spndfaV50RkM2nUsnNk55KpNuVufGfBRxrcyT5grmdc5nuvaEuaYrR48yRT+nhovl8PL3f/t3DozoC65ds6jGHoVeuatnjgcnQHxGh8c+0DZYEhMN00/T7TfnmxkatbCFVtRGV4s+oi7xIjoT+HVil959GOaYbODxINEl2RgdPoeKlgyRPPYJenXca4gC/ANq7RcKgXTBm/4mtCIS810phKjuafvLeDvMo2bew3DmrOLXOywKAKx+b9/0X2LSj6rTO83M7GBqD6O/cgKh2z6qUUv8D1yWWNa6i2ldcgVZ+ME8njmR2M4lgmBXx8YWT3xtmx/97F2U8tSRK8BjoN9FxK1nvh7EnFGUae4uBZsQKGqiVJlSlR63ZElb8836n9qevURbyuTGQrBHEaMhWSTxk2RhLay7t7jAHvFhcYfR2U87vFQib83eW9XZvLTuiLPufa3C7y+QVjpn0s91xnrWhZyQD3oTqM32RDJIK8lsRJxX9F3ZTrRszYQLhqYTnQRKiMioxOcQF/RfawVsKEZY97jl2did5P1GAEA1FCdum6f8w7pq5D70aPc5gl6XkHLFYlrFcifN5nv2qS5sFJ4KicvniBOPs5ePpwR2BJIzdsulYstja1B3dGb4iksAhjQXgMAM0xkV16fbDpXPWShhI8BAEuTRlLYa/lObPOIm/+7z0GTXj/E9yiZJ1HxsAEBWEsY7CK4ePm9y4Rz/28u60u9ALo7eEsi9pmWRqcO6KwsXnvw1bfw459ybZnVrtJWYcECSJKMvxzjD4qhC26n+4fk39xUtycN2RC/o7PobkXVrc4tDrbpaI9gvTgWaIPNYPl8yTnhxBqkMxAQ==" title="Mekko Graphics Chart">
            <a:extLst>
              <a:ext uri="{FF2B5EF4-FFF2-40B4-BE49-F238E27FC236}">
                <a16:creationId xmlns:a16="http://schemas.microsoft.com/office/drawing/2014/main" id="{E33D4DEB-DFA1-E40F-92DE-11CC09B8C573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 bwMode="gray">
          <a:xfrm>
            <a:off x="330200" y="1736399"/>
            <a:ext cx="2477490" cy="4301795"/>
          </a:xfrm>
          <a:prstGeom prst="rect">
            <a:avLst/>
          </a:prstGeom>
          <a:blipFill>
            <a:blip r:embed="rId19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30" name="Rectangle 29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z2dD7pS103gZfJ6l4USC3jqtWOPR/ue0umjYEY9KlLthURXCUyUuZbmGDPUXB2idlVQc+R1c0j6vNnMaKvr/AghcgjyTjoGcS2U6lyGcWZbvoYqQsrFJ5DN1RdHsB5gZU4BjQJ6xKwDUEsW8X/QQ4uIPkrhyjIfLLN7ZR3puqzBiN1rMnctBA0J594at1EN5QJYMsPufr2eabAYzIDriNpy1GurybA3KWqcTPRKYh436jQqOHiPaCJtAtzpRgB7Igk7tw7BcBhai66Lc0jpyzFEK/4NRoFF+cso+ThI1HNgDMZbpFoCsJQtilLqk9nQPGX6RXGboCTf8hOOcHaKoTUKF81dro10jOa8Xb8mBGZBE+xk1l9MAy6INl4AKPS/x1yjg5OmQ2E2xhtdGoB6y2IJGkXvD5tnIguAPYWnQlUSN7+3FejSz635ACg98FXJqYxPC7Cv06gP5K/HtWsr6Wp/C2YedOxhXXHoo3cPFC7C8g0URA+ecnEWjokk7gRgk7chGGFmzNMnIK7jnYQMR9DcdES1oMngXg46hEiTJPzyV95NXVqphmNx1qdouJPrkrLq7GYKF/d7WXJXFHBP7NcCMhv3B3fTcSHTsD8CKgq3vGXxtkKRJTMspYsSpTulFQ9zK4FkX6Ud+n0d/ZTvlZlwUVwXfojnXnlFNt7lExtzX6icjlkVt7vyKgwkU8CBmANfshDWDrChCRotRLBlMFt59ppRvz1gK6CK41mwuh59jy6VouMTelp7tJNoYzmZh2YpyjWI5vGFEyJpBQ/8w3ebNEGoS+tsQXw1y17Bdcz8XZ+IajXgRUBxmPo9vznXpTWK6axmYrStqa1J4KgfpuKNgpTOmxiKim5hlVgJNmRBJrB9GK8Kn4ZHdO+ff8JIZ3lIhctS8Pdl03E/pyBSHCjSOX4eQugSmwmvEeqHvzsmGiOV6D16s4xtCz7FmFQoA19BrtkEG0P3zowCoAVlCLdH+LsTUH0UYZXqB/+oO0ZHNf8p114CHXawq4GiW6dMYcxZkqTovf23TRKWGlu1ZOHDGJdVxIXuHoeFCLBg+0g1/CwYR50culKtC0uXj9Xa1HTLp0nHXDOCVoKM1yaGHub3DZqAQEbR1s24HYrRWP/dfb5Qi9wrW4jv5snPKYoRvH0TPddveJmbuHGottZ1qmEmZ0UJGbuQHAnh1d2s+xlpAzAfD+1msrPwKYaz0HyqUtCJObda+zp9+/WVzw1LlFTU5DuqF4pVtyJ13tQTqhVYrFdRG1epw2+wAdjuCngz1IPJxxrA28aYsaUFvJP0V5BY2XR3DgrZO/GwehKYWXyplXlqQoIhgEDcOZh6gaHIYQK8/yi0VB2KuhaLkLiIPevERgdp56tlzGEbx8tVifBxmA3M/3bKegt107Zd5rEmF1ZVDbbef3JXdYiS7NW3TWoHQaAsZCQwFUuCrLPBMJfD2hDmvogpJzaA7BbpUKxtPF5n4ZdqQLVxJeANB90QnLI3OWY5F1Ou18e2/pDmm9b9IYaVz2QS01Qupe50SLxv+4gVkJtas5SkXfKwUZw0dknFZrRpg/IeyuvZPXorGI5Lhw6zRCW0k7SjYStdyCe3l2rLpGRPQzJuYSNzNNqfo8oId66iPK2dPNxkjxNHGWbFogqL4uRCRQdiQZG4arQ0GHvOFaB/lG4mIwP223h3AVzYE649K5tW2Gu9ox/8NY+MVk21YRTQbil3pshroVeRMBZvuCQszczcEtXmw8bYuFN+RLHJbOwn4c1EdiseKvp4HCbMkQ7I5xOSET0VP4rNh+fRrBGUrhvUdQohlwIZKE0FzKtYAX4ZdoSuxkhHaZIUPRXzy0FC0k3BlUmHmrzlJ9DzexasDn1gr4Ms5f7rUP7Vi4zd8lcruEKqvVguAAIXsb9Pw/aeMKLSPcIg56GC0qhQ86DfClxHj9Dl0RGp+B/FKCB3yvpi0jfi3hQ82RbjFtlyIceSBKzzYCYZBeTgn1sL31IBL3T/6Y9OFApMmAFg7wJWbCMvhXYAx+Gpp1PILAbgYiKuwdJWey1FGe3KAOhtyPOS+Ds8cH26BHeaRmrLqyn5jv9b8OF9SV5S9dw+JYooHxhXyRDSIU+B7T6QBWSiVlun7oVFq9rpMTBsXwQG0f6xcUpYJ/dgXhFWCEHzdZyWjXj0uyss6fltciYC5TFCK4tOpgrblKiSDkOmoGhvhn/HoZt0vJFt3dM/pNJOwQPc36LJoIY+8T5o/TMAA8RkkIYYyhO5m5ReqsuZMsgqLsXGElbd7WI45AzHszhjcZSAeGUIvy47STcN6+WNMJ0pZ/ajNXXxH0k32ZrvNgIo4K8if723qGh7Ku4YL+OpvciLwfB5353TVsvtGCxVDFS3w5eNURT68llayROyzfvtQIZ/Ht0T4J5PXB8QFRddo5u9xcebH1ui92S+BgdGwwbuuKgCNEeUokGPRBxLUjtPSSFcKJtWW3IR3JfaQRqc3q+Ex4Kp5Vz5e414aPBT3aNbPPQS+dv5q4dAFQkKMvJtN+6zePQZmzKbrUzg5/5MJB72doEqTV+DT1qqMiX4hFx4Ksa4Umz82jL6mnhfaXWEbVNOTq66oP8yk0U3yGSt13yMrSgFYgI/kkrcw2uiA7PKW8KRhUrUyspcSuquEdD22tkhnOajVf50jdEERM0bLx3vIx9piP/Y/gkyxH+TwaWZAj+jDXOr+WIm+tDNDWEAh9iDlRjig9Pwp8uMQM0NRFQT6fbW9HWOpSaB87F+XUhulWzR15NZfMOwOk286JNPGp7gmlzbE/EyZ8dNey5NnhCgolZxZhYsZI7lCiVB4wVI2HhXBw643fn/Qx+461LhdsxGXo4J+pADRG4MeWE2aUeNQLC7FcVOC29M6oaJGmf8749zjzkPelJposvbgrfcLZwZVa9g3ZJQ0kgWr1w0p/S7bIAcLmXftmCjnuM9novstF+Pp+7Y6u6ajTqZxhIojzLrmhgmhF5GMkZFI5MsRjdEMuaykCuSmMwk5KM1x9daApljMyaZlbK0t7K2Deq0OGxupo63H8l6GbZoSAj3v5ip8fiYVB/o5HFYLX1hVlDlsyM6rxkb024xCHVqeZGsvViEA8enr9bzCEEqAgmEUkEr63cOu1Vvek3VfrNDuw89RL70K240PsAuxi9FfAYSWJk09uhkoek3T6jlORa02qS0nh4cIq5z9HOtYKOSaB2CcwXuskqsz8OEzbEkiQq0YNJ9Qg4751TlAAsM7KJFWbSVhbrxcbGKsqRFo35MYNk6Ru/XsmVKkihu3CkynP3cO1uRK8cHKPeiq6oyzkQoTtCzWXFeknphJPzoal+7i6SWSyiO3LvVNTmxencUB8G7xF87UrGIHsWro21DdwnSH6PvLi27+a1lnOPXEW5OvmGHs9IH8+OPzYvkM0AXnE4qA1/Um1JCBXO63HCpw2/hvVR0JUx76fjLmQ69FCRsX51l+JwfodF+psZdZkd1Lni4dfnAu4m7ztGKxhef01ed9m6vIqYU6+wGUpyVVaysYHG2N5Xp6beHkBIXXhZOYty95mn56WnRhERM0jU2huFR83xtU0xPkWUvC8AmkfWrFwy3C07oKXNe4+PQxUJ37VKWYJ9WRzupyarnF7/S71vvHzviSmFY7opbPdrieu4fJU4Ozt/jH/0Y7rEkG09q61sxuuiAV5fo0cVxQ5d59FOa5nIgE3DnbmDaXIBhSAVr4EhXN6CDVJkwZxvWMQxDssuLM/01D5S4Iw1TdkM5mw1IuvxDXimgeiGz/7XeZBzI3jw66d1gAkt33yWM14GO8LWKUbWvOE++l7Z5GGZXjv9HK4fR6IbGw2QuxAO2olX2NDeeEwM5UJ/6sfXJQTjxsNU+WwtiBFqOhGdEi8sBfUBP44qtlLPLv5/DSH1/vctaldgpkxt+KsKrUjcYxZzSj+O5z31Ib+Ed3f5PjmEa+0jkDGoRDPxTpavshkfBuIeE/ySkR2E4/Qdv/HOZT+xZ+aFvXZpUGrsI3NiNImtbbeEkgi2nkNtENvHQkL0d2T/dmUIJgZLytmbGR6+zwLIG8Kn1ROw7/16cJROxOk8dhm4pFojPv3HhEJu5OMTMkyqdDz2zwcEXPT1aqHo9px0eaBXhoRV/iScQryj0MnzgcAuNGBEm0WetXWX+kNHmnr5yQH4aXtKLJHXHfkwYKA3kQuBSKD6w+vvtG4rvujo1t0ZcOhbkcJ1nM2aXYote+Vj263yDu0fiBaDYCFCtm2LQkqPT8oJ0VINOqD7yVpsYjoSuZ2zh9JphDzUnMwqaibEOvQ8e4c6h2KSloEuSdv/YgLzSv4aIuGPh6tRRvmV75qY2KqVdS4pHOxjR9n8zXzV3r9ifWZPvFqflxGnFt0B+dKTCmebVTiuejoAj+GwMcL1rvWn9ahwwVKzCXk5TOYgPmlk+mu4bdsxG16tJmbURlcKLOHQAp4HFyDii6ET87YUi3ERoEvG8fX5vgijuVdHNoBr+q0fjw9H9L/bQA378ACEcW7yeoicrJU48ZxRO5L5PEdFFJF6m5zG7Lj/yerz9zdDqFv+y7OifvpGTwXwunChfW7iN/pJIBCSdixXtaEUWDCj9MDz/+JnM3ypPt2LeUHT6f0K0ZzdcIR9VA5gajGhe5N5b34vxwM9RqHkB+SkYu1obsfh8gi8xbTa0ptYREgPJ0sig0wPDt/tyQRxeT0dvCTT11ccd085YdmwAqYnujPAYdTEQ9RnO5EcsjVPOhtOm95Mb6Sa2NRbR3fkwGLnPODc3WaCEpgiaFGkB3TN3jSC+/8kQnuUZET2O5MzzqnlRLaV8qwFC6qgwWnGpMwz2yJHHaeAE+iF3A8phE0kDHYVVRWQNNGIiu++ZLgmNDMfgGqdTkeFWIuF7Hfb2AdgiGPpYnOiGFrNuTiTA8vWyMAwkcOHMlWJJrBq6HErWy2uscifOxKDbedZE4yDEFyOI5z5Bd2jNu+bOmm2C7waqimZI0VmhPs9EkGdheUP46LfuZUKYYh4Be3WpACTvuW6AYVNo+pCs+VdavcaUnMgvzJ1d7dsS6cF/8HZYMZerPu3Cn+ZM+S+4kY/cGftYUaYPC5M+pITsUtowfRlSSLiiXUp7kDDUh6LOixr6epbI9RfqUjjGzdlt/dFlFG7vfySCZqA3nLv1hhKeFFThiwPWpqJoFIBbTtXoDkVVS0DKhBakwaOF/kaVQ7gdO3q1uUTGeXR3t6P1/v+5tDscCWd3JqY8Rn+hzW/hbHAgaaUU5AMxUJmeJt/6nZCNx51di00/INOKj5YoWCSTZ409mDbROgNAIsU+lSk93HHkJ/6DwLY2yx8QIlSFuTMvfb2Yw/fohOlWOerfKxBpoX4FK2nQw7Ly5hma8PLG3X2rNFOlkuVvVvB8puI2zxAfDUp1arGgbZvP43ZO33M0TGbhZ27orx/Y0UNIuxGGK4JlHur7LrEzOyEPO8oAoI8OayCyenzj5bf1ndi+gwn+aquu2mtAkgZ5R3g8N9JgexT3+OKjH5U37skxPbk7l6zFyS18qTiaNGTARSeRmuu1SZvTO3qQ2xkWxwlaEj0rv7ZDTYm+e1wY9yEGoziCQFcGBY+PYZzOCEwvHlK2Urb0tySnZ3vTdEeB1UndOeZ+g7oa/vfyawTdAPrVS8w5SyaNYZds7M8uT8oM1XYv1aHab2eEjhZts2xQeFKNAJWSHfHwGYmkgYuDkFwaCVqBE1gjh1chBUPzhnOcoQ4ocyS+LzvA3OJCqM27GTb5IFSUoqvUM/9hwAcdTMAbON2tsj3VZa9g3BNS2Wl3/1DbxtI334fo9CIGmEBhZQyhwiiokeU4zhCwUV7GRJwPU6T/bwP4ZA237IHJhiGjvJ6D7w8E6NnZ+P+gqemM09No92BGARbq+L6yTmpzHSWXlAbghfZZ8K++D/ImdIxRgyv17IBAwxVziBFAoYhwtWSZFGMHmgZbTLVzmOCa5D1cr30TDRJYLIwfm3jz/smWxbtGay/l4T8fqjjg7it8AXAaxzftgxvIGQihlJAQOBjQknUoevAag7TgVUxmXItnS8qto9+sDl7zAuEuGgOOLHSDATazxVm9p6ttu1iaVoLHWruI6M7bsPN3AyDbrucG78hRA2+MzXr2ZljIGMKE3YIpO0vHPeRY0rtIyqqKz3adLFfEDB4pgePZvqIkrd+dQzdqTmH2VLJC3f4uZip+0Yp6Yxp5FxyzO/RmWS3SQzXQorquXN3YzHp31kVMjDoL5VsTnfRjTsGDbGqtS+aCd3jI5NBW6DJmXb2woZiQxVthFlsiRu2eDXQs/4cWqn5cpNpCZadNanfNHOHBhE9chQW6qfho5zdNraOr68R852gzDJC06wqIdm0VgI1sl1L6458e6uvcJrTR0dhwJlkHxffm3Qt17mBE6CFWHqkgreYju7OsRG44LGN/IRx2/bhCB33Bja72ZzR64K5WS/Cf1v7ZeGPE/L2jnH000dHCwL80EuwVvo/EeRzEQYXucSYG8mR9a9BV6Pa/ncNQH410U2JGHYpamBGl2rfjPN4RzcQUBcvOk8ZL22d9Y+bHxqfDJydb2Z0vF+tarsgxj6z/uJuXa5wofbNhj66x0KiTViXxXhH1W3nNDxMqVew4h0ElQeRW2UA3DWAE1h/xK22My1jHW7w3IsN0YoLFo2ztSpfQA9LueAk0M0TaWRJZOn6ADUkxXF7EvKTbQadcHHQGdltd6B9bkWgzYRI6VY645KVq38eu6OCsChSxYhitB5YPmsIXtEV7bdvLkzj4k4i1lWKkHtBUU+qnEfyuclyDzVA9Hji2t1Z/nD0OyKO6AIG8/7Ett/zkmHFZYDLpt/eqTYvL+r/C+4xdObbLkFZ74DRkrvkGvJ00RaYqKkfUMqEy65VIxoWJqNQXjnH7TFIz23THgvLxF1A6/rMJksnYEwov0zEEVqntcSkL5GWj09YWmpQF2o7fMq6U1USE313yuQHGTnJOfl7g3D6vTxDYNYEh5TbqEfiNPjPg4lFVxAp+vzhXXHk/V6xWgflJuxdynsrrh20Kbxx1WTh6A6zFWHqfxVcrNBCK37FJCiEFnSPU+2WM1WIOQ8InKVH3e2rrLuP5hYt3VAKHnCE9uq1xuIFBgAl8XhGmxXFpq49Oe3iQm7DN8rKE+P0ALtEUAAJDn8YbFqKaFReaF6XnmujAtZarqk/E5BvK9Z47DI5hkwWdMFAQ+GoWun0OAzR2KuJagJ6sxKNnlTwp/hLB0fobaRTxprSCQyeGwkGWtKBP45fPJeQw4twrTMFnRe/sOUh+fzAukcyIlKOFEZgEMta5Pp8g3mNK9MTumq6Wyx3yCVpEehKo9T9JBidBbbW2dCWpnqAYkzH/Ds4RjV2jxobl1oOXLfGt2XXKouTqPfTxX8SjLLTYDYHzQLBuOLD+y1zXROwecirDMDXtToIEOigudskk2i0P+5c0pJ1TDHv4lWDeVyfLZb1LoZPENuzT1SL/2yKoibC4iU26pn1FlTp/rA75NE7+yTRrDuHaZkAz9rciw8DP1d9kFm+SdNFROTeKbRTdfbav9ewDKdOCWQmcmoqFPg+s4lFwsEOJt+x6dv0J80GIR/h8i77p7Z5z+3t7VmFPQgvx7GvF/fVqpDs3XDndkcK4d5ktuPsuYqWq09I88K3dBXqwz2nlG4TWM1f5fbMOsHlKd3o02Ea3oNFElYRvgK2Dfzqj2OFNcry+OPvlNwuFpeEPk5nO5vrcY8dht+VywmJPCxE0m59nmaa5pfBYfdsIh/qJ9S8Iy/X84gh5PR2/1WiWVn/oH8ihU44nNKc/9rLS6sAuwDZBWB4yPsO8LgoIW+SMZrgRwynrqxqB1o55vR4AWYFjRRYubQp648/alHsv83Yce3lgTh9LVDSiSFKweI6sJrAWnBGF9xHpqcY7KYwSYinUJCKMZ8ItZ22ubO7tXfvzW0emgqc/oJBp176LqQCJjVFV9E/A+VRsUqRiX4jlY7nggjxjTEaEbmkNX7NMhlY3a1DRZx0gW32LpSSKvvhiocuxjHKehJf+reZLyiFEVTIprVPws+Ab7NxzuhNCf5py130r0zLwQElPuATtM+9UkgPn5lsmk+1pSGcb73gyW79W0P5yPWhhwEDJFBWqpA0+v6lsZFe4sKnHJQ6kyWjEaHSB6iLlDbk7Igp+tN1fH8n+q4B5XX0gJORCUGXXd48lYO6Ze/ob5TgL7qwHJ7uNI/Fmv9w7N6kdu7TIjS9P3Bz0fsDHoz3nmRRlX1PqjTtglsDfrQJ8RIFCMYs70B4+jftRMd/98Y+IjkE2XA0UdyeKhKNDf4naber0JQEOI2/eJgPRdPx7iEGl6CXRajsVDespVT6816VWO7g0e/o9dyD9icZ5OrkCPDNRemBt2HJSTUR9zPBsx2P+ez+BU00+m76iySeeV/k/tHtaQKRXxguLm03d1vOr/0qicCREyu+OI3LK4tvQi4mS6F5H9i4ibqG4YxJ503AdnDr59jryycitCknGaD1HvxFzWTf4X6RpjoUOu0/vOI03zu7ZU02KzTYViJUePOA7kelJ2MKf2aPKanG0vc7Y536inn+mC6tyh4BT5h4xHtZT10Sbtvg63VfzeuKDqPCmeAMhrErnypB8ix0x7wGC2iczUhFAhDmVvWnSp5Am7yv3A0YtRcTkIycf0VJZnL7S/G2kYvOCL6mNSAouTJHR8/c4iFiSi4E1UYlqQ0/hjUQIT3STZO2y6+eXP6cL0uceT7O9MspPK+/0N22fknaNjmx1oRKam44mddVbX8UqKmhzn2JLvpBd3AhnA5DkHQhciV+hhclTMnO8rrIuEVisJoIJsWj36P1TN7NNWegu8AF5ywGPNQh2EsR3HCahQ947WaKr+g/EHHfhPLjAQGE75ITfCgSjd4cdVpNOlxhZHrMg3pF9nmrmbw629Nqypss4EXoBPGLhX2IyUlK4KfhnBMGfqGpBZVQhNEBp8LEJpBQ3gu8//MuCMI58UKVJ+FV4BNMdVMid70Q+2tSeXWMtjomwgWTppTCVRTf8WLh312s319ss0YWWYL20iGPZ4ROvtO2oc2fOQnR331Qf/DutU28//pdVqhopYJTPgXuTOu9eU5SbkBJIi360iJE0yqDMC/MmrQM37Yd/md6IuFoAwhB9JoUY+QCaxJ7fXNkpeJ+FihRcLm2ifI+NUe0k853oV8py36FMBHTP/G+vdEhK57zvQWvWhSXw9MsXbnEGDmEXN0eOwmEA+GqFrbBd6tt+CZruBkh9DMlhJi9/hNe+ki8fBkeVpX3KIlBwI7xl5AH68Bpxb+M89SWbKjNMo1zNRostZAs9A3BszkwI337sgeEw702XXc8Kt9u3NUoNe0F0fWdnqZk5I3AAYQn1Ykm015oJQDchrUFH3NyenVaGot0GyBrtcIaYjwXagRQzuV1xIFTFGKABytL2PV/5cf4QCOyV2R9MRH5BiRENIHxweCZhaY/Dt2IILqMjSdtG9KJUxvF9b7LY+NDDVUElqECKWB3qZynaKgTWcB6GHQ58H7kkMlxhW2+OIXXlKrTD4fE/uiNJjlkLi/9QCcZP909jbZsaVDimaaUOgKMV5npeK9QhMzHp0q7MC5ZvK7XjHcHnLfJjBZW1OpdNAurm5XOadCqYqFzSX/HzLi5Xa+UQHozwMKQ5n2DUttQHJaReNovEJMh6yTy2jGaiyN3+hZ2OhIFr7hh+SB5AtMKPxFGGRBxvjA5/8qD9a3jpnEBrCHtgMVZAib/fBnIkS1kF4c72gmXBeThq37nHN7MuncOE8oGJKcGzbZhdfPLf7T2YQvUWj5JIUr5aSaFZ/E9zaKNea017jaEbzdjCvaQeo8FZgJ+bZEpYL1FivV/YOvczz64Z6y9e+CFqujejuiJrIRrdxpKUQaOLYOBtGbTxwHxxPlW0iigk3daEs8QD9vLuARSZ0Mt7Vy5mdMCouK4oyQLpD/2pOZXzZRsNNl0D+P5I031kobKK2WAJjbeox6QAnuIybFe4/Zat56WD66RgCRPsJIYABp5jQazqjucX7XUEOg3zz/m6a/ukYGVwCLPjTg69Dl/GjdXRm0UaE8B7FyEaddla5qfodOEJ44DCWFi5QOsG8L2DqeadWb5jWdEaoUUsyCduDxwQ87At/NCDflPtdKVbkgCyriB2nvyC9Ae+FhRCkiBlRbuxrOmrs6OmJ0uAvkNc1HKPVojvkeBivf+/hR4ZPD+VwmKkY2GiPC9m1GaAneMidANw6o4rQ+qJZA/oHJ0RFRNyJGH0vsrzqEqguY/1Hj6solqWRfwpvT5jddi6t/zeApJF69WI2bTpTu5Obuq6lerd6aq4kkKW5VGNKvg3l8+JEmAw5u8xWUVqYJyJODx9JVe2bGi8oas8TxStO63nPNV1e8vWkrdxgXfcsdO9woTZ+Dce9vF+/saS157Ci/QsQ63JgjLvbw811Fxlq6HMpxvqaB7QNxHCMUZzyZSZJmJs0OuJIJlnQfpZ2kkCFGckiJMHo+j68yBCPbBI5e+epUDYeX0/CnEfnXolR/APpXDEu5gl9Y5rqdDTjBBAxVg/PE57g2uY2Vc+BY8ply277ahMuXouncjU4zO6WtAhR3JOK4exikqhgEfQMb1xaB6GzZQ9ewAltXSX9nSqdJN1gKW5MTgusJ3RSLaN+yMCkvc/VSHwvBehTO9DGleXKksTGJp+DM31N+d99w4KRDkAbR/5p8F/ELrS5zMSqofKCGXsd9tENbVAPJEEwyZLCPBNtuoUkAo9nhvw36kou3u4UxGbz1zQvkR2WDKAFh2hdtkJrZRCr/07cw3VPyQUQvdXYaTDxhZ8nyjlIvfseixHrdgZVLGjRYP6vPwq3C9TcTndDacKhxbpcUvpR9VyxtErzimoSyVNcTjpbohio5AwGFBaSS6A87t6F4/+Q0eio7NxyCtdLUiIeErNUo5tA9dbpMKctT6kadi6DO2gdRs1Ha+D01s4dh0ec5x3aNFTCbd3hbM894JNyYL4vP6nzGW9st+70HkyAcTWuKScim2azu+eCeEYRYCr/202PYo9PZdiIB1PFwvP3GkmJxaS3iDFX1YpF87D0jsd2k/SS9AxbWefnYOQQWHQ+HcwG3ibg8sYStSHBKF8nbo1ZAetqkhYZBBk8fBmzXDbk3GrFbPoK2/+w75jAtfWNbhWnzwQqfT0u+8HGedk0BrwpgOu+CpX3rM1YkXtC1naOlx3VLJ4UozTOys/OsT2EKvGjk2kDr9+2spcVCzais03R28GVnsx2cJ8Y1CDpUw/TL4vxpkNBqvGLi3Ja2lkH9QO+IrhQM6MSkjIGj6cxjd1gZ8ROkcttlomntLY0l5C4HghWX163XR/+099iKiVXEcpkpUsdfBa9aEN9WA3ZMl6u2X8fejvtNbYwuOxFjTuaXrAP9l05Pp47KHk9KFXfnDqDCEo1bvHpENM4pHs2hGROlPgQHR+ABatltxo+MRxwb1Zq/5ZroSa3Yj9ZzSiqPAieyCgj1RQ/mAfI9WfAAQLgTEPhugn0Dqquy4XMiIh4sGsqd6fh5KWw0SvjMFN6My65Sd+V9eIR/sC34V7Z6x6mU1TBgi6dZyqmfAMW29EDdUkveKEbXpvpP/RtNV7hU35+DkuMbuOlPIfmVlUFdGhxS/8+vdep6V7NZv1o/csIEadHYjpMPeb+nPFJ1f8n9CfIGs8WYB55TsQMMJ58ERmCZgRaxCFPzCOJaxsGcODqWnn+Hv0HJ8x9Af3+0scgKvl3y3m2DjPquBwK8mfUyNAtF3i3VyJVoNMieHOyQBabqonzlY2WVSwCPju2OwmfqVHyXLB9BlLLG4JjXGd3NuQiSTPwCFNK1IAzTjEV0eCkNHs9s5OAZITVPeKCWKnfmCuPwpIlmG1sMWaTIMgsOrlP/yzJZSxfzB2/wp7leRXHJads3rqYY/a/IoZ+s3P/sgUmGOx7iXOMKz8jM0J2DxwRrJV8mA2iUQIFIEDCJKCtHWoPNED7n+Z0DYJzZ/4vUq8lu91InZGi2ljm7dAKJMn28fmEjYGn2xe4VU4sB+PPgi7zwjAq9I4STB9NvOLz2oWw38w7zw64g6mtMS87Wq9I4/NNIpj4/8INoy7nj7zT2cUpxp1MCpLtWtHPjH665BO+VP5k/WEQX2AgJ74Mpyrrn/9IVf3KXLHwycs9pInhLYwzl3en4ddxB/+wUJemi+YzhaY7j2fHp0+5KFXiRSLrIPnO2OFjkkm6PTHyVU40hzcKqtdZRSajWrL9mxi+FKht6mQ8LHKDwZIWMouvZkHC9qHm8/6yGeKKCxZWO5LcarduORhHDdr0SmAXX9SUU1g0QyPIzdA7jM5Qjk3DdFv87QbigNyS1CYTWWnoQtd98y1JjQPZgjuSaJ6CAwR/OfCNHjKi2fcGROu8WeSsqUE97qH38Le5UIq0Ot4ytQYojro8tvl0l0bOfswdSq2iurNQvEth1s5Q8wSl5phMD57mDIY+yfDoRyt+co4i869nLLD0I5QgSlyYxLhq8bXms1+L8d0ZgEyZFc7MnHAdFUlrkVtvhN2kDXeS+nR0AfJxmqKkEgLhhncKenKvn4Zp7Do2rs4ud9/TlFZs1HYvu/tFR62nfJiHTu+NITubnl4lGQs4/VO/vtcOryOJr4KUmSIC4bPP6pBrZGAcS6F0GT6banr5QLOIGep557bK4KAO7kOGVIHvDeAk1WKTZ1Y4SE4pVxOoU9jytHVmtC5QIicOC3IQ7SYrNFCAsbBF+iUHIjwZ2JhwsUP7m8NqSLVvvtD1xpPr7IrWSSaoYObajD1WyDF99rJwm7fsqMq27K7QLdYIcN7NMSLtXWeMUzS+Xl2KBElRlY2uOMs4AoFYGO2bwJ0mXSUEs76EM0esecD61P1TesxU+RhhlJyhGEBYLpLtD0lcYjzd1c+MvSM91ACWpTJUvne+Wqjb88U7m93UaGvYBAnAwwvMG+Lbf5P5tzgPdKPgfQoCi0IQj9SKejYDmCc5ZFUtiAuwzxbAc9Fm9EqHbzXuW6W2T+iC1boNZn6QX1MdA01WvHWIB91x0+8oiPWvsNZTzNrSNyO+bkoq2T7QmPAAUzUSwVoSdRal2ALv/r9zWlah9GaQl2Eab5jw7ffM5CYbT5U7B2ogDAeltVDu7vp6L+hwzP3fhNsYd8JkY4Ybn45X7KyVjHqrnIvq8jSxNWoZNX80Q2Y5woK+XXVCzFD5SQGfje2Bz8tV3KCPRZVCUoDpALuOdcactU+CaNGmHlKmOcLiBgHMClxOnbUBavrbmWQT/t+VO7zcR6Y/mbCiXeyEUWhqw5RptL63H0UhfA4Hz65PBrd7cwT3l5/rBuaq0+elFT1hIev8htCXfTLooxDXjOkxXzuVIBPTKjyoQz3EWDC1N/Z/kxleZPFcPjp5H7+dTKPPxsBi6aULk8+m5ob+MTuDejcQmar7qNayGcfh08hRxH6+kQq4FJQcB7CjZrTkyM8BCeMD4as6SN0t1KTlvP/ZtmsM+StEJ18hHnBD7NU7oFiVvcHG/8mwlhUYgqqOZ7du82+vsEncnZ6oS/cVxrzpnY/BaJs78YUP3eMvNdSdese/o+Ad3FHPXJsPPKS2ajZHpvruS7QTUEkItmE2oKMDaq1y2YMu+gMyOaQl473iuW5TNCaG4HeDqqjIN8XL3CPl6FJCdStAkcvV7OpFRlcrvvPVRCnS6U4lM1BdHZeyN6Ds3gRmQC6JlgN/uhjxfYtQk1+EEmsMhw+4aReNhK5A9c3hmx/7ocRb87kiYqdQwyXqJ+aD+SBqkTJ4CPwTcKVsDkjERNfrFM1shtHHQI2RS40QR6euCc/4pEO8/osL60o0ZEBbcAsSRHe5Ar9f4xkmbga8NzzAzCCgI5r7JgtLzS7S+Y9QPPGQPaXzQ8g4n5KZtGvfhCPvI7eEJIm3iMMAz3WePO4YHCIbfAvKbhU00HOFCm4z4CJqJ2sv3a3fw9fK2+BGMVuY/mxcqYZSm8JRwSAN28AisfCCxvrPxgVw4rmjtu9oOxCIQIHr/FC4pLfLZ6LpUUJ/eqtneAKAvUDunr7McOKFZfKT5LUiy8qJBMhwpa4RN5fNhjq5DA4VvSHGDlV5IOfP1oqSMfNv58EyR2IDyqr59l45llPTm8IpBRSj+eCW1nHppxTaMSrRmQyJtUh6hGZUOsEd/QY3kATyHGDfiM96IAUANYNNLzoepAeU+E4oikvo6XhFQSBBCC1Mt7pzw2BtmANcmqCLBlGCXQ09tNRHDcI7MeK1uBvAhHm9RN9isARZnb/BYTFlmY+J/MdoUZrqFK00pNvBElOxZzXcjWqq9Mbhq4f97aeqQhi6dR7Fv2s+DTN4euwRSM5H6spwWzjTMBjvNdm60dsK/FGSxR8c9IsjZyAF+lgqAwKk1Yj9LQrktoEkkkO4t56wjipxJ9CM80D6npc/6cMfxrMTthLxcSPqNFW+N4G2vdt6YNEswVQEyxKtBavYO4sy+IzdVThwCfLly+AmdSRkgjLRoL44wvQ3CzB/jbXE6Uh5quVDamRwAxxq1r+XvRlO7pi3AkdO65qOWkoMbv+bwekPVbV9UZKeSGgAcQg6aTcmrUmcvLLJ2pxVbk0dTQeLbOovIe2oGi2FrpJsLvNHu3u1d54yXSeeZ/RxUY7bJTaOVIdl8phe4F/z67jtxL+wyheAKNYmpkJjzA9+83FW310ddckaEJpK6P+6sV5CuQ4+3axJiblymPPLkAsgzt5UGEPLFazyhtlXXMB2fVUIh/JwyI+LLI4rrnYkY2r8tIM50t+omWjdGCybAP7o+OxNV/mCrSfKF1pLrqK+SJb2X+D3tvKP41DG5Rpg84marfAfZfZDgNEGnqZ1L5NjNF5AFMCwwBStdHqQ7j4B8zr7Z9YLV/nkR9NOtW8qXVgmIQvFFf7pH/Tp+zAGAhc4CBa9QwgVSjLFJq3QA/ekvQNhAEri9ClrwfHoZR1CMOlmdoskPw8BN+6uRamU6mXdF+M03eT+bqQtlCwkgdbsEfXIVnknZVACHfRYC8PE3UuxGA2wirQoT7pArmexzOl37ZcnhoN7HuE13C7EL30bKBIwDKKJI3eBo4YfuAHHBuZoEASHL4gEWZjEBi29ILRXt3m6GIzBbNjABCYwoonM1uZTrsWqdtboie5rw5Toi+MqnNpJTJXNaUskOqoT1Rsvjd/WkorXxOVQ6VIxhKeeEiiicjj13JULr5YSu552pLf/byMtL4SDpqvO2xvl2QR5YDNrqKGdXhBdtMIvorvpdXYefbA8CP90ykafXTQhzBqNH5vpT6BSCB+CKZOPhKTEVHVOkI0BBs8tOq3YIjzJMzXdWYY/KOuMWVb2vmpkFiKB2Q4+CTSCunScT06nXD+ea3isCatmcQATpZjV99/WcZyQ0KUusKsrbVNfybHmyy1IeEoxLZ6QLGl5yC2HApBWwRer018COxnIsMSJHzuixz5oAt2CpxDrj47Zsh0MV/hHNz1ciZIGuirfY4pLH7l4abw2vI/mu/Hr3nhyHazBOd48pgnSAMRKR6ytJz6Sc3SPP93xzOG1jhEhv9+WkajR+C/Y5pHmcuB/zFbyUsHvHCAlMBdNttZ30JZnIicpT+Dd7Fpwo89tfW7GJov4mxinNXFhGuLDm5qZkGRbdvy9nP0o7+yYQiUnheHuF4EGBri66b7YQHJVT11VbvkE+c+CbDI3Xj6J/V/ntiwyYlvJXq5wC/KhK/mwdE1OGcm69njmQODliy+fYQgG3e987rEnVUN/YY8HEtiaczH9qrFDfJ4HTfKIt4EQpex9IUpJXT00PdpQjKOxs+hbBSmiBEKMk3igUGuejdI2D0STIpV0T0gIT7GoK+hUb86nCUmWODv+08Qh2SsHgiK+MxhJDB0x9UygPHC3VzK+qG16V7qI0BS38FcW97wydx4a8aO4GluhKaHUsgzJoC9GPMofecZN1UOI/2Yf0MONlL3T1iMARQYE3l+vovBom5tfAhcJOSmsi4cyZwboxmAiG39svIFnhHg0J0TPZttObbYmt8ZXQpquk69yhKJmbQ3vg5QPev8GIRUUeDvwbu2i7usODOBTuTUEheEpOxpIlljx/rytsoOT1cL6U1wuW5xzKT/BRD314wu7/4qp0+zm8UjGlsCXtw8ps276LSysNHigGG2Gvdkv41qig4T7Fkn/jREo5Sq9RSyio+lMXfzHVoVq35nKaoxdhpoq+9r9Gxf+kNQgmSKk1P/qyhh4nhQJ6pdCd93GAxCWHloQq+1bnUiqxEurQqux+goc1CcWD9lJpSGDraIsS/EVjzlQ6KqEkUnZZDhaa7thJUnbrR1UhgbHsL2jl7FB2ywzhB4PCLGQiQd35yWQQu+CJt1uke17izikXnPhOzyF2vK5FLMjibNPVNlG5y45EaOiE7EUDGa7SfGHy4t6R28k0++CNM5ErlCh1BuAfgOMZ2UcWoBH0B56drjVtTDW/Cs8WXSQgHXHvtRjGgqoJt27wrTbSioJ6VfLPKCLnhcrB6fQ2hFwUzHwdHK17zO4MrvvGy5J+w31dKh4ar4nm62K0aPGiufKnOtkQ+uZpsB6bDINxO42s+pFq8EZhv+9JBVDU6rD/YVJANv91u5t2ehyuyOwymKvWd7OlvkSXcHGiuy2a73fVKiWJJJ4Ivj0QRHUx9i2X3BBhtacRHEtV06BUShYi5DLC8xRbOjkl78SIivshoM70wrpE188pksZhu2by3CTGPcjVjWuVynQ7lg5P+6SQ5hJ3FSzhYBTUnE8IwibkpduXu6hInfM1CYM3Px+awgY8NgxkBYTgra6PzDzvIPwrXF3vjvFmehvpiNnix3kkcN6rXAOK8UTP6FKi1jzyWb/ZYA4Gmj0SLw3VzeF+M7T6VctYqbcOm7xK30K5M/2hRM8tirtbOZM6ohO3ISVhbGhk08vZjdIPhLAjYZ73gWkHrKhUJU3dygIEF9LqLBhc0djXw80TxkeR/dX9nvHY9luZD+nJBLe4divzr2k2ZK9Avsc55aQpIKmJtODSOroYU+wFybz66X7TlJL8i8PBs1a/U7AkiCHpynvM+ElLYzwd/u3JkKwQat3cdZSsU+K5NVje4ItVnvT2NexnociHb2Q0gx5KJ22EFTF0fhp1VB/d/bNO7N0BvePQgfR0O3H/MpwWIlBduIat4itkPcjy9VdabQL2AelhM10K5tfOZ3+SEGGdMQlu/bPWsvGSVAW2a/fUk6X4jkfCCJ6J7iZ+YazdWo0RdP5ADbkAbwQ7MTKMy4Zz42UYrL/JrHEfFWC+lZuweIAUobN/5wV2/qALQ5kErMuF/XCONNYtUeoQ5+baCQOSbedNPRCdySjBh8pM+VmMNelfvgddZzoW9HH0bmzXi5GZv748Tp/BDQBGW+sxiLwLOvc/s3fCzQ7ZtUHbAB7lMMM3D7XllGUozjI8Ek7tCscJlDCbM3Ykc8FnHhEYqsWyvtemEkruO4H8DSj3HDcYEkWqjwCxsAnNPFgZz8RTn2gGvd5YnsPOpaPXnoiK3HC8o15CaLo6MbOnZfsm3Wf3hWwCjF+zD5joMZBLwyERukPVl4lO4o01JCCK9tnu+A0xfxBlXETENOR5TpO1wqkH3ByECLTDYNA37esGViI/KVpPR9ofhcIDWolcEhJOUR03zD4uJGAjVERSJPMyCbZ54jgKACwgumJKxviqDZCIrLgBXIdi7/5erqT7fmL2+UnIVqTXwxrh8+L8AylTvpaG4g7mXeiAGeHa5rsw74ObnC6CUwNgyHtPGsVP5nASm1D/OCgZDh1jdyhg0QhP913+lUNSDkfuCSAbx12LBH5qHHCNT/6brKydhmmQru422kWuJL4ALe6lE+iwrQ/gqtePt3FuVaXtmEjisp5AmOYoZYevcxa5VIxxyhYAkubUIpWkLtcESl0aMkB97iSOsj/BENJyRV8sTiv22pQJQVGNPnSOV0j9n2J82QNcwCb3IOLlRN5D9HWYTZUqGhBR4rc0maJFbPTHCHEg7OyJbVmymZDoR+I65++HOlR3kmfHjapPQLNttojQpfAt5J47ipgiXKQGCuAxtS1m4omiNDBKqhfW/WNu0MJHEoLQWbIeR0NbFnYEa27Zvyx5ZH7QZcKglcGLZv09xRXWrdRgwBYA0K4rhrJlb3sO/KDXfPkKBQQBc+12I0jgw209kfJa+O69PwTKqlQvYH3FT+ZpZNnrTdR9q263dr5v2luQRGLRmEXYJw3PU6Lj4KFVckjyi4gozziFxsM1xfvmJCAGfAa6MQ2tRuLfwTePsHVdQnGNf1OG4QRDxi+wg8EAuljvBJFRLV1RHZ4pTBD7ypQjow2AcB1Ud3qAChRp5mKtvhO1B2ac40xMsJmOZl0mOPzqIkoHs5yO1/tLQ/BWNo5LMx5cLRR+zvdnqtAEvWpCv8hkPVJ141nnLuxgxnpTjCasVzrGEZGl5kGL/URdKBQ+iAakCmmCVtw8cxhhc3pHdnpv/w2829vr82HNfXGKIjQ6pYNeu4dRX68HyrEIoJmo5okHqYaw+3iwnqZagG5xeuW3fKjCURGkD6DPanSVF3jJA0aZ07ObtX/oUADilm+gMpJDyGIA+C9dh+LI+g+l5vx2InOgmXkfpwybpjUAH+UcDtI4FgojXLFdwx/78X/kXuhRd3rWUdxT1X8h3cpYXiGxnAqT7LgKGsSxLy/03zYAINvICyiycyc2vRbrFRH8iCul5RQaOy86RajujpPJRyVzTOml0BPd0xqlEGxg3chs/nN4cinWVH9ReiBlTzu4/wp3pyCPH5+f8hzcCxO/hrFWTMfm+VlhaHMBl+Yydw6OXZIP18uyCJ6LgeiAQh9Iir0eRPpteRCb73ocYxyt5i/DFGFXklgYBXFLlCVDN1qJYvyccQNqOC1cLGPg/aF6BA4eSNNU3ZwSEwCwMxiKRvl/IOeU8L0QVy7sDh7HEEhYXCabOvyne4AVsEzY3ImulGcaVD8CY2TVMEsaTLc4qSkIVF6b98RMQV0ye/HHb3lOIVGzSC/GDWWveTuFbepSoCfH9AWqgIsy2EEjcSurEtNse5GTRiGnaWlGSfej6vzcEm2DIiKb1Jes0kDPvj/dRZUBbyxH1vNjE1YWNOWFbZMAlm55ggpIT0kcu5TScwCr8VrGvDvAkrFneftvH7tnCViQCOcdWths69gU/TL922RK5xew7gwxUwPuyFfaYX8W3XNijDR4wFFvlgLoddE22UyNsNGjWAkW6AtHXKk1LPXbCVvnp+brYEJQgMxrnN/PeZgeMCpVyDpx7Eo+RqbCc65VQEUaARso7cHDNLcgSA/i3MBTqixIO2f2FBlaSxPK/h2AIcxDCRzNUx7HXUgvvy18bV9OvPGxpOziWUJd63saOHpfkEOD+DfuxEz58BboHTMga544pUbSg0jmDVCnVOO56juDfeVufuqrqXcEVEcrMy5A31DYpESIbb2F6X7CV2Pl75ZGQRsvPFEVKXnGIk4+SAZ8eE53nj1/2ZnxlVdRMmZ8EHtefpGU6dMyuaxNqvP3IKVqOCybG1M6uVLvk2w/720zAgXKqV3P9wWDwCMfubkEh0MKAapIxcnaEsMTeA1OLq3M8X2hgsm0TXmMLitkOiIiUTMISQMdFtXAG+hs792QFXspPc7N1GRiJrQMaAuNp99Lupl4sTyWljW+HADu4SNuximjzrp1BJreZE2t9nNzcB1Kgb3PhnsQMUU8Hq4sSi/jPP25RHSQE0Sn/REk5rPdk5CxHG52jIkdGkq7+L+y4KZWLj23l0mpiKF1Srw7s7XY26HWPjbkNfX7W5qGgTc+CqlXUHHFbMXloqkt1cb9t/TJLhuK3zvTneSOpwIXwwQQunrB5egdET+ThaDkpXUtzKIQvZmtCPq4zyBNnTWxM8ZaSHIFQkVtARDHuv0OkmfMpF1eK/k6KPI1uOcUZHRuU5UI8YvVAaEtLBGLTvpsHWXfaj9S5S4ophMJ6MWBt9L4FguukEzvh0t1ujUC0CVpfrmHZfLBT3JahCHLZ9aGIdjs0o0/y0KWIUvbyxa6DUkkOuRz8A6Jl82n/oBIDtbqFWz/RTVS6Hpu/gXtwjItMq06FbQfm5QdPedSJHFh0b04nZd8AkrgcE79EC+jfFKDWPyKACdI1bwRp8EEbor2YX4eDk/pUyUer3nBlVf0skB5MHBVktjMydLonHA/xbheGG83yks0ZGjR+Xl3ClU5pxt0uzaOqOvgCBjXlfhlU6OslOqs69JZZXn1oeNVoyepW58t115YiVDs48VWIt5tEEiE7NV65zPHM6Ff+EuKWsCrApWGy0owgCqUYiQtHenBJONkltemcudMKjxT6TU22I+wsnu0/gfHmP/90qKFgvZZiLievi+koXdV9KYwQ4QRblixgwPf9hmJOujr728ViGYJ4zGKvyB3vYbkSfhmGP7iKwx9fwAyIicEcNy4h0ZAXon0WO/Ydorkv1JeHwJOx9BeDKNCDn1TWMc9ZLG28Nc+9ZZ7ZwwwLzCrqGJ2qL0nerOSAeNX7OVHOdqsN8BFioZ51Z3hzRHas3QtTkidqFQpruyPdsuflPhPfWTp8lDrgDb6MTmiRuGu8+GNLi/y2zfWP5iSrJo1wmLLBbhJLZogL3SSakaImTePAraBQal7Dv2cyNyvv7+tNH8OmWTYQAo3IZjOtbvTnTHT066buGDP6k7N+XlvVX+Ti94ooMbncgwmFsngmVzkSttCAPffr5KZzSbV5s6hVZeW6OlUfqNNt2/22pFcKzPSIzdOGNH4dTZMQep2qozPBbq2mydplMTHJ6X/f8fb5E3sDNNha96Iwayze/pxXmM2oKKHgCdscfCiCZ5hsy8WDwZndFq8U5x8qagiEKi0Hsg+dpQ5eemT1J2gLHcWhk+NhnU7NcyOCj5z6VFvkOH0FvNwpTRPqIf7HEnX8Vg2VnZuRB0hBlBN4nxYb+YFoVAj5mW4tN1LP3Z7PDvjckIjisJgtpEPc7LbDbk8VYTI1u3gYf7/w/g3kFbuJi+y/8KLKcfH/WYRZWeDKPxZcpQ9UkjJOXLqRGzOmCayMCup9ALnucpM5OZEx64wlnX9cgWrtQ9aWIIhHhmyP5DBZ1KmPIg0WqJkP7fq7Ss2xH2CLbEJ7l4G2RlnEgFyTPexrYxxBc2z4KzJmjCdQZFoh9ccMpqCrpRLiMKn/il4d+sqWeNeA502su9Py2X23WBAJF1oV+2xXXkYVrvv6SDUOIspbx93MEwAkaXSjb2I0CMZs/Dqu/29JMftTVMN/UkAvPduc2eyNHZG60KpGFLScEY2zTEsgXZEvEQishvs8IoYq3fMeQibSa5TNaRPUSO87qj0TmM3LetwR4LMI/kK0ZfADyMO3wmzocn/d+efEMbo3ZlqeadtTDa8b6vqs/R8b0DfVoeDvTgYo4g6AdRTAxUR2WZioFufITsVL+iliBNZvW80hTTHsTYPBnLtrvxlkVaNVtvn6g6KbtFn8zCbpKWgj0FX6Ilz5/G/JY761+WqjPhMzjqsNsWCQePHtibLhMsrFTN3zVL+X0rh1UrL1XvJl+U50jgwC6WONyHD16CT1oguBVJFag3IReyC3//WuTBlj381Hj4k8CZQ88XILrnBAcidDC4J34FeSSZuRHxJsrHemmC7CBTizYd+I//gJevJGe6vKg7c+8YkRU/kqZ9XRLQTB46cP+nw6qpD9nThkRVREtE3FycxQRqO9JZQgbBdcA6V2WzgNNUWbYlP1SagqxL4HFtdc02176gBJV/Qcgs+Gy1GGnegb/L0TK0ocUmjvBRSgbqFsROuikQEe/USjRpQXIWr80Sq+tGa6AqfIx3XwSRx5avtmuO7eo432rMI2X0NKqHi1VTHtGfKE2Qoy0/2zn4FXWaIkBCINzEy+lB6a9uPZhu4BBzkdbe/bhJkoiqxtEhMb4RdjxSMRayQKF4nTjaWOFI6xaiV5SJgnTBB5oi+wAgYM7ui8GyPMi3fhllj/DXjAsqILShdtDQCvivbyUqgSeZf7qGWxhPEMqXSrj+878NNoMgaby1Sx4TcaEYtvKfy5+a4k4802sDABFX8ajIpnigsem+6Aa2TubtgliwGA3rgAnTFQYDIBZ9K9w3MTMognHV9dIVrOak3NhcvL4pvgdQAE8RJg4XHZFRc4D/3ap9cwBQHCLD304NeZMb+sjJJL2ik9PLU9v1E5+yVIwx8n721mINbAS7u1pP0y/cdpZ/ByB8j3nEallwaW4kHvMuIJzPUHPrqyEXlprYAQDbaMCSh25wzs/f/nXqtH+hznilx/4Ldscw0NhK24zAfhPOQBTk72KdIy8uMFLF5bD8GPNLHsI1zY+JJZpTqwvoCds5L2N1Up27NimG6BurniBmY7HkkVnnK1UxGhGIbJyHqux+yivBCaSBxFdQxQb7emftSUiN+EG1ggVNbErxHRPkAH5MuzQ2c9EfhAhufPKOQ+/cUsnm9DftzBtxfIBArhlAsXvjoiH0pwxUWbbDaysH+MGzUGtIaCf+7Sjs4dIQH9Ic0MLDO6nEerD+aQzGoXM7vOrnjipK8w+r/Yw5Fbq69C3wzN3BnQtaEmXdZAmmSulQYelM+B8JkPiXtuBb+Tzt98v3/SlXYc0Mso1EYwQU/D2tRu7rnPmAN0oucfmnm2lZGsVUO2rmgH9aEbSH8ZKawV6yru0ezzO/Yz6vkhjU2oSfgzJQPoi1neiUDFfZyQPM3MEc/mdwZTrVFyiVY00vPF9ezQzA855UtJlhUUhP11fDYC4hsNB/azZB8KXanj5l4u7YwUhVgzuD6oLmpmCUuMZ80y085dlWNNo+jPukGwLPvYWUZRSZaXswFAWlFu0/5t6Ql4T0ulGRWwmTMHXMO7OuI03tKn5cXWRLIQk67h4vW5eZ0/nLGdp4ioHiIQl1tff/V8i+UBZ6HSDzZZJKDJYqc0UMpqpw4lE0HLZo1aTbXv7oWUU/MOvIbjgbi+jCEklbLPMacOfgjrCN0AUI4QDzc1//WVguDVxUEbf4oVOAudDlSVw6JnsVs8z+prsG6/QcXfGR21gixZqlm3EddhFpA2E4qYrF4TDMVBrEpgbl/7LmfzdGdrHgozyVYz5bWIe1DIZGlM3mzKL4p9kMgBXFNpCdCl98m3R/L4Diw21Ky9yvdyaswHKWfqHmIfaUfluGlayhd0sgQWf3Ud9yQfVhoi/NFpF/raxdAge4KakPD2By62hd1Hw37beYg5tD2nTLK81wD0oaU6edFba5eMnM8Dcf3c06GhOKLdYtiTdO42zImJTwIAF1UsnPILTPlj7Ws9ERjdoWFoGUMt+8HCglvIXKFj3j6jxvQ6XXqTet7LDX8VE4EP+dYt96qHD+fgXaKMcw5TxvClCNz2SaBwpK0gqVfiObReCsspOc6sWP31NBIO5LS5/Vo8zkLMGGQwNDiZMdi8u2mYAJIyBeJEs/o0Md2uX9OOtIy4IsNL3wBgenpwC6aSk0pdGEjnQ2rhyx6iGCzVl1ClJqdbjMSQUO7rl0AIyvtr47V6RiJPo5g20EOybG59A08Hy5Q25GL3SynF10zqywsufKwhWMRO+PkE6Nfnk6hxFYI8cSQLo0YC12a2E+d85XqJp25rlj4KE80OOuvmbS5cQix1knSTfDoHfudBr/H5dtLk1/h41vTlg5y6WtPXyUt7FUXnklfL2osBFrZ5WiRY0GAHz40D5L4dchNmV+ahQtuVSCSYl3JpSJHyL1gpSMmz20PWX4M1vkRvejPfm4xvYWdvxX+lyi6tW2B0IkVxMjwL/RXIkGP/QkBsq9EZMcDZwthsBGt+BYWies+jD+PJulH1yEq29wHNh3Uuy3XivSQ7FySV0bVXoKq6czJ17wKcfUnoyypv++JplyW1xvXDwvfjUYPqBYoEAKE2UPIfqOGgeSzoioWzXLUJaYBSsFoLNmjvLBPSXRnV+aNzQY4OwGuYHIbfKOlYtKzecQBk/nMO1TcOt72jhquRjJkCXlLKKhkMPrHs04j0Fc3JQTf8wFZv40yYZrAnEQKlgUW4RU4FwyDgkRXYKag0MhJK+0FPSdGDqWl6ivQ2MrMMWEJB6/XEbGdc5+gdBvdgUCkKMRX6XwolL/Yxe/7dvoSJjMnEClHqH2JtjDy/gG3ZxrVw74sreqz/71oP7YBLs5gxoMG61hFASP061x1QO9kUEC/NYU/96amfawxPdks79MfVTCxNpKhVnOgBw/pMX123yxu7L8pqSPIFu/M4h69NaSgfWxQ4lpEFxpyiZJilpSu1LVlAmMsiTT6wWnt064rtMsx1MairqtsRny8p2RyiRVHDH+Q77IEnsJ0zrCPXSB0J8rCJx/9Iqc3XO7eWpGFjdFbs1be1llcrXkfQQ3SvRgP7Q5TlGnm7eYZxEDDZqSXEs12+fzlqIsTTdpz7oiNnnamEYExBYWh+1LdmCP0ljpy5ByDOmOV4443KR9G7GIpCQF5piDn9fxvQZYMhyM5EPJYAbh7VzkMedtyrWBZpMDLK1jSg+ebziW5JsDRPJ3TON67dQa8TGiQXLNp/k7omyvMbqZnxdr6Yr1nMZiWM+4IKZG+uwVDJ9/yYZtb75vi9YxuaI25b+DGB4TZvfVnKoj7WUll8BUobJ3EAomfOwwEX3XYdRP5QH2OMo7zoN+2Dmwi/FojrDg2owZWCMOOAW2Yugbo7j+JGnNNvEIXwlKEkmNKTAx3JcaB/3ZyBYm8qf1uuQzKKfbgYrr8o26kFrlKWvosnr/4qNNZtsSu6v9atsJI0fRowYim8nhGetEbZSWd7LY8SPPHJS0o4QIUgZbebzwxX0QoJnXd+Q7sOrhc4fe6jFR5dC8PRf1rpYcJ9xsD3EeUOAJaVnNN0ngbocybGGD4MKoOoOGil8gSPfHL+LB9KLC2t2d1t2pTItjnI+83zQEyYLQXz5Y6GdBRru7spP3OK9NVZrsK87MbCb5VrD5qaHGCG6UB4ycdpQoaKfqnI0zMuZIgXbSZdxkIz1qh+m/ETeRPhEuK0jQt1ZCUwsLKkvUwk7q/7ItkxgGz3+uvW2c3gAojor8rlOZiv/3NKqnURahTWM/yng3VtUFmoqMv5HfScDtY8bG1+YaW4peYimBMoLbh0qAaqz0h6it8ImNfXOVsKIAEEyZDK1xIZ9iRPOb+6lfReJQ/YYJE9A+8roQRwUQvGNQPZw5NGLVfO+bj+UA3vi/fGOEhUlzabpHMo4L2nIIohFnISwojg6ekdZZ6Z3X8f9S7YJkI9GGeI4/le1Z36VS5VxRrMpSmwxOsPVh96TV2zd8Fgqub/fZYDw6zpRk7G+xWZa2B2my6qOh7E3i5GSdeh9phmuOqffk1TLERuOkbwu2A8Qazad8/grTMtB+Q6ptffH5Rs2XiCN11iLbG8pkm2yw4svJqErxB/0/RH+xqqVZGnEllGF7iSxX2VyVpAQ2pdE6MOlLBgcQh9Lwv3AFug3WujqG3DqCgOR70tZmqyd0vST+W6S6q9rJcS6H3apcCylnvTQimBZvlmiPgrhDJlO0o5QEQbLc+DGt7r6utoKBiVrF6s1WNdCUG+m87o7krForvR6/NH9vOiXCFN3PQgjLVPg85Jwd+EXcJJkkQJQcR1wjdiuMpR1OLxk3CiugkUhokbSqXYG9JEdZxrSvseqYkfG4COZolVT+oN+NevGuRwm+eYSMVFcveIwnNwlmonqekVtrJSgKeD86s8jYNj/PX/rdPBtyyo5VZWoVMvpFPBeytepa3tFeZ4re0ub7LBXwA8J8mRLYbYrdOvAjVFs08mr97FysR+MfEE5yxPlejh55ZyVAfEpM9l+Ey2EhxKRSO0t3aCu3kH4cdwPymALkshZ+kLIYepbOomS8SIM+U341Ewrkm2j2ufbgNEUmV025RqFxPPFmUshdotP4rKuxKGIV8Smr0w8wHP5PO8kNUi/dD6OHtw9TotGNuBVQw47qWUlbEePRrTDvyVZEjcXS464vAhJbr/XC8t67Tzuw/vRdfacNlAKuEmj1EkP6/Fc4YnEY/ZtC0ezfB4dk3sqQ/4/G5YsY7F40TuoCwCDE5uhk6jizj/bIjMkzAi3hEyQ1jZL04rY5SvE3H4eeFuEIMWOdUiCX2b2mPPEkx4DmQFNaHZgQX+1mCn17uiX8hNm81HrK92DvMYMtH69EpIetks62uu2FLDCmZU7JvkgikTvhU1Q8aPf06sEXzo98mFynQJ2cdtFe6dRzdefr+c6bv5skSBSqxiN+Udhnkax4acruX4mzqytS4iksbx6T67j85jZV8W5gboU2MMgephzhyBZ7EOWcMhkFPGQ+f+zr4nlN81tJymHIECqH4+xL4njGc+9tl3KUjCoXNSWx7X6eeCgGPm+Y4NiwsbZuJKI2KgfbB1uzOJnqdPx1LjhXDu9a6wuouwt+6WqOjKmwjgYrFhTxCQihNzGJMl7M75dp0Pe3iI38zHqPQYTb/mg6UwID59uKbK1bZzqdCgqb0nKm0M2RaZTdVlmiTv+vJV0EUdfF6C9lIyn5YWpKE8sIeH+/5VR4uRhLEkImerDVSlUAtWip7DJl3RQ95XtlQtHJhvQLXU1GGmTPmupGVcZdI5HbLIuwOluvHhk+RlPrMPrRELzmeJ9GIbtn+tWgeeae+Sx6Ell3r6GfZ0zbtKLuNThVNsK6DTd9lLaorIpHDJ53U+9uQSR1URjDPevzoouqXZHKQq0cm3HcpSps55nwM1KATZO5vktEkwTM9clWGLv6ZYsvs2EH7Veg84A2lr1SlJOtMN9fquLYjrcXEkubl2e44s/7yAsMeu3cvCA2CSIN0edaczfD9wncrDHhj+Rimcw+a/EhcQ5j/1322QH4vdyhHeiDr9fxLSbGO38fKGve19E++mGuTiedovZtmj1jtlZk2sYA2L6ZsPt5HpSMa9t0GlV1M2UthjLGYyssFJ+jsu6SR55aCUZf0g5K7GBvncgzHQnQqq0fFlHTI6F3QPiDZd3TLc9qA8L6k9ubR0PigB+NXzg0H9vDF0vA07xfhMjZn/7FXfv+lLSDJq7j5Tuj0Vz3VmlxUGXKnZntu81ULAN+FPLuvHkdcMeZYpFEvZcb7uU4sJQCWXY/vOuVo53lkgoCpp/ZB/tvQYbc+btt3rqGIa6GVY+JHIggAgYqg7AhzSumu+Wy4njaJIqas892IVKTsD2x4tydL+GeGEgjXRzlKjfvEA86dBsvbxnQLj8vunrlgwt6NjFbn07wSQi87MaEIpEOPpy4h0+3HI0gOigMD24rFg+HYCZ7eay9Oel8z+SGBERhtuKqo3xMB7F7BbwbLdAYAzYgvsd6N+LlwSWBDF8c9ggTFIn+aSr5wR5+PkkqMwxTsRhRFR/79gElz6A6BYmKZyXnTGE26q6qlL7AlBC6zcFWWRSaDDArsmFzApUjuzNJp+pA1xqn+6lJJWceErBpU8joYIvHlE2iZYYJ9GJDDj908g6ViK99zldukeEY9E0VU2RNlIJ3hgqHEF5rIVbHJMBYguwC355M1r/+ufv4PqmbNQcb6oqbJTRrgfBPJP6hfMemHDvbJIY5mtnP1gsbzlSs5UF0jwT1QTOaeIHgnGt1jHs35EKvWGLuVOFnXpxA0itxg/QctGOGtQxUKJAe/Lgyc8WIWvEjxwFundTkZowMuJxQBfNFpRbhj2X3dRDyxT4+IEHY/KK7pYX/dwwbegTaMkT2Y9Mkb1aExrf78ouT4zELyZKZAs9FJ1lxIXxAtGmk/SKlLNpX2/pkdk0vOF8khaMRh18orFDMtWebiVe82OrbuArpGM6kiqi9jDBYXTuoj7jzxLT/WRSPNYg94neT33SdDaGYmeOF09WIZwQrcGy4f1IA1uuqHHpo1UjHPYO9yB8GrjmrLQWwhkNeXl0Q7glb4oc/eR+1Qb1QxTcqpNLF34UHyZU8wQ9YnmBz6Y2UiUJ1rB8ofLL6gdPRmfLxfwelLqW4qlyDRGwderQZ0DMqjEjMLRxpjzJz/v3N53Otvht7MZrlTS2bT//QG10Uq+YMZtD9VDF5pOqt8fB9cZDkx1pDMUupWnVbeX18D4KXdWzJyx7InCnDh6ejl9NzuKoUnI1zE7+OABrmtH1vX3a8tncZlVDR8V4HgS4A9PjLJ2qdPUB2T/LMsB09F/bU9ASh86fqZ67iINwNIGRox7dznKvvQiojjOqVizUofP+6Mudx0JcMFLMlUnW/0/SIsnLJtHaQBRLJNq+8tCP38tfs0Reqx058+nE/xdheg/kjF6SVxpbcB7lDTNwyYCb2m/Bd/nKB6JUxFNpYCUQUPjoVV4D80Tym8rXB47OJJyIdkQtiAuiATUnpTOOCn0MY+BeMpb/xEkmdiUwq2qd2buS+5VmC/6t8xOc/S6JihSV1WBe8gSt5dfw+ENHPtiQ/LuXd2MFcIkiYYrbvgP8HzEGO8ucSqOc+BAGr8xb7fp1x3+fWr9rDdEq+PRGWNpCHeKVSbCVh3Jto3c4DRZPqmoTDGoRSEe9eBl8VCJYp7NRoeTo7JVdTmFTiWldPqko/xkfQUitwJTi7wyUe8n4NA8hc9gj0VNYBRoKKFits23yZ9PQqCLCbucNn0zCBNDWv6hw2G4Y0hOo2hDOoLKFM79Cp0msLDF1btPmR+/u+jpBzpZsdrQEWcqMRivGYiRVcZJU+9WMRymPh7J2mQY68HIi/2XR+H2RsUcplTK9Sx7NSUszS8LlTGlix9PKExDAL0xaz3yWgQqmIhqTO12jNqeRgUl32qgTH1vq1g4kmF4l5SyYabe5zw6HVZi4EXzrMQZ++TA/a5p8F71CZxQqu3KwL/4iVMrrkzSEHCqgucKIh8a2mFMeyXKrsG6nq1RJR3vds1XFPyi37TUWu6X9edsbJpSAbxSiGX7s9hfnO8NekRayUVGo8N/c68tT2lEN/9WjL6eMzRiEoIjVRPpbY7a4egFuKI+A4rGlMpfwBj1SzDGJDDSIaoAPahwOFY77iy/P7ewpZ6tIn+KZ/BHxoOdwFmE3COffVnIDrZWh83gQsekOZrG7X2pD7e+BBtEwm/dkCqoyl+nkdztDuNpkk8TNKopUn3F+6q77jaPZrQVijlknMNSvxzz0/57mD6N3HPWw0U0OzpxM/fC9WMQZpQDwk+b9FHq+cXeMnviGCDmZQPkI9BKaQTT+maT8lv8Hjwec+G6y9q276Fe/F3WIV9aEcOsiezgMQJ3XmtpJNT0ozTXu/ITIWm0YeHoEciZB4BlX9iFpS+XVEUaZ1xMBJp7iNxTjGCIzN4cqsNuVjr5z85Mmmqo8+0Zu2PXr7RYdUb9C5n1XwuAszn60drYY3LcAXKNccauqw8cWY7xeceU3t28bE2gfQkbLntcUQcTd7ZlyZ5D0FTg9gCf6HGDq6ic+TpSc7i22dU/u16EA0LbqgJ/TV78hPEC02dq/g1Ez6GUahyHnF86bhTICPX979NQUALoWNLCrJwiKWhi2TBLpPixC4u4uH5Db2T/N5xMOmlrHvyNbcoztoen8iUhwS5and/X1OVMUClxzpE6+7h7CYfhjRrmGIwTN0U65fJoveobpvCVA1/1s++EQbKMhT2fmzClNzmasol2YI3cst43atOQfeHSSN6TgycIuMAqxILzb+V0CfKMU3chI7WcP8N3rjYGxaosBUJqDS5gWPMxUjOaKlIPkI2Ix14CiiEd1P2wFkYKPvdQ4DT+UnVIauwI/qi+OFEW2OrTLkW4pky1+MEB5Ouw5Lxl/favbDR5yyXtqRJoD0jxotlcNjH4/VBMzSdTO7PimjlYOfa1J1dBzOMfRF3XBvAXtHzhB7balDbJ0ezB8Wtb8obKwKXaiVYtVoTarxFlbtJ+3fs+FvZQ9i4uduyHWUtBFq2ryHGP4gcGhtpZTq79qPPMbrRm4NTHWGIA4bs5ayRN78LAlKb9wRH+Asorraawkvo2WW4+gcLIqfIIdeAqIUS0pDt4g6RTvf0t4iUCH7Jp8mbz9lsdJZCWAdX0BRffPaUmVGV0l0tji2m8RwsWk8AiXuRwfxKvS7a/Eu3MtE9H8Je0exkaB0RbBiotcajlG/tnDIiaT2GzQND90sl4TXW7pgOI7c2TdkKPHY+38GPzuYtWviDu40lpcD/j4bvwfsR+M5oF76crM3mD1WozFMMq2lVxBNGvbE2yEA6rEFF4cbcHagcKa2oXdTymbhcxFMeiFtbYRmzkkpUI8HBTSYHIJnyfnaJ4ao+3tQ04XcDwRs+wgJ9EdomIyZ2EzO5wC9mcfWQn9W+NPUnvWxr8L9Qruqk9TsvFi6cKQAqTTbDNo9xxrO0JqkLMQB86rUOFVJVPOHfoEE37dXpBxdARDsrRJOK/k1a7P6UfQ5ByFiIzd2sdBijqqEHlwLvhlDUURVkEAAYOFXtUTlQuVHnxI5OiwdgAEj0V7y8Zq7p45MgmMdXo3fMdBRUwWOOdj3kOhExk92iL7WHE9RBJIwzBk1d4Pw3Y6wobDUoVYmIyF0v7O3ZdNrR2eIdSS1yffnO/RJG0NhOpMHyfaKHLkjSf/fmDR9EzBm5mO3x9kA+d9/qzNSFrTLhXSkK2aeqXDC0Ud2k6U6/2V95f5iwfhe8Yl8BgATzcAeUBWpGnelnKD20SM0RQfqbYjZ7ZrEqM3SvSC+6ZRC0dnlzy0G3iCAV0GBgLD0VcSFOK5H/SkJcpARmignH0nhHv9OSbDE/n+JBipJjuTYSwGdOwX/l4RcbXib5w8bxJl/jrk1KzTK3YCrriKuUB2TW3p+ulGdx41scYa8eILgXjUmAFPz0YwncBPlxZgd0sDMMe+b3YUgchVfYTtNhxAXMNn8cWxHPVb/UMwA/mYaJCTM1DAOP5PB8TRNjyYqGv267i1G7lv6i4bR1fOGo74FS7xaPr8FKH0BTtB+rZ0Cy+iuIJDZvWqLjosy7XfUd1BZ3Pk7u2rXGW1E1gSiD2CQZghOuH3sgFc6IDc0nWwJc965c387xCdgNSWA9fs1MegUrWY0rVV8CH0jK5rcPyWM3piZrLXPyoijoBiphUQWtyEjJoYUvAuCvqJ9e3Xd4TLKxJ5Mkr9x2VneVsQdxk0QQFyG0DiY0BISt6hlsa0BmQOPLejIsTEypta4wZFvBt7gwkoAUWaOHkv5/A1yHt2JSmY5i0oODUkMZjgvJAqU0ZWztbskUGYxjt0hnHZ/xorWtfgQbE4KVeZTGE+8b9gOK1NLcYgYvg89wsDadyarFZivTiYcNWmUigyRVNJMJ34+fljRtnAJb3T1G1BrPEziteFd0n1klpceBX5jQGF1tarK3NLFbLx+VtcNfe4UEXAdcpHEWITdPpbL76cVIdDBWApWErT8dRHlJBRopctQMUsNYT5+jKg2LieYR+y/nIgyEK1tYq2rXGm2h+PNGndMTqJDRGgNLxLYy8KDNtACkjFODb7FiyZaoohsO4xPAgBQ0xHfBQzAgaWp8a5iFav+1RGTJ/D8TLVUVk58IYE1td2TCAFZzO4SClYpyz+6WHR2Gpx44SXJt8ig/A2p3uIaXKiOdagxYEK2uzP/3rPESt+7dDVxu5cm38gQ3YSVfRjIpdBSte2wvvnbTvzAamFN3krcRCk8WsPMo/7zcpdY+f+9aenSJkrwGMpvokuNf0yq8iRio6i99h9iVrWMb9F7kK5MZJzVLac+xxcjHOZNQJLrg/mMl3Gxo6nzYcw9NUEMbG4qnFkY7PEV9oUz+NLJHi4+UbP2gpIqeLmwjil7/u0Hnb1hFm2Ac4cxhiTaKCEM5lvarzaRncmH7WpiAEfo9RCsmfWHT7oosZiiusjfnwvd4aeMH19uU1AwCK/CODYGosOn038ytPlnwC2px5bFlDSXuxOarAubXr+vK60ohWKhI2F82pOYUh4EeuFC+6VHbezFOifnxgP8EnMz2Llzj27a3vWKzPmgRdk1uUDnLLBxYWkKkORPHh03A3Z5262io53J/wqWRqHqqwUOQVKdLbXbudfF" title="Mekko Graphics Chart">
            <a:extLst>
              <a:ext uri="{FF2B5EF4-FFF2-40B4-BE49-F238E27FC236}">
                <a16:creationId xmlns:a16="http://schemas.microsoft.com/office/drawing/2014/main" id="{53AE5539-D483-F347-8267-BB3E0ADA2D6C}"/>
              </a:ext>
            </a:extLst>
          </p:cNvPr>
          <p:cNvSpPr>
            <a:spLocks noChangeAspect="1"/>
          </p:cNvSpPr>
          <p:nvPr>
            <p:custDataLst>
              <p:tags r:id="rId11"/>
            </p:custDataLst>
          </p:nvPr>
        </p:nvSpPr>
        <p:spPr bwMode="gray">
          <a:xfrm>
            <a:off x="3309487" y="1736399"/>
            <a:ext cx="2563819" cy="4301795"/>
          </a:xfrm>
          <a:prstGeom prst="rect">
            <a:avLst/>
          </a:prstGeom>
          <a:blipFill>
            <a:blip r:embed="rId20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grpSp>
        <p:nvGrpSpPr>
          <p:cNvPr id="5" name="btfpStatusSticker719082">
            <a:extLst>
              <a:ext uri="{FF2B5EF4-FFF2-40B4-BE49-F238E27FC236}">
                <a16:creationId xmlns:a16="http://schemas.microsoft.com/office/drawing/2014/main" id="{81BB6E87-AC4A-CFD9-B6D8-22F403CAAD61}"/>
              </a:ext>
            </a:extLst>
          </p:cNvPr>
          <p:cNvGrpSpPr/>
          <p:nvPr>
            <p:custDataLst>
              <p:tags r:id="rId12"/>
            </p:custDataLst>
          </p:nvPr>
        </p:nvGrpSpPr>
        <p:grpSpPr>
          <a:xfrm>
            <a:off x="10102664" y="955344"/>
            <a:ext cx="1759136" cy="235611"/>
            <a:chOff x="-2269853" y="876300"/>
            <a:chExt cx="1759136" cy="235611"/>
          </a:xfrm>
        </p:grpSpPr>
        <p:sp>
          <p:nvSpPr>
            <p:cNvPr id="15" name="btfpStatusStickerText719082">
              <a:extLst>
                <a:ext uri="{FF2B5EF4-FFF2-40B4-BE49-F238E27FC236}">
                  <a16:creationId xmlns:a16="http://schemas.microsoft.com/office/drawing/2014/main" id="{76D4F864-BC85-C825-A3B4-00E47DDCDAF8}"/>
                </a:ext>
              </a:extLst>
            </p:cNvPr>
            <p:cNvSpPr txBox="1"/>
            <p:nvPr/>
          </p:nvSpPr>
          <p:spPr bwMode="gray">
            <a:xfrm>
              <a:off x="-2269853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24" name="btfpStatusStickerLine719082">
              <a:extLst>
                <a:ext uri="{FF2B5EF4-FFF2-40B4-BE49-F238E27FC236}">
                  <a16:creationId xmlns:a16="http://schemas.microsoft.com/office/drawing/2014/main" id="{D13FFE7E-6B6D-1848-8CC4-44DD700EC4A3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69853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btfpNotesBox735198">
            <a:extLst>
              <a:ext uri="{FF2B5EF4-FFF2-40B4-BE49-F238E27FC236}">
                <a16:creationId xmlns:a16="http://schemas.microsoft.com/office/drawing/2014/main" id="{6CCE4894-A691-5949-28E0-D2F660B761A3}"/>
              </a:ext>
            </a:extLst>
          </p:cNvPr>
          <p:cNvSpPr txBox="1"/>
          <p:nvPr>
            <p:custDataLst>
              <p:tags r:id="rId13"/>
            </p:custDataLst>
          </p:nvPr>
        </p:nvSpPr>
        <p:spPr bwMode="gray">
          <a:xfrm>
            <a:off x="330200" y="6341860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CA" sz="800"/>
              <a:t>Note: Paid search investment only done by Rose Paving and US Pavement in last 30 days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CA" sz="800"/>
              <a:t>Source: SEMrush, for the last 30 days ending 17</a:t>
            </a:r>
            <a:r>
              <a:rPr lang="en-CA" sz="800" baseline="30000"/>
              <a:t>th</a:t>
            </a:r>
            <a:r>
              <a:rPr lang="en-CA" sz="800"/>
              <a:t> April 2025</a:t>
            </a:r>
          </a:p>
        </p:txBody>
      </p:sp>
      <p:sp>
        <p:nvSpPr>
          <p:cNvPr id="13" name="btfpCallout516931">
            <a:extLst>
              <a:ext uri="{FF2B5EF4-FFF2-40B4-BE49-F238E27FC236}">
                <a16:creationId xmlns:a16="http://schemas.microsoft.com/office/drawing/2014/main" id="{09B8EDF3-BB8C-F5C1-E1C3-B0CED309E797}"/>
              </a:ext>
            </a:extLst>
          </p:cNvPr>
          <p:cNvSpPr/>
          <p:nvPr/>
        </p:nvSpPr>
        <p:spPr bwMode="gray">
          <a:xfrm>
            <a:off x="3772621" y="5689599"/>
            <a:ext cx="2195029" cy="582650"/>
          </a:xfrm>
          <a:prstGeom prst="wedgeRectCallout">
            <a:avLst>
              <a:gd name="adj1" fmla="val 62651"/>
              <a:gd name="adj2" fmla="val -47893"/>
            </a:avLst>
          </a:prstGeom>
          <a:solidFill>
            <a:srgbClr val="FFFFFF"/>
          </a:solidFill>
          <a:ln w="19050">
            <a:solidFill>
              <a:srgbClr val="5C5C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US" sz="800">
                <a:solidFill>
                  <a:srgbClr val="5C5C5C"/>
                </a:solidFill>
              </a:rPr>
              <a:t>A </a:t>
            </a:r>
            <a:r>
              <a:rPr lang="en-US" sz="800" b="1">
                <a:solidFill>
                  <a:srgbClr val="5C5C5C"/>
                </a:solidFill>
              </a:rPr>
              <a:t>low CTR </a:t>
            </a:r>
            <a:r>
              <a:rPr lang="en-US" sz="800">
                <a:solidFill>
                  <a:srgbClr val="5C5C5C"/>
                </a:solidFill>
              </a:rPr>
              <a:t>indicates </a:t>
            </a:r>
            <a:r>
              <a:rPr lang="en-US" sz="800" b="1">
                <a:solidFill>
                  <a:srgbClr val="5C5C5C"/>
                </a:solidFill>
              </a:rPr>
              <a:t>ineffective keyword targeting</a:t>
            </a:r>
            <a:r>
              <a:rPr lang="en-US" sz="800">
                <a:solidFill>
                  <a:srgbClr val="5C5C5C"/>
                </a:solidFill>
              </a:rPr>
              <a:t>, suggesting that the chosen keywords are not highly relevant </a:t>
            </a:r>
            <a:r>
              <a:rPr lang="en-US" sz="800" b="1">
                <a:solidFill>
                  <a:srgbClr val="5C5C5C"/>
                </a:solidFill>
              </a:rPr>
              <a:t>to the search intent</a:t>
            </a:r>
            <a:r>
              <a:rPr lang="en-US" sz="800">
                <a:solidFill>
                  <a:srgbClr val="5C5C5C"/>
                </a:solidFill>
              </a:rPr>
              <a:t> of their </a:t>
            </a:r>
            <a:r>
              <a:rPr lang="en-US" sz="800" b="1">
                <a:solidFill>
                  <a:srgbClr val="5C5C5C"/>
                </a:solidFill>
              </a:rPr>
              <a:t>target audience</a:t>
            </a: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7B77C14A-91D9-24E2-D5EA-9A88563D77C3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38" y="946635"/>
            <a:ext cx="252287" cy="25157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9702910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261635BC-0D5E-650F-79B1-1A72A821D5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7770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484" imgH="486" progId="TCLayout.ActiveDocument.1">
                  <p:embed/>
                </p:oleObj>
              </mc:Choice>
              <mc:Fallback>
                <p:oleObj name="think-cell Slide" r:id="rId19" imgW="484" imgH="486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1635BC-0D5E-650F-79B1-1A72A821D5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aYhHdubK/b9WYMbiqTQFZNRdTaHJ1Coz+gznC5J29/l+uni9WCTqRMIgVGBy5FSCqTCP+Vdrf4pg20L7fH6DBDFZux4Tz8Y6EIG+4ABhVXG1eVDB8FZ0rf6hSs2gwP2iWMPsE4vSr2qZ+sTIxP/yt7nXlzA42FxaXCupq55fRLbI9jA0HOzdgY5JMkcRcNforb2KCbFaDbSZwu/Rm8JQ7chNQ4jlSMIRjZ1s9kX5f8ag4sNcXawzgqPPhgXp9GQCYVL6AcwlGCBlVFlhTKxa5dr/yF1DucexU5Y9+TGXolNIRJQmpQzbM3UkgdDDAiss5IAM30N9pqSCN921KguG+ntbQeer/hdS9FWq27ykqZEilGMZFW98dEg7ZFU1CQVpfkk+tdn4buIWK9oDiRVM5YTbJeTidl3xBiAvGjbMUKzAuBnlRi8AWn1EwPhtSvgZW0YCglhbEChXpco2vf5FjNZWnmqjTDerY9rO/IoclhhOpwntHzCVEYjGm4yCgIkKF5Upuzruk2VsUovYTur6HcwT+j0ZiYcos/h5zf4ZeneG5Q74bz7REifn/5ltoD91YHtw5zj18r+L0bAo6WI4Ixdrceb/+ZGWYlyeaIhzFP0C9+uEXqsGEAcLXhx7gAvyIgG+CS9wKveebm4RJuYsjrUtSCB0xeZNBrCj3dqt8uatjwYc75bFc+01Xy4JwgxHkQOORTrBHl7gWsREJM3lVYMpN5ovaYBDmjT5h1wJrHCSiOywAUbSswYKYIGVYE/j4awhbNZfAadZgY9Zg0/8Oy6KThrWo9MNRn/CwElz9v6otObVB+CiodK9RNU+wO+4bZKc+0IAH6tGX/QYEmGwuddVhvOhXcotuYCf0NzMUzFB0Tt5J7MgS1EMUpGB1/GhE8b8m6S5E+wtCzNWoFk4/GorDHtPJVFDSpolJ0+2YN+d9VF9/G/Nk3PeRfh1nmkKZ8cbeWiNlvIJVZsofeAu9ZSe473YxDKdeM/XWgcvy6dMsCtKSrDLo/o8c/1m/pVLXZf5Yk3o6Fz6710zOQf/BpC/Fk7Ep6EZkJfijisbSBi2s9LkR7J91MEQeo0csUU+bMW94sGP35WRX1uJ/yw+TqBvlMWI0CBKSfLOmN+u1Mb+lYIwHD/YdGDsUNIVcq2uk98twh8SvF8T6nFa7x+MjgUZ11yrSjeud2LB43jO2mmx6qQCCEg9cR/jiuPMYwO4L/SfxFvIQ5BVptlklptl7S8k/J6V59iBdwGyxqIKoikdZlHGCJLRkBv1yXSMF1Mwxk37w47Lho5mZ/oRquJw1fjavBkEREuWS/o8/Qna3obEbFUajpdCP4R7MG5mHwFSepb4t3RJa28OS65OEl9X96rnSeejpktrqpPIa1Uf0vI/EUg82hczBD3xAEcj0haDWC6N3gk+ZPMZ6Mw+6LxP/ppb0u+FBt18lCOy3ZCmBoAi/z7s3DCbCgKEbC69XmyMnGv/jm3clTI0jOXVzIz3WdOO3gUXbLQ46IcWMv6K+NPwRHbYY7Xycb50IostoJygjaPh473kaC7COEUV0fWW5QlwI9sR5bGt+ZvDQoJwl+hdZRQwE99DYdEmv9NBjcoSwqxeRXtF53if4O2Wkf71ObAmRH+sCy4Hjfy5YuY+KNgoc2QyRXqBdz19NTlAG4FhGCblatTk96FjsRSOslT8jPAIJputTmLccNFeHb1hj9NJqKDv90+6L4awNrPsyCjQEItol0ejopmER858Id8fXipof13FNDtX3fazHc/ZzuomWD39aUFthQfybfeuOmmqOn4jThi+Tl59AE160/ZrZWAciecuRnf+YElA1s/9Sygi12JATl5W7hyr+ANo6L3o5/CHMKKmdRRL42Q4qr7F0Il6u2qHvznJzfWz32UOrU8xeiJQnvtgIZz9FzItCCkrJ0/MW/qBwkLIkt8MswvxCfJoPPoGhUvOUjJzegGiny6voflC2dkhbtwvDtiOKPeTnqJVOpHQInofnV+VuVhfdI0j0Zv+Hxio8NP1k6Vmu3BrI26pl+xqKriYrsWbXjRLf/zwrFKNgqdQtjJO2o0blPseS5ggLWF9dF82mbDzpMx57a3rKVko5HahfT78IGpFnfP0zcVnl4gSEdekWue9xwR4NUJCwYk/Vt7eTh2devXxAKTztkygUfij6ggusl9zyt5pgbiwt8YBaA/tPCN9Nh/u1yIt/m/8TZZz2R5UGOULTPH6a2cDVazJ2GNtoAydJ40zircksRxWfNtt1dreMN/nIyxFC1uGeUmM5/Eh9+UZGajwT4qTmyOdp8E8Xg2AuV62UEZBQ73A6i0bhdeUmCUopA8NX1pHG+Lu1RAdztPmUBa8Dm0D2db+HKUPoRJNvhz2ZbpK5HcFPsqUdCiNtVF+G4oWnNziNsJcJFgT+V3fhDmA2IwVhO2gdHG5yMqsMYRc2hm+kSkyCx/GH9bh/ZOl00nX3LS25MCVYM8oXK5+0z0BJUi1HeooA69RkzdbVhz+XcBsMpzCg/lj3E8h8naylNdupKB41Yn9VADwQjRXU37WGiV5EOqpW0cIvHUPTws2CJasMcRwtrd1tt3KQxwS7fcYTBMV3hJWiNSOtxPCSqS7Z83YLI3HP6635IGAsS++89/1rzyNZveDSf1erOI3bku2N7eULsA9nrZd88/sBoVg1z8sIK+YNelBHffG2xbZ7KYQ3hXDiTB85/pzXvyolLewlVqnMeKo3LxgTk68jhBPi7Tv/Q1+GI+F/wP4N/2Bg+HDg/0mwtrWN3+Muys+uDCLQRVo9OKP9L3/yEUiGzHUbwCgqzENqzEfZRdqZZ+7khN99auGPHTlldviTBCmhFVgIzLzGL0g1rB4dk/aMTWyBZhj9XgCSaweWuQqAy7FqW7ealj86LPs4u3Jl57m6fC12d4C8OKLOWTAk6dsVarfLtL9elH8Y9sFUgsAWZ2h2FoNTtFttvBmOFWp4TZBICDyo3yqmZYHspUusDuqzzT9ZyLCxk0ruGl14g9LMnDHcNiCyL39skuaDYEmockuyBw2phavihPzMWrR7QcqsEEU36TOyVKv0Fd5IeP1ZElfIe5y05LNZVjHDYRqrq2E3cbncdZVdeUodhnYAzmjusTjFuUh5sk/OvEZ2IHF0kVo4eg5PVBWuvih9/XNyu9gpo4oxMh7ssf4cpjn1An4SW/u87l6I5qKPUVnPd/taAupwzXjJn2TPJ+P2DK8qvKuzpD1La2gY9+nRHoXFDjyWw68q0RfHks86aA4QO49vNgCMEuacy/fPPuK/uyDHBjNm+k8Phsgwfrk1SjVvBzR1jN72hdJq7w4WtDktzT59cwnttIaxV8VIWylYqws0j9z5u9RYDeTClZxdHSLaOEe33oUSdjLxKQ+rNSXuWEcQJMkSN0OaM28Krfj9R9eUcgmtMbaSUPq8eJINwUAS7NE61/vd6i7yAfB526alNC6TAoypgkZiBdwrPkacdak6aFLtrHbsxE1ipowD6g63bl6ylRVS/aqSmaEslA8ofgp6c9fMqCTxldDHXOoWDEZAZDe4iwo+7LHGyVWtYqCm71tiYtwE8/vwNUT9tU3G1Cwn6EuZihbNLkWU8qkYp070XIWAXYvEOjmdMltBV1RHcGHurzrtT/hp9itbBHXmscVUHFZEAm5HjSXYy67QujSKL2ku73ShmAFVhmTydHntLTxyG+7ZOSs249XhDPKYbZXOeJk/SxqovR9WBTE6sB3sHhRLS4KPTQ1U3vctQEqy0PUZ0NCBtZCTTOy3diQa34hiBowVN1B00hJC4gpahUW4RCPzzJES52inf5KcK/xp/ZYPpGKF9Kl8a3XvKfdPd3WxDFK56418BqTRcDAKVaA8lhMpsOHYvGgLB34jdI/KOjjAgQA8JHfTPWrPl5rsrA19nbrK6HOrmcn2CZ36d7TTgzB9kmfgkddXPr8TEehd4fdd+Wr5NH7/NbdfyoRFnZtBXVIFx/uij53bREKSai6VrLrFtE36XpIQvBrGDBXRwt5ui5lQC60pFmdeGaxhk2JRugjITTHstI3zSor8xjEROv1WFXyVIhNcqTR/s/Y6SjTqQAGoS+PR5jptQ4YMlPdWHOunQoAX0tEA8u/AfDniEa34Wozi+LyRvPaHRny8AVzIJxub8AO1kDvqQAheqp5+acSOwDwzmKwI75CC8pkUHvQpdCBWDjaLhgo8FbcoHJ7d2VoJSvREiy2iIDCs0dkUvZhXSh7JgYyFf9vnuYiD9vt8b7e7uuION+RfU0DHN96qeqFc45/OJrGYOkfF8rRoFDoiMR+i35lBD5AMkMQo3qk9fLnjFx6yhpx6qsXcCMWIlwuEp+SKevJCKT++VDgQ5ofyfLMNMGr+Xgly+77NHfv1iLVs+oBXhrYFrz3L3RrjCqGD/54/n+B46Ik+XKdCONHJ+mlgdUumdbJTn2cXEzaltxTzFlmEXD9hHj3hVzc+jc11n8Sfu+MlLY/2uRtiN+euAuiSdftk4ATvlBpl/vSyMTRW9dFZKpVve7x1aoKp8ca2C+Et5rh7ccpNt//fe+nr9+aloJ+RhpRL7zzKiH3jThfIp5bFAfF4GV+YE0o026LwE4Iql1mORIGL7hhqHhelnkRy48MdUEvkupaXRPDCBR+GwePO/fzVFnZ4qnJhXlyf8d5qRLUWjcAoZtG1gZHSmd81TYfAf8mojUA5v3onOk8q+rJD99WCLtHuV3uZEuQ8leLtt8QQLJxczUoqo7ARKjpdBlbHXtQBPFEi0ML6jwS9818o/V5VPQ04IjQ9c+5Y+Rxo4ZdTomP7VWyMsZefnk8xKebH8YfcbnEPggd5gmIjDLuQ4CvVNcEwnxdHtFqw6qWwWJa8KKP7gdVByDMgC3MNX1Ht+L+PXyEKmyQKLw1CMpq9FRxDors61wd702wuTaHFAG4P6mVW0ynGZWMN415chMONAcIBDzIj4AMz6sFQOy0t+kSSeS2HzMEMn8GubGOGFlTxaRwWDpd1dToQGNRMPSMAMWeR7iXnoRde+PXQJ3LoYl3y2QB3SKMwKNlNRGAfVvqia/QdHv1j8iVXrF1bk4K3IGEkedQpUcihPEc9GLStkEKNeGti6dorPEPBkNGf6myejDllS7I0OLFAnUL1ZEpGwuxFgu4LyJjmROqrNy+h3bqPbbfJgUxETn7EtsT2NgvYu5mjA6oL9ic947pKc0dguKPRtFSohvEfG0RcJDpZucm+Gyr/H7EpzqwJMRiexIjzNCa32O00Phh5dgIwsZE7A3jXs0tm37EykO4vEy8GkldsncKolF39xsPk7lcVdeTlzUeyHTPvoQP6jPH2IjNXEribbhK4LdQtT8SyNklHYw8DJOmPxjGZAQLnpbD/7R4svohcMcl7pTs1B70Lwhvzj0yzAbuiOda2msewCnc5/uiHO5EkoDSlvUlOEiG4fEdDzC+f4dHkF2POlxMzhC7vjDRcqsgXQaLT3834cos/geNa0W+1AueBNhjy2+8i4Y3FqxMMLfpBqPSK3TFQgOtfVi2a/Czo1rYkO3estG2AaOcOXqQ/fM6A+oN653W7iz2b7ub4xkvrCAsbyNh4McHhJBMBQwFzvehoyq2MFF6tWMFawc62m8lV3wDwn9mt195D7+zwzQrlFn5RESfQ/VS2G+GJ7oAZ+fKBVMTVhv3STj9gt8WS3QI4cx2s6WaMJ5ZAMq8U+AJd1l73amGD/Obz5NVyTQOfaL4FTjNaClPSq7nWwEy+UNONdPiO/bhFXLd8mQk97jgEIayGsAAW8v8qlt0e7+yI7MZSNqkJX1q9DloOsCYKi4mp16vTJYIqcMH1+OJ/mMYOnoZndY9nEWO5jQq/yYNhgk69OIXlDpyMsQWygzJCGRbMa7m0MOqtIu0xAlqcNeaQyH3reesXbkvwINSqqWpC6kKB9VBFUGOpj6AWnojhXEbrK3R/rZR+kD0RfAKsRHKRp6Y+REv12TdWXTZ6HAS4ncafqCiE0jlzzR3oSl3MZzFqzkDeNo4cgJmoIq5HIi+9Mw2TzHrFW9kp7KFQLgyoKLJrFL3yFeLzXbbMhEQgZmIAjhYniUgQMH0Q7dd3NCIaBsQtcXhvn5dbucgpEmAJOr5/K6J0lVEjRywiPfUQF/EFfem5748gIbuHmfhbQXeIGnyQIw5T5PSB4DSGwCm+nVQ8Kl9NWgY573FzB62W93Ft4GnFAgwtv6VdJN0TMSzqNjEmbMhwHzjhKiZxWz3aK9huLror5OZ9VV6Q7Yy0+UXuliOrWczom+sV5MPcwrQUeaOqdecHKkjos2Yq6p1ek914wAMgLWjgXyq2x2G4FUMRQq3LLWzVFF4HzFxDbPUcTDWg4tz4zLZam4VbYhvDifnomioLGzz7v72VrAfRNvaYHtklT8qfiDhEHOIH3eQvy68ntN7aaGP0p/o6TTqFc3vBfhQvKbV+r3eClET/sK7BhH6VY/nZ9QcEavkBFaTPsOMZLKMa9pp48m3kxFA8ZUX3CN9+HrCPXigDYlDcJWEJeylpQqBzT0ESFrdyBBFINTEEAU3Kj/T9LyyfNUTylernEC8Vy+c4hoVPbPN2yJJUKjJ67/GhD5dJpoNENv5Ynr7kq8hkEjS4wWZt6H3pSvPqDwVPY0O/zhBxI4EH1Ro+irQ0CDXqB5y5E6kj8z27+kLAW8xxtkw7sfdBMH1rRSqTQ/c2d909mBZPpXm+FgkeLOcBRQCRqbTgRvDfO3vEUVbXdqY6hu1HGir2AUHXzXwI14/Bshzk8z7PZfhz9rL+4EIcRMBO+WuvP6CE3tWvb7Bla+cDqkTDh2Nc9nED9JUTWoguqxfn+zauinUoaJtk+BpmMYaTvPCWfWBjqk2mgY1hAJWUMJXPXXvBU0B5BOq/jXLXTT9R/gYLKSTMQODCJsTaLcpWo45TjcpuLdT/XtmJH7mMHDi27jODaHZkwtGLMyyHtwihHEOAV/nGM8Bq3hJO9DgVuj3c7JrT8XeI+Uc6evkzS4BQOL7TcctoTSstRp47jX6bICZT/Ok8cnsr1L6vhwxVMF2fhvkdkbXQOJM0VvZbF3OF8+uHszYFdd7Kan6208gtIzXXaZXVDsr1iA4d2HZWvA8yNx7xAh0L3AT5f4NtWLtpEXmPZ+U5PHCGMyJNVNDSQzDZJ23xp7upTZQMeFk5hAdhLOpOjpg/vUJByPUqaXPUPTs6QoyAGcv1cp4oGl4DW/a6EXD5h0ogvRzhWghkckUGCWh7aVdPsx7V9FRiT5tm6ART8afaHRDLPUMBarXvnro6VyhctLUN4rlHgVkCiY4PdF+k/NBwxrYMqhXoxL/A6z9yYVLKaEwvd6rqYDRKrNAUCh5qqB5LDnU83BJFlmFMt4wbzgyvKmi0Ie2BfYSoCWn7yF2+wT4SsrMvsofJKs4Zvu0tT2kWt+lmc7HGm/5Z90HIV39fx4UBVkPJBL3+ExwFKsxrj/M8Il/UKFJqFftsw8YQKgI9ThpAk5KuExrkdN0Mwsi01h4bVCDELVGlPRXQBbWNGj+VVUV14N6t8Wlmg2MKg7xw+qis0MpcS1Z0ln8m/tWwm2CTq8JDlGJcWWqg07+1aZPxCq+tKFDYbOVHQl7/ug0mWyHg4KmuwlOM6UNTJ3IY1sliTGHbt0+OhG7V0uhrBY5oLUO88iQEcAL4ckJfpgPBAqBYfDPuIyZhw8rLtNxMDn6RKMBNqklwA5H4yBXw0s9p90OXsYSjaKC5gI20vPcCjTjYu9y6973XMnG5a9kry2FnOBaAOgH/pV4hnI5HDwltF+At53fBsxt6NpzD8oFojaGA8EOPyXAIYhCfar892yjX/BPbcDMI/C+jlQLjL3iNjyIG0od0zk08q4E68Tg8+Rm2g3zUdOfRRUfg/0s/bjRbHP9soO1Uxha40rLyLF53zQL/G70W7+a01uNgq1mJzKTZyYjPlCiLfvxCkO6IwlDyNJVoGYa+Q/f78eueF/J9afMWd/X5Vtkz/TmpOYY2peYyzin3TPmzTJG5aMNO8mFa0YxVC+atC5cST1qJga4LqZv+w8FSYiD+CySUIq7qN3C/u44bC9uN1kueDwo/6cwytgISsrzF6LW9EyGF+HdMuH6U/Acb28cgYPZYc9xzYdf39PwM8ZAmhoaOu4eL5wjl6kTKQPpl7VWET7wSfGLp+/JNDmb4f9HQcD3ZuXqn0NHt45vHGhV+rbSVhMZtesLwbAKv1/f21EvdGqeAfRtUaxR9QmPpTQcdR0MkhxyXL//QuxvDpwBpZwMU+ZSmNBV6nLCZzK8AgKWw0Oufa94MsN+3crVvmS+R8nWMaaO2H+SqH3OEQzga9/+m3Xqm3EWO6faFVzyvvh3oWyhyG2KNr2tNJ+a2PoUNKt7hFYelmHfIAqw5qWJd/ivn9dEO0jFbEcOA0TwHtLa8/2gBqfMna4BCi3J4g0nnpHP5xCJtWrWlsFkILLhG8DmKcG9mAlML3O1zia88t+7s0FEUj122ha4VccfeanH2SOCRDpZ9WkW3jn5+/agf7uHUXPhcGMsAZJh2DUHKEvZEliSM/AeL2yvlpqefY0RUwBQVZNehPkxpDYeChF6s/vzZpUNXTTKlYDBzb5XDxRkUDPG4DMGrse+lKAmx9LbGCXYXZmOC8MxMCG868LC4NuRzNWnl7wfyyiOGq/X6SSLSXDGLn8xEP24IyLmL/t+MSmQ9tb8k8x5E/AJ9fTZ7Lvnrq9GHuSzsClHsBxXhRrtNEzCA0+FegS6KjSz1ZOEsZU7CpYI6FtoDS3MNnYt+0ycooFaVxCXekgsYc+jo/dP5U35FOl1ZivcP4hvMruazksRn7WraW7GvkBEWhpNJnvWpBqKQ7Pt6QgMFULpPibnOARMyUD1HovE5ltwgFS2MimIqV3pw9A1K768lDhKn8O9F7DW5RpPKVvocqOuiv6YnEU24ZhsI40diIEESlatuRojg9mD8Et/X5c7geJ8KdYse0QFpic+XbG491WqQ9RkkNaldMEYA67bbbh/vxKfprbCxl/hTFPp/i4lirXESSAUCNbH4TP0X1Jpf1VJKLdMBDYzsMjplOUsg0B0xyDKOPCiUcDpEyOQ/b5hbYibn+Us5mc/PAmOu2VPPZUSOGSpxi9Rb8JO+XKU+1ffpk66We2NvjuU9V4CNtu1zlra0bu8+XA7czreGdHSG7crXA6ZoWkStGGTIM9aTASy3NjlNegDdjn1FxyCrCxDKaQUlrcvQEvt8caCLBZ/hvJ9jUxWS/jcm1gOVEVIz7s73sHM7YABCYQIa5BnrAbyDcCPZaKZAG+kH4UtrIPekE88RCxl3Dn6Pu2/FI/mql6+fcg9+LVRUQUMobu1OfluVYXatT2TyjMZzrsncWEwTfQH3u81jgFj9GsZI2a5poyHDiwwQmGuDScRnLwWKfE4w0NUo+ivM2rHBePb5n1LPFxYw3FWRDwsqazmSSp+6ouRhk7boVPlvEV+YHPnR7ulXOhpgbRivQC+t2PflcQZ/qC5hsQ7ofnhYbFswPpN2ffoRksJ0K87No2slO0jY58uisxOktX5Jv8WSavtE4NuDZQu04NvMR4khG+UiEC3diVwups22YJ37iH7e4pCzgPxoaMUWa1AswWYWl1Jx0+8AfGW4CJVDETJrTx5ri5yQbBMi3GMWGZ7pGdI9yGkO+C7XNJ64p+w6cy/E8B5XBmQAIFvgjx75pelo+brwX3ffIWn17ulCrDfhPiHuz7R0nLFDaTqWNlplrfCcU2K1A1wbBx/ORdGQaPyabUVnv2PsxqLUWkuuZJFCQsfLDV803cSjAbnlwTFaDXxMgg6EbiapDO86qfI4bUAzW1DIKoq2zstWBO4skl7kl0nrWsDZFzcPlHKoq4P9cgymnT+HqA88GRIQil0ASkqnubRWAkD0+4NaMcggeQhwTU2I8WmSv3Uaf16m4Yfg3cXfR36yEwVmlKfi9mUbbuI6RO1hXnluPgqokGm4bqGBEYyAPumVf/je63IGcg5tBqmvVwLgh0L2VzXub7ihbqXAgwYnN8khcqKhAn228lYoxu2db8QnHjx6L0FsbDVNi6PDNRM0peWQjWuZzPuBx6eZJdslH/XjXbLS3LOQz0NN2ANsMuwNNhdAf6upxz/KGILDTJOreqG2c9Xt0EZKHMMi+6k3CHSIFHpHUFA+rjBBCImcEkTTALU4gP3CvQDT2UcgRURwG1CQEIH0Rhfw8YhNXfzfGU9Cd4gD+xzufEU0O3PLZKrcxilt4dwiiD1Xaue/QBysXfpZJYURJWCtbEaodXGbG8rGJ4CnLGiOYuEEppDYJSdgRk3YMd+Kc3J/w38iWVTONyI7hPlMTMV4wTCh0lc2p34XsETABE6dhluGMjYflIXu4DQR9YmC7/vIVc34n5z7DWHz0x0Zadutvq6JLlX2vrAQCyqLXhTXf+woHD6jYnpvRTegs4y3hW2ubZk17S31LO+YjVvpC71KA/98vVYgSZDEgcXQMPYA4FEvOjjdxZBcUft4QkdevYpakjxk+LgdVGK2VUQ9zP9tiDE/4GWrFP3spgyEcVNgeVGOYlsCM6f8ikXiQhEYS1KfiMoOaLPlHJIVf9Hu+De7i5oQzqI7RhDdF7CNdkuJn9E2smCLx+CKmnEEw/e9kJ3Y8BuFZdvrC4X8o+r2fffsicWRtnKHYACe3K8K6NTSxeLJi4UMo4B9uAmQdU+xflM3rpT/aSALRcSbBRO+avwy2cPrTbGvELkub/o7KlN/gFPIJ2cXLECQTQyppp0rUT7zeLeyfEh6UbmQDPEWwEzQwaj+YbB6zTOqdAzkVQwg0L259xoE+vusywx7nulc6E8Dk1d848x3GbRadTgXX7kXQMEE0HOl+4N8XiE9YgohmkjnLFqc/7dATFQezhBGpGQBSmSEqoqMS1XUaecThWzmdh2GEJyyvzHpXMUFM5v6Gqc85ySJLykGOJZNAPWgNRJhwPwPqUrPldwfn+0HLklgAXiKKrXxI6qBOLa1wLzpVYlvQFhQEq1/q0ougQcuSEN9S6n9uVyVDCjy+qJn1LkdKYHl5gY5cANk3YCqoa0Wxx+XvnZKopoaveULmMozRsJ/UJX5YKdgch3PTNyFtu2y7ux34gIROJvmSvR7TVCEC+sZzmDlmSsNAC7wlzYyjzlfbv6Jj5LPfXPAKt3zbo/Neqila77wGR/rGQutDPGb1/5PBm979xzvq/XWrUi7zKXjD72kciimJHtWTwRv8gHr32ys6xbrOUog00ggPiZkbHj2pimbYyNsB7lQKDwOrEUdJJ29R0TDMD0VeykcE4CVOTseFibTRME/HYWqWRdYiTG9f79m9+zh1+dagfAT5VYr2VEeV3SD7KJDu3EYbHXmvX4ZmbaDEs5omJEz4BV6tO37uIT7eRm9+1AmoWfQuTEr6lrAYDM6Co+IVy1vygIz3LiLH3zgVXoxJjoTQe8dycWQ+WmL6bo5JOCnV2afXm38IzSbcK00kpRzgHYwc+YOkLhQk38XCa8ZsPM6LTulvqQv/Id/k+wAAWGj5pOnE9gQ46mGYmOp3dBRLi6TCxyH4D+AM7QjQMitSBWOadmS+OcBq5MANT/I0lU4XKow0ifFnsmTGPhcyGHAapFUnOrFOMmpmqMExEdw5QW7YwwHeVfZsgj+IMqX0z0rdHSzJ75lfXgJqDZeQelwqmWHydIWJx6QHU1m3M+4j9PX1m3bjWqTymlNQHEslP9rMCQzU8FlCI75Y8BfGhhbN/XQ4Oe3pjIwM89PMNs5nAhgBkDTp+QFBl9kEis0aBfdbNVfKgGVyZatth8FfrRiikFhU4d/gqC59P+rxNqowH3X1tOCr43zbGaXKnA2RKmVPhIlEB+m0tkQ5KEIxpp0z7AoH1+sGA2BFAgT6XzmJhji54pIbHQu/m05K838royxm84RnXjN3pTStNl2A+SGh2xwwlyOdX12wKoJUEOQkOJZSqOYbO2pxtOBxesumjgb8VdPD9JdTj5UTLhKkytSU8CgKViIIRmXmnl4eWQNeIeOR1Z9NEMK07A6f8VtvFNtvg20JFZY1dP/DTIVkDMPadSBFllmlK2fGTbVxmQi+aZ44Hnitjf/rBK3ONG3GN/D1ExxMmYSu6p2/4f51ka/qSJsbQL38u/O0h291fQZe925DoL5NYQgehHpuI7qrgHMwumiFOgxsCyimDfLPBfh/1c5RplMODYITJBRP6mC7Sa3HnrTENOxTM9fF8K27P7NAL971s0loXDxsJRlp5yQGMV6o/PocxdxR8Wlga3QVdd/xxAVhDRmZzTG2fnZgAdJfR7YTy/MVJGCZkQ7VWkzS5o70s3L09ZtjBQipi2HX2XuU6WHJLGAttbqyjLkJIIg6oCI48dhdF0zGii1Gnb95Ri4vc/Uc+Xoo4btzztWUuXAjsTJH6/jdAfh6lMmIHxfGMMv4EDSjysSu+tt9qA5xgljE74RKd7PFXqWxadlLUKqAoPVbI0m4tF/qQyVbswijRHUkD/sBNaXfxbuSFRXtA7MdYYIZq0z4gkuZeOHa7AdD+Nt+8fNhS4uUhuvHqZAHUHpQimlTuP7YW8vY54o/3MKv22BdqErlS/mTPkM59+Q54z2lh7XOUjcaehkK0MA3Iw1eSizeeTc/2wbbC6jFR3wgVWBvgiuD8PpC3dO1BSEb9k7Gp4L60ZnlopN6VbsggFJm9ythOz5KKY+HPGr1XQXpfdvAwn82BvyKyDj7YWuFiLWFowwyc6MBNLyvlQq/qbb0mmB7INp2mfosEnsqfHfYofHbYSqL+B9fO2YoNZEQ77iiqha63X9jOU7ZX3hdYWzlXT699rbM0nLwTvdq6XXAB3FlwwHgfCDSkmC5/qYEBpxXmquZ1af6afP7AMD/9tVuqtYFVt2YO/G/rkEHGnV8PNGUYYFoowAgfheVd7kpVdSuh0W9DhnsKCe4OHVPScsnlo+Jj8nIrE50kjB3uVOGNlHtVn7teHju2FyLccXaD63cP5ZenH7raWLO9NAcdvRM3YB6SIY1oyoBbYo5imeP7jnCjTtX51fo3uTgZjdQcmUWmTUjM0eGpMqyi8JOoBNtvwgB4QQonSIHgpRthyvI8iFCfnKEflVgVyXjg9Aie7yb71fVWsRwO/3MUpAwr1genDfhTPOZCqSc5E0ysiwYEX9Ocm41vXwRnG3dvpIRrkko+07Te7WTq/GLrvQw+91uERZ4JSYXkXCIZv+reShc47NN4PIXqlAzHnQ3n5N8cpmCx+eY3pkvRsVPNZOZib33EyOVVIajkqpNklbeXvhASiyUF3rFZNtbQmJUeY1O9LuJkTrGK4jIGNE1pf/xd1d2HU0ZSpZsWRy8AY1SE4kwbtuxqcxXG4GR6uIFKwd9tT9Pfd5ZGULaKc4ECADb/4RSFgNB1gOHynSYaBKwgY/MXgVV00S+N9JgVL4grux8pfhXaZ/2hCKeHPu8fMxMg4XYfSmtSmoI6YdZmuppUh6SvTkB8+PblBLnqZXhJ2Rj46WYvepRJxCkhEd1mW9MRsgBuw/zqXWGbkwfxWxjJryJXiLTeuH+0UjnWsOveXW/TkIndbbMSAlGsBth2PfNKXccq5HV83JkWLqVKb+Tok8YxLBCAaPcFxgH4itSv9yrRGF6ptRVGbs255XorW95Eo0B5Et4Tn5smzT/eQrGxC3B8Gpwx8oNsdJT9oPqeJ8ZY2AyEtq67bqshElSrvrHtD07hFabyjdHkE/AqN7sg6KDRz93QiV3JWzb+6ExOApNwFLoaJHGgTReqFgcXmixiNDm0JxWYjap8e/RpQbxo6rLiB+DnLOR4ZFe11JIdicmckIEGWPxAwWW9FGDihv2p623N3ERKnR3VSOAID2Jgm3dMLoV3WWK49h7xDs65pJlpQprcxJ95HAbewI+c+p2l8+9fovqGxkga8IsLMc/EqS+2USgKxLcXq5AoNWrdBFAZONYB0oZLQzSMpjjuAdcO6JdeKVUIqGZ+PFmmbeTeRZaZZzqTJFsFTSQJGWojiAn72ju76QHOInDM8jYfW1l5DETOsfzLlB1KmyxmXZx458xjN7TBC8MGncMjR96vKh6VJcQGCEqcZEhKR7rYCNaVLmYfVeet+72l/sDOpiVR5k+uumy+Xi+zWhjgCxl2+UgYUfhMp6WZH5+/CHGFvAMbUQEnJIpnGyQJa2qqKCDvNEoErU1ON/nXhkKAVTDHgoBgaWTjB2nixZUUF5nPabtg+wRlrwxSlYb2zN82UnhwBvJ8KvT1mWcEp7HfHZPekjQkz+LteQxc0LId2dJjw/JMXLLtw7sBCO8ht9cm2nTgSYNX2buKIczEZbWUUYq1f3i+behtv90XH0iIE0kH42DBuP9wM/n4omOnto8t76OnLuteoo29wcwJg7JPKRo/+lN8B0MsMmmxNBdcgnjXfSyhI3TSIxwgAwUVNY0RGq1sN/ZQfLsxW4FXB3UHaK6PrMyS6M5OvE9YFkWUogpANzx2uuTQeLzRlBFkwRGxYMlxE3IFJ8D0sHFDXFQeOcFi+WFeGfCs9+hWbkUQYBA591Hlzr90Ip+qXeRC7LACSFSyfS7i7Q7N1LkTaelqmrC++2CHMXJwRXxwopY5WbmT2ngvl6qEb/PJj2zpt9aq3u3T+K1IBZvlRL1uJF2whG68nKZcd7Q4//NWfQAaN7sZp3SpKF5Knxe9B2PhzJfdxVV7UjFGRvESAyx5zIGbtFcdd1NzqAMSXfClkvFq3AeD8J1nUeSxeu8SSaSr5EWFVto4oo1duss1kbJp6sJTGSmTvhbzd3kfBahmfo2surLA3Pl9wbHsIaDx42z7wMP7n2c70PyuK+zlcsR37Rc9SkZWzd77RTQkhAWVlZObwS5q5vvzUjWm/5/oH/eocqpLIOWh7bPGkOxZFVI+E/IXmaGBv9n8t0xnOsEVw0onm/VVB52hlIn0U/XZdicGfBCjZCReUvzPWkDb190xzV15BBMpI1jeQ9bSr3wSYzt+ZNiw/GkyyYRuTPkTcqY8xQ2i8KS2KC2rB7A5lmcTSgYPyj9GGP9BdYtN05vYyxH8nECGwZ1EuEq7R7oabhy78u+2PIbaC/FPkFqH+JbuDOBXvzsWMVM+Al1gbE7nzYHNnFxfz9ni6ft3LhKRAnhBGi+11g+Pt5mC/fiPiZoHmreDtCHvjtwwYBUk92dziIcEKiiuqO1juuxyjlIhhCIFb34gqM9gCxIEGaUcRW9uv7W1RoxvFns1LNoVCTQ4cirZRvTm7txrokT42N3RP/87DhFhTff6SVVMgsmq9HIpVM3ksg3vLGlwOvQICY7qX4gkrb3GC4gECexuIc4SApZF3wf5OGjrG3rTX8W9LXQNqWcyLAUk2LWPy8GhAL3bfB0Zl4AzS6bUUIucvtTR7K+lHkBiZduOi/eVU8dvfzIDwSB+moKRhklIbUYc7ep+4W4kVPkP6DowSXDIFDJesb5eiEMLj/MONH0PJM34j9fAYB2L7jFge7ed1E216B2jxACeYdPTi87dnfTKimkCNklrPc0uEskq6yDbDRswKXimuX2xA1YtpYTgz+JpUpR8PRQRM7BPLi6raDOV2n3BRcAaxMAE0BNlg0qEKtkKAQsKjJyzTwax08cRvqQ9CZQOUISt2L5afBvs1+TuhXW49oczlcBdqdupmtnkuuNpR3LaVFmESsv2q7r0MMCkzzIdABuOdMiyhsq+ttn1gjYxhXAud8XKdR08GCfFHg9Bh9rc/YOnpXmdESFbEba95p/AFSs594V2et6CaV8t4lIsKO7t8Ye+OqtR8mq/1XRAyiIxrG2raVCC8cOJOsLNmrVpQbSNlWFonzCLq04Guu61xmlTPwf8xi0uPdN6Hh5KRsj48vPU6JT78+91FiE2zROr1utIr9Fdbzp1vB7226Nktr66K7qzMoVfRprtvfa/urUUBuxmMwcMXj78/GWCbIqymX6PjFLThiUY3zBL7dejaicBdNZB5nKBXuUAqxi2VDbH8OdpKlswvECXy+S4l45pbvO++yhqxrgA4vztvQLMVg6gjlFRH/YNFpOO2DP9G3Rx9swV6p+8NbhYRdnE+mIjqp5SbTUqjFcdtsU4ze+Ec5CQNlo+/+4N89wQeQaqM1SyT37FplPkcdImyMqRkV942GpJ8/FT9+j9mAVJ5rXsEUP9PZ0f9EhuYqOG7xzAOUCsOWkLhKaLVdXeja2VJKCUofh0283nQK9TusJXKnY/wsEAfGL5wvIdkmqrGDuZE+usEVVtJa4h2ViKmFeYdvklD3Xv7HmvvbDvc0SX1CyhetortU8DNE7zykzrGL10e4Tn/c+yt4trmJF7XlkZlJZVhzt3+mdK3Y+xff5uzzjpExhlsqZV5p/EHc1VVTGicia3Kzufr+fJXAocenW5E0eeB52sMg6SDrvEa7mg4beuA14emkj3G4wMUu0/cM3Y+VGPl0PW9BHt7kkZ81W41iuiTnr7fH59kyXJLfcBPYUjEXjuqhpvrzfTT2MqikFLjgiS9vD8/rQHcHdCELMpBOjHggZOkbD8ujeC4vrkLzk+tiAEkbnDktkqH1YxKEE/5tl9pFAVHLL6A7ycJ5ZRg8htFpQT7nnIn2Bx4c3mtxTrEsZJI5seQnV0r7SrrgRT3SRGCkvioUbgS7onVtyQjszFdLJy7iYaGXtye5JPIk9MnMhlVR9mHi3NtJjPCLMZGewdn0zFCwXhMxcerT/niBILdbhIxjO343WwrlluQPuiqOaAf/PDiDs0Pv3/pkH2n82YDJmYR+6rrk0HAzjnqp/UJvXDcxFtX5Todyodqh3GNb9O5GIPrye7+yikuX8oIzb8WwFvDnUZ8OEYNCblspa//T1NR2UhyGLusdon/2V545lxPh8ngntEcizjmXry2tKxzs7HUO86CsIipnkuujzDwEnzxTlggqSxTwDRiL5Zn+UJgcXpgC28IvOw20FuLLPYhsM2Y+PnrP//JRe1LapfCUSmitaS+hS5Z6IoLchlU6D+Li1O4q5ryj2AFBOSVk6UXJBZa21CRZswxPNEtPojVjTZdhePMyBJ9ppmg7kT2TvOB6FkeqIzVV8sVu0AfZalh1xX8xapeYDlBIC1kFds0z6VgXQHJDPG6P3qc1Ge5n1m9CdEurCVyzNCqGRUNbcP+qFm1R91Ln+cmzGdC5qY3ofqp5CsecqnsJZeK8qsyPN7YvJoNnmBtNEo4laIxrZnnTC71Nm8VIFesRlRSuyOfvEgXguWLLI0WbDJb/KoCSTVNA3bO9fGWxhubbbdWkxJUkn78iUHUNTjxVndVB4372yINNCMO91n/ItcV4dbsqYcLB/JBe7q1T+T4t2evsk8zbgGbJd8mEqogbDAAJR0KfWufHUbRx4ogps53I2dbJbXrIbOOWp4SMmij1LGgFqYcJxrVU1Pjky+RdaV7ijAvYM7JJLPmD4rJhbZZ3sFZ1qwJYc4xfWqsHBnzES2E3z57AwkzQ6x/VXpkkeNfssOl4UkRMO8iXT+Q+Dd4LeKDrOIKOs2omW6gcWTVRkOyecG2li6azuDwCuF6zWUONWJmCbsoY+yp9jNp4t4ZuMJPlxXja1qfG3Os7PjmWQHiA70V+HyeFzP96wkPJqaiIHQJhsyRwHkxvNBv+/fVklTNrspDANy3Eay08zpzfYuyepXqA3r9SfQ/Qdn1NtcdI3851mdeIihMLu55uFl5C/hBiuJfoaIj6woUPlqcCgBzE/x1kb1v/bOkiOW42KJoz5BClJN+9gIRYcDCRQDQogu+Z8bFiIF97n/7WQU34RsGoCdcnqKAzo1av+raUbzj1EuSQB5UGOHzqf0C8vmbTHwsY1oSAkazK7Gt1raJ/MCLK/D2doHXoB8RRbLPYZoMnsJiTNYtbZC0LC1jqouR6lpGDPHAdmKcn8lKDmhcqogKj1lQSo5NF2Qp2aHc7maG9+fKMNfxNG7aIxEwSoFBdRcII8HQ8xrBIPls7RElgXPYe/Blx7oUVryjXrHcju1IarHT+VDIpzsK54R1oQBVhL1MiCCXiELOveeE5X05qu/xBvs2Q+vPX7F5rMG4XB7nSbK2ftcDp62T0tn3iewd2kvPj2vobHSH7GZDt3MuAnjbaxN29PI5gM/g3bNMOqzGrjJ/lLW4y9BR+MBTXtw/mo83lFNv5fTUVj/L1Lq0eBjAPIr/F9tLmHOdV6nm1iPoKkiftori0RZqmz2V+jTaCoBBVfFOw+3RhzLfcINx5sYJxvC+TBXIzZWcCtYKiqGgumEa23IDY3t0fiLwSuqbwviSBtMAkLX6hRnI96v8mkcxFEEc9UbQJxL0C2LcbRrq32N6ZiLvhiLAbBAp693uD+Wv8te3Iz5o1FWpv0fUCD9dZl6fL3qykEaYE5aKTLNlyPTnituZX6TOqDGw01YXQIHe7JcNJtSOlEBBH6Q03GSRlY/zIul2fYW2p5d7xeBFIfyjqMcXVlab2SMp1hTtCoWw+WTG0AwFCtRpbCqqvIKFVADVOPCFf9ryd96ZXiCLuy9rNzom4o+TDUqBkTLRxFHJWsHUQJgHt27+kgBGSh95W5ilcNZMhpF/PN9Ont3IR4wyRmzcTwDLw+YsSFnYX8PuE4IXtYeQT934lI3N2zZzerhEPSGZ5bch/Vr0l3cTOpXf7Yv49qMlc3CBUxuNoJgrdy5CSpudgcBhMVizTG4LG6JdMZLv4pK45gYPht6Z3NrMHx5rW9euYyHHP6mOE+yk5euuz6PDfVNOUB/JNoLAzzjc8Qyk1hAjA4S/UemPEh70ec4yy2wM+NLGvu2P4iOZAacpT3Dr/gLD2Nk6/BK/sDlmAHi5rlB8k/lONS1J1ZkgsO4NmHMgueBYoj15tKEf60SyJgoIZ7o6TZ6okX5XMkn67ZDBINnEQLOduVu+R/ANlRmiTJEMXKthOAhPfnYwLOuvvmIOPMWe1jTbKWbT1vE1sz7TBM5mmG/+1WCjDRu9SSYPncp0E1wKayWyuDQXbyzX2ogwGKTAyljpUstIbfovW5xNPaXoV5TeFYkWUfHjZ8G4hSz3V6EjZQ+/GYr6Nn/FeciGWv3Z91O8fWsOCa/BPPaaSj1Jo/EKZxLQPKw/3Lp6Gg7gKy5KofZWTOzcp/dqH2MGSJ5cL81+CvjL+7RcSRjd47fO/9wbk1iZJAoeUCXiuICd/R9eVOsi44drF/u4L26x/Je6s8fLdmO0khq81znZM38hjhiGte2kx5Srz2P1GAIlMnx8sotiIgCYif3g9wqYo9gloX7Qi5VO8e1J8icT3JXo9/ybEsKZUj49MfpwCOnj+B9bmBT4vscoblzE0MDBMG5PEOaMBltb3XDmFFmGkB/vODsymcq7s4ByaZiHWbdKv3fGveg30yxiJqztRPXzTfz5iWoMHw4paRdPV7pg3AS30akzizbIOiBtB9bENU1EZpX6A8rEYTEsGU/Fa/u8OM0q9L2OcMPj5eI2oQ8xkeCorWTMsmxd8lpKgnEL1JLvk048AWaYUHjSa+K/TkJ9PHeMfknXs/PIX6EesjCwsWgLApia3qagaq/z0+UDgm2FxxieAZUKp+4Y5ielWisBOpUpePwJO0H78ybttk++v0kqeP7TtEBSyoMyrVl1HsuCwl/qqvdK7qeenDl9yaM311SyUDwImJks2CKmJKIiFx2+LXCSOKDWdxOdp8GRaAgySMXIGXm8qRXcKj8FrhTWxMMUy/BgQsRIHmpzciZ2e5RcJ0Kbv+26Gi1zSDGV3mrTSo74blP1j4Hj3ZBi/AnQHiwKcE1wFNbdYMty4RWNazUBkEFySavBsSoPZkq7TX3qkHuVe723CtjvCpRIc5cKe5DZFj2CJLEvj7qShGdRlx2GnrdyoFmXFA3/oMEWTlwTBXpyCGawSYWzPAqgrC9cqRDU049iLW9iJMrdJl8n/5TH+Y7CovyXQtAWR8xw+gzk34gXprnwl07T5FK7DKc9+BMi5PVCKfb3nRmr6+DOQv7be2CHuQtnWlBfy3iEQ9oY1inzyn+V5FikCnLjkf7OK5u29zyETb9MxS5d12Jggw1UDj43HIYNXJAHsR/cSaJi9i8r0a3n9SEZvxeH+34YvY1/64KOclhwnkEObuTyWXqKafqIXftIICYR5HaPVkcIqkZocfhaMEscntOEsYd1CCjMIG7CoZwLFYmayB3rMsXNC1uNT9kj/2CoY8/6UQmmBhh9r3n5ti9sdeUKH5su2tnFJ04VbQenBemscAGiuGgaiixGZ9YBhgmqKFdLcmGkAf9lFWXFmPPomIUSj3oJXfSOKHkua1ScUv0FwmPJHdgo5sa84XlPRKnH3hEMhp6lwlzMWgjAdB638LX8lAdR2tbDHthAXKd9weKzBaoBH56wp5M4uq6ZWnr1Dq820JJY34mo79q/FFZqw6ST3gp3Kcj+HHgsbxYaD8puBwe9b7X1l8abVypAYlr6vva+NUG/I8exV1/Pfb/lryPM7/sdWTHgMPQ5rYcAZCW65BZBSjNUNy6o0QGiGu0rYQ29uTJA0VejcgWGfqPRLUZReP+Jm0o/PzMN3ZaW3fWaY1C611UVKkKbkq+7cScMJMYNpLNnNFFwED9tgemortzHxbRjWZHG4SPmh690e23fr3orcWjcM/xf68o2OtS6rJbXFacaX9XQ6wAOTEkaCFGJlA6+FXsPs8x2qihrqUyrJQ9cjtl8RR7CtC+iJ8w08KFf7wNSAejl+kHufE5vxth5UX0q4btJGKJQG6SpWuPSF5p6vb6YwEzCMGvl1AtQXmAzL3FPhEnvDtDk9wD5hXQPsWoFOHqDNhZbfhZmNr468tHIgLjS/lfgR1By4YuMtW/BGSj/u1J6ni+DdH0V/ldBpatf5kT3EzoRs8G+VdrvbkGJAxSC04cBrNQJ1Ip+JodJ9yTWfABupuvAz0Z4H2UzOyD54UV7kC9EIbaFSSn9jmmoflAlbH2sA+hAyeFqxR+Vda0pQkBpAo+aaJvi8S/zzYi2YCCBjsr7oVYwcfZIAKmX9vndmfzIvIJP8+5/2bjn964vgH6ff8YN+rDGIrqhdvN+Vig3soUUdfv//EW1cAfgVgutl48hbFGZzMm8S3wzmWqkMGGpGm+JfKupYKSsA18QMXZG/EdH7u1/1mEfJCbNlnY13VUbADsZfVINf3/o89m3gNrnfqhShGnQdFFRE0tmxNjhqn9pdTQXpaUbKjCcJ0rwOGGsWUVUcz5zpRglCCSzJ9upt5igbrDXAbRYvHxW+aPaxPHkNXayrle5c7Kz+TrOTE6omfaOZTFqN20hHlpWyQDRGvW/ff4dvNbckfkv0wB6CHNQthu7I6/oAolEd6gDzu3WE3Y5hkcv/92Vtg/Vucwu2urSr1hEOm4lGIyG7pZ4l+gCCxMg3cVwcDU3GXQu7P8rcu+JLK/QPzcrQW8681V2DwMaml0FRWbVVhZFUgiSlX43bVtYWcz526QhoK3urYj1314noX6t6KArfMcfHbiNlkVVFbzuMuItWsI8W+ECpCVfEJLGxIkMWrdmGfYpegVZ3dF7gBmQZC590XjTNPZCQeeW6dTYs52gng1e1TGiXGoPnAVanSBF3eDOmi6s/YP1xrig6IyM/Ft3ai8WBFJVs8RRUWyv3Y/sVlt1DxL2qNGf9nzV9Xg6kFPrfy1T2iD897qa13AJZjFGJ3UygmBE9E/EsvdPzhz8lVvRS2fUVrrLnUIzASQwkH8oFBtyVXIN2C3qMkAq2ahuvnF4EEjSHa4l4tZhRaMKVIJF+/gUyTwSlsZQIi5VeLitbaIote2v4tJh7FQvd1nqfYrpH/isZIHOsZf7h5RlPeR8gAvyzjK76Y101sFgbz3WT4Lqt57+p/uS/MqocVc3rCBISUvx+GGgSXySfyNnVknIMqJ9bYPmMKul2Ppjy6CNGzr0tZUHsXfvm8VI6EL6CtKQaJxfiHdz2TRNeqackpEuP7b+HP5ehN3AiYpZDUR/6bBW996J9Vvf/zY2X8yGH3wDNRtWoIRGRRocWUFoGQAUPQYHZumUZj9Y8sycgBmijKvrdQP8BxNepbk9obrPwWs6DDnpOliV4rRqJ7FQelQcQcihuddDPTLoKJ7wOEhzEWprEdnrk6UjuwAS13FFvI9haFykq5FootT2Qn+2x2m2I2LAdrXQQ8PMo30UTwhUfv+PM0tS4/utLO2lcvRHJjr5baqehey7z2Re+EXPeK0B3PieBjCeoEbUuJtj4AwbQo11FH1lnPlI1LdGiiTHRNBYBUmATEoRyKlg/w+Macw5qR683KsI1VtUM4XxWQu1fAT0dxCdrwRdHX06x+WbVEzRvcU+U3aT0Bu2y6QkBwU82EHJC40iGMek+tXiUP+tKejO4yho07xX8rwjfiMA8S4NP1sFCAYbHePhbbX/jJ+OCFvZvexVzZdtJCaV3fl1qC8ShWUXGEgASq2mDXd+urVdRgLYHKBZRqSLXnAf78QCsAuvfrNDChYL4kVxR91eyNZkGqqjXaW9CnBI4Q0oOVs2io5Exr5uLUpg/Ym4ON4qFvk7r7Zb0FwaZNmCznbFgXCHFIe3KBfeSwNjnHfrfYZhrSGdeVE1PyXVYSQ2AioY42pkiyjJSn6flKOZg5g8V3RbHFI8rFadDSzUEByNe3xTaUmU8kjkn18t8CYrjuRtlQUmeXEF31wuB4Tnd2EBhAr+VRuAg/FFHql9nc65+8vJuZOp8yDQX7FHZxt3Fbvmyd/5QHf/7RibuB6MbyWCG4ZBYskwWAX0A8ByHpzhiuCEiDAzpxX7s44yiPz7JBpWGe3MS1DJ9BFGS2zp+5SHY2Z6JfEhdLA70LilBsdd6Ynwx6F6x78MPvE3SIO1jIFrYBwB9qJDij+v2E6ChzsBBTIi7RMKeN1NrOpQzRPbAkswbCvc8p5QiISQzonFZYXULtmcO6Ze5olCxAQ2D2W544j5TsrKwsh6bM1wGZEPCiz3r9k++E6JqTCkvPo3U9zH6hLD6qDDnDAvyNqDJSjjChb+HzHnb07m2aFbYgapaDVf9dhNFn8/Rz/HR8jmKwHaKj9XT4OjTsarqh/lVs0Ix5dGE5772CFezmq6VgwlJ4jF2NtnXFkO1S20+rUNagQFPHLNPNxCT7x+zbLdj76hX1g9DKcHRzXEt0RdwUqe691QyQ5z+Nh39sZXjYHQrTX4Vt7d2acqdJiu6OGWrWBpnXNsDoMvZ7boTqI6dSjZD1w4/rR7FyLTrwtVc0SQ+cu1Ab36gITPhPoZJOgTV/KYsUai8ZddPRY6PLyPmhx2G2l0ZbUY3YUjl9rtI+vdg2gFdOgQBoBjir3KMsEIhIG9xTyzgX61A8R/9yEepjB/J5mmWTIFsgUI/9VjnbL0XUY+4wV8aspvOTNexYHynyN7XNilqTZhHJf+WwTRYvt4MkTEtXrAYgIwGWadLorVKae++UeDsbGTCbCBO95DPCYHnWFZ/1/ZSztojgkR6J3b78Mi9ZOgoJQVsfflnspToPM2n3XrPVhPedGOek7tXkGT9Og0EaFxP/9eVEi3mrm028w6EWq6R38O2xvXsCl5uYKACSZNFoxiNxdB19EEIDXdVCJWkP7M33zeRDaD7WzJsGyILCs+ZoWFt1YO6plkH3uF0Yc+UkemnTSop8VDs+VS2RmTQAK5TsaOW9cx9jXQHa16Q8Z8DOkb89Sq/uyzTDGi0LzMCVld4IDJJHilaDw4ddb8WY9IzI9GjDVgzgXUXEWdXeka/URQHbIy7OHX9scAhhzWAN3V4jHUbbWV/B3fvhWwRbVR3GIcxS8kFlPXfplZoKtZbUGJpQFNhkkkdcM26c1be2jTqC+ZYH4HTz1Aq0uFl2Ckdj7KkESqfqUgymO4o6mdpjXwULzaxtdgTx1BJJEiPJHKWoVqziHjp7u0Vy9gvVqyQq7paF2dwk45fwKaXyKRD3/WwuqA6ljisTgbXnEEwBB6Vp5CC1JvUf0l6Q3Jim2t6zABH7PPE0CRK2/3B5tOrTtbkzPGUCKEyXC6WKXK/rDxoYZpQIRC9HBTN9oV/VXBiPMkt3uo3bZFYluumfqwdx6540YVnbLVL/fpr4o70TIzJO8MqSEgRx1I5/89Mx5AvZoyK2dSNUJUGCKDuQ8KL/YZXYj7jhecYDdHltpT5a903xlvfzsmHXIMb0ggUCFtuk2ixwrohN7Xdwb+4hsUfr2RK+isgSnR1boz1/97KO0+Rb+w+M4Vpuxk4nP+IP9FeN9plPGNGcvfbuBpH7vTsA3e83tPocHTddH+smEFu20x/8fnctpKlxw6A1ms1D3fO8yof/CFZdhy7qYaB/3hPQtIW5Eu7fBGsQsWCLU2A0lgT39yxqwoLONPKYHqmzTN8rnPOe+UGCaXNlpwxYA1MaWEtkf0PBsPA0Bf+yyPj/+gB77bCE/ApHrg+QxE9hcpQdv7E7GTmzIg3P3wVOo+75ZhMmk4mirKYppJRO3w8Mg5A11FM9fmemXY/QNjyEHfQ8u8W0TEqtD/drz7KB6CLJHGmJAKidKFbiJhHKCpvlEj4UFc4spvNzP5KUUij0jAw0exQeczHhq/iQx68Kdi7zlz4CYsiROEd3tVIJH8i0lL5ze43mtPvJme03s8V/T9smqHhiKKcC2wUe0L+TnD9HBcWMN4Os9H6QxfXTJdrEc1nhDl/m5Qu+Lmuju/m7+w5HAVIVRX199qVPvqQ/2gJZWjom4GGxCWXanEC47l2N5syX7m731D+z1QyeiF/oBMktawelt5qBqfQXsW1YoN31In5woEuu+Fef82SMSK5+CRCaZkZFb1PhdGe4FkJmQKO6ToWxEu4+5YAc6920RyahJD7JVkNxurMKe3PJnYC50PU/NvBKwZR0tZKCBnX7oeFDbTPPaEmlNQoU6jLu1Ig69Oda1rhNO9R1IkZSqDpZCMNOIwrlNuoS91gd8jd0yTzYUGQ1ViOT0QV6rIE0EyQ+UTAQkkd+bPI9G29dduW8C4bzk6FJNSqcdAwQf9ODzhW4sm8NxkpofbRQKMvmuCVQn8pp3/I/EcjfooZ1Z8Dl+UXxYXF0FqVS99sHChyYvY82pafm13jqTGio6JoG7btgKs4wd25cKSSrZJsCUgzIfyLCANDy9iUMTKkWKb1cgFGmL2wffDRWdtm2OMulmsaUgR3WDPjLPyfRY+9LczAVxiuLC0x+hFNEbHeYBLmBNwPMu0A0iXRm+QpIX20qtVMXijKBLMJvRzFvfnK5WaYSZ91BMLtHNdiWYl8YC4sZEWldkXD8f6zT0HBq9tAOTP1TPiU189RQrzOlkCBxlUEarWrSRWCDC/oY5MIF1AOXlYQGrMnITkXjH+LmhzXIC5idW4DjiFN/KGsoiX4//ywjUoQuPgRukhap19oseHQ609wTQfPtPzpGhEE00FSu1A9fnEIh1gNJGD61gs+GbFHh+j9YiHftw4vWvw1lh3PzixtstHemDJTghMkOSU3a5mAl0cb7r6SLStfZ3fJD7z527ym9Dpyv3zZphidUrexmyjOV3MvpdRPFgH8eXPyVEsWOgGa5FiDy6zzy8bCfB/rpmNZeFbi77xsu6yRq20/JaDNynlNmCVAyGNs+YzF5Jbzh/NwTYc+M/XqV8vabRZp5mFQbEbunS9dmHem/yOp3xn2sVK87v0Mam7KOue230UrN8p6yEm1YshaoCyWxXVdjlaVOfZd3SslbtjY0gLx6sSt0TEK3AHfeA7B9yClum9mfZWEt+9z932TkjmP3bkcuF1HUplS45KAbfy85aMtNFK4YJApyIqP60YGo/nnP6Q6xANcMP/eubnb5A2cagbqIdc1Omm1qmLtYwt9uhAspPZt1BdUaHclLm+CG+VL3ocGI9NtosjfVPrA3CthhUfwN07uVYRQvNsdQkHtQNWZBHyCeYMDBGzkmUgqFCi+8xUrspyjfJOg+h1Zrqkh161aWIo9WEMtd6WC/v5lullnThpvMRnFPSYo8eWbgmqMJzXt+wMMiZJXTj5WmNPGEx7KoAGXcME1n6y/0EjykW/v4OlwWUSZER8LXlc83gpJMyQsPuCq+TeshLz9kHd+gcmxgAj/gXlOP0taf80T7UsjYIgwB8qc0s7j1ulUJo3Tto/yOZMx1z7VpsL50eqkCkvxdBusc93CfVnpm/EBrfSsHr88MHfPDvphQzfpcgLXepAyGwzrrB4C+zt3Qp/clV6C/89Jjr6JY7zzBBnB/VeMhyQ0QyWrGiKkwCo7d+VTjwM/VrZYg3D6Nw1jzYzSMyGrCDFERy3ZXJiqgWwgWG4cgct6eIi2aUGdxA8pCP22rSp183wyThuI2RifxlA420crsm4eAK60aS+2QaH463nksDUs1pWLch9nYJzK9lxP4mYwgIXiF/2sfPJE7/+dU9BVDNFCh+6CyN2LSWrh90IFXqzxNAIxLbLvUqT8lQUT20DZD6AWgZn2/31PPci0z50uOtqmzDSEnf2wlg12y2PXt3gFEUzsOTTJ5m2MwHBjUeBymdOEVzD66/9lIBQoyjhkuKw/WFwciqqcwP4GRnOsHOmczxI4QAmCRu+9l/k+u/9wfiQLlkFanO+X4i3JQV/TfsTBfW+ck+nc/e0IuCQs61kNDhtiQgnsL4+R+j5iRWcuGv+yqUCS2W55kMhtgwpyfLhejBksji50ecsXGOI05s5O2tLfT6zM3G2Xsvy2tiLTd6iulsa5pvgGrtrDCpQLyUvn2joPcvdRJjoBt9O9UzJbLoxEKushaAi4T4dFXJQX5/DQZ5FNYHaEU65Xx9Sz+0CVxTwzW7XBZOS3MgTceT4qHRV3kYDf/MC2+e55lztjnhqBqNDjDL9/Cvv8uo6hgDIz6V8YUTn5Nn4FCh5osTOAM0jiFY3a5Pv2M8esGZILqvzLGIrDaRXYnA5s/Vjgl/7ZyCNlL4jatJmzcSKCXF1Sci8cVZm+Fdy94BdO7ArUgbLjQWRMxY5hhMFrOtwFGZhVn0tahCaNP+XpAfoqEabrpxcPNlz6T9ODKZNQLcRJ1yJBT2kGNIDbgs/82sIsH5lVgPIi/QPXbhuBoBbCwjec9wWo2qgm+HazmCpc+hyrVlACoaMXLI4y2DrxD9+yHhzD5pewfLXmdTOAgAgILKM4DGWdEOiPbvgrGAmrvFQqgPU4VzpEehH+sjW4ySwZl7JSBsvwjZ4/m+pmkP+hDqxlPgdYJ1m9prckhCj6+W5nX0yQrX5C396qDH1miHWAdAl6b4s0UIlPEBLgRGPkGOwh61LETd34iNSMLQg6Hwb/7xNJerq7U6Go6DbHSnj66gZACG5iAHGsJF+hzRisPJHhaZgACPVxKZbkQDt9jvvmZ/uUzcXi79Z1+5yaNaglRGLKqMM+S4+M8v9xHKT+9dV1QBIWTCq0E9oVtzYigRqtdyczPBAcwMn93X66finohr+dHmkQpfA5u0E80m69BANslWbTKwvf9SlqDbkaCpj/V1BfUZwGEke+w0DuPBfsVaHcr+3VqdqqprMewAxnWYA40fHYtiJiPSII8g77wr1UO4OJyYaHXzrxHP0QFtS2k9dfTyh3ORhLY2Z+AM/9Z8XAsF38EBAvj3DQ4bXT/hGV3OglOKyWP1cYSDHCusJSoSmlgT8XRmFlEzFDj2fgiiRgnGwmsr7vJ1K+QRhhSKzmni1cQDwyiEE3D0IsxgZLoHQKYo6yekCVu3FxhDijxN971hfey8wjmEN6xO61pgaWTfj6abn12aZr/0uO/Aq7LstkfA3RIFpgKQ3NG3nuWbfTyuhQ/hdT3bO9jiM2AvyCQFpLyWPKeQFhkyOutk/yxqJHMcVkycNdm+Cbpb8hiG3w0h5iIz7opFM0fIdGgpH+wxXptKzHMTrhASGbjExvy88HXdAlz96Ns2MUaDhQ7RGvVonGiKPtPP+lQRFY5tK5bXIPJUN/CFxto5Lhoa6vDLgiEcOWN2G5K7ZrYrGe6SoJtgz5kBY2HgQF4kN2VloM1OaUVnQRgEMGhjX6ihagcFJBv5Gu95yP3YbWo9d6ANsfTkecQ0RCzaIZpvyfMcYe3Il7UjiunCY7gDriHKmqLY2uvvwEMvn4XRZDiJnDF0bggG5xbtTTzG+ZUqkTyWL9C8Py5PxurnnrhbcKxGw12Qq2xvwzbK1xG7j9JqWV8xk0T2rU95OgHPeauip9Vric9qj1l2Qo4nJqdwz8g018vFR3s6Jy+QUABQfCSo38iUNe6gWPTAY6jmWJ092wNWqoe9yZGJhdo8yQfZIJf8yIqaapVnZevlmIorY/hix+JoG7UAcLvmprVfmOjrH82XYOkc5qWzwhnN0mBCRbrMfUGlXHTgAysoNdZaK/vIW9ryfEBDve5j7mwBuL7YpzlUYJpn/wNtE4qc0qtZDwDHqxZNDiF4BzcKtvkaDfqzaCHDcKSHlOCTGmyBdTYO39RmnlQ2KOPr/0J5hI1LlwBymkzfv7P1Sx+dcr6D/bmA5qL+UWKPtfTw0noukPA2W942nCc/ITyeWqTSbAZsnFA7olH/LJNBWn0Pbj9vdzdU2n25E1g9LcaktaRjVYKHJ1DPZnfhjo/pT68htD/23aiBDgWJKkzVgG2jEhgtC2ABdoxuDPBTexkHrzjTQCysS2eVLVQ4tZURQxm4gKNAEum5eRM06ZtgGur7OtZWtPbF3TmzDSjIefkAK/WSG3cW8rJgIvWX/vbOtgt47L2ChGeIiPE858huuFpUwA4gDufl/0DDNGQxR7mxddzJSBrRnd1bvIYiWLkPwnaVUreIV+rXyH8dNv7QNND7v4U75bUyClxnaJjN/KQ2DLpwtUlR0nM2+By6KyCvh3Z7NOsUaWxc5PYecawFRaZ/0+kJbeDwRE3lKoKTEyjXOwoNmOtgCJqnQg1ckE5yuDcM+7as585y50aVAIIm+g4BOxU4RyWfe3Gob7bDwRp7+4lgXq12vIFtL7fPbcwt7vbhlYQLMY7XrOsd74lVx8UtQ6MEL55XbBzyjLayZJzKRd4f1ea0TaGIFHhcoLcyb7AIpNNmYdkRmRQBvXWebHgoRlPGkjXmhu/4xta91lDM321+fWyzEcDtaID77bKij6/jW01krFMRyJYujC5tgk74A5jirlZbhaoaE1TjYErQqOIIAvFEzPw2/XuJLhqTJpU4aI5uz+oL3CmE9n4aHxppvbKv+DYaJDmkafuqaa4q8Wes2j9oQoZHdjLMPZxbAakin+VapEz//ZT7jvVgU5IXe4YEtFI1uCPlyGAdsr6f0ntvfV37O8yKwYA3ww6lYJefPlgHE0cM2x3aSOE7Ertw4X7theDoY52fogJS0kIVFu8WJJFBU8Kg+KL2Ub8xSTDVUm7ns/hVkEM/8xXgdjQHDY2AYlNwGmMYYKvF2t5/LdwRAtZEuxMbnvhmCr2Rofeyz73ME2WR7P1MoHiZm988Zpy+NtV7IAX7lB3MkUQA0//SN/ZVOYRwT0+GF7fIB6hL30HGlfKKPiBuwXMxv+H0/xyuKa0SaLxppYBfP0TujusDRHEJrl9LJIy1KkzTaXa1w+zmeQHnqUqlzjOw2n3VAqMggKXlk12V+xZ8YuegDvAMuOMEiZcpjEZBZRP4jr+d/KVaVyGarHFKyvhvWhxyFFdxaA2uXAv1KMuGUsndXdB+Ft/eleqyC1YBgIBhKrscZNC+E/d6aNujg/3K0FfJvDZqQVdcJUlZqfqEA7/vOOV09U6BI/8kf03lu62CMnicERnXj7jXZpflHMVeJNeA/RXFPdln4zUL5HmdvhkKaOY5XDyt3Barn33ZAYybiMZ5xEzQ6KC2NmijLOxF9Y6cm+JNU45jrN0F+DoXIBklyU1Av0O4pAx9O+GiyIdc70O295xEbLzVmOBSmnJa9uInFdq98SvXF9H61dACG658odVLSk+TEaGk3S2SjecoI1RO6QDWewuHIbK2bFv+iWXm5kZVg82sV/VwFqAdeLlV6euLWscXajufylKT93WuTITIqWU1OezM0zdRPenU6Bp+4EU3InGDmozZ4cTwMA/oYMcTjSa5pp7Qw13U/K+hkANBUsOS6yhtfOgKce/2C80bQN5jSYOsuoOqAIRzR7cnGIcG1LZoL9yOnOa8s7BsFXOPBIjaF/zsh5/0PZhlhr3Ojvy2CFpk1AzqcxVNAQqYCTHc86Zf1X2CeIUyPerSV2aIQu+/4Be4tYZRPI9rlKXrORXLihTqiZgJnLda6T6xoadjScTYwtdGFezMqUdPtcd7XSk2LImIuliN9sZ6jlPiRYVsNaG/uxYAcLnlzqoMETHJzlS3Zz90/Blv/sXK5teSQ/S1cg4jV5/ybG/+SDOC2zT86vb4Q2jOQdcaq+FReQ48gffznsbX7MXb7rBjiOCkIzItbNsUBalngNUF6SJ7vHTzL2jnHZmpQAGK/fHp8O9J8LjF0HDyyz/d6rbXHmGosgemLxhga6zHN6i/mKR7B4JvFll+f0rhAzwzK1h9+ASjLJjhifwBziscPxJrWDvY6CXdXtx/BqAwti7W/qxvFH94dQRp3vUGuBn5vvqUj9Lvc6ryjUSQ0CtIqgQH+/rojnNhxw85/MrAFNk2FL9QXBy+6n0uwgjlWGic8unP6ZS6REOeeZvhWaj+L4M0f22UJ6zT+y8LYOEmVgxasnAS/d7/Ov/a8bQrI5BLgi5YZdVuJ65JEnVoP7/rLp2nVuZDxEgBfs9vbI9h7zOEcIs+xE0T1g6yFuDvVE/T1XZpMJE3t48S+5LnbIjNsmgltXntfYenQvQzg4LpZJ6C3hdyCKXx41V+cMiPqy6/wLqOKvMPM83KAk03eci7UDHKJXEss/jMVkFRbB9WDEB5camLHFBhmaYSdyqOdj5b77LXxapbWim02i7s8i5CExpVxEdO2m7gmCVv8qpKCa3nDUOx6XF5TXufLLRdtdRF9PjmcbKsIrR8Amm4Ync/O5IhjTwEOEkHoGARUqbjsN/GScFyyxVuJrpb74NAChGsWi3j4CvXmtA/v1OOALRx2pS4Um5gqvbLJ6CKw+kByV7CWm6eoJPEtXbUIX2u1hU5xXQGaejU4C7Ve0iMmK8wVgEmNlTBNBTwZWEKmPFh6b1aI1LZJwSfnlEddRWbWHBlUMCdlTd9O1DpLqhxQa/XVGOgQ9pElB16PwY/bQZsezkDXKtnFdKZSceweLoX1gOnxkau4LRxFE8auwLKDNKXKUwTTQWPU0d+kst3DjZrjNMgH51OcX+fGrtrJD9JCz4vDm4w5CYpPmMM5Ea8k8J3AKTK+DxuwKvzb7v79dfNwRq+F75wlt/fG6hGQLiBXqySHYVEcyUwCBqRd30o29u8oRZxiMTXDJWhb5VVY+pTpSIqxOfTFEDhR0awcU1HwHN1bz2cplgieiP5d0bAzzxKQTkb/aXpJm+KLX6xnYKHDvzBznJk2fAfqjZCM4P9C/sqT8gRcCxElG4j6iNaZJRCES6NercrMnE9Sv4DiJr6UBZ6YLO1fC8yDfmq/a5aTzpvL4dxL17p3nQwO4UhUYhPAJdrmz/yo0D9lx7r+gvLVg4+slIJq1C2ssExtDD1Fa8SJ9ueREY4fuFubiuC3yWwnwkEBrwfve+jA3dXKNWmu4ptrdkh0RquKNK58MTEcC8Tt+MAhA5yN221GON5eN1bOX8aljbD/I/BixqE/IPxSTwQA6W+Qg77UO2JmBMDkeTPvrDUHO7DoSQ27XitfAVbSfSo4sPkZlh1srd8iecE9fTa00ruufDo3TNNgceZOpypXKjg+zCBwnFzi87q/vRjqL0dxzSR1g+L8gVyJ7rOGLNjL/sDfDtM6A1hVs0Jpt178fEM6BXRlQayUZcJMrywzE0xET5YiGpOm4WSZK11uZ0Uu+udjkUhsZqKzFWo6d8bvTjT/0uOQOC2+EKlnXQADzA3M7yGaaffRgssXn7YXGknJcIyyPY8/8/Bs7tREbhOnxdjOjGN2dDAtPXhL9VzpZFq5MY8e5wd8aKJS/6lKtmVxodbAfzLV8t0UlB96clwYePWfDdnm50ZzIU0gU3aGjbEVlYS6tc0qaC3uNd8qingTxaK389C9u0Rgny7Z+qWz9RckY2Yb4sb8uOx+eEbY99AjPvB+P7JpTXVs55oXicxpdyTHXXiW42Nb7muTX9RpaUVqSmNXUhaB1MgZEfd4+ZRMmMU8n7KZMCjJVQ0eWG86KgrukELp4C+rC1O+brXYPmUqE3klc8WcI+u6g9/AfLbPL4WN79Afke3o+45AZnX3ukNYVpdSnxu71a56rq609cZZOSbmm7ZItnjDmVRDjtgUuTN7KG6Xf/e3MNpTl76Llk0IbbfTkZRXCT5qUCHJ110uH00EpFKHncMbglfq62oZFu0yIccBtXk4/L/++iGx7rxeceUoQeyDidBljWD8qRNpc9eJUu1wtMS0d4qw4dVT00kFTXjq1IDMmD3PHvwujwoWSAq624Af5R/fmnXn8rVrrYUNl6qVw7+ybEM5nYqh1+Jc5rNqihvRTrS7HPtE45z96hs/7c/TFh0tSIRh/leRwRdFfxaUu/N1vQ+mkTKmsbQ9BVnBuwDqcTYDxmJof2Xtx1Jo6WuxpJVjmzSrsl+mLmpH1fIn9j5BOh+kLc8zNQEhhoRCe2ZhdPsEBjwtjUl8/jUOiwMwwewbMgSiye5bVjCZ1ejGHbgvLZNFTmeReRDPlst6JNppN3vWZ6XrJtNo/Ubew5YdL0cqMK94nD24HS/xgCrmQjpPR+43kOy+ec/ijLutyUvhP2PrV5qjEWT23nSr8Zh+feFgrQ3O/4yad1gkhqA1pqKG40nDMdk+4yInnrHA7k+Mne0y7W95v+glF8DnvZvF/GZK4GTLQ1YEO2GZAvm8B2/NBYR8T/3io9UFyvfIO4dRPaPnWxRPk3q4xTburYq7IKlMqjF1mzcXhtWnrphisxA8YFYA030OqPCjJPbdVBhn9l/9QT+Na97WH4Ga5pIeUwusHgb8mgOPS7yd2+CdmFq2ZauFww4V7MWByB4KxWVKk5poFGymUpr8sSz61ZkVnTEu13m5gPfY0tFjTOoHbk0gWTnIJ8IuogJVQrCVX2ONnYpDL9bmJEJSC4Xp5UW5MEAWihCK3w5g+reX513bCSPY+oH8ptTSC2oUN8t3u3ZVMDEjNkfW62u/EgK139HNgVVJHAEB+7aXMjx9l+Bke6IZtC4RJ60lqbxx9MA9YBft/sg9VgMOaEWCEu5htay+xGIVmt+qKIkrzyGPlZVrqeiDSvoZaguVXFv9BSBpeuY/kMguzdFI/qZ68QbCBnTz/JFitlNhddL+nFF3DgGZzY5a454e385S60EU9XEmU5wVS+Cac5lneZu8D03lq2fNRz9llS09FOzMt1vdh2hR9+HfxSL+MxVF2e2ls4HFeJjrd6tkVGEaVOLzrtK3GZfIL69vSgGTzwxh8vX+hEvk//NZ/barRGeaGVrcwzr38tAJxJ+CtvW+ecIrFCtqyS46igz4pYnX89sYS1KoXkLUux7RSBJSaQvnVOPMyBzFTofvazUJc8FwvQBRQyzrUx9iIe/l/OKbWcrgwSk32jEFTMwBqVAhBUwwicrccuGjAVe2Xeu2xmy+LRt00IqYtvx1U8cfFf6nVxd6ps2PFfjrvEjXKDq1c9O0XYUv6p5d1P708hOPaura6JvIH2033ZXRRZna4nt/01UBUW7/q4ZQ8SsHRYnseavhjsQYrzap6MeEHHkAdpAGC1g8LZL2ApJ5ZwUv7yE5KTN9OqyF28VPslQnUmUnvsALVn2kKcChDpBVT+2vtBk8XiuMUM6tM7fY0zqP5SNdLa4iual6SykpsENtFkZnYn0l/BbY9ssYXtMyYf69mHb4RBe8tPQh8HtprcCAXfnGZCz5M62az0YLtizds04Yf2hS0L7D5qp+UnnS4Rmhv+hl2+KjJbV3rZKKRq9RnMnGvyYRKIl8pu1fmBmeMShjNdeRWh9hInYEaLpQokowpoo49AVlZVeMmt4PlVQV1MSKd8Tzf/MGqgcIZHyk+y4L9qNua5d6SrBn0h8w89iSOdaR2Zgk0byuDiZQxiYBfIDl2GbW+wM2OcZWgMMYorMQEhQzBlzm4B5S82NGzA6fDadxg9hx5Y6fuv1Xj8Ra0YPQYbP7DvzZsKdq7KNVpW3HpmumIMDogqKeyIMyzR479Yhx3ykRVCsmfpB7HGjephDu7HW3kLY+kJK/sjdiJYM9uHGGfzh9wee/ktqLQaybUIvBd2XjRfQmzrsDS72d0s1NCip3uWPDq7PpBVOVk+P/Im24Fd9Bp3438zxHG865+p+KQXhrDMlgHucWGaHXXKOTI07E8izeM7z/tVYWBSgTa93cTWZ0FEOu+wxmheJZoLtLmQwLtCDW/lKQDgvLuoeRVepME3JVx9I15nt14TxeBQNvyreod7WyWCS/DDM2zTssbSVyfsc9HBb9A0LEtxcLqVjqpESBpwtLkgQmOvm3sfs2QouASX/vNcOoHJAf1UZQHra9Dgn9730m0bCGFUnBOc18mMLJRh2EgsemI7Yax1Wqqt0xsf9zGBeuqP9RClOE31Q3Xlb2WruX4fW4b+7aciwm00P8LjNEZcdpef2ZjvNFGeUs1OA2MnRdxx6jtIZw8Avp1RQ5MvcQmdCAW+p0JUN0SK4HBTrj3bngO1cqAdfiomukzzC37XKlIQnB2WVtKFvpcF7zmQWuQsFJtcbO/MrlKx9m4u+mqfm2nQxhAK3bW9QpZhdHsnd7LAOntXVhg3wjJdZaBg5c/mbyoXI9USP846R4BgL+sxmEwnG7bdb5yT3RQWYTn8F4Tucmnl6ulwpphhdQUApJ0Sw2Cb+EWu6qarwbxlKqSIl6q/YR1pXJuzFc3UaFQ/nEuukSNgeaRjcWDBtrkFHRpQ+JSJn875bTVitg6J6m0LS5r1MpXrM+z5o1W73Jhar0eI0Lpu7EdKJa7mfN9atsTCKjWAW1kNfKKF54tAmj362Sfhp+i/nwQETgYPwPPx30v0DlxJEIXQb5dK0GpMyw/k5UD+RPEzB+QVxATwlz60eWQ0P9xNFw8XSckz1MOZc4v2BWlpHq8uIekLaqofQdTTp5mSuBsGeAN+yZUlZRl1yCzFyjRWKNB0CJCO1Mxegz63AkRcOcCddcWUU9J/XEzEWG/i79STsWf8Fb7ENn22VfynZuUcMGyeqIslSpFKtgXeWhumRm/qJocPbSjD4swvmvxlqZu8updi86SsxZZDJEZzTR3Z/N4GmrMaXuFlNkt4zydp6H+i1o3RXe2ehY9CQVe7WBdpPo+EktnTTfTYPNbp1q8bKIBxouCBAyA98S0T1gg9egns3i0LNrqdclnos4pmuC34Wy8DYuN4rwkte172lJdSWu5C6Wroj+eOg7VrE8cfsrTdNXNHhqbBtsc3Al2ZwXa8a0d+90FNVntkv8HxjYrg3Az5G/zukIr5YFTROgjOfmHeoGzNKhoSgBnsGpdXUiUVYaGSO6zSqnNPAQ7M/T56ZBEZZZilPNV6npaeqdHY+BFR5RAAfQ0kKZplTwGiBZ2OzSiMHs+mudgvacKYYV0gE0UXvDaNta1FlChSWqrbATTcJDC+J6/g11OSODC5V4G0kmATkhSZe+5lBGK4oE8DFWTDR96m9Pfm3m0X1JEFAhjG/uN1Hqc35aYZFdkR6bKclrjiEAwXUYpzW5yC/CjBBuh3fRRpxJYQB7rATEif9QIh55uCzAFeOrZs127xnCCAJ6F+NbcrGKRrqWTOFF3bAsKVIZFMsn24kJtkWrSUQOOvQ8HPNrLUD3XETq9lQEup4F9N44q6vb005vINoBjDZrV44bj9NAl2siQzEA3yA7O4sD7fzQVljXynm1oBlLSUXcayZhJJUy4UQXGh7hI4Xnv2NQp6hSpuM/hiLwP6qaA99JYECogUSHM5WFX+ew98Sr8WW9F/8/UbfiIvKWa2As5s1nInsFqOi2ZDgOOGJ0ziZnbt4lipJe/ozR2NduiS1FyipfFFDU3LcHhdqVzTmiH+1c6Fv7i799IlR6UL8zus+Kho0L6TgOWt7cSFahG32eqbrpAr1wWo090AE28yhEEtkOwSjhPkmBwlgxTy2Q54yIWQ9OUd2M614eRNq4qOfv5k2D8uGPl6L8xlJyEHg+6Sav160UPlFV70fefxF9xL5MuLJx2338tqkwiX7F+4OFVTb8VIU75QO/z74y09/gLm0823N6hqsVsWwEnHTCGRGE44XiVnCT7gwuq49pFIT6PfEA/1l3Wx4sf4xucnGK4UJ+muLeKUPG2GrxnxS5IXV6e/5ydSWe7Wkowbf6MDAS2shW9x4iz9VTHlykTHqy2ptPBOkSDMH5axOWgw2+Pi99/RjfKwwO69uSRgf+KC/VrYX6KDISraMiW0C7Q+lEnR4X+/je0o2mMtg4eUIlC/yTyE3GUG+AY+daB/HvK92EtjO1S3hNuBD2quKWsdLbHrdmvWXJBLMOVJXOXlPCG0UWE4gQ83qKnsU0ILF6Qmf1Rk9CVAxTd1x6/Ym83R21lF2MIcGKdLU6mAzl2vab27ea1U4iCPh/sai9qLRlEGDWvykNpv9uuOnc8XkhCHwnZtNWr9VRs7COBtPxYb8Ll8U1Dptnw/45odwaTb7utsAhsIU6dwDO/zsUJB89WF9PcKpT6UdfYuOsnRhGuafu8aRnr5jXxbRqgLwg24rHq4bbe6qvDcCMZWk5S7+HPUvccL8L+y7WzoEV8k84/kBiregH6VzOGoN4wO6LdeOJ47k0Hf4je7ORaG8KzgknN9jMZ42aGs+SpNXf+WVI6r+2KnA3WvgJMxAx9kM7WczP4kkMk0gLBjQrg07jtZvqDG3N+YvBoCY7m2xUeGkJpXwmkTNUgvVn9u8Yy+T6UyLUTXJZ44ZZHSWPTG4W4ZDvdgzH4DfJElo65Tk/Hfj47pA0de8NOdtnbI2FJGmOBdlv/PZ6nM4n++ruj/9q7yhS6NCU/PyMoiQyytstRdMm/+dFYEGbE4eWb/nAQHk+uRrq/2x8E+K+JiyOdxL8uBA31FkDxzzieRqXOhE7J+7MN9WKr/mnX8GX559QQqlW0Ig5fNmc5at95WEzuwFUso5aIoa9z5ccQhbiS3/dnQYHyGFMByMSOr8/kx6QqPd+Qn5dKau+cAdYfMdu1niyujGqJTlTivhvIzPCmZLC3B9tRkH3bUmSYmnZr874HT7mEVHf7lvkEdtdIkuqobw+F/MlORZQUf5uVVtQmUpKRPFHnpT3ebhxzaHbCv3Vv/Ymb3ERFA/uJEFBvyREHVRVpW0EA+XMvjBo3IYlK8vGxVwsn9D7IO/mxAs4ej4wSt6FiZz7kFUeNfQwH0yfxX1ZxD5YEL9vB8PQk7+6HRz5+bdkDlIT6fZjIyXSshQqfyQjPl5Vg+kTjE3dHOS60M4H+oFUYPW9uExsr4AnVAreQ3v6SwVtSrTYLtDcKOYkFctZ25zKdJDPqSkK4+UPbhTczK61PKm24Od6EMtICQfbTiwj+ezPuL4KG3aPs8gcIXrk6Gq5W21OBKchLRJ1I8HQ0Km+jM2U3HCMiOZHe8vEwIoBuBZu+R98260VH5ZAImO8a1uthGe+3mE5O6oVv5HHypSX7ZQ9ZQR5AJjXiy7fgX8UdBfqoY7KsJXX1SdUuX7nFZoVmJjGFJVR9yrr4sXYx5ag44KcrwXXuO7+PAXuhHkUjle1TRordccK7mWuz9DIBROavyOofj7zFUH0QLgF1NB6+ufS93UllfLeg1M4b0M8Fa5X0ZRdCnS8HStqrFkcWBdSl1an6SgPSMQoxPBI/Qin4EOfmDBkbeoDjtPou11SH12KgN7jTgQ0OLoRetBkIVM964fQT542ENwXhyPOFT2fPTMA3bAsRjyyyrlTAmEdcZbQfpgunWMJ17bneVF3LILACPFPRpYaHxHvAdOpkl+Z9oYDb+dWCj8yzP6fT2PGBxL3zf/Bksx/eD1JyzC3EKjXyKvvz2enxwvJ3AHuEiHpjeRpKlJRCWuVqEuLsl+ZT0hkO76id/mlqUblgRrPmgsjAxoi+HzJckX4WqsXnDFoGEcTTNRttgjyN7FbRrP69j0/xqSFIppEXGhfaazm83PxkaRQ9hiLglfh0Rei2iTzIK78YEubNCOH19j5RriEYCv8xGJSwpDZ1LiafLpmhnCzxxQJ/Mv/O4yyIL/TvAjNrfcI9a9diWuUWgbg1nG7/QoXmZBj02+qFWyki8Ns9WnZUoRVtLpvOQM40IiHhU9MYc1ufYtHSd9EFg27LBJ6epzTo9Ahcoq4oZh2ioLoSoj2KaXmUZyonqA2a1gxrTZfr6UoZROmnkMqq/fr0NsBBudWhFBLN2Usxd3wOUzt7xRU7SP72XCpCu3FQC9JwOOAOxcYrSXz56fiyTb0cV/qPHtuJ3LwZY2krF+kJb5mFTd+ogM+IO2QdNAsYwAumRJ+WBdxiEMjJv0SGg6XNpv1THGgXfsBbr91ub7Uu4Ko9s4YCR3fXIQl7b/Ydcl1WibGtVkytqXH8VltmkVAk4AbMcyX4pXMxWh2yjP+BkaKuOSfoMUlUgBaVSWiVpM0LqR7bUdlv4cWtIxBco0mNpVDC9uOLPz5poU57kCSqf8YI/qI0LXgieyPYhqDcMmgO/fGkuzC0538IbuZVWqzP8Rkk3fsY4RNCqMCdOLZMEP2DbyRBWfo6rfRcsiDY9fUAJVzEgrah8kLiWP8yNEXCP6oV48+z7OBSp/H9ITYJhfXGzyKtGxH9chxCU9JiGnsKRq7CiHsHyjlMJv/m3xv66tXdUs4X3HQqemqf5RovtX9yghiWa3SopsiA7eHlwUjFo474Khd3PeN2nucxkJSa6pH25Z86Uq64aLtq2QQX8UrcqbHOW+9r9o+2oNAqkp9rhmvws9ORKPWIX76VAikShNYPyYAn0/YQOtS+BMc+cfGJ5lVI2Kl0G10HMM2pQuwFPJlYEKwVGtjlUzQk//RbE+w2j3ZdFjeISEJeGjsdkqO1axMEI7q0CoKWhdxnQk/xIRLYpB5r/yPzvgLRDeNjfR9vaNXKvmsOxT2OojMh/V4UN2bDWpv0HnyoaioHZmvuO1Ipxq4laoRu0SkcDOtFEYUFvd7pkwfL/S9jc+TNPngZ8TsM/j0OaIjkzOPNl3TEWZ98eh6D3bxA5D2VA/3mhVNwyc9olXmTEROt78CucRH0GWyjNBIeIsuq1uehpAa1HPhtSveT5JaUNvi147+YrGie3jGy4nTWqD7Qex+nmsaSW1BulTPvl+ariXK9e2GcIEOikqQhsfaqUt24ZQhIvwkwHYJIqmZpYaA670ihovZ446Q3AdWnhrs14Oku7dpFnFtoXlziIcdu2R+JD3izv88d8Ii7MTQqbpAT/ZO0T9N05O5FL+LaEL/tjw2lusEI4s7Lv4pNSf9AJKTkYT2bLj1Aq25z2j0FXRygIn6XTrejXNV9QWkcU3zSC3y/PwgZB6ZIKNN5aT5+H5/jlHzDXigsLvVrmj4WKdG2GBnNGbxmvQmCTURpBPdsNvKmObMvWHPd36kp0BsAfdapd3MF+ogA6X2H/6X0snqaxS8P8KvNs6nmIo8O+D4s5NruqFZjHbIDJ120mgKlGy1TaW5WMj2a9vdg6oEg1x3zTljjJ9xu5xKUQ4KkYa7iobIjVoUKx5Hs6PuaYl6vAhmATjBSOqWlG9S8bv8n3l64lE7B41y5/3tQkbj1Iv5R+RibAu1T4SgfWgFEfM0rQbEjk9CbdNd+h1sVwK7Pw6WiiJzGsupKDC2PX7WfzLdHezc+OYzPBH4cOCEGXn/3Y/Iujmxw6tuZXJUDowuQWurULjy3NoFCHfH/mI5/3+U/TOuVFj0cgUSd7RFbvNtpCNLzdeOYm2bLr9fMfqCIE4J2UQ7XXQHee6LoVw05TEjgynj4G1qFAmWBm4jhx+8XW327TNdRzZ6nNXZjCJgnV+d4VKyVY768dBluLC3Z0gFLHGChLn6yzGLaZ7bSxtgNh9uoX8bbHhkfArIVezVhjTH9ytjqdrW+fRFHTfPSVUFIv+QczxzExTCy1L4Mrm01ktHQs82Ws1OW7exrNxpbteaZiMHjA/QGc5m7mYS0ARRDm5VghJ2mY99P/2Rhvap8Fvoyx70+AXy6FN8PCMaQAk7jKS54ewadVZSFkDzxtTJr+jrd5OkjX0Orj5F0gfwKHi7BK+J1JiBgfsunzElX0Iw9G0Gaj2gZeGGhcXyvI1U+FL6GFaf39eAgusnvZgt9H9RyFHf8NvmYvhM22lBZX6199cAGLH9BVSjtKeyd3TkSW4W4Nr5evsDrLcKSOv4rAdvttWjfekI3awiJPTkW4Se6xcK+slsHwoselIUjHyATavlW8XEDVOJgQMXctKwBdM8lPvaNGfgrikb2abeybc++bDtyIshBrWQxjefpzJeGltSDQPvpLFQwZy+tHIeaRj9ON+SMq1544LKacLQEJ0f2COEFRiWXlTZ4biSwk1pNBkEBMyavUXar9B4L7c3M/QIudy1pckIiHFS4neoTSPIrK4AHoCux8Aq3XUgghFZICtEUqNCep/s8OhwJ4ZdqBzmdEXpRJykA+CTN6C2UONtakxOft5N3BKG4E/qwgH85v3KVYH+jUZ5uEEPzhPJ37RWEdRjix3EgwDTzNCQltxKuleHy4A7ZgtfOurc2/zDv2insQk0y0yejgwtSQHlKcTmFoQlhJO94kN5i22YrRE4sYEgAeozQrqDX87WErzFRhvhNLYHutDqch08Dc2ylCdGpe/zpHHntxOpDZ2wndVtgy2Ly/OmllMsNNAc82ljxkJk1tLrjfy6pkHue1aQq11snUcZudiZp/n75/ff1FOUhS+clBT6W/ZcMvbOpWd90W8Epu/x1yyeEA1x8sIvffqUmqBsY4ezsIx2qalhfBvPKo0cG+YNjC4nG6FynX0DnYCMYbSz0rfHrZ3Cqm/H56koNr0AXAFhp0+VOhcsBq5mTA02acRhkbh77frAKwz3JgD5UO8Otom5lxy1" title="Mekko Graphics Chart">
            <a:extLst>
              <a:ext uri="{FF2B5EF4-FFF2-40B4-BE49-F238E27FC236}">
                <a16:creationId xmlns:a16="http://schemas.microsoft.com/office/drawing/2014/main" id="{A06D13DC-5395-5C05-1A06-861DDA7F4148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6032326" y="1843743"/>
            <a:ext cx="2848046" cy="4486387"/>
          </a:xfrm>
          <a:prstGeom prst="rect">
            <a:avLst/>
          </a:prstGeom>
          <a:blipFill>
            <a:blip r:embed="rId21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grpSp>
        <p:nvGrpSpPr>
          <p:cNvPr id="80" name="btfpColumnIndicatorGroup2">
            <a:extLst>
              <a:ext uri="{FF2B5EF4-FFF2-40B4-BE49-F238E27FC236}">
                <a16:creationId xmlns:a16="http://schemas.microsoft.com/office/drawing/2014/main" id="{4A01CFA3-E117-01E8-120D-EC7B1A751541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78" name="btfpColumnGapBlocker991182">
              <a:extLst>
                <a:ext uri="{FF2B5EF4-FFF2-40B4-BE49-F238E27FC236}">
                  <a16:creationId xmlns:a16="http://schemas.microsoft.com/office/drawing/2014/main" id="{1F8AA950-AEEE-A337-74A9-C8569C63AB94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76" name="btfpColumnGapBlocker400886">
              <a:extLst>
                <a:ext uri="{FF2B5EF4-FFF2-40B4-BE49-F238E27FC236}">
                  <a16:creationId xmlns:a16="http://schemas.microsoft.com/office/drawing/2014/main" id="{6E96FEAC-B901-93EB-D363-4F175C29BC99}"/>
                </a:ext>
              </a:extLst>
            </p:cNvPr>
            <p:cNvSpPr/>
            <p:nvPr/>
          </p:nvSpPr>
          <p:spPr bwMode="gray">
            <a:xfrm>
              <a:off x="884376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4" name="btfpColumnIndicator903582">
              <a:extLst>
                <a:ext uri="{FF2B5EF4-FFF2-40B4-BE49-F238E27FC236}">
                  <a16:creationId xmlns:a16="http://schemas.microsoft.com/office/drawing/2014/main" id="{F8215C73-9982-16DD-C8C6-06B6079960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btfpColumnIndicator158560">
              <a:extLst>
                <a:ext uri="{FF2B5EF4-FFF2-40B4-BE49-F238E27FC236}">
                  <a16:creationId xmlns:a16="http://schemas.microsoft.com/office/drawing/2014/main" id="{52E2171E-8952-4848-9A64-54DF0083E7F0}"/>
                </a:ext>
              </a:extLst>
            </p:cNvPr>
            <p:cNvCxnSpPr/>
            <p:nvPr/>
          </p:nvCxnSpPr>
          <p:spPr bwMode="gray">
            <a:xfrm flipV="1">
              <a:off x="938430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btfpColumnGapBlocker187548">
              <a:extLst>
                <a:ext uri="{FF2B5EF4-FFF2-40B4-BE49-F238E27FC236}">
                  <a16:creationId xmlns:a16="http://schemas.microsoft.com/office/drawing/2014/main" id="{4C2FA6C1-BA33-7C4D-C870-8FCEF4330BEC}"/>
                </a:ext>
              </a:extLst>
            </p:cNvPr>
            <p:cNvSpPr/>
            <p:nvPr/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8" name="btfpColumnIndicator435161">
              <a:extLst>
                <a:ext uri="{FF2B5EF4-FFF2-40B4-BE49-F238E27FC236}">
                  <a16:creationId xmlns:a16="http://schemas.microsoft.com/office/drawing/2014/main" id="{B18861CE-E156-FD5D-E664-868FBC3A0FC2}"/>
                </a:ext>
              </a:extLst>
            </p:cNvPr>
            <p:cNvCxnSpPr/>
            <p:nvPr/>
          </p:nvCxnSpPr>
          <p:spPr bwMode="gray">
            <a:xfrm flipV="1">
              <a:off x="884376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btfpColumnIndicator923480">
              <a:extLst>
                <a:ext uri="{FF2B5EF4-FFF2-40B4-BE49-F238E27FC236}">
                  <a16:creationId xmlns:a16="http://schemas.microsoft.com/office/drawing/2014/main" id="{B7E33492-6BB1-2151-9CC4-C44C61B98829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btfpColumnGapBlocker393847">
              <a:extLst>
                <a:ext uri="{FF2B5EF4-FFF2-40B4-BE49-F238E27FC236}">
                  <a16:creationId xmlns:a16="http://schemas.microsoft.com/office/drawing/2014/main" id="{BA7B4742-4F32-1BD1-BB6C-696C70B7615D}"/>
                </a:ext>
              </a:extLst>
            </p:cNvPr>
            <p:cNvSpPr/>
            <p:nvPr/>
          </p:nvSpPr>
          <p:spPr bwMode="gray">
            <a:xfrm>
              <a:off x="280769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2" name="btfpColumnIndicator890054">
              <a:extLst>
                <a:ext uri="{FF2B5EF4-FFF2-40B4-BE49-F238E27FC236}">
                  <a16:creationId xmlns:a16="http://schemas.microsoft.com/office/drawing/2014/main" id="{5F3B8D14-3F96-6256-EF68-156DEC8810C3}"/>
                </a:ext>
              </a:extLst>
            </p:cNvPr>
            <p:cNvCxnSpPr/>
            <p:nvPr/>
          </p:nvCxnSpPr>
          <p:spPr bwMode="gray">
            <a:xfrm flipV="1">
              <a:off x="582572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btfpColumnIndicator120930">
              <a:extLst>
                <a:ext uri="{FF2B5EF4-FFF2-40B4-BE49-F238E27FC236}">
                  <a16:creationId xmlns:a16="http://schemas.microsoft.com/office/drawing/2014/main" id="{A6613AA5-F9F8-D318-BDA1-A643EB676254}"/>
                </a:ext>
              </a:extLst>
            </p:cNvPr>
            <p:cNvCxnSpPr/>
            <p:nvPr/>
          </p:nvCxnSpPr>
          <p:spPr bwMode="gray">
            <a:xfrm flipV="1">
              <a:off x="334823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btfpColumnGapBlocker495658">
              <a:extLst>
                <a:ext uri="{FF2B5EF4-FFF2-40B4-BE49-F238E27FC236}">
                  <a16:creationId xmlns:a16="http://schemas.microsoft.com/office/drawing/2014/main" id="{BA321074-C624-D922-55A3-C8D3476CC557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1" name="btfpColumnIndicator961198">
              <a:extLst>
                <a:ext uri="{FF2B5EF4-FFF2-40B4-BE49-F238E27FC236}">
                  <a16:creationId xmlns:a16="http://schemas.microsoft.com/office/drawing/2014/main" id="{A472F4F0-6302-C789-51CA-482C5C7BE339}"/>
                </a:ext>
              </a:extLst>
            </p:cNvPr>
            <p:cNvCxnSpPr/>
            <p:nvPr/>
          </p:nvCxnSpPr>
          <p:spPr bwMode="gray">
            <a:xfrm flipV="1">
              <a:off x="280769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341107">
              <a:extLst>
                <a:ext uri="{FF2B5EF4-FFF2-40B4-BE49-F238E27FC236}">
                  <a16:creationId xmlns:a16="http://schemas.microsoft.com/office/drawing/2014/main" id="{62F6B72D-4863-2588-9DCF-EB9146798392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9" name="btfpColumnIndicatorGroup1">
            <a:extLst>
              <a:ext uri="{FF2B5EF4-FFF2-40B4-BE49-F238E27FC236}">
                <a16:creationId xmlns:a16="http://schemas.microsoft.com/office/drawing/2014/main" id="{394BA34C-3378-1E67-4400-C1934CC9CE3C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77" name="btfpColumnGapBlocker986949">
              <a:extLst>
                <a:ext uri="{FF2B5EF4-FFF2-40B4-BE49-F238E27FC236}">
                  <a16:creationId xmlns:a16="http://schemas.microsoft.com/office/drawing/2014/main" id="{05F0FE87-DDE7-408E-DA8B-10D070551B65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75" name="btfpColumnGapBlocker499628">
              <a:extLst>
                <a:ext uri="{FF2B5EF4-FFF2-40B4-BE49-F238E27FC236}">
                  <a16:creationId xmlns:a16="http://schemas.microsoft.com/office/drawing/2014/main" id="{8210A889-83D8-7BD3-97D0-3ED16FCCEF0E}"/>
                </a:ext>
              </a:extLst>
            </p:cNvPr>
            <p:cNvSpPr/>
            <p:nvPr/>
          </p:nvSpPr>
          <p:spPr bwMode="gray">
            <a:xfrm>
              <a:off x="884376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3" name="btfpColumnIndicator517852">
              <a:extLst>
                <a:ext uri="{FF2B5EF4-FFF2-40B4-BE49-F238E27FC236}">
                  <a16:creationId xmlns:a16="http://schemas.microsoft.com/office/drawing/2014/main" id="{C37AE752-AD86-D747-F668-93BFF655A8FA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btfpColumnIndicator443080">
              <a:extLst>
                <a:ext uri="{FF2B5EF4-FFF2-40B4-BE49-F238E27FC236}">
                  <a16:creationId xmlns:a16="http://schemas.microsoft.com/office/drawing/2014/main" id="{C4782F94-52DA-161F-3238-AB720BF049A5}"/>
                </a:ext>
              </a:extLst>
            </p:cNvPr>
            <p:cNvCxnSpPr/>
            <p:nvPr/>
          </p:nvCxnSpPr>
          <p:spPr bwMode="gray">
            <a:xfrm flipV="1">
              <a:off x="938430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btfpColumnGapBlocker600619">
              <a:extLst>
                <a:ext uri="{FF2B5EF4-FFF2-40B4-BE49-F238E27FC236}">
                  <a16:creationId xmlns:a16="http://schemas.microsoft.com/office/drawing/2014/main" id="{CB50720C-4A55-D497-9EEF-5DA3DA3DBCD1}"/>
                </a:ext>
              </a:extLst>
            </p:cNvPr>
            <p:cNvSpPr/>
            <p:nvPr/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7" name="btfpColumnIndicator704949">
              <a:extLst>
                <a:ext uri="{FF2B5EF4-FFF2-40B4-BE49-F238E27FC236}">
                  <a16:creationId xmlns:a16="http://schemas.microsoft.com/office/drawing/2014/main" id="{1BF94D32-8740-AE67-2EE1-EAD581C2A884}"/>
                </a:ext>
              </a:extLst>
            </p:cNvPr>
            <p:cNvCxnSpPr/>
            <p:nvPr/>
          </p:nvCxnSpPr>
          <p:spPr bwMode="gray">
            <a:xfrm flipV="1">
              <a:off x="884376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btfpColumnIndicator760726">
              <a:extLst>
                <a:ext uri="{FF2B5EF4-FFF2-40B4-BE49-F238E27FC236}">
                  <a16:creationId xmlns:a16="http://schemas.microsoft.com/office/drawing/2014/main" id="{F91DE9D4-DD7D-63B5-AF7D-4273CEC217D0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btfpColumnGapBlocker826245">
              <a:extLst>
                <a:ext uri="{FF2B5EF4-FFF2-40B4-BE49-F238E27FC236}">
                  <a16:creationId xmlns:a16="http://schemas.microsoft.com/office/drawing/2014/main" id="{E6CD1219-BABF-001D-0B0A-ED9AB01C2325}"/>
                </a:ext>
              </a:extLst>
            </p:cNvPr>
            <p:cNvSpPr/>
            <p:nvPr/>
          </p:nvSpPr>
          <p:spPr bwMode="gray">
            <a:xfrm>
              <a:off x="280769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1" name="btfpColumnIndicator855029">
              <a:extLst>
                <a:ext uri="{FF2B5EF4-FFF2-40B4-BE49-F238E27FC236}">
                  <a16:creationId xmlns:a16="http://schemas.microsoft.com/office/drawing/2014/main" id="{7D33A243-4800-9EBE-F1FE-3C1B3B7878B8}"/>
                </a:ext>
              </a:extLst>
            </p:cNvPr>
            <p:cNvCxnSpPr/>
            <p:nvPr/>
          </p:nvCxnSpPr>
          <p:spPr bwMode="gray">
            <a:xfrm flipV="1">
              <a:off x="582572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btfpColumnIndicator706034">
              <a:extLst>
                <a:ext uri="{FF2B5EF4-FFF2-40B4-BE49-F238E27FC236}">
                  <a16:creationId xmlns:a16="http://schemas.microsoft.com/office/drawing/2014/main" id="{ED91AD87-F2F6-6F8A-5799-7B0B6632A76D}"/>
                </a:ext>
              </a:extLst>
            </p:cNvPr>
            <p:cNvCxnSpPr/>
            <p:nvPr/>
          </p:nvCxnSpPr>
          <p:spPr bwMode="gray">
            <a:xfrm flipV="1">
              <a:off x="334823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btfpColumnGapBlocker295097">
              <a:extLst>
                <a:ext uri="{FF2B5EF4-FFF2-40B4-BE49-F238E27FC236}">
                  <a16:creationId xmlns:a16="http://schemas.microsoft.com/office/drawing/2014/main" id="{57826110-507E-F760-74C9-5A67BFC859A5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0" name="btfpColumnIndicator238456">
              <a:extLst>
                <a:ext uri="{FF2B5EF4-FFF2-40B4-BE49-F238E27FC236}">
                  <a16:creationId xmlns:a16="http://schemas.microsoft.com/office/drawing/2014/main" id="{6F578923-AD66-8DD0-C4FC-C43D3DB33ADB}"/>
                </a:ext>
              </a:extLst>
            </p:cNvPr>
            <p:cNvCxnSpPr/>
            <p:nvPr/>
          </p:nvCxnSpPr>
          <p:spPr bwMode="gray">
            <a:xfrm flipV="1">
              <a:off x="280769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107083">
              <a:extLst>
                <a:ext uri="{FF2B5EF4-FFF2-40B4-BE49-F238E27FC236}">
                  <a16:creationId xmlns:a16="http://schemas.microsoft.com/office/drawing/2014/main" id="{F69C5CD4-E3B4-063E-E80B-F0CBF1256EA3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F6ADACD-6925-4DE8-A425-F595D8D8D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4" y="1"/>
            <a:ext cx="11542516" cy="876687"/>
          </a:xfrm>
        </p:spPr>
        <p:txBody>
          <a:bodyPr vert="horz"/>
          <a:lstStyle/>
          <a:p>
            <a:r>
              <a:rPr lang="en-US" altLang="en-US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M: </a:t>
            </a:r>
            <a:r>
              <a:rPr lang="en-US" altLang="en-US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ope for US pavement to invest in a well-optimized mix of keywords, keeping CPCs in check</a:t>
            </a:r>
            <a:endParaRPr lang="en-US"/>
          </a:p>
        </p:txBody>
      </p:sp>
      <p:grpSp>
        <p:nvGrpSpPr>
          <p:cNvPr id="87" name="btfpColumnHeaderBox799102">
            <a:extLst>
              <a:ext uri="{FF2B5EF4-FFF2-40B4-BE49-F238E27FC236}">
                <a16:creationId xmlns:a16="http://schemas.microsoft.com/office/drawing/2014/main" id="{37944D3A-D0FB-4260-B0FE-5546755A84BD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6112458" y="1430062"/>
            <a:ext cx="2754465" cy="290707"/>
            <a:chOff x="6366272" y="649222"/>
            <a:chExt cx="2477492" cy="290707"/>
          </a:xfrm>
        </p:grpSpPr>
        <p:sp>
          <p:nvSpPr>
            <p:cNvPr id="88" name="btfpColumnHeaderBoxText799102">
              <a:extLst>
                <a:ext uri="{FF2B5EF4-FFF2-40B4-BE49-F238E27FC236}">
                  <a16:creationId xmlns:a16="http://schemas.microsoft.com/office/drawing/2014/main" id="{0976A5A0-BC2A-43E0-8F3B-F900EF5EE673}"/>
                </a:ext>
              </a:extLst>
            </p:cNvPr>
            <p:cNvSpPr txBox="1"/>
            <p:nvPr/>
          </p:nvSpPr>
          <p:spPr bwMode="gray">
            <a:xfrm>
              <a:off x="6366272" y="649222"/>
              <a:ext cx="2477492" cy="28543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>
                  <a:solidFill>
                    <a:srgbClr val="000000"/>
                  </a:solidFill>
                </a:rPr>
                <a:t>Cost-per-click</a:t>
              </a:r>
            </a:p>
          </p:txBody>
        </p:sp>
        <p:cxnSp>
          <p:nvCxnSpPr>
            <p:cNvPr id="89" name="btfpColumnHeaderBoxLine799102">
              <a:extLst>
                <a:ext uri="{FF2B5EF4-FFF2-40B4-BE49-F238E27FC236}">
                  <a16:creationId xmlns:a16="http://schemas.microsoft.com/office/drawing/2014/main" id="{CF0A5775-896B-4BF4-8080-93629103023E}"/>
                </a:ext>
              </a:extLst>
            </p:cNvPr>
            <p:cNvCxnSpPr/>
            <p:nvPr/>
          </p:nvCxnSpPr>
          <p:spPr bwMode="gray">
            <a:xfrm>
              <a:off x="6366272" y="939929"/>
              <a:ext cx="2477492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0" name="btfpColumnHeaderBox187732">
            <a:extLst>
              <a:ext uri="{FF2B5EF4-FFF2-40B4-BE49-F238E27FC236}">
                <a16:creationId xmlns:a16="http://schemas.microsoft.com/office/drawing/2014/main" id="{F74AAA13-44AF-429D-A093-94ABDB51B702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3221329" y="1440829"/>
            <a:ext cx="2600136" cy="290707"/>
            <a:chOff x="3348236" y="1143902"/>
            <a:chExt cx="2477492" cy="290707"/>
          </a:xfrm>
        </p:grpSpPr>
        <p:sp>
          <p:nvSpPr>
            <p:cNvPr id="91" name="btfpColumnHeaderBoxText187732">
              <a:extLst>
                <a:ext uri="{FF2B5EF4-FFF2-40B4-BE49-F238E27FC236}">
                  <a16:creationId xmlns:a16="http://schemas.microsoft.com/office/drawing/2014/main" id="{AD760BB7-75C4-47F2-9556-EA23C9BAC30D}"/>
                </a:ext>
              </a:extLst>
            </p:cNvPr>
            <p:cNvSpPr txBox="1"/>
            <p:nvPr/>
          </p:nvSpPr>
          <p:spPr bwMode="gray">
            <a:xfrm>
              <a:off x="3348236" y="1143902"/>
              <a:ext cx="2477492" cy="28543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>
                  <a:solidFill>
                    <a:srgbClr val="000000"/>
                  </a:solidFill>
                </a:rPr>
                <a:t>Branded v unbranded traffic</a:t>
              </a:r>
            </a:p>
          </p:txBody>
        </p:sp>
        <p:cxnSp>
          <p:nvCxnSpPr>
            <p:cNvPr id="92" name="btfpColumnHeaderBoxLine187732">
              <a:extLst>
                <a:ext uri="{FF2B5EF4-FFF2-40B4-BE49-F238E27FC236}">
                  <a16:creationId xmlns:a16="http://schemas.microsoft.com/office/drawing/2014/main" id="{D68545E9-15A3-492D-BC03-A1A2CC4D3CEE}"/>
                </a:ext>
              </a:extLst>
            </p:cNvPr>
            <p:cNvCxnSpPr/>
            <p:nvPr/>
          </p:nvCxnSpPr>
          <p:spPr bwMode="gray">
            <a:xfrm>
              <a:off x="3348236" y="1434609"/>
              <a:ext cx="2477492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3" name="btfpColumnHeaderBox793910">
            <a:extLst>
              <a:ext uri="{FF2B5EF4-FFF2-40B4-BE49-F238E27FC236}">
                <a16:creationId xmlns:a16="http://schemas.microsoft.com/office/drawing/2014/main" id="{9C071DEB-260B-4978-9901-0344EF78EBC7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323857" y="1444677"/>
            <a:ext cx="2600136" cy="290707"/>
            <a:chOff x="330200" y="1105266"/>
            <a:chExt cx="2477492" cy="290707"/>
          </a:xfrm>
        </p:grpSpPr>
        <p:sp>
          <p:nvSpPr>
            <p:cNvPr id="94" name="btfpColumnHeaderBoxText793910">
              <a:extLst>
                <a:ext uri="{FF2B5EF4-FFF2-40B4-BE49-F238E27FC236}">
                  <a16:creationId xmlns:a16="http://schemas.microsoft.com/office/drawing/2014/main" id="{6BA055DD-F0F6-4118-9EDD-6418B32C2F2B}"/>
                </a:ext>
              </a:extLst>
            </p:cNvPr>
            <p:cNvSpPr txBox="1"/>
            <p:nvPr/>
          </p:nvSpPr>
          <p:spPr bwMode="gray">
            <a:xfrm>
              <a:off x="330200" y="1105266"/>
              <a:ext cx="2477492" cy="28543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>
                  <a:solidFill>
                    <a:srgbClr val="000000"/>
                  </a:solidFill>
                </a:rPr>
                <a:t>Branded v unbranded spend</a:t>
              </a:r>
            </a:p>
          </p:txBody>
        </p:sp>
        <p:cxnSp>
          <p:nvCxnSpPr>
            <p:cNvPr id="95" name="btfpColumnHeaderBoxLine793910">
              <a:extLst>
                <a:ext uri="{FF2B5EF4-FFF2-40B4-BE49-F238E27FC236}">
                  <a16:creationId xmlns:a16="http://schemas.microsoft.com/office/drawing/2014/main" id="{BEF7AFEE-119D-4FC1-941B-E14C7676156E}"/>
                </a:ext>
              </a:extLst>
            </p:cNvPr>
            <p:cNvCxnSpPr/>
            <p:nvPr/>
          </p:nvCxnSpPr>
          <p:spPr bwMode="gray">
            <a:xfrm>
              <a:off x="330200" y="1395973"/>
              <a:ext cx="2477492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0" name="btfpBulletedList109036">
            <a:extLst>
              <a:ext uri="{FF2B5EF4-FFF2-40B4-BE49-F238E27FC236}">
                <a16:creationId xmlns:a16="http://schemas.microsoft.com/office/drawing/2014/main" id="{EC95FC76-5D4D-4D3F-9AE3-50886479B8E7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9123015" y="1880341"/>
            <a:ext cx="2754465" cy="2688804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r>
              <a:rPr lang="en-US" sz="1100" b="1">
                <a:solidFill>
                  <a:srgbClr val="000000"/>
                </a:solidFill>
                <a:latin typeface="+mj-lt"/>
              </a:rPr>
              <a:t>US Pavement spends only on unbranded terms </a:t>
            </a:r>
            <a:r>
              <a:rPr lang="en-US" sz="1100">
                <a:solidFill>
                  <a:srgbClr val="000000"/>
                </a:solidFill>
                <a:latin typeface="+mj-lt"/>
              </a:rPr>
              <a:t>and generates ~99% traffic via unbranded, similar to Rose Paving </a:t>
            </a:r>
          </a:p>
          <a:p>
            <a:pPr lvl="1"/>
            <a:r>
              <a:rPr lang="en-GB" sz="900"/>
              <a:t>Investment in unbranded terms helps in increasing brand discoverability among potential consumers who are unaware of the brand and attract incremental traffic to website</a:t>
            </a:r>
            <a:endParaRPr lang="en-US" sz="900">
              <a:solidFill>
                <a:srgbClr val="000000"/>
              </a:solidFill>
              <a:latin typeface="+mj-lt"/>
            </a:endParaRPr>
          </a:p>
          <a:p>
            <a:r>
              <a:rPr lang="en-US" sz="1100">
                <a:solidFill>
                  <a:srgbClr val="000000"/>
                </a:solidFill>
                <a:latin typeface="+mj-lt"/>
              </a:rPr>
              <a:t>Opportunity for other brands to focus on </a:t>
            </a:r>
            <a:br>
              <a:rPr lang="en-US" sz="1100">
                <a:solidFill>
                  <a:srgbClr val="000000"/>
                </a:solidFill>
                <a:latin typeface="+mj-lt"/>
              </a:rPr>
            </a:br>
            <a:r>
              <a:rPr lang="en-US" sz="1100">
                <a:solidFill>
                  <a:srgbClr val="000000"/>
                </a:solidFill>
                <a:latin typeface="+mj-lt"/>
              </a:rPr>
              <a:t>investing in high search volume unbranded keywords that well help brands to create a stronger presence</a:t>
            </a:r>
          </a:p>
          <a:p>
            <a:pPr lvl="1"/>
            <a:r>
              <a:rPr lang="en-US" sz="900">
                <a:solidFill>
                  <a:srgbClr val="000000"/>
                </a:solidFill>
                <a:cs typeface="Segoe UI" panose="020B0502040204020203" pitchFamily="34" charset="0"/>
              </a:rPr>
              <a:t>Unbranded terms have higher search volume vs. branded, and have reasonable cost</a:t>
            </a:r>
          </a:p>
        </p:txBody>
      </p:sp>
      <p:grpSp>
        <p:nvGrpSpPr>
          <p:cNvPr id="21" name="btfpColumnHeaderBox279529">
            <a:extLst>
              <a:ext uri="{FF2B5EF4-FFF2-40B4-BE49-F238E27FC236}">
                <a16:creationId xmlns:a16="http://schemas.microsoft.com/office/drawing/2014/main" id="{671B1308-282E-4936-AED5-9A25B6D0FAF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157917" y="1430062"/>
            <a:ext cx="2700191" cy="291303"/>
            <a:chOff x="9384308" y="4861757"/>
            <a:chExt cx="2477492" cy="291303"/>
          </a:xfrm>
        </p:grpSpPr>
        <p:sp>
          <p:nvSpPr>
            <p:cNvPr id="22" name="btfpColumnHeaderBoxText279529">
              <a:extLst>
                <a:ext uri="{FF2B5EF4-FFF2-40B4-BE49-F238E27FC236}">
                  <a16:creationId xmlns:a16="http://schemas.microsoft.com/office/drawing/2014/main" id="{B3E7FAB6-7119-D721-A9AC-1BE94C3A02C8}"/>
                </a:ext>
              </a:extLst>
            </p:cNvPr>
            <p:cNvSpPr txBox="1"/>
            <p:nvPr/>
          </p:nvSpPr>
          <p:spPr bwMode="gray">
            <a:xfrm>
              <a:off x="9384308" y="4861757"/>
              <a:ext cx="2477492" cy="28543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>
                  <a:solidFill>
                    <a:srgbClr val="000000"/>
                  </a:solidFill>
                </a:rPr>
                <a:t>Commentary</a:t>
              </a:r>
            </a:p>
          </p:txBody>
        </p:sp>
        <p:cxnSp>
          <p:nvCxnSpPr>
            <p:cNvPr id="23" name="btfpColumnHeaderBoxLine279529">
              <a:extLst>
                <a:ext uri="{FF2B5EF4-FFF2-40B4-BE49-F238E27FC236}">
                  <a16:creationId xmlns:a16="http://schemas.microsoft.com/office/drawing/2014/main" id="{7D96C4FF-881F-4D95-455F-E791AF8323B8}"/>
                </a:ext>
              </a:extLst>
            </p:cNvPr>
            <p:cNvCxnSpPr/>
            <p:nvPr/>
          </p:nvCxnSpPr>
          <p:spPr bwMode="gray">
            <a:xfrm>
              <a:off x="9384308" y="5153060"/>
              <a:ext cx="2477492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btfpStatusSticker719082">
            <a:extLst>
              <a:ext uri="{FF2B5EF4-FFF2-40B4-BE49-F238E27FC236}">
                <a16:creationId xmlns:a16="http://schemas.microsoft.com/office/drawing/2014/main" id="{C6E90CF0-6280-F29C-A9A8-9250FD3C4ABD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10102664" y="955344"/>
            <a:ext cx="1759136" cy="235611"/>
            <a:chOff x="-2269853" y="876300"/>
            <a:chExt cx="1759136" cy="235611"/>
          </a:xfrm>
        </p:grpSpPr>
        <p:sp>
          <p:nvSpPr>
            <p:cNvPr id="6" name="btfpStatusStickerText719082">
              <a:extLst>
                <a:ext uri="{FF2B5EF4-FFF2-40B4-BE49-F238E27FC236}">
                  <a16:creationId xmlns:a16="http://schemas.microsoft.com/office/drawing/2014/main" id="{057FCB9D-F892-7FA2-E5C7-8D0920B85CE5}"/>
                </a:ext>
              </a:extLst>
            </p:cNvPr>
            <p:cNvSpPr txBox="1"/>
            <p:nvPr/>
          </p:nvSpPr>
          <p:spPr bwMode="gray">
            <a:xfrm>
              <a:off x="-2269853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7" name="btfpStatusStickerLine719082">
              <a:extLst>
                <a:ext uri="{FF2B5EF4-FFF2-40B4-BE49-F238E27FC236}">
                  <a16:creationId xmlns:a16="http://schemas.microsoft.com/office/drawing/2014/main" id="{E34A8F51-1C72-F24D-E626-612D818A7C73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69853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3" name="btfpNotesBox735198">
            <a:extLst>
              <a:ext uri="{FF2B5EF4-FFF2-40B4-BE49-F238E27FC236}">
                <a16:creationId xmlns:a16="http://schemas.microsoft.com/office/drawing/2014/main" id="{BAD9A011-1219-EB3C-2A5C-1B67DB248B6A}"/>
              </a:ext>
            </a:extLst>
          </p:cNvPr>
          <p:cNvSpPr txBox="1"/>
          <p:nvPr>
            <p:custDataLst>
              <p:tags r:id="rId10"/>
            </p:custDataLst>
          </p:nvPr>
        </p:nvSpPr>
        <p:spPr bwMode="gray">
          <a:xfrm>
            <a:off x="330200" y="6341860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CA" sz="800"/>
              <a:t>Note: Paid search investment only done by Rose Paving and US Pavement in last 30 days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CA" sz="800"/>
              <a:t>Source: SEMrush, for the last 30 days ending 17</a:t>
            </a:r>
            <a:r>
              <a:rPr lang="en-CA" sz="800" baseline="30000"/>
              <a:t>th</a:t>
            </a:r>
            <a:r>
              <a:rPr lang="en-CA" sz="800"/>
              <a:t> April 2025</a:t>
            </a:r>
          </a:p>
        </p:txBody>
      </p:sp>
      <p:grpSp>
        <p:nvGrpSpPr>
          <p:cNvPr id="19" name="btfpRunningAgenda2Level596989">
            <a:extLst>
              <a:ext uri="{FF2B5EF4-FFF2-40B4-BE49-F238E27FC236}">
                <a16:creationId xmlns:a16="http://schemas.microsoft.com/office/drawing/2014/main" id="{7936B67B-C90D-44DE-E2E0-9F25D5A8CA0D}"/>
              </a:ext>
            </a:extLst>
          </p:cNvPr>
          <p:cNvGrpSpPr/>
          <p:nvPr>
            <p:custDataLst>
              <p:tags r:id="rId11"/>
            </p:custDataLst>
          </p:nvPr>
        </p:nvGrpSpPr>
        <p:grpSpPr>
          <a:xfrm>
            <a:off x="0" y="944429"/>
            <a:ext cx="2463844" cy="257443"/>
            <a:chOff x="0" y="876300"/>
            <a:chExt cx="2463844" cy="257443"/>
          </a:xfrm>
        </p:grpSpPr>
        <p:sp>
          <p:nvSpPr>
            <p:cNvPr id="25" name="btfpRunningAgenda2LevelBarLeft596989">
              <a:extLst>
                <a:ext uri="{FF2B5EF4-FFF2-40B4-BE49-F238E27FC236}">
                  <a16:creationId xmlns:a16="http://schemas.microsoft.com/office/drawing/2014/main" id="{94F4D664-B5A5-4D04-FB73-5468AA954449}"/>
                </a:ext>
              </a:extLst>
            </p:cNvPr>
            <p:cNvSpPr/>
            <p:nvPr/>
          </p:nvSpPr>
          <p:spPr bwMode="gray">
            <a:xfrm>
              <a:off x="0" y="876300"/>
              <a:ext cx="2463844" cy="257443"/>
            </a:xfrm>
            <a:custGeom>
              <a:avLst/>
              <a:gdLst/>
              <a:ahLst/>
              <a:cxnLst/>
              <a:rect l="0" t="0" r="0" b="0"/>
              <a:pathLst>
                <a:path w="2463844" h="257443">
                  <a:moveTo>
                    <a:pt x="0" y="0"/>
                  </a:moveTo>
                  <a:lnTo>
                    <a:pt x="2463843" y="0"/>
                  </a:lnTo>
                  <a:lnTo>
                    <a:pt x="2409122" y="257442"/>
                  </a:lnTo>
                  <a:lnTo>
                    <a:pt x="0" y="257442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7" name="btfpRunningAgenda2LevelTextLeft596989">
              <a:extLst>
                <a:ext uri="{FF2B5EF4-FFF2-40B4-BE49-F238E27FC236}">
                  <a16:creationId xmlns:a16="http://schemas.microsoft.com/office/drawing/2014/main" id="{6E78D609-218F-B59C-9E8F-AFE442776954}"/>
                </a:ext>
              </a:extLst>
            </p:cNvPr>
            <p:cNvSpPr txBox="1"/>
            <p:nvPr/>
          </p:nvSpPr>
          <p:spPr bwMode="gray">
            <a:xfrm>
              <a:off x="0" y="876300"/>
              <a:ext cx="2409122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paid SEARCH</a:t>
              </a:r>
            </a:p>
          </p:txBody>
        </p:sp>
      </p:grpSp>
      <p:sp>
        <p:nvSpPr>
          <p:cNvPr id="24" name="Rectangle 23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z2dD7pS103gZfJ6l4USC3jqtWOPR/ue0umjYEY9KlLthURXCUyUuZbmGDPUXB2idlVQc+R1c0j6vNnMaKvr/AghcgjyTjoGcS2U6lyGcWZbvoYqQsrFJ5DN1RdHsB5gZU4BjQJ6xKwDUEsW8X/QQ4uIPkrhyjIfLLN7ZR3puqzBiN1rMnctBA0J594at1EN5QJYMsPufr2eabAYzIDriNpy1GurybA3KWqcTPRKYh436jQqOHiPaCJtAtzpRgB7Igk7tw7BcBhai66Lc0jpyzFEK/4NRoFF+cso+ThI1HNgDMZbpFoCsJQtilLqk9nQPGX6RXGboCTf8hOOcHaKoTUKF81dro10jOa8Xb8mBGZBE+xk1l9MAy6INl4AKPS/xwN6ak4kLFiDV169QOO6Y/fO+KXl8vx7pXWp9cpg1unqCpdnVSQ/mmPBmt/SHXh7aQxajb0GpOHynmyisBAJxG2D3IiOOwedyLFO/dXHuY3FYjYFRoc/i1BJMcNwtaWqFaX0V0sBv2idz57botGrB2oNEsJsh6enxl/nMucW3+7t/RqXRrH/F07YXAadxOuYS3NqyJk+y4MkBVeRpWcqCG9PIr13k8k439YLyNFclwJJHhXlWfoW8GT6fzAnXaeOZIFZo8SWlBJms1QLwhwUDuwDX+4fYOW4kwL70KP76OV+d0f+A06paxByQ7xb0o9bODiv70ehGIn+3p+omqs0hbTVHY9Ai9KNrLKa2IEsAdkp2FzWbm57P395W06URYUANwK6/w1c6UlxTutWHLi/zLkSYudqwG9Q68r2fY1VYY5rpSUgAogzMbmTRQRGCEiyckcV0IKb53iQCndb5EaB3H+NWw/xeb9HU/Aq+jA9kl3OnGL1FYLRGcJ1iiBBQ+VzaeMR6PrakdQkgQmmxdJmNRmJQbWfmRVKCKCFvjWG1Q3es/obUb7KJT41+ouhGskFC21CiTD8cmVmaoOqotRubeaKk1MLi9SPBzVNwI6tmEuSuCQWqi7iXXHg82UOnB1VMUMTsqi5PV74Mw8gsInFIfITrPDav7pYiGNFGH2fv8NLJz395scZ9x7H9F/m9G7m/m/5jV/BUBI02QCr8u/12NFzKfLxwZAwvedDgpJ0e9TFFJouxT7yXPjl91s8lSjHsX5ZCgK30pWuxgXmr8Cx4WH2q9DDN6ligxNflL8Uv9nu5fweKtgRymQ6LnQdJwiW4GSRUIeY3HfM+z389hg1rQvZo/grLsOyVERA4NeeEE3oLNoY3y2RM9eC5RDNaO+yRbM0rV3c5I/HkgqtgZkSLYyMqaEqUPpaWSV65fMIPnFzhh8/p+TVA/DKrOySKl75ZD+Ib2ZzZsme2uFmAVzj/xbd0lF5MFKdkAunlWMcULtPyQfz63mMpkM2U+yQjd572cwjXc7JIQMZpbtfYTpZ4iSTIqri7RF4Mfnd9KPwopecRWOvmCIV0hPsa6vmhYE2Ljr/vkI37Fgg/43Ui+F3unfbY3967wFSEoww5bTm94L4GIbx3Ikpi5HNqdxd0Ci7XqmA6Qs6Wr9XVtqKIzIYscCqEaBWDZjFyBdG9veQtsimLDnD1XJi69xN4le1taiHNEfwVuSmtpCk28rF3godXr3SANzFDMv94rJlbUSO6KADCgG1AMc59g149F1LPiaB2CvShIBjysf3QpkKjqJTXhP+6BUN9a1Po2mrBqQcbDgWYKoavBmER5krBjX4uB49RBC3+LLD2K5qkRm/p6xrqrmMNn6bE1WZRcUdtSym4i40n39u5pzIbWziRXWsw73eEHGKGhq3VRM3ZV7OegfdRdy9DBuanMjAL6ZYJKaHiOVUR/ONT+ZM4z6E0+mQ/U4bTSeesuh5JxcyyNLA1EVLNn/twL3RaQsCA/CGEgoaE22mSC6n+RYVeFmV+iBXIJBXNLaNgW9vCduc/iwCbGxzv9IyW7wIsuGv67XlHXZ+Jo52RCLxJ449awOTQeMpODnBKUd7jrHd8YX2shGt/oElKWiQPUU1+NRMsK5+ciNJmrnYq8XXV4rwECSic9owcI0ZT6AEGTEhMMefAHm6KBg0lUqC6EEcvXQPact4FSPkd/TaOKemT9JHIlUO5+XbBdCebO432qQ7ecL5Yuq+d1OUOr5No2TK+B/AuOIIt6ejXhKwOhPLDUqCVyMSPslPH3stNVD/OcwzwDOZr3gWhOWfjHaFmiCC0wZ/qsOsUR+TQkny9WVZ1u0rNWqJ75EXUKjHoIlcKOhvGFUx5BuxGqVcuqeSec8o+9o5x0K65aXOe2wk+b+Qb6UmWQ833K4JzV1j//sGS7nialF2WX3P/ZBEU8XW8kvLKs+90XX5xf+leqSiarL9PMt9jWufZSlhBu6hlE6SSUwo8nXB0z/IyWsNYPeI1Ca7QsxMCyCcx5I9yBy4STjF2zFmCslV8MWdbxmxW6bYE6IZ2AvOsQztfERSjWT3VJabwkvJxI+ug9B95tqqsGt/yAytwShUlrlUVGgd3aW7AIXbiEGVuPc7edGqDViGI50ivANiAbwSpAR3XyFd1NWagUb3wR7Cq2wljZuz0iUH0jIeI762cHZ6zy1PyXpb4Onty2hHZx96CHseLareCeWGcQHS6UwFtALsEmeSkkpto8X920hyZ9H56+xo3uZgJVUMhiB2WULnMBiU+rPRO66uonXj0gQzuUFMtlomPjvI/Qc3s1IZeD89Cl8JumIyA6n1bju2RARBL0GXVFhCYJM7W86GcGQ1zoSMAUVeD8j1WAIHQGqnhio3lDLaUrY8/jlfrZrU2w7NltZxSXzt/F2DiY16B8A6zJkELAdNpgOilRwjGJqeOBuctP14X6zYhak03GX66tGg0NfQy97nFd58ptfpSjG4YIOlMMbNBdOOitAboJG67FH2OAH5/RyiiVtD7XHecwCOxF9GQPgBIzKn4K+jPz5JmU3cehksy+ok3cGhbjb7spKqvW5LhvgCpLNo5419xkX0Dh9Mk5uawd5fgx6V1hwaNGhOcncL8XF8tdShTdhijfiNRqfyUPI/ANys1R5u4Q+vupfOcoKfK7prtuJykr8rHXW8YSZNPTcv5M6lOMHXX3a9gCGCG6IZD8w7H0ywpajSnuZDSgd8qE8fRX+0iDpbfUXPqDVIW5HbO1YaFRG/m5vUPX9s/4cnSZBsgRT8FnmHFM/l9+Zm9/uRn6k9RjEwXmS7MT2DYeu7OfBA4njlzyUeSz8cVpyH1WOCBVb/QPc1EL5dXqACMGgTOOCYb9GpuyH4S67qX+9q9CwikeDAvBvLzj/+9cD0nSmuRl/QnJJTkMTAgraC0a4QduWkUmdf7F7WED+qDNoLioE/ivthBjI/HXOuL95uQYHQ3vnHtHGuLt2nM6N87EvF8iYLRiKbCfEcvKat6jAiYC1gDmYjdWse91WnxQzJIzOVPUwT0M7fUvfeiTJN3BGxRrA7WUQg64oiq3tKnE+6LdNuV4LcNW3Bdtr+aUvmPQdZ9/V/S/FDHFT4Ap4R+Bz8aJ64dLYrYk5u357taLVhPbLwmIk5jyN8tSlQ2lrHIy0r9yDxr+vN63KYoRC8aSAnRcOjgwG4skDOg6mI4nXcXylHxKZBg69P5Ulh4CEW0bijrDEpiffu4X+HN/acUli4qG/0v8pva2NexlZNHfA2DpxAdhCU3wAa3UGGXYoBoi8UhVcdqe/w1FtzxSm3YmTj/9lnEYVSw0XAnRv750k4ZQfdSBcTzeQyOWY3hMmuBtU4r2wrJ4fLM6Kk43AUwY9cXnUtDu5CaBhfAyI/9MN+BdgYnmv4Xdpg6G2N11rSzaXoAk4VOquhnWySakLHpRmABTqxrs3OJT9o4hdisxG0mev6SYzawDBD76Xw8yqSF/1Qpd9ImcULKBPHEZN/VLUjklFtebaMlkYBSsHPzHXJevA+gQDOh8FwB0JAvStMledRg/J1qhGIQtWu94ylW38Ncnd84sAIxRJAWe4uaYjIGcE4PGSb/n9O7m2a9a43YxOdjydWfqRoijte7rhCwcoe1gUGE9T1ihrbm8wF+SFlv+88KohhpQN0JLoiQ5KzrjIqtrcnu9seZ0/wvZVleWF2NqjVLFAkzVwd25iaklMilIpL24/e7J/aKNiBTFBvda/Ne0+yyrnHAzgC+5svK61NURjl33yd7EA8n9SbkU0+tyNv1vkbHJ1xaNuug0cKxMHBoF33c6MGxQAxbssGLforls4y8k1Bby6EBUVgqTOfHU1jQ2Rtsp5rpRqOyRVvXOMFfCXQkVa2LZeOTWLyx1DTEqJVt3ui+J5lyzVL5nX8ws+nJ8NZ9YwApZC16yvrYstx6PbFv3J2doxll9scqB2scRwHUT4qmQ9wNUHpIc+BBKdhFIiOeZxIsJ06dZPZld1Zc36ZkP3opvjGI8xr/RET4581tWUZ3M1/0fs8LAc55tv2S8hB7U3l4nA2GfkSJCLrc1wt3ElPDuY+uqsuV2jkfFDBWCB0S764h3RInrcCpu+irLoKXcNxfaIaas4yTVMlPjYwa9FthTSVDEAx6xvEjvweDdVbQDbC9dBHwPv8qQhNnHmA2UVKtmEB8vagrJsFENPA2yzBb8MWSwNWur0sJwgYoaPSVREuyCy5jUgLV613UH5jEEyqQ+9V8QRIvyMosvm4iEiRwd5gnRcvabDeZJDv2EOxpHHA1cAIYxEnIcULBO6iUmttyfBXtRGQshenZ+pw/8qFuXOkrJcMQciUqV+4RI+OQHoS2TB29UPK3o66ktpUwaC9xAC6dc4t3Q8TK/VKOOEF812if35jP93ySMJJgbsEIxc/pKqv54GmXZRaq6X6vkZIkNueYIIpWASxJJ9wI/GIPe51c2BG+dU0MAwePGA0SVHhPQFdCSzJhyzjU6hCC7Y4MHqi8Us2GeevIMJeNCNIDzRtFgCrD+iHfn4ncfbTdSxeVL12qsEFDK3Ek+hHEHZzlMCcl9RuZkLDBXRcI0lfVKZ4iaf8HB87hWF+BeIM+VOQhuOiS23qsmUqBLwQrGAHSWx4ftmGmPCnBtXdYYuor7nDlS3bFCjOOGQYdsDuyRYdNOxeBWLBySJt6GqU0pToKJubdnJYZ/2eyroxT18E+2hcqjACH0q6FHseqM6ND8gsGMjusLiLKCGC/DPhKX3MjeI+Oo28oKjaXT7Oe9OEAh0E0JN56Pp9N7yH21mUYHIV+DbrKk7Eh1UpYkP4gi86smXODFpe6SiDfHSdVyHqVEFjowW4t+jzz1RSOeV8AI0Z4zKw/eF2I2U8ObEO8NmjyedlTNrge8mIO33IWy+MWZoeKVrfeDDkXknRBDth9WgDjrK+WAfBUeL9TnSTc1c6oGeDeGLmwy2hJf3IGFmf0q6eyyBXEs9952p5R+sj0K+VZrTQJZ/11fnX1tYCG1qJQh/Tg7KPmv+wYTnxNB01WqACtZOGPRA5Mk+n58mL1zt4q0RpSZgY0Hj1OE91Kjc9paZ/ERyUGeareQisTn+vHKM2NGDgBVa8iUIRp7L9nMPMTZobWn8jgSkXPNlgPx5gEkaYcQBWS/ikxm4XjNEfGgCHqXbo+smYKsucuaYZhN82VwcysJmqfvOBw0rQPw1SIsz+owLnwOovR6JESdFGjHSH8JoJpcANZIMbjmbOQv0b+EI5Jw8/Vr70DExCOEpjKYt+h94YINnPFg2i9GbaIh/KLiliTzHZ9eRnAM8tpjencBbP0sV+ENqgJDmC2xYhUozwWxIC8OAGINE75n6f+4IR2NMtklOPPxjggB4kvIHb/d6INnNzCb7/yd0FpgZIwtxd4PLZofjHmubetkX2YNA3s3YOtdOVLRrr9QhsCuzD4/crqtUWtSWGYkaKPcCK3NJFsY2BASVZAXkJgr+6P0HDCWtkiptFmp5LNSXRBggG7M6na4S1eWd7J1MT6gl5S4bAZCD7k5KYlIL7Ev41AcBOvy7QadTptytwPQzu9mdWS+pkrBxWIZsf7wlNnnE2eLJTmEkaPNYH2A54rOVym92iTqq1S2mcZ7SoLnZPje/dIIbezOqYxkFMxmzuyYUkCyv7uNJS8KeZcNnc4FPHeiauk0ct7jR2AgJb+mvOXgFYW7v3edzKTDslgIKVteiVu4DzGA1R4PeMlprWLfpuNdEJxOTLlhfzURgfHL1D2GUcBCKVrTsf1/66o80xX7mZ5iCmolsrNNRD9BpNLdWt7EBxqFn/02onaUb+mBC+mP4XMjbdb90utoS1+JY7uDCEAZCJstU3jUSIkPuiIj0Gyc64EtpNvdCo+oMY+fZQWzfOFxq7qN4wF0uBTvQjqyMJ4yhO0zWsjWOe3rqBuXcPsrg+fAmCz6HhMlUdkYXzREPAS1ihVbgneCaG1kW4t6a6Xnhug8IvELGCq7ZvgdmcZBFnUpqW5kd/S7DQxAQAZMD2BWubYgUms/oPaZZ22YuWfvH1lb6Jw6zxygeiKEzs4iwp9ufnlf7Y1l40bwwKSvhe+yUmcIrmFMxXM1rEhM2d1yN6ZyInb5D1C4k/zhN05IbCMoyMm5H097Eu7rboJDi1r+CCOgLIOIWP8FPMCOFi6TV5HK0aSrYX3w277NwMazCyI9kSjteLpettdIMmxWCSk8DQdsdDMuKlm3zqPjL/vqM907zdUg5LPtqWei8QMOCihVY7N9FqnOfh31em5T64GvmgDegFF4kIXlDYnbB/RfOmeitag9IY3jd2MFNPFYatD7cT3ASD1DE9+ljGc0GgDuT/inZjcxoFQi5xC4MyyMqjnppvA4jvT7rzrPzai7IsUY5AnomoloGj6ASyM5Pnb/dwXi1C5S9CSSe59I/+G4NkWkR0rsijm59m02GA9R2gfHgW0vedpXauFhfP4kis8c7btGMiHnKg28WuW+9RFCez31i19h0m6N5kf5NxmIkpgzs30dYCMDOnLeVxI4Kr97x9luFwu+ihjHv9l9hFBAXDpLi4CZqf713kmNhYk4pAGwDbmUaE6MIjzyHoYM/UeYxV5AwC7typCqLqXOw+3KqlOTFr2ArN9BCCjoh1ENiIWHgsxnWeGJcSkp2vz9ZHLxk5yZwjhX/VYYqlA9oKp6LV9sRB73AljmohJgX9FPXjH7g7Uw/x3JEV2RqbeimbrPPWF5QsUaRwrW8AeasSgrXdEjKqAikvsLn7CTPsEjB/8yjCfvAVjDM3coKXjRqbtyU7UpJuDKjI0d3JcFEELuPondhkAA2H76DYfaFN/UffI8AdKAZsPNxwFzr/W2FlRhPVli3cdcDZVkJFreLRGVJbGtd8DGcqQSrKyDMz9GObvnWVO3e+ZZKLWVk6ZDwyIm8edQnKQZmHR3fK8I44xVmXngSo/GxuoJPbgdCEaytl4EMhGS1veNud4t5ySnEqcpS/CV18Lm6Sb64YkWHEPeELxpZzrMMc04MQop/kyWyqXkS6w8Mj9Ttw1oyijpky8/+HAM8hjzdFJ74XVkq2VliXrfOQXEAgdesqG+tu4tn41uPTmx0n7V1YrPxMQBXYYJnRNILb2nCHB1HbtPI718fsCvB0B+lpgxERMSbYs8N873lvhvFtZgn/UsxSYbLRRpneRVUc4ajo417Y6Qq3r7yTUnT9Egg9CUSv47CVbXMhlt20qF27bpVstVj4vs30BViDhbQ9d6/HhbU/3fJwQ4MVEc6XvVOkdGEgpyzKFD4nzKyg9COHPo1Lopy7hH6kov+XGDNqKZLMSuErTz7H5WFIeAzdw9XSGo9Nf9wciHkmoudWJ7hbjOlgW3EK6mah1KoVXRH15kG1fZOfMiwDMTjEYMvAHxnLwy8jgfK8SqmRTXHyUeaFiT40i2ZpZfGndWU9d6twmwdi7UtQ7M9L6Ggzmywdwbt+5BhYF4k1rtCdlQdrPyZz0a8WsgVecqL16ff/U6S2hDxBFK6XhhEApG4NYO046H/iAs/vX71LPHKNSjqVbn8v+AEF9G1J2VGETBz3v2uNFQFRZsu6CB8Tm0LX6EY7JvGWxYglYkAYVUbWB3Wv6yTYObBDjrw2OfdyKM33K5eJER3/d4vvcZA6P2VjKorE7KzcaR6pcurkh83+PfmjytT07H6SOpmxOQbbEripVrxXYZgvEgQ3D+GsTlCFnlSeX4eZWgvSBaVBgAnGT//EYm5/AYIRKIwUEhKhS6KvNX/iHogWmvZN9yoKYIFc3JPML5dXNQPdy3fc75QVnAOrP9eHWFoUFSyQhB7RRBTXXImNc8Kfgz+PkXKwO3IjvG2O7U7WqDPAQ3fUWejyH9I2vuTadCi5XCfpMWaCKMgF2tNaMQok0yU8fU7QN+sbvEEiKhvXjMJx8yJf4JWODTBrTg9jYMkVSJcIAmBsdTEDmo6Ko+Og3oNyqeJzXv5MLl0orp44WqEf8kRTZfwpgrvNwhAoHfii6P3hRppGY/Ul4oD9cVtSGUwzJmK2BK1wDsP0b4IFzYgRt8R5QsWJlqK1qR3bzq3k64fOkDJMn8jcwIbZHn3k2dGXmEJwBInGF+NBw5G7VF7FA/bFQ/R4XWDGYF2I31KwJUwIuW7QPtdxmt0r4n6oQzNQU+Kw+kNheS4ElnOFyWfmFs0+IvTTWknY1lPMGUZy1embcBKXHzNNBLbO7bLKqzs8PUZMh3UJrmjyfK/chgDBptOLfRgddVZrCnMe4aXzDM2kBOaGYx4citu6dJ3wQIOBdWPzr12CrhHaNogLEmvzk0q3zyg3ezJ7+AXYh7XTr8EvxcmRcV43uDv2xoNww3pwFYFYDe1DOq305jvkCQ60OzNVMXnw3UP72f374cp9vwJJH9q1bIURJlJnJ3+5BTcOjyUfAt6k8L/ydGzE4I0ucNONOlEScGbTwefQq9MwvvcrNyaL1PoYmkF2n1Q0obbz119Dt+WklmVsfl5LAdjqwU4CVI3OpuVO4Tj3oN/x998IT7xjtBhxGKUgM4sDtZ01f6qw6OhASSerhZTPmgg10oKEMY3B1Gdk/l1Q+uGuDVlYBvbDvHXHdBb0IXHnrV9Ir3NbdO25M1FOgvmR2FjBopM6qzBR/lVicbDBHtS59TKp3+lre23k2w4411sW3VaepjQOZAFtrelBch23mN77ZKWGGvU1nCCK6QMUfn2LwBY5zk0yphSEmkYtf7Z/VZsBGjQvXGi/0OgaTReQUVJ4JJ5F+sN9Kck6KjAL5ikBgfNLin93nvxEjdVuwBP4cl6KqnUGNHDg8g3Xp+ZOqZpsmmUMgkugRxlPiVrXgWiOy9V6g8K2y12912/+E9PeOTowjJfn28o4HVgFuFXDi5+/ACVTxsO5ihalPwDR98bQ8UpL3d9Fl4OQjHHEeSqVTo+YUrOOI9Ac/HBUIx/Wo2/qj9sBpJ3ZRR2Iec3zYzZ9I6D9Rx7LV6R6Og/AZpATZYwnqbMm3vl0MSFkjR5hV531Qa2WE+ehmZaUNuQ3PHSV/Jyl/FV7xgOTBjpT2aeSZYBQZbBBs3PAx+Asvs2qbidaesMgtVJgPc4zEAfzPrDSfXCYLBixOx5EM/V0sV6pFsZyHXiiMv+lyhib6fJlh9EyeE18NZY0EWK0pXwLNeXJYwsDxTIfR/V3561nVGuUaFUzUeGSoBJjZDnSUvelMtg+CrF7x1ofR6Asu9Mq8Thxol4xgqvRr6gMtZUATTnUIvbYh6je1rOAp9I37I8qzWEq32LN/qupxFgkbUXZZUSX7qzVxqGRrVyjSLkknS3kaUoWeWXY0KYuG40R6WFMEMdXjwxh/47VlmB1EBl8Q90fKmsOn4q7QRyCsSDGHKW0ZWWm8+ecVFhAHE+Ugd5+iTm2DNf67FlloViUhFNRUtjviKDIed6SusIXl26sBPLzG+BWss3RRrpdXQTTjEB5OnyVJvRCZUofvwD9iW0tTPai6EPWVdHW/qCHmXDbyh4xMG8h5Wfj3erZsN5vCDXJy1DI26VzxG7TU0ly8RJ2edcGeGME7QkVSYtnL5KE5Q//luzivSooVOTWBLqGhVR5gZJXZ8IwCEIHXvFDhiw9k3eMbEIV7tA/Bi3NQILrJyU6JJhlD6NlP2eZICyzSck3+Q+96Y9adJck8CLiV7sQfi/RM+nP5VDf/+LAbWRZQ8oa8r/ybe2xFDn5aB3BxpV+McJxTYcih5gouQR5x/owANtbexBPfP3O6uRq3ExK6/iucWfiFsZzouMxYBsdDsoKDprU/JRwJon+9p3IDXphhVnI3fGEDYwLT3xfjuQ6tYkm05aWObNYEPFcGQdKMUv5TY0yJ909GLEN9ffNa81yikC/Pcx81ttyHnhqhGNjKMgkZh80d0aJ/vMMDCBDzQVw/rByCPqfGFOJ7vdA2Tubnz4hLWWJ6iHCTfl0ZnY//2LmGqX/tHa4Y+2p90a0z626lNmM3N/IQ26KOxa9NJ1UFvx8C4HEXLmNktklfiACQZFJ3VL+A/0Tws2RtW3En1p25x96ktecJfbKb7oQ9D1W7o+jh4avkA/bmj5UkE5x9NE42yPjTh2UCcIY4D6swjUTkwQCCvC4A+z+uq0F+aUwS/hV4Zv3eb9LXWkJus5lqXcoBnZD1OAi2AH+Qzdrln1o3RBVB8wyFFVO0V+EvjvPkRiNLyYwcJrRIpUgWbuYXCtGofULMMz6Ds0XFI7mzbglylyDSmOrGKOcqgKHcqpEsddpvPqOzPJxLQn5R4ikc2IDUG1g8LyML00LSMx67FQaEKWu6Dfxn7QvHQitc0l84Br+WtCk6dzgU+3m08eKofdbqOgNXJ9pymPBi1xSLtYn+eynxua9iFEbBZnGT1evu8CNJI6oUZ8B/JwsQrerX0iasRK3tgk9a1o30TZENXCdWO4/ERgLGH1yU1dpeOCF9Jy09Mf+Z4zgTdT6jJDkatBlYFKOJ86RWuIGLJ8SdA9TugZrsDsXMCoqBUSoMdRBZRTJXiEgjgBvIRSKwkMtsz6jyM90LT89c8S7IwDp80+0G+A9pnMrASsED/zh0JExFRU2SiTWmZyCVRA7qKq8yghf+0pu6uICk5ZLndlw6SlMJ7wBt7eUSrwksyylo/bIZBET3VwlimyowUNnxGM1eE53jfHwiD/2h5SgBMrwcY3E/IdubgTRTnrFvWzvnfrnqoyIdBWEqvrVoH41jqpDgGyp5JXlp+00okY5rzznE191Rj8TDbMsHgEjrIAR4dicHgjBZ9vtOo9LFDmHcyb9mT2FQOmp4Ag4eWBpFnW9gpZLDKaaEBwgAY/02aLvasigfQ8V5sCdhpiC114tApt+5tHq49nhnZK0m+lDHFEa2XJmneROvuKAPGRzO6D75kUovaV6KyxZqrpDXoFDMvm7CxgEFsed/hIeiqb0FWv4vUAcNybqJ3mMQw6JAmpFywEpB1uoSbh9MgGYvFGqzI51miDLAmBG8Jd+uRS+CrkYFpgcntbNjuAe/DrwahiUPo04WZc1wgpUyiNtq0bKEnologY9crzc2egm49yPejxCs6cO6OTB/hTnO8gwOt34IwuiWE3pNSJAriwdbq+O0P/jJ5CRN3aQZD4c9fP3Sm4NE5DOvzlxmaeDANeN+qJ2MheYvrqeIcd65iSeXGtPAkK48mGE3tYudKBZblCB5U4B48uCH08L5K7aONlByTGZJat/grMsx/aFiaWNPJUM6O4UNXMfHBD/Vtn8ge0i7iePZiY3Ok+RgXdvb4yn/TmiGE6KpIDXNhX7h/POxsYnztsSw0XMjaE9OLJgYEDvEwxqfq62Y2mdOAabdfROjHYVf42BTQyn+lgPdKky6QJNvBsG41azYKPW/mn23X6GbD2kF1cFiBemh/rLi5SWOo58U0oxtWj2BdoI7TMSKqs82TH7NidE0XKJP4U9s96B+M1XO8Acwvytdc+LRxY743Mpp8eDtrJSndoV8lg82xFm1JDvtqc0tX53PfjDu7PAAEKvFy8FY9jxEx/kyc+vvfTBPeFdKlM1Q/VOK2oFQviRpXKMXtmHgao40Afpis7UtuBEH0aykokfQxeRSV0VB+IiaAbMqoLYQkvKoEwiA6nrqYA7nmkJbIAe7b9vsoL0mX+h3IHCEsokBUj6gq3BHGlLacrZXzJb//OyVPVHzd4UrA83r1aICSc40M1aCS+klXdgtlnnPNbBSVAz3H/HDFYHLG6nV2/DMXKl9GrJNYXn1w7kL4wrY107/16ngW61WDmAu5GW/LsJfhs0Y534csP4DJdDLuJFATVzYIOMQLORH7Cv31UVVG8LNYBj5p7kQRhq/HPEbdtosZ+ZOOLnLYlIQA1Bgy810133TYV6RDl0WRyHdTQ5ruOuzfcztaVZDZO5CEC4QWBfrgjx8XBJNa95rKQnb1CX7A1F/HDFjCNAZWDWVPYPxxa6zZsPH5v4hCGG8qJYpi1QKB7y3FsSdNTuVPKDyiG5Bh+Yvw9AFShRarrc3f+faQbDSkU9tEkFSK0w97hfsIck9lxuEmMCeT/SJIvP0r6wIw2RTBY6ASEfUPLYT4qHMhdex9aF4tDZ/owUzl0cr+CpxrHTAw9NdImYAEAaxSqK0qcowavKAHues+CJnsCVTQTcbIXKq6pgXNkrkrjg0+cwa39m8ODgY+T6XjOIMvimbs36wyRePHlKqbRKdHqcyHncTm9JEUnPrIjS7SqtyVwFpQ9Sye7rgLvxUSLmrLAlUIXZMQU0/5hyh++tkTQnCYOw6XjhtpETa0tZK9fd19fKn4BaZxzpdkwWTkftHmoX5+MOGvCttI+CMEHYPQmgQENAW687HY1KmEpsb2lYUO2CKr3nYaF8ASAIrJy1liTn2TGjO9yx6LY/cWDWi/ts/bDpHVCMo75ZESwH/gHvz4CAaPZAmIZ550P+x7Bs03hqjbkJh1o5U3VBFr6mxsYzs/aVv/D9qQ52cT74w6VVEg0Zj8ZDezgk3Oif/vhAq7DqzT+eH2JrmKNyRpmpa/8K/FVxJjFLqzStwrSU83HrFRGlGJyM8sd3cQlZ/8otfTDlPVEoxugQpzjaKq8Q+6eHfGKMJ0D36WxQhVy89Hln2A/TkvM3k7Ly9L5wkwCZ/I9QDBcHZS0vnDZRlqb4sS1eZOYVess8+QHcHOWa/iFCqG+TP70KQNHPkR5/9LoUP325nKP8RmBcFjR4khfKYidQbahOHlirpyrBzDTE8IHGHWQ9P6P/bT/m56vudXdCRwwSp2CvRcRXdtYyoFrQ8NcdTOTBcyOYv14EPpsev0++wt12EXZWVKlBuUWBT7oUvFUiVdWjjzQLfzyN6HHzOBIXPKfx2koafSlgTk4pcl5nwpSF6bWLukNRWRLlnkLIXtr8QpDbQk2b9WAMhPWA+zVpuXB8fr1G8+Tl7yqF9SSkgbkcL4IzYgnAqmg7c1Fn+2Ee03qrH5BYyikRfiQPDChE/iIw1orK1wX8bYctOyJjKh/2JdmY4XfB/qdDL3hwRVhuNxdkJEb71rWkNxsIuRZhl6mwf0Qzh0RrXvARjJgpFyfGOEq4bK1Q3aFQ9L1wciDV8KNxUZH6EHRg+GjQP56q/lWcy236rkQye0WcwB2pZYhFNIcPGkFbxzTAxDS08ZFEXllLQ8MTMLm+crTyZyij8J4NvvcduhslT9ixLPx9k0xudbsiiFjl7VzdimBxeG1ruJsPKdg++A1N4yFbXXgQeUf3+lfhp4dRBu0wWuD0WcffS4Xb3TX0OEG9oRI8RsCRtK9TMDfmjZxPlJKxoYyvtDeT3jvAn/rxYyT0rZ5h6vwEzWExxH+TK/7+dXEWqRgLgz327d/O7fVMdrw0wneyxdnQBEJaaCFTK+VJkZCC0YZDj1Xkj54aTinDdujftayd5UNYASrcXfsJGQ3ple0g36aiNS9f3lVQcc2E4VIR0IUGHFRw4OfdpQqwwU0vSk/jEc1XbUlXlH/2Jyg7XnZriHKHLXVhIuySSAVVfNNWQyY4hI748/Goj1qZuUrNxfHJKsoA11r/7FbxfBDVR85dtjfyAcm67m2p7yod3tfhcuRrgB8gCREI0Wso3Gvfo+WN+jQ1BCTIJGXWmhx74YqnT79PYn/m+CCXNHo+ScoJXZ7vOBVIXGLqRuwUcBy/BuosM50YIxTKoad4LRJVrsg41XBtdmu3SkCFPriWXk0OJ2gISi377rgYORn6KE1Bo3M4fjR2vvbhsO8d1D7GCjvC1FP1QoQUfSH4TwCGpVoK6FvKN8WpDAZAYDrETX5f0wAAQWE6hi0D5MvpAe91+Guz9jxAtZ/iu2pc0AW4L4ma6l8YJGlHTX0DxRtQpAWNHP8QlRNXtwLkL0GHb6uYTXCXCW3QDnvzVI2HUXP3caKBY7km3jNNN2HMWKxwBbJ5Qy1TdtGJ0n6WpwOi3vefD9sFT/ctp2bZ+5eREm0pWSfljFm2D7pM+L6FX8ldkTkODMkdwE0acrTVCofuT7+0IluisEUJ8WErbcwOqLGEsq/34LgaVrBY5nrVT+VhZw3kQkhX6zAZrBru28WSrdH4zcpY1hubbfFPrTD6pXTtPDRSM6OTU5uQAuOEOLVg8BZn/WD6MGG+fbu3Kdpki/lBVBft9vdIi0Y6jsyoOzYXlop0pP6Y5f2vegqQShTb0P+2ACgqSVeJGgQKFc2oOkIYgol/f2g9Y/Akn8DNP84SwCjWbOuq7Yko4yKjvnx9OnVhK3CEEx1oMqq1howIOsMfdu+gFUvHGWs7fpHjq3l2Mn6rRZUSWA/uVPkI+giuwfKKo4WjH3k40L+l4M5Mbq6SgYBKJemn79vrqBolfs9bQfjvtS30+TAn/KULWsjHkU5W1aXx0oKq3m+K7GIXhR8AaGzAAYmcXmz6ytioJYM3yRJKMuvA2/fa+/x8exXvck9P16unLgo9FSYMa2m7ux9/Vk3sRvlqeE99uoG2W0u3Y5BmjyBrnjfaer9GUKwJ4Ap3TqhJbrodJ61igQiB1z0SQEuci9mtPoC30yueZw6/xYPnxmTUo2I4Db46Y5djyluF1XqjGDiNQo5esjTahiZBfLYnT97V87Ln9e1ynJB4d5c9woYRV2yrRK2I2vUgKRylITbWV9IWZ19s2Gqp8uARL9kb+jq6lwMOJv4TGH+b3300cIk19r02d6aCrJhhkxPCACijRdfRyxufNQARwJWILrUzpHm5Q5rgwRkDspmVAyx0BSmbrmZ0Zrw3qlkrNHRPkrBLeRBgJG5zWEML3KZuxlGqO3o++1TIHOsyaFjrZPYlt78ffG7ktSiYHHkuqfbKp4Z8hQObZ56L6ika8OaNV8NKDobHZF78oNrx/rsmXgc4/To8jycl3vbvF/AB+07LhvO6vQby+8gLH/BG5BALd3JepdgFntAnsve1bVNdH+v7w7m6/we4vBn7dP4XZOIXLEkVqwLlV339Y0YNl3Z5YxRj5rn3oewid+GwKEBFUZTjf/g/s6crI+e5Lt65/sBSTebUgqAGPTifRvMb7ylnKtoL91pyRMq384EwPt878v+nNsJIhvrKbPuR9HnSwVmUvbk4fREI4B9aBPMuY05/xAWawo4t7PPSWeTbqlMM2NeBAH8HNumdJadCfkiLYEcpx676aGEmVuMxg/NYjMmlGVA0vpakvm4sWIiGFrXjX9dDFj8GVnC+4dtEAKWsTx395wYpr09iH0N4bUaTi5wzYWA/nLnHZPH9t+K9bQhBEn6ltBAmkCT0lVBWNMoRcWnVxdMIevt7yB3023IGnk9c0NIIALfUBg2v8BMOwrA3cSYObOg3kdC2JJCoZhr8vSrw17/B4B3ZCEvwgHxIy9T9+pjwB4picEtReFTKZmZqAEhzRjUm7xNKPJW6iSydlbGl7yBxWDuQ/YyB70ziTR5Aa2TXeuDXCPAF+R/57GP3xAQpaqZPhDRTrTV6dXxELaPaESu7ZvrB2aat67GNjAzRTMoVh9kQbYpnLl4/m5OSlZvl7qg7G9HEiDbaqyeI7zfcxRMjafKLytONGw5WSprOAEsev8qAI1WYgTqeCgVDyDxaHi9YCKoEdDckE0BmBJMOHDC4zKZI+bQG9MklqzX1U9/n6xj9hQizY3RU/rWVKEbjbw1toaojw7VwobejDlnc6TdNDcx9ZBxvcl8tewxw29JJQ4Tn5jhtw/cBOhI+07E88gHEvRszkSpVlvm/MYoE6xiNXPlCYtdBMhkpZXZe0rOGua+UqytfLrYVm8Mw0FViw66M0G6kfyFT5NzY+OJImN005wRqJGfAuf9yHfUgiLDs1At3QzorITJSQemZI8iFx1ZQtsazEH5KaCKBbLmBU6jl0NrQgwJKh0YO/2nc5buQf5cHie4pn22JGWnWnhzyWXHrWm6N16H2zGNTQXGbdiQwTC/05fnPbxCzOmDIkzqegaal0cIx2ARDb2DZzWki1F44KGzPHEHSpCqYdWPNr+dB1dEL1St+vjnnW3F+97/NvFAZHiXV6rGPMzQB6XmDgGtfwUaQzmZQzHGR1/WmTuVy4tMCFNftslnw2LsjJ+7MvnWCXTyDH/H4t4XnlVvNX0fnC9rRxT8ARGj/262ITSHP0hGqL1ToDJno+0ou/yGpqtra6C0wv2uf3Eap9D6UqenHSJn5azyynNBfY/tGlLs3FxT0poN1xE/GZ03MrQOuovuMf1y6y7Iaj5bP+JiHLoxOlI0sh9mqxMMdu/gkQnxsHHccmELJgHO5GyB6XIUdKWEvPJTMAL0VjbCpNVVGvFB1rvHnYPquW0h7qW55IwNEOvFEDs9vSjt676kgxBCWlTVzpb2r/TfzY5+LIm2BeaktEBeSuhx0JjbmUDz6Y9U2U7bE2WxoWNhTvWKYmJM7EU9FIjbfym6ANEI0iwj02bmMECa1Xth1fMI4Q1vHQ7irraES9x8lLb3KwgdD4Gu48v0sRX8fHdCjo4XosBM6CT+sgMGHF7Qn0d7Fl9mLUIzC49+RQO/A0GeojNAPhi0vg7qhbLpjc9JZoC5Xyv2iaHYqiX8h1ZA5qol7xFkxgZSbyREprwdIX3QrsKgRWz6+k7sHeN7d4yt5a7/XYfDSXgETqHYUO06n8JVcv5VUzVIKmpwR342gbi2UMOXHDO717C8zVPlSaYGIt/J25Mn0Fu0NnwHxhPkdVLoOO1KE6hw3caj5G1BgXGg7C7D6P7tPQbdb94CwAAf34oOcCMw3k3zvyUxCkiC8bj8bedf3asmrqJbnbuRfGCO7eZxTx0ZZsd5G0T+NZgix9/iJEwyPAlYf1KKrEJMfMfCUmQwU3fJheucUZvbM728fj3z3zxlukkK/oWRSuX9ljXCxLY79ATAszU6gPw3oe27NpPfQL5/pY/tmHAIcmBUg+IPxFexx4fSQ2c3P/9vzeSL1qcFhaoi3XBbizh6GheT+4qdhGvPTiu8oVGaOEPJYNvrlHKOnsscERArzZ4Lbk0F0FusxKGPj5+hFt3BIW8Y7lwDff61Ma5XwLBMf7ioYqF3Jl+6t3VU4j5YH+E7yuqG0lRsLtjUvf1LW6dhmFPu0Zx4zEEzPIvv0FfnzetSiznbwhZV5OVXgoGNCf21PBWXc7JxgnL+O9XEdy+97X650EYFAY+BO/rybwtrOnhkmuOxR0gtfnEiINeXbKHyrTmEs4dOmuMp1nykNC8JB2u2vZpD1W1Cltc7LjmmtYhFaCJTOe9PnLYVCnSpLWSydVnfQrLSDP59MMNhc+t4r6FYa7RGEh+f4lEELtc1kzJITcuNZQrS9WAlplyYae47nMNvJ4mUy2k7iERZN4lXUY6jK4GVD5hDutNaG4aRZZW9sHPHAUBYLgBCzNV5Y+bYYTYP8U7EHAHMei5aOk1AEhNVtlb/54hv823bylJe2cpmRbrnQUMQjh6NGGvRaK18GoZ5sAZavUIn4X/yAycQJvWAvF0s/FqzSBcrEhl4EIewnkNdwSGIdoUf2GuqbY4OVPIZKVxiNmYRnNnEpcTm5GCuIqepy9BN0Fzug/E/ifHv2SbDHflRqwi94jvkCGir7T1YmxXecRLN+K66GCr8xkbTQLpmASIBK5DTtigKoTPOnvpnZuoaqjaoFEPeFSUx//ccKU8y2Uol0NZ6aSKuWm1kOvEondftxgXdkEjwZAqBNNRkydKslBye/EaI+CGbNEyXkLcHQwewQlvw9qiEA/86vYfFERn24miCeWkMRhwmxuXA/5xhB2FuV+U5XMhM35EoYrm4tftqLOlt96yOMOR/zQ4UoThk5o9SPolDS4PF/ACzfyv1V0pQMZ8AC/HP/r3domXO2VWyvP7vV7lhUvpU3S0L1v12E9H2yHM2ul5SILWrZIIM6qx+f3oNG+9cM6HjX80q4Uez92s60JWYFTAfsvFAybd0GotKY6J5H52x43jFN83iCqdSn5UOXkLG5QsjI/G5AyUmximLzFoW4wZyCJzQmCius8Ceaz/5rPbENkD+y1MJkZlE4Vyv7KXrrshiGzOdh4E7DXTyCSjFEnnuviA9QKAv6IPNVUypLpYMWUaplYISUxZ7DhYMpjkxJJNVJVLgrzIqRMwehQQhYV7tYvWNAln7m5RLa1BfoZvYPjfqSJYNBrWAozBh8qTTqdeTBR7EjQCgehrdio0RdeYMcB1Ikvn663lLOgMSOkU84tfUlRK4pSxgXfJ5l0sZtW+o2FwvaOCLHT7RkA2g05O5keSuh2RJsGXySC5PQkjDPMNBD+OokS4p71CIDWloEreK+TiHhj2bET92RR7pSn80a/ekYWKTSDb5Ba9FuTJWNEsej1MRYYLCZZnBhP5ZzGgrM2JxYTuwQgugBAhEryXYZlEwG/LiVPFtScQc/Ule/M2nJfIoqZdaXKG5esKUZrO2Tz4qDsAhdphzAN530bVinr2v/hVNqwnBBXD/mGS6VDwwB5r3SkUZa1QCJtzekAdmU5ZUeZfdP4adzz9/dcGrq7j/Jb2NRbNEgKT/9WvOHnm6mwHNtyUsS74BARhuXAlzEQcNjGKo6G5Bc6uh4ULf8y4P9prSsPufVcIak+tFidEHX38N2kNj2EnoAxIGRBdB7y/Ojxx0s8pBtveFPmcSvrWC3b8vYm8s5QZtiF4yTX140EFD6l9W955UqKwaPZM1G9ezft5wwUuvZLQd/HcKA+VsaDtXjL+/eAKvTzBCwz7mk4W1ILm9i6bqIBQbEbh4uFIZNALd27nfJcDcA1Y7aIYxbeRcxsrw/GQVn6477I1TjFA5uDXZSTw5GHa6hi6pC/sdSHcRMpZe7DHIFQl6rIb4pgmIsVTpwhBbTEIfmLVbqakvOh1JBibuSnvsu+0smrHt74yKGdYNsme4tZ3A4awtHuQf/+Z3Atk0wSy3EoaHKtUQBBP5nzEkWtc/T/+jJY++2h0IQo5iQrqnO/qrdL4EIgl0jE2VB0SlyzGAfXuSvpnxMQPiMvig1DMKRkmiLDMkddTwG3Rc7434PsAn//tYhTHIwjQuKtU7lle6v6S0lGnN6WCSuIZacxEolcNIuTdvg8E/M8r5t+JLIJ4hzDc3Hbv0IE+z95glzC7x/C/6EE/jarXT/yvCCelNIYQyAcO57TMv1/cRnug0dDKfZ4Fq2q6snURXnLyVt1eU/wRF4BstAjB26Nw3y82B46fZF/6T5iV25Vuh433Pr/l8LVCCIpUoF76FSeDeaRV5TYKt6V3y1ih/rTVHRvQPKP7wsrmWzeudERm0PYI2gJPLU8w+KGkgYTXFCGTiyruaix5CljLWso04akPzZmVEJrejYeo4ompRFOhwKuJuNWo00l0/BUw/5mnOoffVJ2eOrgQhYJSl5ZjYmd6oVnzVsnvyDPMG83MrXYtk6kCPJYx5oMuyM2+inn2rWn445XVykEWTdnpHIe6nj94CyC/WAwCiysXR6C5709W8izmhjkLHem5wxSsuiqV029BpA7nC+/g70i3ZJISjLTUC873KFW0DFfgLvUNPJhxmWDNLIAgStLW4NbDbFTrVcLMdA7z0q+HYhqAQuWBMoyBT49XYq7Bzi/bgnEQcp+LvJtdh5mKwsY6tv8JbJN+sciZDb8p+Y+qF75RD0q533pmeC7EjLRS6kGb3O1dqUXQ3sYT1uA65FYw262+OPvgPYw6OmSKZmmPH7A/L9ev5rjBqRbLEd4bY/Ff8ZUw4KKtzEpzzSMuBdA+4UWID56cNOfBrk72vuLvecElu16M9qzVP8OoAyS0LUak7Ubio10f4Z6wZYOhvUZEgi5Sax5rxwC0AzGIcOqJGHxA+V1hScCV2tvgNJv7XPta/jKCHRuhYIrf2HjmfyeLmcTTXgWDTKX+wHEmUbvCvXvDlqfppJ0vfVHBPmIm8fNxN8vOo9Vj5aSL+H161UuchAmBVqDK51q0S+Zxa5/VdEgc9EN6hwm5Li1btHtNCBuYxoEDkvaMiVf1F63OByjGZdySn/ITCcdrRotprhqeSe/3I91QAT26GsDB0C+UlDNIOaZfimoWeeVDqI3h8aHC4hQkxpf53ktNvNwjz1tTOsgznMIM7IE+5bpj8hmLhf/42Cc3+MAEfTSLMTAQEndBfnixckDfnYFqRHoXzPirZxzD5V0bPzRJnOicKUpZUTfZPZzUv/iJzW0cCNRKgxPIXut9ssBzKiOdAyFviGxnkAfN2R80wObF2Ii0NkrJH+hF8Hjpio28Lp+P14RhUUxMTSHP+AL+gtC7SO31aOkdfmFeu4WUD5W5OlTpIECXnB5yOB7f/R2NiszPdQ7AkSy+tsL7XfeXC93ofOJ8oT49FpLS7vdS3VrxKvMXa4VxxcfQ1UgjL21cbecz1fLLMQty9PkJcoZSUrMhAa1kEGiIB7ZxhG2rAKutgw5aqjC+trnskrCAHhwCifSAbVcyqIhOGmAg4M3vTFwuXCyBidmJ54WRlqxBnMxix6asYF8G5aJmIaexAS14/BpCrqMThsIN+nP/3aZQAxaVa5FVg8P4xbdimk07PQME4Zg+3Jt7H2ljupWQ1AAOcMQX/1hLYIQ2WHEnCzKkF/J2T4GMfvvwZyU8RAGsk2SH/M+bfZh5GAVHcJrQEwQ9XycNRIMHnEXElyMk/YYgaXXXosq48PpSOGQ5YyCjkDCLhWcaHGL0UUDbjwSH96YKrThjGfOCxSV6IK8HkbUJjGfyvCprrj7F0rss9wGLzjWsAl0mSydaFI48k12bKXKNPzG9hky3bUQhou9Wjui6n5SLKAOVTE567dpdBRpr7TQY7OZ1jeKM/29OstVQbW6lbaKQJCnmuOFcseGV+AGrfaw4JgqV5WZq4uoBXcjSRDy/qtQxTTnZhD528/3WTXAbxju836GSC3q7IJzXo+vx6nlGpOoo6SZN1SBld7TnaAMvsVKczh5c2gzpXs79QiNZvcDxKaOGAkcjxv90Pjhiw8ydTui0Eyg1ZogXGnV/ZJGkkR49GaEOLF0Xf5hU1RHaFoBGThYIg0t6fIjfuV9QGbejotreC5ifYDKdzsqIZjONg3+piq+A9hGit1MH+iyU+8HMKu1eE5PMQPnqUDVdeApJMiOvG7l6OvgWmLeWyGF3huwOLMiGxmWifJI6bJdR2QdfSsj48mVdBrjx7+ANKclclUjVIR1K1kvkw0TSwFf/aRlp7PubCd1OoeFF41ic+PeKF+ZANcNi6z5J9beHRSNbxCy12MEa4nDIwFMhSBmhp3iIL2SeqUoXSKVGjMnvF4RC058kMECWwpzKtG4boGtG3YqLZfTeK1QgX/kQurHx848ltygERqMRuM6b2K+2JEIcrxobArDzK8TfKukmjJuc3MsiY/Sc+4MK+x89x7HXII6sn2A6fdWuIfCUWVWgpsOdFL7k1lMHzURnFD+AuCMiX6ulc7TEgDVmzhJeysE/c5SAdb1oGEmgbX5YuzanYumHek8Mg2Al1USZ+Eo3hGK1mQOJjJhpEy2wQqThjja7T1xJDAR1X2wMb4GKjqW0DNeMtAGSijm2pUC0DxI+LboIoZSFSWiMa8hoHWS+/+qqvlgBpfAv6iabe1gNgj/nvMoGKL+YB+7KoHAYClL9z/Cjbkn6CVsuSuuk7VDN0vWsdZXuQocmo58bzE2moONhvom4VIhz8+eaE6zP7vsT03P+ZjEUHP/6IlmQEJRR+oyreH76adAjvLPtbKtiVzDdTUQY+LUmxAIYZ5NLueHPSAUR4UDsCX3sSEeF02lbnwxup8sKo6h0DhWg/Tt86/Vo+pJejKiIrXNj6c3otAEsZJb7Fa6KW518HkR+okDlSa6XlihKFdRaVe47r06n5VnSRVw0RMnEHZ6gDIlnPmxaTWqgKE3oPJ/VhpqjXYW2bi3hRYgJqHOMuMJOvCnpc66X40Krqul++Mfg3xXObiFi53b/WQd9MqGEgKhAgS8IIZTdaSMfFCF3WmZ2WL8o7X1kKj9LFzNEC/RjxR4LOX3xOVGXiFcuawjO4upNhdBcjtExnvg1LN9K58Y6o9jy1HQiSQRCX4K86PW7iV7dDpZ4qzgKrG+kqMMg6Hb2jefnK7vwsk50NDD86yljAFQ90cPKJOqW7gvaRTrVEl6rP3z7ja+CVxfP0prLF67mbPs1/siPlxsZ3cTO/Ik0zXChcL9rewiksCFGDGVMPtetxslVgdZHtvhMYQvYWjRXGOye731XbB8uW1C7ohnlgV/uaGlueQyI0uBZ9/9q0Ou7Fp5TxfjSdInaJUGhJPQDHS8prGwVT/OvTFKWwJRBZ05suvlI/lksrm6MdIL0bwCqwciHjaDLutU3KhexyHfQ0uRSUlerZMmcl/Z0EvwKL1jIVwcfagXKxTv9DI/SHodM3N4UksIJ4/KMrJw6DwSs3uRLYb/IHg4rOkPsJYFSMyxhXlvzEN6z6ldZoSL1ReEobSz2IJLHGU8AQ7P603tEs6jpsS3/N4bR/PDqSNeA3cHxttlF+yng8HwiinEKSTzsLbaoq9Ztb77rXELmUrOkZCAw4zR0+koJnZEP66Um2vE4ThuOLcDwkAfjFpl4FqSsGcV9qC9ANVYxiufbsymQ8LrpIBPJmD/Mq3gcZ0hMev4IdVJv/nPZ3WGCeu3ZlCm7NoRHD75QjDrH+plRaHuXeSVOJHjzPGdmS3nhXPj78o4H2Pb1GpeRvuYFYqgwikOMcnwPh7qfyTMXQFwYx955EpsHxd6QNUMe8iab2+Dd8YiBRFxe7SBFAxVeEDBCVDXf4h6QS/12mwGJUrXiyJiB6r1hgq97KJMItgDwMWUXfPMAme8INbIqjBHSKX3Svd8jl52TCYcN9n3JtmlJi8e1ZFMazMB4xAmkRhi7B0psRjCsaF/N4TR8MM+pnS0qUg9xxcIYzyoInZ3jzcvhKBthfo1xgiKK6e77cCQYuFpQ8utbKtTfVW15Qjvt2MQ32LX/oejbnp9MgcH5H6MnmSaHYOW8H+V+iY12+sew0iPtscuXPGokGLgSTYp1ulQp2GyqmuHxl7pbyd+vBlLHgz1eQnB1jkRofRKcolYww3gKe+0HOhq2Kkb46HmAuJi4UjGytFMOVlsJ1W5i65dOuwRK0U5traWQyrGQVQtjQXKdUjnyKNKIGcEXMVFvM2d+IhzG6vDXPE/45cZfozmySn+qTfRB3Dt697CoGu0/PLxliAvMbe/lHCRJ63R03NNExHlFXDvQrErDhcLuSrwa+JW3x2WqTWPd0dr0ZAE7LhCKTItX7USFI2qb0AxDvfIGzl7593nl+WQSUX27CJuXp7Jso60mj1wpEDiDIBeVgsNi4oCjInl4+Av9Fxzmrieyx2vygVsSwl5dk+bGFCAFWvF6rCv7Ys0NZ3u37cxn5dHS5jptS/ihBRp88zsolPO5TU5RXbDSm01NlePtOOIVem3/pklOW/KQT+IWw4MHRCbgReACz/3jbj6Lpdm9ytWLrmsPtHqg5hDO5XR1UF3lX39zkD3sIv5B6CvZRDD5+nm7xp2bMk6T4iYY+1WrlvJSX+h3WPSdFi5bhL7JTmpSHzmcP9DvgtDVMu9nzrAinaQSxO3PUoBFCUL9yYjAC3YtWWheqsNxXIJcbiAOMgSiUZFABkvtJNmQ8QenQaiwN6oI81zonUdXGsdjvMq6dU8nM58BuqA3jftZMy/QloGBMqPN583zzouGDB2qUfSaKNRX62DqLVGcbCWA/VxHJKfdxaJYFBz0/B7DmoRQKbcWCjx68jS5NvFW8lPMxVgbtwhubQpbtYomBy10Cq+0QtG3Uv302vFQN/ncIfEnyOQo8dyaKmP0t7LCa6f69UYayMN6oSHyw+He2Qb6RA+dP4ZpBz2uNP61RgVzvrVTY0YVpb9yIB3WFI6F6OkwnDTH2juJcn8B2AHWaqdif1S1kBcWHkfRYsdepSIHCXX+sDsD1mPOYtRc9C68rbLL8a3unGPHtmUDedlJoPKSRbcQ1U71REvXXCQA8D2GBa5FHN/GPjMGflBptiEJgSLYY3ilLggC78rg0rmHjTyru6QOYgY9hmfabGL1qarGx33KdXKC+PspK4Pk6xzBbK1lRN6L3hwGGcLRJ73Q0539jYK6mRwaJP0GPWKq1ZLDDxQNJd0/o4sHJ/qilvLDulBuaAy4/1d1QpyQpEhFlNnR03urUZtKs5vkJ0IIygW6f3JwaDXQ0XU6pEmQhV5GXDuHnKLVwBrsyJ/uIZgrDbSF/Ap+K0gNwN/Gu4fTEEjwpGhTiifRxfHFtU/7x1XrhSsgTcfNY+7n3ZghRExNaVM3fGSeWQgz8sMvWVT5b6fztaFczbxAhAETwwLl3Wl3A6JCAg9kZBtbdCXRh+9G9UWcKqWH6ztCEX4Hp2Fq/jvZ67o/L3JL0LleZBUckt5j+rWPOq2NQ0WdmFZWLgbNFB48YKhSAAS/i60Sc9XzgPTVUbUxr0Tb3+bf3SiRutvKSHxHQ0utO5K+b4DLqoyjBc/YLpJhIS5LYaBFhdPd7Xkse36FByX9cW42Skk1gSaCTEsTtom4g6+T1dbQWb9wgaRvcAsdPnGnvbwLENIrP1cCSz1BijwAQi2FEFG+kEuGzcYFlC4QuYNowpcSarIA4jgfyb9SmuqK0k7i2mz6wzNS4vYgy99ToFDY+DyJvH5RPhn19Hu5xHLlN0EARGRr8Rc5KN+lqJavLjHLrk2oVwvkdAm4pPYWdqL4Bit9NYv90yEUXveYsnHC8BrkAGrje4bXQmgJF0xZZIUtd9fRUw+RJG8SePaaPi9nXdxTHWz1nKfz8r4slZ+UPJgOtpgmt/TqHztPBdIG5vfHUBu/q5Yp4cBSETlzzQA5V+k5v6EN96uqWk7HAYnCPA2gXRl+FFCa/V9QxXzH4mzKPU5ft3KsNPb4p0W5kpXB5FUMWMB8Ekl2QgCW9l96Cxyb/zrvjE7E2XmuSAq2Fmg6zt9+rPuRsU+G9s1fj/9Ra0Z0ST5xwqY/Lmx4ig0PKPXdXLi+uB3eq00cM44S+XVwfHlNYRVemRqwMOpo6tKZV73hJ6/9GTXT+bKj1yvbWYIMh8zvKFKa4yqf34D2dtpj6H77Tmx9yboe3eoHOXgKmAyHpjwYgyYItP9oVhZK7h3uHk66vh3DjgKrAsvjDeVe5G8iOMnNiZLOEE+ohI+by9EdHmyyTklyhDCPeqYBjfMku45uj97m2gvs9+JrkkM9IQSyLUFCsGl59H1FHB+gA8gn+qs93copK4Eoc3w+bjw68q3AQHjXGw3YsjGcp75gE50guWsuEFSgJMWRqeeH+UFRrg/Zy2gP64hkHxbvzchjmCoOFZg+LrPNtf8V4xir1b9N3Npeaxh6IiBJh1+h5N1VqxyB3h1uMxG4A+wuhX6ZpWqrIAdGogRY3wI+XN/L/HzRy7RLwZ3U3zvAjo4iyPFPibpmiXUx/Vc7PyHpTr+1TW67P9GguPN71OQm90TKlmQ8+6Cwz51cqRMTRyNfVQazkFeGo1f04t3j2PERAxm7Y9JULDYf3llBp30sN005zqTDXUQ/MGWL9RAvRgBt3t7/fk90eIZCifD15lyakv0I2e+vuPsYDigzswDHq6A2xreAUbJrcncEv1oDlTuMP5TX26+wLsCH4J99Cz0kUIRdTRfkXA0axZ97XxsvqhochvcFNldZQs48e2L7Nh9c7/eCtnRSFY9psWEN28MNZ2/gleH2SaS4vW9FbUbnfsNXirfINwDWR92J9JPRt6PtMRHl8I9wb0IlQFOSoyeM96DIlQA3YyONdfdqKIJKF1V333KWwy5K3CwRQhX/96AYnwvK5NylsPG6kVBzvAg2frCqCs6IP/2T40A/oyEvUXbgmwfGkNp95FWNYJrJ5HcbpCwwvzcAXEratyFO6ZCKRUMdmlGOXUE/lbvJwG7dLTmRzpXZRJ47kMV7tKcCaZD5AYdKDp/CS3cdhMySP2yCnPKOtXFKrElLdKX6dQz/PVi9IhEjEgLs8Br+BsjOFhAjjr6BEikMlY6Hyqa8nBPaNdefBq0vtjzN938akWrcxm0OuMNOHYDkqTAX9a6Q30R2mMm2/dtCSGCqGhqzMlC9eMcNoV2PN9UNXtQHBtENo37+L/vLlIIFg1Mut4DYdA5xai/50c2+lAMQZ4lSPEFm3lUzW2/P+57fuX4Xi/6zAqwDJ+IyWNN5Ryj9xwWoGXuxrOBfHre6kOONbWfTTNMZe6vD2P3JNHrCz+RnfgI/nZGxoFpp2j0MgFpnmukY6mQmfRX20t56wlxRx4cEQqMLwQpe5FOr4shQ4N9wWFtpxflHzRDqPcyDWz2CU7Coc6e6wi8Rzu9/iJswiRg3yYL6LwHvshaTL+FYrQsq2WNnjLOOLrvgTQSet3sIAXe8bBrGk8LmTJvK6vluNb/YHGeaNk3D/l1L4oKrPy3IF9gWjyUEw6+lEJn9hcQT845nl/2gz59LZ+ZlLdIXXX1pZMExBfwvaevx4XFBWyH7lAzjr9Ytz7RYj2svtMiAjt4MHzrZZb3xdjiEUNefKKR1NjrhGZJqDCUuxBoFfBPi2m0bT04MIiYlped/Ltqcycf/nL2FfmBYuPWW1yngA48bNIDG6/agSX8NuvFcDNUfD8jfpVvKsZ5Wq/HFUF2KzjRPT8lAB5BE1O36E2UIzG+eB9lJry7cSpOuqbywCnHXlto0nd7+1wNyszqiv+AEz2ggWzkNsCsR0CprMccNEuv1VIIKUGpy4nW4cKgThqGnd4QOdmzIYnEfbGskJOgKxjh1myC0BrfVJ541MaU+k1EzSSqqDa30pWCzBsiGZ4R5RYcEYsRfqYCkNnYH5b+7950r/dSisp06HbGdZCWpDvB8LUAkNYqv51kOONHVe4K5NVlktN9zSbuBLOUkrBSuCHmpsa4EVlHLa+1s4R3+IVMqhViDw0qPXwtVzZ4YjQ495UcpDKRfE+q+jOGac+1kMMKi8320kfWr+X2nDHsc5pHAjJqHMduX1elEJA56MDfyqMiD1ko54vCCd7qHNPI0ioWLX5V+Al+hKJPUbUA0fbIm44lW37wqUYR/1hmQaod4s97O/GtBIlpvnbgEge6DXz1Z06fKWS3useRNZe1AxN7uMn4dTBi0m1MAni3UwIswXQRcAvkgiLYs+06UeUG0tinKWnZ2/Pz+j7MuK+Pd/qzR0o2kKmfFxaln74e2glYF5HDILEKlAY/pjZjoBI2Xd415hyx1EcMxS9ywHq7hivmCHpI7gLUP33zjX4u04BI6V/NkKqFZHOl7EEmu1c4edSckt+qXR8EjSTnRkg/jNEK/LJeYnDQkKPNMY9UdPsAn7wc+c90Hfsfj8mMHREmn7H3dJ+3epNhkM5ry4H0ZZF2HOo/QbBl0JHFEWGT0U2Soowe5NQK3Y1vlo4syMtrq5OHjSzLOmOsIvPbENMViSaYt1Ahmu/MdWefECqwt/xDYYhOdQ+kdHlxLBzypZg3HLLkhjTsBI3j1TyRh+6tz4nNGIXfU5QDS3MY4QOELQ5f2Ak8bhH2N2/DrQ+C9gZSRp/5gKei5YBV/oLZowQPFlpmKiA91YC/7la+P9XsYfYYcybA66e9378gdArb7mg6DV5iYhreBL9zWVCTetk+j9o2Rrx+D+jTzrXhAu23eP1XkM2LpNTXqEZ/v0CQB2W8UX24kDJidJN+b5VFjx7lWkoFU99bpzFhCiIP88Jw0Y5o0wYOh08Gb0sqZWbM5v57OIX5BF1k632RuJu7tlj4305597Pd/K44gMmEgTrK/WGYDzMwLuGpViXIDRKVCjDSLlS/8BW3kiSdhNwKsPv7zQsF6DyqMqQ8/LarJCq47fFD6kX6SSK3bui1reF9cnB3S1I9VIUak3olAeYdv5rYrB4Bv73os2qTGKh5iMhFlZwKz9LF1z5izmnq6umJagFf0fghNQL5HdKzr6sXjO4Czh2ZBV6ElAQ7YxoHZxCCM+RKQYYS6QkuXJiQnS9icTcPXtZheYgsQd8RjC8BkKOhwKh+T/I4zCBh+k1mOKYNJj49qy3kA0dPwxFZzU5blZcM/rQcqeXAjMHzSpEk/pgCrVehEVBB5gFkgejZZOBw1B9fC8DTbaz8g84XOaZeXx5Gh/fDLfhykVxKwZaRl28ihCcnFhr6T3or8EaoFTthUeXegQFdZ02O2hXd6ARMMo1EtcGVv78Ybfzqhje9VA+SC58YTC/TfRDAcd7N9/NC+Z0CIs8ohddxOXzHukp9pBCFWjGC+qkEOQat2wkJX+bK6+YrjFUgCaxup834wHhLwB2bJYhYax5gSsbYdQSQ2OpHkwwFF2b1L/5xVkjPhicoswKlYyxQwxymjqREI56UL4d1jv5iX48r9poQPyl2vYDSxcIlXjrtJ4GVqMRUHt4frmIvBt0gNVSwLMcTKtJaadVK8a83vgN6G0igJrjFaWdK39AjKToJho/XBSVx/Y7QvxFlLuM7Qh3yZuGdpq7XSJD2+FTcrP8wstr5D/zAtQdGOObvCoqZHcFfl4foVQS3UbXYO4VaQl1Dfjg3DWijPmgNq8ZprBHRQ5ZT/tiuentNIMza56m8p217AWzg82+hxCecWq+pI1bl5K+wIl3z2o7PyLndDOaPFa7sUUaKAygTJFZ5jnsK6e7ds86/xRT27bYnO/uECN35BNYLP0p1GAyFFQE/flt5EdvFZlI4TLxdqn9cLMrDySGiv3jo+/8JX5bBjPYRa3dDVSSzB/n2sp0vdOq2qdPdORM9LpALS64qr6GpnUtw8bVAi+gcVZGYYnW/AY5PB5ZpHLWzpHEj+LAyxkWPy2X36TD0CrKN+5Ey5raTAp1QfiILN3uNfUPrr23b75k/8qQ5iQfo3w1z9ZqjMh0fNpHFLHMQvEfMZN2jPbQNGeehroEgPORoi2C8KoCttpJ86iPiJm5n5RBolOxbi36S096RbktWyWblg0gj8rVc0SmUku+Z7pO/21qVvwio1BxbCiEIttz1HZqenETkwgPmebrKwCCIUydFDaAeB+M0TAE4d3uxskUb7PlqjyH9YYicM71N+/XRq8iom2FpqGLhwSTtX3FoP9/QTrxOWNCD6Sbd4qLxoIfv0G0BScChab14nU563IGybC2esiqaXVCM/CXrEHkxEub91KCJOaiDwf2i7CGUcf6xd3DdxaqWTqDfc57zhngxinCUCiWma7YvCtYG5J5h7LAvDzFs/19Cb25A23VbJ/OLuelCh+nyAiWyluDBYFZSaFkbaBJnbGLqxtbnKh/cTf1xOXblRyiTeWPKZS1bJcbD0b8Ec2CTy2sHV5ClyN3x/Z5Y8EtAA+9W/DSRk0qJWXFCM3SJGPBO977UoAeythAoUKdh5+rq/021HmTwouQuL6L47Bl+kfuuosFn0NkYWAUKF/I2dBapNAdGuNqxk5dI6A+8pF0OZnjIWLunli5KpNAXMcMXpQraer903h8uDG3fYogKyxYKqHfLmAjMI5ligpzAlaKD9Jw2rxoHDEzlJylgkMTk6SdnsF4E8naGffOSNx+WX8IKcG3+K8b0rCwvWT71iY3E6T5DuwVEmK4fceA8f7zK8XDUzPY+NdYzJzDDN7+q9q3Hy91YtnoZAQieOX9U3s/zsWtpEifm4a2nspRUSrNygzu3XXIoZWsRUNSHmoQZMsOqLH8JT7Bq/4z1pr8v6pIDiQ3LtA/AB4d3TIiwRXgvVPT/14Guhve+cZ/f0Rpdg9iVB/NMiquWqpbrdwyGgRDabkjwNDy9QWWyM9B3RhMRbs2hlSeV6hgp74MGpQodatwiXesDLVXiKucPMivZZ31Qr53FZmNvuX+X67QCXzAERalYM5k5kPwzrqeeFmMn6tJWiK02NXB9A6IJDg78B3p0CNL6cZUT/TlnAX8ntGuJohVkoHdVfEyf9p1CBJV8G8NKPHD59aosO9twpkQzuRgtrB2jb7aLQ8qMno6bRrFhhviYAyDCV4yoNf+WNTHVXnqox6LVC83DggDH7PhxpK1bdo6keMAjRqreLGUoAvWun4AX8N9rpjzIC+555at6omaaC9fuh4V/MdmeigJao0PASBLuR3LC/fh82oyGjKKgxuz3rsDze3D9hdm/ofQq6uUx6Ar4/g4x/F7ui/mi+KBldsIGhogoGPocPfgO/QYuFapfWgKc11MYsBfjPRv2jj/Jy6pfXob1cPy3VZPeB3GPZpOzk76S6OlD1I6n/3Lc2gy/z9gKyjpUUqnP1WFlTzx25YAwhI9OQJx8EdHrcRgZVHx+Xr2vxZXuga82WhV16ZozBUqFUfeN9bSpQqR3ZTVUTfCkSszlhPa2GsyG0I/wldC6A/TX/BSTWC7PcWKhjJAyy2H68NW5tRbOJQ405Yx/8PYWOAbOjKBExlQChuOzZusrxDu2nbcVzXz7d/O/iVLlSFP5s8J947esxJjissHOEMHudCIoSchDO33ZR9XVLokQrERchrZE8yZ5FHUpfm9N08aro7Sl+gRuO85Fs6VzWXwSr5kbftuaAxpqi1566YlrbyRdTDppNabaJtBXq89R9+aMTnLj0ieL2zXzS3rcFLrxiY6pW3rcL/6XyE0q9K2KlOGHGHp9HNlkPjjRKazMWTYEdHKlfhCRn3gwY7zm7VS48Osg4BmFWEpXEyBMFklyrZnJIQluxawlN1OLEngpHnOAK0E0O1Q7+1zpZfpkCRhXTNMpHJRyfG7gaB/2fgOqUJ9aoYlk0DC9uicQHrs2eLugivrDPfB+UBru6RpSfLT7oE7PzsIpG9gqfxihvsLgo95Rpmp0QAgrk7NmvlMfYloGHd/tWQ9+li55mySSQ9X4GynkMLVHxm3cebYYkl60epWOPO1hNYKiapwKUvdPu2Avuc0XNSPBnPtjDXuOWLdgAe5WWpw9rqgX8kPIisYuWPTPMGZeM1wRLz5MjfJKZ1hXJzccbbJmLGlzRptJZmyzWsniibYjqiGTcoSenF+x7QvGSbVPiIoQhfmH4r0HpL+HkVUFfTUU1dJDzEIcFux6Ru/S3E32yOgBlvn+x4vS99nMi1jSaFUFpXzRJcsmW5Z6pKtF72uIohacAanXn/yby+/QH26ftdHwEc8sh5GtmmbDRWj7UWlkaaxH3CbCttoh2kxzp8QVeLAJVK0AHjuYa8fAVZrOn6aM4EZrlc94tLos5aFXCl/Q50l6JHC1Yx9wdtj6VclcdwZ83RBDLXm3zLqU/BTV1PAPjMkVcMwl66y8LoWbAwkpgzUQ4p1NkTzMCOz9yu536YI8B60ZoI3mjHN80s3MxI9WNFYKBqNYbv7tbBUVbnB8e0J7VFkUQCQtURyixZgfltrk+xRPJJuzFe4N63GnAMyCp9cPRzCEkVAj5rkGixd6yl7LZe16ktGhKI2zFreDrJBzXLrQCU4bgyXYTqp8LdFsfOD4Iim9oUBduttmuJbysePhvpUW8AjYFknXk54jYTtJYajN5ZFyJmeXKvYM8BGDhRcKfbCIUJ30Ybyv6Hs5ctYN/AT6KfYi83HWJpn9sUve2nFLLWJ/wq7O1psyznJAXvwTxkm6LpLpgdzwjUDHHMTZtyZmtgrbSt2aoA6nxagldaIL1RNtgk6j2+DYvCKn4ScuSYDeeeRHTbrrr7R0ypXGlp33nhUgXSlEOL37laZvOkEmqMLjZU8oHQvhajV5hyb/pHUZEFa93G53jfcNvbxeZee76JQwPocXDsIUJwCFUf0G2T8bWiP42RRA3SZwiVHToOgxh/UJWTtCtKlv62Oyhuz+m43KiWERXglIdTGGaQUNvCYwZ1dDZD+J3V700tv+tnmakrl4XKRQk7ItQdNI/1xpfITf331U/KQny6f5rxoMu/eDaKdrfwOMjMaldSr1IdRuuafoUdLnDXS4Ky1v9DPrGHmbJ1NohBu80oHKpCjetq22jLEnjLH9qDKBezL94p6YujGfi/5WXUXh2vGRuQCfhg2sGBSV4SfXZuZjx2gVD28BdqWMJVB6U7onbS/ethNuAZ+YIC9vUTjXXWVz8STwHpsZv6+15qNRhLW58Gi1onAeM+zMZWKYIt5XWHPXa3y6D5ou3yLnaDjkvlw9G/+n7y6rFJw7q+RlMINNm9dSWf1kUU7WqsVDxbZq4u+kyZXYlXt+PjgccD9YZaNzPdd9NafqeCtPwLNR7p7uv1o0NJiBKi/arnMooiAqM9yjMhGZw7RizK3w6uCdZaoGtMSKgyPqSupfmVqijQO8nW7l/Pz6HlafuvrjGKfdkMLXuRZIZRy1eTdl4RH5jh00ZZoXUEZYa7dpeFlU+orUsltQf7gX04XUOX8ieqbIJaFBLy9HENvScRClqJIhIAnXnIlsK9kbD0iKzmDTrAOXwHWNlXxs4uuZj/v2UoJowZIT72B3rm2mg3d+4iUvaGtRb/5wSuXyzBafJMY7908NRtsH+Ktqu98VOdtNsU8hwNDpT4opzIDS2QrxN59+d9wFCss2FFk0QXh06om1AXMD7q9nYzH0M5UYu5YU/xIV+/iIR+4BuJRL50M2JDoR0g3AsqKG61C3kv7Lqel8BmLH8pB7FQNjxs1YtIqjcJRsAyx/v5tNNhjxSgyQJj88XTRAyeYBDVck55WCZhbkzLeKD9+neGKT72TWmKkkSE1CbwouZUBNYAVo8hTuwtkCPlG+IEbl71yK4RwNGw7xgW+3RCrX7otfQcg4cZGHQZIcVSdg8TG3kgOX2SpGbncTuuQu4Y5HsQ8n7QL8z6gdZmgwIaIqDi4iOUKtgqw17rmGJmzJXVvSB15WdSwvKtzavmEBru53oY9R0+SgUoUjm3P9tdwXJB3ZkoRfMIaWmzM091IKgx9Ue235zPkrzNOpqEEHZPRCeFJA/pSr2yx1g4KKbEMIH8D1oVSRohL1KCw2xuOoqNYUTNt25kuNV3wh/pIOHM/hclQOuKb56F0p1+xvdwnVbm/nQND+PcZzUnNNgtnc0qAdA7YGgZkg8z5ESZYOnvCSLBQL/NYiIEY3HXL++iKTnejomK519vme8EpyBLLbsC41Cn260SDhx27abbX6q7pbVqbZn8cw7EmejsTYrGpibEJb6R3kWECvVLkO8kBotQnR/pCipjkpoUcdHihpIE5XPE4/s5p2bptq3Vo8Cs3UQmnclAHCfpwaff64AU8HaMoEs20dCqy80YBqQDK6F2gz+VVL1ADS5x5df7enVPjWlZ9FCvp2xXVthk/I0i+mQhMs/K/c4Q5VVGPKvryal0Hd+FbeqpRMiu7YkH+HC6gE3B/xRm98xBaiWNIpEMApBpg7mC3y/uVMSAieiFVG7HUh2zYgGhObJ3uMntLQTENZ8WbsY8b9byGbkwB8G8Rv2M1GCwLuPYYx2XNHFmMLycC8rZR6O7466bSjevZA9iyzLdFVBvw1/4yqUGtFHNCLx7L5R1wSAmuG5fWpmRKSF7e1r0Ko5NkaJZHfNWUGuUqqRcOZllaa5BP9FPJ+tU5uUKgqh8fi/Ay4JEnPyWj50wFWQvzDpZ9dIMQeSWLlcJHVFsbHPtPcTOKEE66wpXS5j35rSZXkWDSkAJhqrcmIDTz17+daIA+/riY1Vt89YLj+obW2moAmsLVKWlKfVa7QndItlPBX3XiISpLCy3gVWnPY64nStT7GbpgpRC89hQGeH3F1Niy4p4+RULlKLfl5KP9t6bs+JWaKbNOIGnNtW6CUyfMmiDUUOoX/hD6vXFIiXi9e68EuBOBj/uPMcejp7cnfTQPt1SQF1LXTdFHCIrJBPYEwpUJtI6uzzgnwnvhEHjRDax8a4DOfMlnKl6BXhp/jij125cO2U73z3v/CISxrd+yKGDV49q5xXUP2QZIvzxrqFQn7J98ubfc0Pm/0hDsNUe2/XMqoE0JKqL0Qb0iqivJ2Ux/92fnB5TKW5taM0MJ63cYWhrpx1HQ92mFufGFzxao6byBghC68B23fU9AW0AQtOHGOi8bdyGbqyVmGxnw/q/e3VVJUISO/EgVN7dBDsaro3bOSxZTM4FPYX6FcLHpE8lRWJN6iEWkRR9fq34RZDBwsyWyo98gFddduHnHKOQ2bdBA+PSFN0ob+fdFArDwlD85UqsQvUarEjiTeHI/MlsTTty4P5C8tbUGn+yvtbsZyKavgxE19mwFcrfqwA9mHQjE2UVVsr53sd17NlCSQ5F3JgSICUPDO/pR9zyS/0ICfAM+SheBST/hFRtiovkeK2h0O+X79D+uPW8Qa9+oYo/I8rm29NZxG7nBSU7SMondA2P+Bjh0PImGHVwU3ByedsKyBpdOUL1L57CS4FwR0AxX1nOkJXWuq6o8wlAbUs7BjXZCqNe7cA+1IH1QeydbriBBTWDROUd4TTRlNJfc7BCJ57fKaDqD8I+HfpiOUlO2SVveua5GLXLiHQBVYQfwpZB0KF0EDnhWoCREpXwqBRZupxV7/viwdTaaxTS9ZkRNx+jLEgqGq7Pn73Sp3R3vdFzALPb9qcNqCGNoqcINx60wlXJVHpT2PwJPaFh+SKCLUg98Fy/TGBdhLkHFLbZNhp5I9cWqwJF6rUd1DcZH4sWkBi7Vloh4AgXslXrrC96DK1cHL4qVDTBm10jNuw4Odn3T2eOxebMbR0+zrNCehoTIsUBPUfU6BA7M+OctbQ1SMghAo1ei1IfHFF4jXDgqxV/4KYu01nwxv0Iq7U3K/7MdBktFtrSWRQBMi12pyCCDWdcqBGBkDNrl8clkFZ2QwA8oBLFfsJn+Rz2qbVSsR0g6hux0KVus2vwRoTUatGYFBSkGa9j1jKMIFxf27Fsjwhils1r98sc/vVot6ZCeHFP/YxUc5VYyT6ajt/Wg6Gmosuhzgd14a7rRvjvzbkVt8IRpK4DBF2IwTJ7mkBbTK2/zs0PDS4iDvxWGIBWM2nIa4eRVdvgGHhzSsaNkkwRMFsf2X1Km0uEBQhRaq4eq1WI9mvyLLTuLqtF1edJ70mtMOkRTnv5cnk9C/tpFKccxxhTsIqx/OFtyRvTGHl9ObwfkbKMk7xKZkFW2gNzsmRo9fK5qNGcep0OvQuSuhGJoUJKceJqc55IUiMA6gGSwyldZUOD4Ephz3ROtDkHfUD6Igxhk3QHElzEBuUD0ZihzNmpI+7vGDY4INFlREaXLpjmgCU/nIh/jwq7USAGdpHTBMp9NJ/HvThvVH6WEdoAzvPspPDcrbWlWsBOhhQsyT58s6mJUMUa7DYIhNjTPZhKXXYMpudN6dYCYSNfUKWIGyBWd4hzUnXB5q2OJvZ68Ad7ve+iBxST+yadGg4yhyXekQQTespBXpch2t7WV+CDxUDITgdXpQWZiUAx2Ad7ijWpIFkTjBxkchg6TDCdKbulUguCzZ2hiGLI/ReMEjF97p2iD2WxhbEARQ6+KY" title="Mekko Graphics Chart">
            <a:extLst>
              <a:ext uri="{FF2B5EF4-FFF2-40B4-BE49-F238E27FC236}">
                <a16:creationId xmlns:a16="http://schemas.microsoft.com/office/drawing/2014/main" id="{5AB8A48A-95C3-4954-BC1F-A2A8AE81225B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 bwMode="gray">
          <a:xfrm>
            <a:off x="231947" y="1759423"/>
            <a:ext cx="2628966" cy="4486387"/>
          </a:xfrm>
          <a:prstGeom prst="rect">
            <a:avLst/>
          </a:prstGeom>
          <a:blipFill>
            <a:blip r:embed="rId22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4" name="Rectangle 13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z2dD7pS103gZfJ6l4USC3jqtWOPR/ue0umjYEY9KlLthURXCUyUuZbmGDPUXB2idlVQc+R1c0j6vNnMaKvr/AghcgjyTjoGcS2U6lyGcWZbvoYqQsrFJ5DN1RdHsB5gZU4BjQJ6xKwDUEsW8X/QQ4uIPkrhyjIfLLN7ZR3puqzBiN1rMnctBA0J594at1EN5QJYMsPufr2eabAYzIDriNpy1GurybA3KWqcTPRKYh436jQqOHiPaCJtAtzpRgB7Igk7tw7BcBhai66Lc0jpyzFEK/4NRoFF+cso+ThI1HNgDMZbpFoCsJQtilLqk9nQPGX6RXGboCTf8hOOcHaKoTUKF81dro10jOa8Xb8mBGZBE+xk1l9MAy6INl4AKPS/xuqXNadhUCici33HMYRiTNmE1/YD2NzISn55wO9waDTgsu4UuEzFtCUajGTc/0DC2AtR/l5dEGRokp2vX5x3ny/psv2DyHJwjtq4BtCHNNNC+kkGpEVhiib1xyf+d1ztqkk0zSCiQvkfwQRfPKaEZpm+hzrRFXeJtoiEoo5CeQFQzkdxY+elmhsVu43dHLSTUr5pxrALfo1ccKVmAHVegG54+GGgdsdIpaawQhwFtIyLfwYNpkp2rwKZ14bBov7lBE1eixnv/gjXuuqBQbBP8q6O+iaAzfcrtuPFflqbNdQzcllBDh87c/VLXx9sgF2lSmBr11dEaYXCiEu6JShfugi3YBmu8DIsLSdTH2lvmhd+vZWMJIUaSwCEFoYnG5Iv6I7vZGFiPq4JTPRkNgvleqOce+MjauArW0YMC/l52qNOGSvLDUCUhQcvQqq+LzHS1hFsRdk22xbk+FQ0pmz9nlMj6UsjZU7b/H3/nukST4y88I1Svrs694gyfn8ksgm4UW4MhI84x9fWhDRt6sKocTGneN67/FL7YKPPYMXkTk9RVEhIF+EJUbMtIO5A3Yrxw6xuo8Rv4uOXT6mlgkMmfHiubEvxPf/a4p4YbDzdu6zv1C3VKGAoPVmMkih1GKG9y4WykcFtTUp1dMB0RuPToXCjs4YMl0l8s/gPLMtFd9QpygWh5JURtOJV/8STbT84KgxR3mwLoZzROwy3rIcov+IIMcPEjJn2zmzGr9iRVFgnNAZnkksHiGPdppNN6H8YCa6ZvapO/LQxcR62u/ZvNXLYfjWvo7/fEaYvwkk1SW2CCc+L9R6bNDCPCepSaeNLX3dH6RhQFdeo8mb07dKBOKaJJf3Pvh53fB/8/VxkQJ1jKJctP5RbRj6UPE0+XvdJsxpmPPjYp89EmZZxDBOHFe5EvSmL16F33apKLz8q+067QNVVBxm5H9VoaOF/72rGsZ+K7e5EplzbtXWMKsQUDFvjVHQnnKOXVGAmwy5DsPT4jDcUp/T96QJmrhhAK0V4KjRi4943gFiK9IwckQMdJ6NvShm3Aroue6G8eOrffF2OE3p0LnABsA/Si6I7DNaqdRfn8w2ePXmFk7q4uu2k28r3Q/dBsrvZWY03D6vGh8X3oZCVo3UuBzcy5eqmIUODoQYo7ks25Rw7swKuwDlqqJiwlThrliG8lT1JTJ3InFuYwSb5KJ2WrKw7A9PCllF3v45UrUSb8T9PKe3Hp6Y4aRjK2F52zGrQz3kgUZ7lTBQcnad6fqKfpQF1dHI/6vwNuCExpwkOkGjvj+n0QpytsX3Qo4lfxFSyZobe9ypihsjBAH5qjYO8NFoklAUd+flin6S0mnxW5DOl+9JBvu62nuoBl0edxIkjm4wyCPsm2HAmxsbIxnKAcITXHazaoybjyr8+Bx1t0La5/YRUDbWw1VRC9W8bXQKQ0eu8JlU0VkQRXtlhlyYgAl3jng4UuYwU3ucM5mFWVNE7/xsVLSCIcFTTTuX//5HWLOhRf4oYJo42JHFuoStuag4Gya4jvYECQvT3HbwD7+tLdj2Gy6if57Fl+HUdtvg0cRdaFv1K3yfvCSpK/nzF1rqicNVN0SAvJcqBZ3Es35ujzZsriATCEDXHLrOR4Nh9nYxxteEVua1MAXiTLjwLd+4xZeaiHIwznDsBESe8qjownEmYStVgTZWyNXH7kU2EwOMicx2Y3kwwLgzpMWb6qsz7Fi6fUOR2lUlEV0jyiPNr6VgHw4+T4uDJ0ruNeMmMGttDYrm6XzF8kyZSZlUbq4P+i+BSU1ev5+54c8ald0XVU8TDz7yJHOGa5zdDJxUJL3GiIRVW0gZsczhNf2pyBGkKIRfB4ETTsg+Z2hNxwKR7l1jaihWJpmX+jFZdcagi8DjP9zIbc4osruQ3wQoVKj8rAm7SWc4WWGOpMjWb36LZ+E6umAE8kcPRHN2zF2raIY1vDcN/zV3Hw1lV1iw0bDipVJIv1ZxIiGTvv+mR0C+q4WUBZq7uSLft6QL+9VfnWdzh0jV46wvVofCruQHWOWPmga6JJVUQBtMChe6rQl6wMSVTHUFg7dAj/Pxkfn8mln6vUKjwGWY4XdoJjgzBCEOM51+9Fdi2F61qhdrjShnWlzL1ruG0AtQW+QdUAt4bnRaMtsV3CrlpibZE5yxzRCRatWJfkyktYS7/6FCicpp54Jf+ryaOnYI/qn/HUz0sOqVgHXrdWbm3pVDGthHY4vQAgWbfDiOyUXYqDA6JJU7JCR/ifb6pcbt9aRqhmGjNSBz9GfY7Tnq0h3WD5d6MWizGvCQxk1PgHC37kXUBXJl1D/cJXjF/600jtH7OnqFlBiTDrw7oy4hx4NGhqWkShKjfASEt5VcWABDW6ipM6BUq/nn9ihXVImCK7I6YiqY+LxLsxPTYefAB0+WBwOO7DmmB8K5QM7xXsDkw9gftdcByugOCykon5LXwMHgkJveF6j+m4gy1HWbuCum4JJTm8jBtK2HsVdB0/Hfgac4/HgVaqIeY2VBJpxgrunugRVLnfgPnIZWbPHWhgYzY+WrH7w7y89bD0gQ/5/SJYOKBWapafl96eZGQ/rsJt7PR7Jrt8X6eijjQ+m+WrEqlNu2Q9Ns7kTaB7BHbUl2F7tcJQB41EMqq0Tqx+YhL/oOc+ehXF94hLWJe7NTwKiLrk7HD43ISLkxuAj4TRD9hUdW3jc3UwxvxKp/DRtxceC5zZXogsSpsoFY1TcWDzRQh7Cv0JANnbL8no95IVxbqs/dpVUfBpMyL9si2/TCrEtJVgMluXU8fQf8Jg2PdXSgTTY489/QM8fwL067iHzErwYWx0/BOxo4eDWKREvh3Yv7vqTfP11A5VYRNB3S2yGmR/K2PiKSPViwURyp2rfHrlelb/1VNq95x4Pm/gEyrTBcWg/uJfKmMzwS9zkPXSALaKj9qIrC3/CQ/sh+1FshZK45MRE+WtNu2MXyz64rRnbWk1CRJa2rbzlBlJYpMRWpsvHGiEyb2FNQ0JD1KWeWNB5kLvxuoly06g5++w64PS1itKuuiaNBAKOcuh8Sk2W27j+xW+1apsj0lgpJ8sdLkG+bPfX/hh7KOkGDL1luGJzenHbxxAgc+ctsHNcQgmf7W2TrK2qeLvXRNCHTngW5tcJ1f0xYzAh0Km9Mfi0A0bBCwL4cR88PWAJkmqXi6w9dFfuvJbzt5/wvDED5to51EySBMrx8Kp4gMBtBPkiC6RLGVtQxeK6uJqLc+x2ho5IVxXQbfb3Al/IOqGDNplkXyS+iiQ38AxmcC3p2GILuHPB4Z1oNkhz2mahnBiSgzWWx7kOMayIVNAxuC1Hnu7NUUCWbUYkEObuXhR8Gno7RfhUsUdD0YakWSBkrjfcDE8hMGqwXUFPv8HtVJIfkgxNlELsmEpzFtz7z8GXH+SUQx6coVad7vVX3SXSasbGTPFbBlyhJUx05id129nebkCmzeNTWc9b2+aDruPbJ1KueGL1FvMuQvaF6pzN5QuoAcFkERkkjXCzpT4Li9Whgd62kh9jChxv8mL0pAmQvIhb6xqu4CidmeKbdYhA1BVNlHfvVmN1cRN/l9DwOU5iHypeUJVSHkvi5Z2QzF42rWFVdealn4II3GsA8y30AhKAUqDyCpr+ET94mVft++jhoqObsCR4rWmmKvBeO7K7+Kt2ecJwoJ9i28ts7hu3d114p4Gm+IJRfPzCjVc7EanLZOBjl0dM/lWygYqs26ren9vzWUSSP0cFcyH2D8Xi/Suciq+42/F2usZFqc3LB3ISvfmdu590STPUt7YMfDn+Ed0EvArHIpjaeO8d2fKt0PQL1quhzAIxqULuNpW8Xgo73g1TuSBKbrrYnVnozfVCycsLtrtIdLpE3uDd+mWbfm1qWA/pT/M5c46NrB9NPm+tvEPy2howCmsWy3tX7i8VFtW0sGHTpiZ3e8Tw2lTotu77dQ7KKSij8k7Z0RU33eHc4F4aReRXb/mrkGlh9obFHoWPOs5Bsi1QTSoRmoi3gNmww754gChEuJ5kgUtAuSic78SmkMx2WhRZvvbiq6HM7lCcupC7WwPiWCkIkUKYmtGCb47BlGNfWUJesnjgT+WjIhiNdsWJ5cF8Pnr3hOxm2cpveNl+Uwe5030Uek4JzbLS/RpxsRMNefVIo8a4lC2lPTbZ/7FgkthPvxOvIllvacGPaVROAEkrcz6JdVCx+MCILxGIhUeMu5F0KOzVzmgogJB67XDoDJIoDGbSWwDpkGlyaLoCjQ+n798RrDfpl9emhEtrB1/9pUv+AbMni4xn01uhcBnrWUDYUb0ElnlWSo5KN/QSwetBNmkvoZlA/RbCHDWU1k/dBz38gGXC8StCmwoSx60ucshXfEKDKf6lmk8QrnTXqL+LbF1ptoYmRoUCdWK0iH3kmZcoqxtd0NclQSYLQy/KtUdnoWAluJFSkRutZwXLpV9tFB7XF8izDVvoBCI5EfGpCP6xzyiP1q8a35v2kCyriOyn+kDUW7eZdiFbmFoMPJ7QzfGk6rjoSbOBGYwAjSDYPoFySp+4c7uxfoD73/sihE9niKPJcfOifSVQ5Ue+xCsTG+ZFPWM16t2EMnQ2Sf+2kEn+jRQVQOOwqLSU5aeMRjuSLF+lwLM/F0MAZOi/Io16FmU6FdBF5K1RxlvXQ++HO/1Csxg8Qxv6wrAPsIedU1evVRCN365WSviosWt4Mw4y297Nq8u3bkhx/t7q+pWUliLVe+WUXMOzUEPr4OXX/qinQhBjkl/uD4jHoiJwK6B/7hOdN1OCdiv1pVcY7N5n2YfGYcD/fppPDU5Ofcy5LruxzOIFmPy80G9Q9zM/naiNq2aVsMSkVYM6daCv6VXRPIIcT5JxtvLx83wdiuQUSL45vIMA8Y243MLeWiZqr/axZcDWFeXATBxWzPT4VV2zb9S9VAy4DscEaY8I8YlDeJhWVvVAMw82rNUrl7OUSpvw0R9ayttLtvuplt1k2hUj6vlIhanRdRwL6MWXqcZ7H5fkE28Hdlbd+0/ujXQnnxOGJwtHd5olew2XfodiW4wSQDRJltVPnJHNVFPJAz124A6bWi5g0/hN+vIee9F/6R7n4KK39BctlpZCqrHCfhoXh3KZIhLKfKQLxwNL5u8PmxzeUSx1iKj7zQC27rW6zfdQrSsIAZO8v0p0qEocP4yVQuixp7Yoqfhi57UJVFypxK7oBAkrbsVjp3UXPYkNocMAsNIKWl1P/QkSbLvwYpGMvrjgbVB+IPawbv4z0SvM9HqOilIMfKOu7Ue6lVDqvRVISUn6lLc8+AjmlqV73cO59tFxAmJVp0UB3zzBhbaRFU/CDvq1Bw5+0Mh5xZ+R3ToW41guuyGQl6a03dA9L7p+rUxQj3alFjypuq3a9skd4/RLp2IFUc2Ex9GIW6a7kGcF0kjdVSzd3NuSL/q68OrvXFDo3tmn+cZuR/9tyE82gB7KMmVreGyzYB2M6fCgmGpYGpvVt35pMyHQpOTTQWUn2UQVsI4PDRuDl0M5W2jS6kxXTsbhwcjHEQLYuyNn46L4GSIOMAPctuGGzsXikzU7TfnrwA1r+yF4bFBmXl+KWJMTmNQcqxCiirJ5zqvY3BXXLpO39TyaDTmtdz5fnOgpkg5l8IZTgPyDqTCPTaLXr8Ay8DbJjXbCrGJ3zyxNmBMTKeHagj+GCcezSuD0vYgp5r5ZWfrk6vQ6Wjxw/v4kwYWfDvpC9GOP+pzs2PAsLkG0fKm0aGebODX7AzVLc+UEVq2dsCSPKxRgoQWgJIPYzREJQEAIwByZ8Zk0OSWxYdk9uAIEcXykcL74tMQ8a4j2EC7o+zc93Av4pPFWQ7Y9KJTPPIr3C/ruVc4mVa3Srec8XA+FKBDecCSEtdktT3ovO5ntuveIhhTZndNdWG598XGdH5old37J5X/dqjFHPysHMb6M9K28Y+nCmBkp7hCSscYlAGPjj1lngKc6OtCkHXC2PPUVuWOZMdjfskAmkHGOSmLVWJHs8+s5i7DpXxNgbN1FUpu2g9RppvWa5UK/6Zzg/wlwIm1/zGvuc7zvwkiDG6t3vnBc5FGd5SKt/vWuqAayOg+UzRnftVYxZIw7yZL/5OKCL+BT6OEUfL7uvK2peEGoiIKccmOGPb3QHS1Bl+g1tLs4+pQdZKqdTj5uaikk+GODJTGgjAgGkGEXQNIhaQXDHb1692gmLVmDJbXn+xGjromZV2nJUiNPVsxJPkxeWrNQny2oa0pIWpZVOKNwhe+h6JGOSP926QwG7D86t245s2dye3fccsQXTQPfgqY/IHShUBJPNs7JDdyzdVCVuOUbriF6fIicGa+2HNwWWHEhwpd6A2JOW649dF/kRRu1sqHfziDweBbvUT/yk+oEbyk1qE56LAY09FpzdhrlE0256/GrgC866bce+hbZUwb4m7Dj1DkWtpGWOEBusOcbd4tqBLnDl1qLCYeoTgKWdOF5WPmQCLVNzWKnINocls0AM51GnqLLsSdudkiA34qIuim/v7gx2R8l6MQTHrlHdiPXi/0S5/bs1U1YuK8JOV0d3WbNSpGETpjTAERU2uNTJNWUDLKfX8AAfoRPHM4bJ0sh6BNrCC6M3sjNJ3Oix6oSySWvQoxColBrvQJtcnOqwR0SB8TmbhZmFUy3ELHPX0D+RKBmasxmGXGk3LYANZrZXIEF+GJR5SyyZGGVNevuF2a1xEXlyC/L/W1wRhP0xBRI9kZ6ejZM9FoIQ2aoe4p/9Wk8Iwy5pH0O++4xllVgipO87q0Nlp9tCh57Wr8xgN3ONqukunxzvpClcYCN1YrzeFd+3qxorGE1dIxua4X8lh+9WsdcgCz2LV/3AlUmpLeDvLWOgeBmWJSyUtbkmeW3j+XqV8zbLjcdxh0icfVIkTUzqcndTIxRZ45jCA/IiDdsAaTjYJPr63l6CksODSMpDYt/tmUJ7tgAU5eWmnnx2eWyL0cyjeRfpQfBdcrqpgHVvG9bCBanzxrjqunBe3mhGz5Hj3niz6+dJawTzs4CUN5+pK5W/QN+21PFssupOwx9QDLs229Stcq+JCdBIbXW5BP/RIOsTdavsitWTEh655qvKF3Sor9j2NOeqia7A0E0yOafU0pBphVFVW7d3zfuzw/mY89dFc+354P4vuEdDrltqk3KuQTdyeV2r0M+4LS49Oovq6hChZfIdbLUFN+4LpbzpURK515qm83nhG1SaPP3DyArLLHCbXeaVRpEO2x+++233C2+9xqSerpsZefArtKbHlsI8iTTRR7aQiuHAh0DxGhCgzw984towtTm9zN2ABTWqbdFwTBNzQr/zErBVh3PIJymTBKyVnaAbQzd2Fn34c7ELzejVXC/rxs9pbCvoGua/wqxTImj/AqtRqvaZiakj2Y6ZHVoGgCE0IyrDEjoIIpDQMsud4AnRjpV+tskYc030vWWzMHbytxk3Zxe/WsTXeodQJGc11utjlenaZbrV+SHLumQxzrW8xUKI2PyNW3QHTvSHnKMKC+9yiozp4aQJzESnz4ecwEObkQxiiVxzxpRBKscFXIOPuiHEal4f1n8RUDsp4treCpq5qBKaPutzTXwRBhqpbjH1ajAHMLa8/C+bq9mgQGOz85jPrdvPu0vZ2lvYsI8lOW3wZos/vZUiDXwBD5kH4WIUE3f8B2WVcFgKq9RJSpoNFqOOuaOyZ4Iebntj4HsGnW5SoatbXXyu5eT/+iFu5R3WUcqyEVG/roXpuIhV66sx93eOQ5YwsiMNyfwQ3oUiEynOPHL49thRSzWr/hK2cBhQCl32Bks6o4OLw6DgMGnIqGslB5OgMcJnQBypPIIVFvuumXldfJWwjBcUahWgPyQScNPllNqT+hUJ/zrA8tvAs6tERSIrtd8SegZmxWYS7EO+ZkIRZ2Jv6qitR/g4YrnNJk8b3VpF4e102XEwCl0TxT7DKr3NRm+u5PRmt1zR58RN4j4GaQ39X9BVU1yPMNy5Br7B5SyjPJLRznDtowBNqt3w8mzO6KQ8QypGrKTrGAj7hhgJBeWSvSKpHm3++ZL/jo1E9gepBvoem4lJPcMTUb8ycV5TXCs1I055h5eAhbt+se1HT0nSx3AhG0mK0wIfUlO3KkBj9Zt46VYSsgv1KhbiOjvBQ8KEFjIqPBujp6jWx4d5yGy2M+y6Qy6CVsP9R6TUOlYBCANljSQbrQzkTTYnDEEJZQ3QApAkhBcmRfMjMKcu5RbQp3eDrctUeDVVi/M0+fP8oubDboP1xNO/iJvBDBZXCjONpp+EhZ6w32gaDcyczp8JR95IBi3ebwpKl/g0ezRIyVv/5vYca57hXCzstCXah6ajKpS5O5kkBwfT3buD+MezTAXMQOnKdCTZBWue4Yyj8jDnyA70z0WbNnKahvp99kkmEWYjhMUgYQb7duSNPqRnQGRC+/hs++BzNvLqfTgy2f2fHZEJZpOrbLZnWyee1Ye5CaH654lKNYbkpyXK/7ha/s99PO/cvakZXEaInJSeL3tcYg631B8+8S1tWcVsB57HhBJCuBOJC1wqBag8V5y7dgR7MjQiWCIgYsP2I7N3A6kLuzPV0AtowsMAILqyws78ZmqrrTdYrCprPmTghdFsGTMgv1zW7t+wPO5XTF3Mvptv6FGz6tH3+0INeWI4lNsnOzr+Hj+KI2McGGrvgBERgs/lRnQOoPExwuoU+td+G+7/ipEIWc5AYTL5UJrAodUOwAGu7N6F5IXJXhklIwwtycVH0dqe7AFUvRZ6KNq55UIbfjtWYoHONBMsbTMaJitiFxy6b3K8VJrwpdF06Yh1A5DDZnLFAbQfXbOVPXjP7YjTrLaT3bsLrr/0SaBgyiWeqaR9C+M4zhlD+A6SsD/b7Ef1b7saekYWJEfjbC/ZgXIsoM7Qb/gdodggA0PkBuZ8o2kNbu4qoY2Q597XEuG4J4dOa6Du4+Gvrh30J2DNbgLk4cPtS+kVXFhvZuYv8pWr+WNJ43MNjP70xM+GkkncInt2iI5lzJnyZkZas5H9RY/nkxg6SjBg5Q3WkeOhG7YuxsbaxVrrud70rAa+ct/wiDnwKrRWB/0saZ910WfkEETf8uqGGn6fGu3rt0n/o6EU0IpD505ac0kpdQmQAv26CGZQ2zNuIxAB+lDm2KfmkpSc/KnXxgZPq5yOQqRlvs6AxmQbyoKbp7xeBfkKPQw0eNutu4PfAQdPLVQ/vShkB4yutJdO51AIk+D+2JPoF07Ug6K9QTEk1nggtA7hB9ownvN3DFyt3A5wthvRKJ3aaXbBbknAhMn5vBxtKrXK1o2sa5wx9q6+hnuqv/N1Ecos5dz0N4DVZrfaU4U6P2hsYtGYwJQI2NG0i1wm1qPE1zqRiHMJmjtouuJIbhby8IKpEvXDUYv3L6ZQCHZKjzUASgV5zmuvx72YJyQBQP8jm+3K//YERMOqJdGFNHEtkhGJ6Fb0qqVgWGS8P6Mp0la01g8W9LKKPWCkskEbk+hT+8dU4KMUjv1UxCiLWoEmWAJLrrK/MxtzGZGkTm1rs3E5kxhuSq251vn0pDWvE2Dunuqzzh7jUcLkStMIjXdVXxRioCX0Wg15dAYmQO61nMRmJrRMT6Zht+tkbwI0Sm1oZF+fj7nJ2SiagYpiHHYohk3kGcaBokxjR1ghSS1WGScA3ZTW6nzKlcG90Yi+xorTj6vW3OBzlHkIKo+9lOkc8pmZziZb6nJ2HH044c3dsACwfjmMQV9zwfQuXdYJyBv2ZOlcGOS6jvsgDd8Y2QLhnq6oPUIbF3+h/cf0NwS2mk1DKXEu+CACd+rjCC0+rQ0+PvsEAwkn9V9qo5dn2CG9xCNPDfMNl6e8VUfDoGYQfWYQajP1omd2+vt8aXH0M/LWiQHEucgOQFks0mpFpTMtnKon0nl+lEf18H4rthgvYC7n6KTKRmp4p+99Rqfate4cU/DuDTHRJEDJiK5k3xCZxzH55784hqwbclxXCeDY8VmXTq/llyj3iejuWnSpolbYFxK55+uPP3xAh4xwJOrO4a8vZ07wSxNMSge0gfS8kusiQ1K3AohNfWCfNenrCT1OBIAoD3jg9471GmWjcBcJFODQVPfmhgo6sGd7yygX7eOA2SS45bGruWUBQk72WDs0ITCio+6qiGRYLPI4f7QjNRFs00W8U6b8nUatFW4hEmqrvcwQQ8L9RFpxvw6NXbBZ1dJrmTMFfdhF0cuz31CVV18YDg7Sk4H+3MbrrKczjArJ7WYDAJz+EyTm6hHcP8qsNEd1aHiYEIquQqmpe/ty5QY1Y/1ZPFef8IeQMc4tAXg+Zu9gfh9jKu4GvfcKvlTlT6RegqfbyjDa7juP5flkHbsiy1bsy36lP674PHAKkWKcmMVFLif/EOUSl7FKo5m6IMyW/7rUiZt7bTp/sLV5+ncBWrqBD/8zCwxGNQH36CnqVj3YWiFhv6GVFn8OU59TMavc1EQLeawFCFNclfMXIVb8iuJ/acJyaEzQq2uVx1Yos0BPtknikqcIaJdjIl514fUjNlUaQyg/agL3wHe07+O001A7740Tdskss6CDkqtkHEw1YacPDQnkwv8Q+GNhomxcCXD6iP2bKGuGkWcRI97XtT2w+A+gZSotLy146RJtb2EWQTaTXyn1dZLzk8FACr6oR6EU2KVtucG2dwQDp6kPYS9cVgrrCoCL84Z6RfukPmck79kzKztPpHQFitp08Dx5CfCbCLpOmh6OO3gkxlP+I7wJfO55UthSHvepRssGZ5ByTEc1aRX+EPcdCyTp3nn3HBP4LHEy2qI7BYNnMJDQ1Dj4Gayy5AnwUOq/e2doA71+rnFMzBTdKKkWgfv2fQk7VeLq2GLHnugUX6W1AdTbmRdctX2izM8VZNpY+IAzuGaBOThxAfQfId87Dzu0bqKB+JoXWyfswrvb+roSkYCYuC1sTVhuzjg2Q6oubG7IKNGvnq0QdhVxSvf63p2K7Cg1l+6/YcaftqLnc0SLj+C3A13loRB51OLimVODw3pgk9rxpbeQ0VFG8/sfT7B/YGQg3FeSPC6smnav6nM/8UmKvpIxTmhcgosEV88UUXUrQ4olhCA1+oEKKsRmG0LE1EKtsyjOUo/MCl9FyTu4Z8ZRobke45mnGGbzDN0mMZj2bJQHXi1uFlFNPxFrg98SzWDcuxDsRHZEMUp3JKFhLM/9vKaX82m8sxjtZHCX8Gra/Z5aWoxzALVkPH7Wfh6sIUkJia5IMbG0Ql1Sf8jsDIp3etbSPPZeSwm+jkHbJGhnjRQuFvkd75u8OYjWFkKmZhfMOfJZiPr6R83UvAXKdT35qsXSvw+kKAmGR2NWWVXY9TVxHdxHAGkCDFBGQqPPlHAjO4nlM11EfIIMbxzvEREFxCXFvHGzo0xs7HRUMoR7m0z3gpbjQkcdQnajVXGYSUFqXZ4Gvly4yjth2GDyfn32dndOlB5bDlfsIRgbEvK3GRHSQhQ7pOa0orNbS+0MA6k17ruXAcz5oLHMeV6PbecNXzXTozLb1m06puIha3mAwhaJJre94thrfs1gysCwhydbsRQ0zCxFPSuQDLkbX+1Ubtze1Af/4+L0jO5gBoSQjtGtSuXNt59UAZnkVHYTpWjt9Txc0zxexTabzHHU0ZQ+yTNZ8sjqBNlt9Sksw+uZ0egKJxnrPOfpXItEAhgPrNdJfoCxL+EmPBF9DfaU8jsCvrsnNiy9Ml5OqnkdZgca2cOyXfVtcrChca0Gkp/wChfPzzMKQrADxWTSkk5VpyFNoppYnJwFrU3IMJXbol03sNWGU3NbBYHfxKEVWlDcU5/CMjwE8MKFXajwh3Fj68WXOjwTWwhoMrveh77IUdneKluJpZELHch27jW5hwJqYb8gQCwRjF4v4Ex6CYQwlw3+nfVGrqjd2vbHrNFmOsZ/tZnRXQKFZ9heGFcdCoPzN2xQj6Z7jqe9i+xjOLIB+DJLDB+uf672x9Neq9GCOfJ/a+iOZ9VuO2Ite8+Y8gYANXY4MMCr6itxiNnupbd1Vf3j92u1/tza+HEkhP8z+/din/yKoft67E3TD/afIabu0ghmja+uGTgrQoIFa1EpjnoYPPeA8qsa/fT0rFJGAislo2Dtd6pdFWM5UO0+qphIY1Tiekp8DSe0+zb1kzDlAY1nGwKs4M5IMMGgZTfiMRcV4byBZKP+0Zyf+fji0nfkMjmcSUIZc6CRGisn4jSmtMB8j96AQg0qc6CCL4aBMpB8BBDGbjR+mi/PgNV/Q+hYv5sHXdz6iHhBtN44h15Tduoi+WPfIi2JJzyXJIBYQvx9D+89jUwXwGw/NF/DwzP3ou+j/ufo6EzEMPPivAzTJB3PezXtqPKUrv98PJ/28TtjeWa0s3kF8eOhadGaWI4iBgbqR86YpwdoIV/P314FJ90teqQ0SE/MK+wC6vdD7hsz6KABEl5CRKnsHXSZ0Tf/AJlm2dJgDofrpIeansNX+rW0FMFwtHz2I9HidyGE4+YB4a7PLhK3zANYfSZqCxcR9ZHQ834C/vRjlRNsry17m0LxWBjf5aAgc27dvI302p+6JMb9t00ed+F+7QElvo/pgYOhHk7eR7Zv4/rRi29/2zM+046Kyz7Az/26ZBlpeGUu7H3WYwayhFsytS9EJCHUE/tKkqFMG+9m2vO+D4euqu8M8m5/wgDrqmXLvfFquru4pVZBrCPdSmkbUIqCNILWzeU58Z8pbNGcXFVjbqvS9qmhpJRID0ZGvoDe7yb60oHxa+bpofT20mWvIDIZn4bK17OpeUWTrberC73kgNlo60ECKOZAah6VMmQosiK0Ei21lDqg4s1H6z/0YWLKYtVm6kelQETNMadhf1Ub1E7fLVkmEnMRJXwLgOZyPoGoQChOD8RC9dNM9FXTEmxN4By8oEK03x+wys3Dxctb73Ui28fyhGZiRw9El4J6Mnu5r8rpUWv0VQI/hSGzY1JBd3Ys8paRJarlpToCe/o66Rtv1PCOqu79Ps1c85GeEeCbkfliYO0iwMcoaYVGZocf4QjAo/7kx0xSDnQcXD3Hq5bdDspNy1EPIvrY7EecHpim+RWGzJFI4jSj4NqSNU26GQClNKoWXdlzv2nfxobTwQ+4iZndzt1JgOiFHPTCitllDG9hTY3eemopyGzBYNPzT7Z4c4U0QmZIIrXVag4LuCq91noidKouiy0QjMGU9PtWQrcNOpPN0kbwYkWgqNHV/2vljvCojLEa2bYyTvQpQkIazDRSC4tNAfe9AQ2vkrxP5vAooYoEpxZn15hJgZa3t7k7k9g/7S6l7ZhZA0OE2LL47eSAnZtatpqMW7IvxuqUNMHFzNZRec2f08lHSIloMyk0P2fq/vNMLCjlxMojf7oxMKRt0u1WBcJc0z3h93meTZVJMYabIZcwIZeUrucAGWysrTcHDk+IWGSVH+v4jWoL3oPF5akbmA3hz+MbxQ48SDC9PqBEHDzX8kBBmrcr8TABXFkbPv/VEoNEyD3d2bZKlZ2/CcVXB3puIjb9JHFDTtmnL+N1WwwoMaRiSbf+v7UTtJEEeRm6mY4k+vyvlaNeTAC9C8MXzb+ud053sUVr1r/jotgSSKIj9ZVh74IO+xeNcZJsizaQmaVDe8vT2xVSe0okCPwds8aeBTwwqLbvLoIgpwU4C4lxgOiM/gTeOMk6nxKSDzTTOP2xQNE0b00JBQ11ltM+dNVqbDFSBmW0Dm1uNiiHQQTxTUYSQZwMAF+99M4Zehb0LUDkrHoSE3aAnrUvGGgrG0My/RKPevEEsvnGhPQN7GEGtXjcsq13M3WaYeB6ejKHTaAn7rOdblwFeecLSPBlVG+V8wczLlY8pkhMYgzlPeWv/Xz/+755dMglB9DHEAW5HHRsLZOhbD0HWg3RS4zkLb5BKGbEtisaOpbz+xhwcZfv6ZJxCu6uqQrtaTJdgQHv+TTE3dHgRu6KqEXFkwOO9c/74J6F3CqC/RoYifn9tHyZ3p2GtQGDXx8jieR88RCYpv5poE6Pp8yw1j5SY6XLNjpyRJM4OFLMwEpav38NOBi3kPyBnEGAlzv8DJjh4jvivJS1LdmTWYLdaFHtFQlRxSNP7dVbSJQrVCXfASZX7N4E9ZZx70vttWgxL/pNHHFNbXIK86dnviM0/WbcomFZSElLVLUQDpiDM2aJSqyBDe1fqWbAOsCBBpAtPtB2B4TESOugokJ4pL8NCNy3QM0kM7WvBzEA1+pqGfabPv85IfhOp0xOzIQmA5ln0XRBISXabtKHiODkML12caAc4UqAHiPpDJ91AFbi+3l3uKW3zzvNIhkaYhFjQX1YBUgN3SYCkYuUFZ9SJswDqlYHhkweAz5YgDJuTMGa02GW2E81gAZYEqRoIml5j8KAKqCHhAF60QOc+AucOz0HCL6VFkqGJ34Tiakpauuh+zoLHRR7Q9uS40a0RuPylS0gcqdKJzpQsCaD5jk0O57U5MNI+UNr/ccD/4RGxJ9euV11/adBy1mkJE3P0aEzQ4aDAcCVTgRSZQHYBs2jGk/PNpWmCp5XL2Fj7WW9zHHROQO33Y67Qz/8JuRWa3wHEuZlEOpwdxLlFoXeH/WRo7uiRmW8o6sfwJ7DUd+v1e7LCygsnqx8xygzrpnCQMkJAcigiLzisXRhZ4IQq9ACT5O6AdkgC+ytldCAtmVrvBS5+8h6aD0IpMquGeWQTnSc+tGSMEsYA3ZcMD414+yQAXEZZeKMiPatbzhB0KPOrKMOAQoa9Q5Jh7w+fQ1fNl84cFCzPjcsT+DOhBZjczyHJyiCIOnAzP7AM+p/B2JkaUBqKkI2brcb9K2mGKrLNbxk3SHIwh9DQxTG9Wfj6NGbmG4tAwBPD3o+dW5j+OnVXunmTDb1Ri13eAoF3RQuCE6xn0Id9bFUe4IIid1IYCmBd8+fd52g0lmDPA+zWKsqcdo86O20M4+elAYQCfzRcF5m5hhWz169mLdOH2Vd7zxG7x17A8yKWPpdyvQk8BadQmlvzgED0DfOkXBywD1D+I7NGfeIZN5aJDcUDghswBHvcMDf0ablbucFU2Wj8RuUTcZ8CdUUHRYziAHNKr8F5lFBp7i2IiH/FKJvDtqaBJV9Y2b+ePCngYc65hMXFAaXfVrRebIAReyVnULuc3UKsAYhSvZe9yF1jkSPN/p9jYsF9LdjCGVyAIz+lFNJgjsJyAJ7Znkj2393IHtBE4hEZb99JRTM8JgQ6d/B6eP9nDkOUhSX962L3Ob3azxiMNP6SUlySWdSPH/4qM9cMzD3PkzmYSb3OHm8Mr90CoKbIQ7wlbrh7KDKUkWmpiYjew8L/0AkGZtLHioVkyKQMv3rRSvHqPBzkmKpNSM00uz70BhgPxQqvbjC7FS6Tj/N463CK5g4Q1oJWQYuoabTPBiNtlCbH1VqSL/fCzlAdNEpZztkfS7ETRggl0diS/vCZYgdeDC6nSPloGgomNWmMETeAoBkpO+WcKVg3beCe3MbDWbQ7Q2TdwjXjqpMi21ZoPukWO7KMqHvAv6fzsAYl9mGsgPIp9aFseR+fP1R2XR628vlKb8KtCqUPdzBgJFb52wsgoLeIHWGEsg2TtF+L10PVZj/BBfmNzwisHzk+qVeKeOIJTfwgQee8KeHhlZzddr0HgCiDt36rfHLkXsMtXK/TaF9CzY6tjCpoG+4o8BnIb944Dwx4XOI1RanmDrGy5VdctjlMkxG+TJDApAGjlybdADRP+Xt939iIZ0wmp/97WU10VoW/Xaq1KqntnfAIuAXykG5TDNabasa3vC+Yb4WU6/9Tipq1et/5TRCAW4bjFfke2txxFnsfUgHJc3mxVwUxh3nt2CAWEryMluF//w+fwhY5Y6+C7srQpx5+TSDOInGn87EdMtmMth/fo96+1cHta0i18m7CDx+ZKjdpfeRNVCQOOswGBfjA4zOSuil1UK8NgdcUoaDvFAIcU/9bbGk25U7EgkV/QG/3OGuFe+K5ZN8HdrtShtcRc10qXqtWXcXu8pQppGr8nPExq3LL24az53zoUCko/Ieg5GPRLd4Pw86IImGdY2wvcY/fbtg3LBazxhOed0cVSPxy81emtJZPU9elGwuzxzZ0uakzaiogHZ8tzB2yTEN79v/fs9mCnI4Yqw006jlkFBx4Dwp6XwfGG1ppoJQDD9nKwkJ6QAeOoYQdPIcF2w/MNIGB8ACIXQ0VYMrcxrdLtRWeNmxTRmhbCVEGH1eIY+kbwrFKjQ64xUi4nZFcynJ0xysDUX8f6IAa2Mx5HCJq7x3qrFhjQiUxUox6SyBIn6pkVnTuPSetVrmS5npmleSe/7h+zjBVqCYYomutN8uShB2E6sh5yE2oG+DydRyueR/vK8h9tOdqtF/O3qxhOeClNF5l7CyfvxMgeTa3PJqWw6R1+rAxyhNIw8movdr7RCBVDDm1Z2cwwzeWMNLlee9lvfYtwbnT9LT2DQbr5gbasstKbVbRIqvzfg4sf8Epg+jkcM3Ru2LfaXEEeyb9mw+24CFfwHK//EzAm07PBGQZ3gMP4oJHykFlqZk1extGeP2fVMVZUf70KIEFOcXXfIgHi87cyUwNCiOM5RiEvAnPG+SeoJJ2rcQGEnjtDzBdsK1ocv7gnz1kEVhHiH+BZbF6AiBrP3snd3LYp3lDAhIi2gNw7n55n7GzFzVlI5Tu4yoZz9azU8HerwyKaHS/GRX3EVmzkN7V9FrhJhQmKTn2AnnFy/mT+GH+6GRAEjJZ7fzxMGcuoOOqhc9zEcjbk1fO+BrbmZ5w6faHBe7lAvnmlzkOTPs3Fb6Py7ePYopBcpCfoDQVq+ZRFJQX8pbjszaYvEA1Y9tu5ebLl2IR+58L5hs/oGBc9KUkYLNfzcA/FTye3QuHa4KSZNZmiTOYQvl0TFMJOffqyMCkW+xALka76Tg7vBYzwNFmAWMuUjWUxUVdcWaPWlkwIYQJ2GwAVbHcY27U5Xom8sAXyYlP/EZtLQYaGC/1N5k609UHMZr4ce5rWfNyx9611zlp3p+RuJjZO8W7GwOks48hU8d6kYOiDVSmRQ9dJX8u51PGHLNAklRvIhM7alZjCgTjgKh8aLIxLm0+0TIT8uDqTy1vvlZ+Q1eDIlvw6EeUX/usZGD+kEPlFBU57nBzw4aQZT1KwGXv1Gahv6ZR974svrwOq1XHCzP9T50PK5DafaCfxtT2ABkQusqC3Ab6tclvMcieEo8xHvZSk6wPcXKoTMDcD5Emp8XYtrvucdW2Jz/K41Z5L4HYRCUwprvZ5jeNQg4hsBhCybci+t+iNMbi7w87eL8oo+ayQimjoAZkO0/uUvOz5DaTLOEVUlXOwxDUaBokD4RtHYKpheXZQpOR4nVPtrdudo8gdLZt0ejhRk3tJibCjLRK6d+1Rd3Wt3RwYadbbmib98NFx9tC+ce9ClFOWouwrUp2/l3n2OsWyxa3+7/3D1qCBPA9tpBPYA+guba5e/p75asGTvgZIIqhvqlvhGgHdRnTFpz2vr9XvzxWaGcQVY2QGiqTqe9aJlp1ZiJ3oHLqFSOti3okB9pjd6d/AttBobwp07wjk/VMfPnBpTOPW2UX6GLH7TZwBM22TdX5KR42mPg6evnxLXyt6lfsWxklUZV/lA1wnGfgCl1iKeuA1r+ZUBVAu4NWdVJmqMz4qY4PVJLcS4NRkLCtiDldma2Mz0VXK55FpBaJhl1xVfk0ni1tTi3gbhx5OBdoGhe8G4U0kgUY6xqgz2BSsge7X3CKpUhsTJcT4g5JbSa4IJnIKI527yd+Vj3u32OOxKs9UGe9gO5XmVLTifEsFZAOM/kdjIMDOiOcAH7Xn4XoUm1KVxnWPVGlub/zcoPprgzXD6VJXgPgLQr4IbMZXyr2dLyZ2FP6esCY5lLa6Kh4u4JiU6F0nmmixToTS2ZTJtHAeQHRd2EoVW0Y8rdO/iv21Aa6VaNQBmxQ/hLKUzjkwYw8y90TVnvBvfrD77GjGhUTrvA9bHjaBdgpAduV6QuGxopMNm78ilXMruoOZjjcRSs4vEr9kpeiZEERan/2NDk+WkXZvYIZFrK/Xi/Ucw6S1tzqZAMD2BBT+ii0qWM0ixQ3ONH7wfqUU33yVWH2Gnrn5iFLnHKKdLQXYdADouj0BJiNDbYzBhOUDMudp/vb3GRfkj/FPNgY2eIVkQP8exNsF5BlIVMwFT8vZ5NoO3X5I5bR9XlnJ24VZxdG6Rf23xgKkJU+zeoHPYCp8Ab9RimsVrTD45fxPDZWFhsjaOxofw8PmWcf6Go7r2iTGlICFLWko8eNplsH3zU0ioZGumWQmZXeBWK1HUXYoj247PlBon6vrTvTiL2L4lvXODoHW7ES/vQHj76cCZwYRcr4YkW33mqVTq3bkr3ndyJol6xgC4VVMwa7Z3eot64xXx8PMdoWsrrmc8zHE/2GBDUm9LElVghfd0cqfFHFuemumE3irT3iyiJeCfiwAJkZvr6otx4C1YinBlhuUGsOfHAynR3xHC+1cRkY+xoUVl0WBdFMbl+Q1Kc020vOd4Ersthe3idM4SsPGu4cNYHySiu2RlXlOiH8vvteY+J4+61T4By4qxjUDrlvwIrOeqew2ycB/t7FCbFyjaqZzDM7YHEyVbnmybftmJJF3Yy+iFY4zMnIojrl1dsNerIn1p3EHPKESMcbHHOdy5rxiIjRJMYaiJ6rbUC3gesg1gtrJDAVwcqvuwz4RbB7AVB9cvaJvko4cs0527zTnbbCOwQb9nOGiW+eWZK772Fo+ZQ87GhJi6WM3/OwEDquXdy2x+wdlAn8Qbgvu9wo89AiPgH8tvCukPJtMXQO23eOdmRCPa4RI5MyVfCoHZ1uZwKqE3n1gDBUsoE20hCEU4fqpzqwyTvxRfwb4LA/2KON88lac4CYBUE2em7PtyS+ehfJphzmLuM5kDy49p7bHdJbarUcP0ObuywN72Ajd+75PuH+ldaSVJi23HdyGTw11RhXEmekX/pQ1/KxtO87Y4V2IivEOnW3j7PzWyJ0OEm4C8aNswGeGP8ZwVnZCf6Pq3ZKk1lRGrAvxLjzEyIF4jQAitQ1bmCBzCSzjY42+2H3eb/XL8lThNCdjZl3nMSCYxxGHR0ku6Nn1QmT/ibTYyp2H8XnabfVT8dB4kCf0NwNgg/EkmQyJ7fVKhR5oohMhppL3pQ69XXVON7bRWSMrA6Cs9XFvz/XTt9Rx+HQLn9BZnd4Viy8pxwlCH78oaEaLzpzDMQMzP3GjYFaFHQOYtvia6hPrjZOaiT/THUOztT0nIy71Hbb5B3jt8WGwnWPCP4O4r0hIDdFVhI1A3X0pcGMM+24IDUBFbRVFZY4dtqRmfwgar8/7ODo/5BRTfOW02coK4nqlWAZEbqVGOHLd0J9XOWuhFvRRrQoYQzZj1D5vEG7uEfdXuNYCSyYOyWOcCDtzcevZw9d8E1HNrgRSr3eQ6DgByzd5PzIKR77mD9KBicu/n7eDZrH57EhmpfWbLLwc3Bx8GcIXADld4PvbHuNcK8iapekRjLw7XS8/fp/2T1KAB5PSBf+nw9Hv3Z2JMdQhLekl7a0Xt6ElivWrOj8ORHStt/cXGUhLPUso3itEnw3TH9DuvLAdkruvPz51YHCEm5mEBka8JuRDlCWHAcUFE4G5jT27Ogvj4Rh8LjEZcxarcKuYjuinHzxwU7Q8gf+WLSH25iBd9nSLZoSHg240XJ062v7+MQZG38zl/AYtdvWxivr8Rq9s/9Bz5ksSh/3XFq+MdC8rGRd811jqKb5yhU9XtN0c6LGH50iD6K3PipuibFxFmjnHGl72/vSahwkmJRrV7NBKhjGQaw9Cg5bOga812vjIeEaNoulPmM2NbkDFXdpIaBQgS54aZ2+ArJt933yK02eyTRpirOf+yxE7HQPiyVEkKlmQPYtUtXfVwrhPKK1rBqDj3pSJ2eGHRyi4Nb3gPZIWtktd8cxH//gW9NRBYOi39opdiuQro/rAZ2QlxOY3L5bT9/gScBWLRBntwJlmiqLtE1oL5QYOzHJHMQYib4PimvJWC4huyUs4IdW1rNOhlVv9XOagPcIWbg9ilutApmHF5dPOmlf96zAQlSrPbj4jWT/XTuzd2TuHS1ZO5FC4+BTaDqKVECglm8XjFMH2hXSFI6+ilyiclv4lO5MLI5LeUavbkbX1ynukKoFsHWETiABTgsESbtoGBpdkoLAwQz3N+BB4bdOSV/uRJhGVCHHC0gzgSbZvTCmVtIuH6H9bvZsswBSNR49hfkb8FyIm/KF5xKlWMUXnoYZyabo9RL108c0cCVXqPISGIfq6G/msIkloED815uxFOhE8d0i+i04N/00E+vZsFJrkBPXSsxleo6g7UwAEJyiit2T9jPL/Cbktp6mODYqYUf6Lti1k+1hyiuPi3QIcR8WS5NnKQTuPZyZz1AWL8a+OTbsQ+tJbI/RL1sLfIEgwMSYUHCzq0ySu0zPTJX9buGnNX97TTYG1/F4S1NnsPQ6WIAMuYMuxmk60LZt5NVlfoigFZv9R3wU0QZEv7/y9gOD51mffG3i8Fibeis/7m+6oS9HlR20yJG5+djeR+SQmxlliGr9YY9TncKiyI8pYaQIW81Fr47EDuStUNTGv57tB0GalemXzq9e/KIMD4E4lic63Owog1RDyb4Zhjyr7bNUkipL6GOW+Mk2PG52hYShQ1hyIhtZ1Plm9pSBjOP4tisXTF6l5QAjDIaOuf5RT5CwNtI8g9ol2+ePZPapygMmGtWHvHoL3cQnapsa19cCBd2+xQUx9J5JwtQzmGujAUUB9yw1xl1B88Wh3+kpFVn2uEw6hIVL/c43ZPcSGTupMdm/FbYIL/X+dcjGor0v0ddeSwBsaKV8vfax5lsygMAsjZXHpLzU7kBRce2Jv4lfddemC62Jxh/ULf/KkRcftEOMB7MBpc0tAF+r8AW0QPXYQupvsoYZAHUh0JZQNxQB58tZ9i0ed3XO3H0JB9SuxqmMrrfTKONpNyqIVf3drS0rkg8w+QByIgbMKnRQ9pzexxB/qnKXhRE1ToYExqcahGP6tLWWG80WYqriBOm77Ib81lvwen3d3rhO3o1TrVGiO/IF8EfuxPkUANW0D2RXR6/sNuvPv9oxs/qWEvP5QwMkAzLYQiA5WOYvZESLHrpX6rufSHIqM1GDP1bnIWn5deaj+k1SsNtNg7HbfCi+kf/d1Nsas/AtomG4F1X+/x6CeALvIvwcwXg/Kd7iOyZeGG1wVcgPX7qVsCfIelMrS8JfpSBUkCeiW1H4iLlIobB1FhTKiXZuBbCi2Yoe+C9ExD6QWOxoBaUk5ifqu5N1Pqz79PZhY7Rs+qZo2XlXJgz7OAP4fPhjZH/TcJ4c4L99rf8ETvsz3dyQnQcj4q9RVGchJVogJRe3aVnbaksKP6NXXIi1NhxO7jZ02/oh4+WylwiaGAEYOYqZ8VanKHZ5DxBiavEknJQrfYrFVHIxZMlYc75WskVzJ5/wlajuwQhglde0mIkEftnsy7kQkLJKFI21PyNxxKTIRMV370+81d5yD0c52r/w+W1K/J1scDc0zGncX93X2f0TSUgVz5zNj8vNjRq1WP+P1dq/KTgtO1mzCQNWXukFleOu6KEN6zhkZevazMHmE1ghaOTZBBXqQv41dPw9vjnS9rwg7aVA5+H2CekqLVgpdpYaJsG979Vvmf9RwFV8TnM2sz1KdBcoZacZHGCUQ+RQ//4pToBSnTWvOmQmyNAF1YhWZ2mwBbv7oqpdTalMUVTNncngm/ldI7HhnwcYm6PDufLWcswmkJ/AtTY5dPbGIWsccI3OKMwNg/ki4Awqt0YVjy3OM0hjzP5EhLK+Nj7kDGgh0a9zjRPzXt7mDLU8FQqeYhS+R0VRZCofdiFXQfceWGAQXzbYDmHB4dQyd72K/fm76CNyRavfNpzVwUUCj8n7x+loYg9dI0/jZnlXqNLugCPBJX2glLcz6XwA3JYuMWiCXT4aCvBNgCDjoIzI8VxV8V6X+zsYxxD/+7Zf7zEjV5xgEYemUgLqixv8wviglU0NBu9mV4fQkwx0VTBxyeCJPayrAOOLqW3tVvH2o4OXmmCs0Dzv4IbHlzMIdn7eT3RdpZZxPUHJWJxbqzoGABiHrdq21EgDI93qSp01sK6cXHWtcfoNGY+o1xSG3QZ6x5iU6C+quq0JH1pnbQuRmeqgT/pTS3g9YKBSEQn0lkcYUVaMk2JRx9hawW3xZMGq+YYEyauTPqfpyvfgyY488VICtD4OgdC2ZvckcU4NCke0R3qs5A8P0gIrvp7lNcx/KhtAApVahJ9wUljPAMWImsPZB68u4N07Py1w+nJpKel/DlqYXZWa0QyWYysQxh/yHe/mQ59IP0M2r0K8PYnit6pghnLl9hS/2bbCBQ1xXBRyf32De2peOKAPGN9JZnocdHpNadYX9NjVTpqX6SsqjrwzmWdE/ohXEDBvy5+a+6cF4Gdt03VwyBQWy+IkS4HefHj4BsGvxroIwjSCp6V4DbQDWR4koOblbke9VYb5o9HZJhEeG9B0vXFq9+iYEei5HUIb2cDX63Xt3R9Sux1tYD2kSt02FyDqBMaCMeTml48hrn/ygnroEgpTXJDKpW6MPo8NhPVBC3VW1oiUfmucd0LEhZaHfZ2TgWzwJWjfZ7iw16lv2ZPYPE1fQNSHiOigFg96JRMT+hAa3DUVZ++PfuE6HrN+7bVbwRd4AGHR8l7VK19n2BfGXTHW5vpUlky/zzGgkHYyU68B/ddfJrfujWn2cwSku4IwWbRrmJh9R5YLsRE2QDVPxHxE30VQLKvBa3P5sRXcv+C5VRA8IfCKE2H/ya2bgLTah4Lfh5Gc2C1kH60AYSwjWbFzdnzZD5IMXCRQMiNK6sdlBV9R8IFWkqxXb4jaNHkpLZZ9x6zD9Na+TJ/qfhTWMo3GsgqUoyjiLu+zlPijR7I4a5UNZ/3w2pzmHnWevaGyGX22y2dbPpcpJz2s+zk7smSuljd3fduADSfnSHNOuTkwPm/ViV1uDVu+t1rXj5MiWHElRhwa0aBIK7kflBrSB+YZW+Ja5NRHFRW/7RTnckrFiuUHDS4hIE6W4B0wzjCA6BNu34LhA/SwKWWhyMqBZmUpKiSUJy5h9mpnTnYFr1exP9KUroybIw1krhdQGLPN1S2bIrrL0oLWoTV41g8Z1pDGqF07t3m17Q6PGu1YQEOJLfPh438ILDr4xb01hTwVjkzLvyt59gYMUHk/sdFqEBVPQCj+Kbr1wHghLow0qjxd8k110xQPpjwXXah+CL0JntX16Xo/Pyf0ClgTy8+PynCUxo71iZWR7DX5MtETMLsrAw3HgzS48oSKRABtObZcCQnh0o8P9obFgGp+XuG8ATt42yYCBLxBd28Yuyo08hy0cuSMan0dMR/eYP6kmj+qM+r2ChUBDlYNon14feIWxartTXYzH8Mi2he9vDfKGdHMuxQNnRMuBO2wS17sgFbuMqy4EEjSIQURKEuxvvDm4dVhM3/Eu+6ozZOoaLomkZU2fXi8ihybLpkD9rS6kJ0kDkr98vt0VPdoCehfpuSTRxkk/qF0ut+jHZYEt2ivO3/HIklyyqvYUICW6b/74676jH70YUtFpL32ELJmtfgXMUa/DI+v9AeH+syFt4+vP4olwrWcETQovMek3/+XqVjNxv2Hm/MKDOo9HBODQTkp5qWd/3HjsuFLm4QlqQ6mE4BvZPLR/ck9dNQAzcD9gJW2yjGNB9Z6WTAhOSvSzpzwOS599RBBYEg8jakTYeqDpluh/GyS3oP91wa1h0F1Iwg2EVCUY8P+bgRq6971oOGeQNXn0jMMJHf2CaFaWmlntD0OmmzW3U5+LLHcSvrpUffu5L1V4WMd6qCVUj0yHXU0iauoHknOy5/J0Z9Y5DujX7LS6Ug0TD5DF6I75bXbimZnNYMVhul/Ci2cnfsTO3lodon+K3j/dq4Gyv+RbILDJ1XDGy2ozD65jEsSIQQNTcU+z+Qn/yM6l8oEGD5yA8fgPnb8XUFUPcdmNdBPgmLCvHvDSiLmAb4wSovm0zO5891p0UXxZ8sHl8nr5TzSQoNLotv8jGo4BQSRqeUWrqdtVnmLxSZYfd6Z8ixD8WeilsChes2K7itsk5amryXmuEv6IZj6iDWEC+rni15Gxc6rODj4UTiM5ROEWBg/ZM651Fn25pl6ssmUqg59YvOdtiK5hhV0uoSpic2UDl6oVp+Xw1NA5W4b5xJvePfMntqZaVvVkES+uVl88v41etth4TywgDYUS+Ut9qWTi24SrfsVMOjySqxXCaKuJ2G2Hs7DJ3sMUUwzzdbt0upFEmQg19pmQ1p1YLe2pvrBuf1+nmM6Ot7rEwOPGSx2bkCW/Gpxs1lim0lo7Re7lsv0j/BDr2qTfyO9lCEmoyPgPV7usyd+quCcegGYZoWBYFzLrvMZ//qKSQl9LDPywHgwoS81M/1o/0aJFexBDS3GT+SJp5Z2+l6CBgVI69J5gRedNiwXNbsczl4DjCdIrSLxpwVdRIrvcClIO/JFs8tBn5ASh2nTpeijkJnwH008X9Z7a66AUJNx3V8bLPJSdfN+zN7Y67Lp+LUseaiMai9r9k3Wb421aWz8VXmN1cMLsrvBpGKvePf45b+bfXYnQ3sdK2GOFqGB/GBqHcSub6HC6tMaX8Qu5vfZKtynId5ic3wMD286JkCav/OODqVrNB8l4ORrCvrmYaOIG6+BONsEsA10NJh6nyKH+rctUqYgk8MdgRgSf90kUluSfub0h/4kTpVLmFjSvdk+npfAZ111PClk6Zpj1XvsFHjRgImgjEULlanj+8Goia47REkDj9XMfdI2ZIs7JkwpsMqdbLYbwDRUHnscCF1sU1zn2cPuR5jSVIxEbHRZtS9MJ5Tsb/wSOfxsCAdUZULaqTJ6YJgkEUJP/gxTdbOX6BdSDe5sfHLuGoMXooMvlj/tfeEBPJaio75OMFuIBBRxippjK35TstG/Mr9txcSTTJomsEtfkrY3YDoc+2tcZ1PDAUoEdu2Zm4qfPQW5mhYYPurhVrfYKqIVroktregk7Dd9c6tfIQjvfGB0NPJ7hNOs3pw9UCH5tObUW3KBnc2i2iWj2WE7BZwx2paiinVvoiqyCckQZ3FXCQ6UwajHZLC+e3IyRiGZ4EpYGP1Qz9VrFvSkYdyPqGp7uB7w3KtOo/1ufATG+3ooyhBk8MguL+Z28T9XAS3MBUTusoNIcGD1Re1IAzaaU3qGjuLjh2d1XyeG1kXEzae/pTQfU0Ka2QOsOT7pAcnwG1a6AYm/buvX7BUv22y8q7r7LABu5Wjfm3sPrQaUVRmXE4fSEH3etRu3EbOGkvSBlPd9pmmOmh9VY5GRXtWaQU+WAm5PwQ/LqmB2316qE0cY4wpJLCyfL5PA0Pd/nBFrx2rqFKqJOOc8fhXaSjTfE9uxfpaXres0R3MNSQZfuVD97W0yKsSmT1rHS63jcHyRorzE8hmLU9ftFYLZS0td5VuhRqKRNmVIWKcBVGYDrVgzKQdyxBzoWP+1EQmYhyUGNuzk6BGLfE77i7e/tzJ55XFKZQH1M9Pmx4vO8x2El1gByFzwgNqrF5Fijg0/bT2TWcbXg5FvP87sn1p5a2VyzMvfp44K4eRbibGtJFZ2h4P1WkgULeUN/tLtURl9EXJgnyzm7ZJa00TK7NiIXGUAlkUcr/6Xgxfih+QMoholTCA7MjdfttJGyo/56ktlotb2b7M8jybr3pYDNRX4uGkqq3L0RjhVGsRMMJi4sfKPL3W+mhDRaPlpLJ6HRsXxlzcpNxToq7+i+zRfutnkosefVmFh+VXAij5hr2+oeLL7x/LYNaK+KrAsSGvbO+0ZLBY3B5IR0+xTtnJFd1WhjYztLS+XeyHsNjpf+GE72tUd9ouu7D/PEtNaYmlDfUSBxDC6LELdC9uoLPQry6ao/gKCQPNdsiR7eliDD36879YQpzsnKsCmGZZIHo+LhKFgqbZGGT3WaC7ULfBgv5L5/W46HR1xC1/xmgWv2kG7VrJS53xT6xpVabqiYiZURPd1wWN3KCKJKhjVOpWIOrTXPne16tEVRRvmYjaDl0urMJWoWPoLCHwbxgyPLnydbD2cR8MmO7rbZLxeyBZVfPcBgMbL1qj+qJ+ohDAhtIGNcAkv1ZP4subOr/cBrdQtcah2OmgJldCdpTCWswsPnbQhKRrw9FoHlivcoA92yP3wxvG5N3HvUQZYS30jvm3VCzQ6ai34f95/sl8yqYCW9bD/C86zShB90I4qfELP1ClOzB1cgzWRCCH7nUH0WTaxkB/YYB7skl5R78aS1k23bfrTOrgF3FPTADDMqCz/aFoQZX7bdWyd4C2GD+6jcLLbZVp/bCrSJCc8Fvw5QcsN26397EURNy5vKCdNcB9URagvuJSLQDEYzOptf8oGNFz0REMXmJlva1L0Wyw8d16TykabrIit8/t5AQ5Oe8775k0QF62mYtEUqIoQKsUK4SUffOTtBtihpij92svaoY75v0njqRlNLQinVV9mWQFwDwzhTsDsCxJykTvDbUIyZ4fFPcFUL3ZdhEUVojY9CJOUUQiEaxw6DggxujEeTvQpSAjUUGoBOt5fD+J61SJ6mjaOrHuXnXB4sfeOXF06P1l+wIVhRGn98gQIFr2faRn9e8DX3P82Z64Zi3HxyMznfF6CQd6R+kuTYrAT8gC1tjO2mRr6tpKEr+CM744OEis9WAlxhZ+iUoHl/L0b5bWIQICl19rodffW5Mlc+mLQc9ZNq0UZx/43lr5QlISsgq8c+f7eyGrLiHR4MYO/75g9uHPYokfC5ROspqU2TfEimxMWqW4ng2o31eeAbo+49Q0LFS9yKiItx1DxDQVUcnT04i09ptYINCnQiHk5cb5aO0tTAvAK5WQ8GbFH9SjndxRMXlTarOTfCrBUUzRUehRs5hKvHr7GE6Ri1QpP5PKUlk0GQhpqcuCroYNUn8QJc9rgl7IERt3CoFnZ63rZXomAd17UukGPskR88oKJsFyJ8nfgtE56uHVLZNd0SgnFMIn7HK3q8lw95HI0ZkFsBwDoqB2n+T5ZUgxMM54sfnCTMe5+p4blxwT9SPwm8U0Ls2bu02EBK95qaF3Tn1NTlcrTifLNxdRucprpvKqzc5Ie9PlnAt6s+lfX6DTULkN1N0QR34jc2yj9DkjuC941QA2cKJLuuEivoBLSz0r+aKFXXPKiM84LII34bVG2KJ4UxPDhIDPwIWbZALu7W0NwMz5nPwq2Oy4GTd7Uimv0pNVCQoJmVveh5RcE31TXVwlMhnWHlFDaPxfKbAjiZLh8QZi98Fs6bRShmFlvdh3R6sk75iiJ0NdHRfgS8ds43+UMComs4/RwfW8HroK6jO60tuFRWMAusQiEniUIg6FX6gggcLWWiApsc7oQMSNTSUWR1v5HI5ZBb+Uzyw38rbuVGEBWPJw7zo84C1PgGCA48QGMjCf9HX5YQBjcnGiCOcsLJdUlsvfK4HHC/LfrsEayVHWqmjS4ukHogzv1lkUCPI/YFElLNLbgUU/VOxJIFxxaRJ9xe6Z2V7QnmCeVyOeZ7YCvOWoeNWZ6SYVlTDJa30EzWT0oFR/Z+7mfry/qqrp05MEO4I92FagcmR7k+1BxL8/Zr/55JqrEzqxPYGCDGigUeUp9DEfxFfTg9plSOz5RnCAuAJYhp6LulvEIQGUkJourMjp3GKmNo+Yb//CkGgRBKPN4wG/aqPykOrHGalvGowjF0UE5BJ/BVrO6xRGXriwcZqEWtqvPtMiya+RVTG0ci1akriZ5L/0d6wyHCtV2YkMZate9oDL1SvV/h38BdLiyYGZ5TTPhEtYc5YJvZgn/r/bZ9/4T2girW6HgjtxpcgoR5q29FJ9GcQoT0CRkw21MQBkOsupfYchCKMFnBjiDV8rxj0favt13cBua+3HgNJPvfE8MHVfJ7O2e+P5AF2lkFniIALVbpR76XS4CAJjv9x0uqBxgVgCAvx5q6k9v3I9fk5dVqNPlyOp3bKj+7un5kfV7tBsPA1HmLA9r0m1ex89F0/eTbXU35B2TYNGRLiOhtWJBgi2PyVzstmDhSzDoOS0MNQHiGFqnaWIC1tE18g3cChhbEHhYyTGV93DYIEEE19d36hMl6X+Hu9dmbA/zPIRzFiMudljyha4bfFoU6ghdIx+DlgL5/9jv2wMMGgRtjHrF1EzrJzFSBWEqI6YzVyf7zRgAW8+RbP69L/wS1R2H7ovyiqAXODV4b0jA/KpUXhpKIYlSv2oJf+Yp5BYb+UiTwbT5PIYwFC8rMLV7O38dSBvQ074SPMmEEinUDquG0Pwv238sxEONke3fkjFDb4yCmoh3msWkHnCldY6NYeOrDTDZwYNRfO0bWBcXhdPHWBC1g5OTa8Tz8uM48aSbjvpqmMSm9MzGGgnOvOMUlnrJoeb102aRUr5AkhFzNBB2BtIsNc8Y0M1svDhpR03U8GByXgTce3qCXIJmNLQG3F32A9C0Sztbt/vo/I86aQtkgO1icllsYd8chfhgZmHRb0B5h+PL5KVHgcFbFxPokqbxqlCf5KlKKgjxQN2AvlQScDPtKm9G9QzDFWsB/WK6cbjPNTwzQQvFkNxJ/5ouJcBlxJmHfPnatTiANyUT1mUqy0uTE6xsSqBD70dAVJ9Yra6IThbxGOnrgcjFCA2xeTkP3yA0xNqzs4Yz+iHjzXyJezaIIb5yI22hEmPoXK2fG+YiBdFp8KyNjZ6M5hd+jDA0wRh8p+JHR1E7T4Tqg33rXeAa4N3DWwh8RAt1/v6KPmaQb6zM8OjeeNIQawZvQN/CmViZA6kdSTO0QRiYnk5XeyM51m+AC1Z40ZQTo2HtP+MGAR8kr+xEPrn22JROVsaUhu0wnEYgO4eK7TPvev7sk41oUrQkpY1gpixiNRX+As3EPjKYkyU57YWxh9ACwpzxmt3NJRJ+9FQI/2VkE67Rbs+Z7RuBCk+Why9sQ8D1Ks2FDbbgZw/DwFz0j4vJZmat6kpDaMNV9B9eU4LY7PEnyBL51ZIDLSCV09w3mpslSE4eF+Psbxj/5ZqYrJrPJtwunGS0NXURhS8qS96WQ9Qn78JpVkozIbNeJlm4v2TJieUm0mZTmWbopBQf23puQL3IKEmYSid2yR1rhf/KN2/fp3Ra+qmE+pyEjqJst534giBqfu8uQPmyno+Dk97tYDa8YNtlQt4XF4Fa3OOKs2pcNtbWi/z5n6hEXQDtOumUFTeXbVfoSiug4qyV6qeD1dkHtQeGLfG7UYXey6s2HN+vm8OUB1hFSZ8oGUm3wO3HzD86RfJkgNwUjg414ea+dSKLYb1XPTYvuuCY2/NjEhsxNq3H715uGY/qPKwooOhmyTVN7aNUna4pGm0dnsXMuA/Riigt5JWcEsQ7VsRvnNTcPcUsCL+j4o7cv2zWC/bmRKbQ//VwZTcA/CuMV6FvjerbBovk10ybzryjNhml3JCo8PWDHPRcHGevqgM1KxVSdUSrfNuShMsgwxbKQlo7x6aQcEKGQG4Junr/8Uk8p0/BVNyEiEekCoEGHfn4kSuto8EI+j71ZnlcwWJd0CDTVgL2nC+5Zb+xvo02Sy+4EB3jCHQMmfdVPHd9xL6Fob+w9ZDmqotT+u+KlS0Jc2TLgh5UrEn7TZbIgCv8oVmm8+yXHP4TAxmDovku+9/8NaPo6pUAgIpbyQK43DNti6KeS8wJsAKX/8d2NK5UPvbMZtbonmwfmemJVAUVasWZ+QKYgNn/dU4RvS77TT1U4qEjtLN1GrVlFn3032HCx2Sni97hUSJjz8cf1AImFEM+ArLF0gkXf0D8MTsMTkP7BJymX03uGoNnYYFIwjJO89sfjxPakZ9EIZUNJswWRAWb2KwYeScyImp3OVWNPw4rA455POvm6h9qaf8NrejHe032AKJ8fNgnTfxZ+T+er6QvXzkE9QJjr6JOnbvAaOfWNJEaUoODbZs0BGmNz5nG2onyGqNZCothz1WAQ0/J5OqSviqpRGvJ9RP4f0pBOB1z7gQ5fgUz6hKxeT61Og9dAO3aVwQG4N4OGUjU4ZCvKlc2du+9ND3EZed4+OeC/LM4xq/dmn0VCX8uxzol1BZeiiaNEgqSVM9bKWf0MceaMBTAq5s+ufcqeL+C3q9ITGJjq871XQeGViXQHDlcLzrav2Z7lq9Btti8jjMdn4jCA3fmpiRMTsu17naXRtub+VkmaG51pCaY6p5Oj/pwLKRJjtBGDZVFeGgBbKw5DX30aZ8Zcr31IgDt5Qzx8yji/+5BWhAzLPemWYDqkWhCHVWhIumtb1rBNpPi9bskMlSyA2lbEozD4zZ8Hrs/1yhCIp01US6LaDW3DONsw/6264uA2/5kqGtrUPI9I6ViDQfMU5jg9nULJKMEMWgtpfV/YY0qscNW7jN1LR1cb1kDccduExACMzjVhemtzYvR3jN4GQZm3KcAdlkMhiGKtUWVAgMMsYuILiFmIQmMAQD1q0vC93ufSGzskqDWHaNNHwDC2xSDJbsZEG/mz4ZWvVNQDpo2ugHlW7W3ZsP6SKwa9dCZIGFbYU26I99fmi81vQlD2n16FOS3jBzNyEjVvT5BOTFW9EsVVi3OHAQSBVSGWpvo1AkJ3VVLxVqUiGndr/OcocI9VVtjzGi445OeSZhcTlpaq6DSA7IbUM0Wp95jUD78DxSkEShBiFhNCoIY7uojRetWpeXyzJ4US/cFuhKj4rBvImAqfdu/7qWyXk8Xjj/1jq/bKJwbsmC8s14u1umktCjjzfYcOUv76Ii/HMk6nObUWyPSjhwB+1NNs3uwdUbIsHBbF3W5tDhZjQqcOBxFE57FshQuPOM8Jol1g6ZEp6+Fud86GYTx3OOQPOG6vLpWQ5jbhzydu5dAz4f2PIRPvDqV/L9dJGDV5h8/uffQfNI4Tnw1ko7nl03dyg7A15rbGRXp7hQM1BdjUSOtuuzywsptZLvMiD2OOrbrmOGndPQ/pSMq6o2QYFh9vPLWzMX1jHn/sEpxmyGdbRSjE6wgPhmYf3FBCiflGo8NhF7YkMmje/zWitf4Bh0LniYZrj4evIMXyyoRD0qa1gtVjw3k4A+4T09D8cR+XTa5IF7IInKhpACCeSsB9oq0SFT7DRirSdtEzGcZhPaNaIdgEXDGQvsV52SB5IfX09Bp+7shi0Z/TrjTAH4k+vmt/lmEMFsp+A/QUL617gn2wnEGnLzxVq72qcFWT3CGLCF3QnBHfnYgOa104QfBuTEBelWiDB2ab2HIjOe7RZQDCJ7tD5aKlqAYq8DnEAVxNhTzM1ak7msALzcut2KzcuPc3t3HYFrtPdfJ0ADbjqbcMIRn3NddMs+2tZhDetR1q9XCSCeLIaukEFMT9qE9fjuaL3fJhRmW7N8zcNrxCm1m9f3oEAHqe1BlmPhM4eEtpAwPylOJIhSKmREKlkeYwKCahMyJNMDqMa62IpAoOEU1aE5yF9HSf8QXRoFwMqHdK5BTHAzltqU8Kp8VebKD12w/K36vxTKnBkGoyzxkq7fpVYZaCKyMte4BquGYuKTZT8ji2ZSl06a4aYIbBuDl5vduppS+nRAktVdBqK31dtkNH43UJXYXQXYxXe9B+eCgOHfd7koG9YkllGF+6SJ1eMppdyWaYlh+sMHmmJ4IC7l+pkUZ4HpCibUuFbY6BdXbtih6PGInLtEl3xqUcC4uh5sBAUaGGMS6kZW7eRDaOxb6nnelN7xT6jHMRPB5+nv6fSbmJoF3b9BP/bgcrfzxiHltNEjeTXNg3CfYDM2btQ51Z3wCRuKW0r4Dx9j71/y+lVszb9IuEXPPUwDAWMTA47BGCWarPjKzCLDTguAZntliMywDPGJz492dDRjduq0eg/p0iJ88oOhuhLjMTm3B/VbJuzOzllvniqAf9t/GFpBBHEBwZv3WvfYFMIjEQ0RUt54r1YAu2oOHbzojWmHLcwgCmcBG2viyyB76h+Cr3V5jYStkkBytHSxASLknQ11QNiLvJwbMX1F1/2sW+Ux1DosyOIYiqZ2cWxLmXWsY0KogxFiCTW44rc0x/II40VH13jqIm9bQ86p2StTdlgQlYCnVgk7+5cCtyvxOxQW/Rne2c7Ecd5aEF77iErb4pPBAY09ND+gRs7ocXF/VQL9hRoqn7KJa15J/SdXsb3pND+jDCPkxf/qP79OhM6H5OC1OEFJlC8IJxDu9LYPy4iioCkdKQnbtB9j7HJJseZ3VUkwulfC7U1REwxpFzFPgzXiuPDf2cAB+dF5hxLAFLwBppyeP7CLWW4FTQCLM48jPftSXOIT/s2s+PrJvDTwlE4sxHxLbzWhpmly/DhYMglJOgjJBOOv9ztMpOayFgIAawN6QrjuvJ5lSAPX66wB+ckxQ04lGCRuzDG9YrWaQkv4MN6mAgGG1N8KGvFerjuxWhTt3IayAZIczMbUhfNLn35iJB5+Uf3SrM5/3rLfptaZ9toQ+xhAx7Amyd+5Hws6MHBWWMhyX0vbtIvHvH3eNM2AFctlkOd74c8fE/Lgo4J6nAQBjrmXiuCvmq4RrMpgI5uhvG6qu4KRtLVM5cJZSw2MGG0Zk5+0po7Hm9Cldl71v6dh9zqfOibl8CWeN7ssuMataRF26E0qdVOAf8vv8d7UNm9o1X9Ydd2ouSLXjGGRzKO5yxOxfUGspVzkKUq3AVrgIbAmWmpOIR1cdOyxOMbjUwKhzT7D3NVD6xiygY2/Fd/Y3LHM7D6ztTe90tOR6WvTfcQKi4XnEr6yXOA5giIgtLUIguCvpqpCD/Z0UnDaC341saz7HqZP5Wjh5p+W4+3OHGfVoxPsiig5LiUgT07iFmJyTChEiwZ6zVZ0iEQXCkcr7iyHYKB2gk0d46MchAr5/qjNiRRvrCn1aUPXuIWBDJ+F5onddrxXVG+hZ0zvqLmqUnl0pQYgjsD/ol2/tHgQWWi7D19f+ZXa6Un679c/Okyn3HmhVp7O/oyV70EOWk/Nfmm1RqMuzZDZyshCIE96l3ttmSq1qRiAuj/Sfab6R/JD58iLdFqibe2jGSBVHiclH5uU3VMctW2+x/j0vu6hN3emvsLvT4FpLX01C705AlmwTSb119tT1mgsHqu6BiBN/88jQQckGLLqNY9ywqilbzf/LLi9fhrVFb77n/uWC1y+hyYtJCHckliN8f5YhXuL6WtQ/DHuMr74gU0wZHpQ==" title="Mekko Graphics Chart">
            <a:extLst>
              <a:ext uri="{FF2B5EF4-FFF2-40B4-BE49-F238E27FC236}">
                <a16:creationId xmlns:a16="http://schemas.microsoft.com/office/drawing/2014/main" id="{38918857-92AC-7FBF-0D27-5F7585131E8A}"/>
              </a:ext>
            </a:extLst>
          </p:cNvPr>
          <p:cNvSpPr>
            <a:spLocks noChangeAspect="1"/>
          </p:cNvSpPr>
          <p:nvPr>
            <p:custDataLst>
              <p:tags r:id="rId13"/>
            </p:custDataLst>
          </p:nvPr>
        </p:nvSpPr>
        <p:spPr bwMode="gray">
          <a:xfrm>
            <a:off x="3207521" y="1759422"/>
            <a:ext cx="2628966" cy="4486387"/>
          </a:xfrm>
          <a:prstGeom prst="rect">
            <a:avLst/>
          </a:prstGeom>
          <a:blipFill>
            <a:blip r:embed="rId23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600">
                <a:solidFill>
                  <a:schemeClr val="tx1"/>
                </a:solidFill>
              </a:rPr>
              <a:t> 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8451071A-D2CA-E31F-BD5A-5F7686ED048E}"/>
              </a:ext>
            </a:extLst>
          </p:cNvPr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38" y="946635"/>
            <a:ext cx="252287" cy="251574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C932B6C2-D708-D16B-F3FB-401AAB0B6927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844139" y="2375450"/>
            <a:ext cx="854032" cy="3145330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5F733D60-61D4-A81F-778E-425F467FF25C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3768209" y="2375450"/>
            <a:ext cx="854032" cy="3145330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F996B30D-C994-7397-3F6F-BA41B1A8A3BA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6672106" y="2552281"/>
            <a:ext cx="914400" cy="2968499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8" name="btfpCallout516931">
            <a:extLst>
              <a:ext uri="{FF2B5EF4-FFF2-40B4-BE49-F238E27FC236}">
                <a16:creationId xmlns:a16="http://schemas.microsoft.com/office/drawing/2014/main" id="{ED544604-0254-BE51-40C9-C71A1F76AAD7}"/>
              </a:ext>
            </a:extLst>
          </p:cNvPr>
          <p:cNvSpPr/>
          <p:nvPr/>
        </p:nvSpPr>
        <p:spPr bwMode="gray">
          <a:xfrm>
            <a:off x="7429557" y="2241411"/>
            <a:ext cx="1413113" cy="582650"/>
          </a:xfrm>
          <a:prstGeom prst="wedgeRectCallout">
            <a:avLst>
              <a:gd name="adj1" fmla="val -44344"/>
              <a:gd name="adj2" fmla="val 71664"/>
            </a:avLst>
          </a:prstGeom>
          <a:solidFill>
            <a:srgbClr val="FFFFFF"/>
          </a:solidFill>
          <a:ln w="19050">
            <a:solidFill>
              <a:srgbClr val="5C5C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US" sz="800">
                <a:solidFill>
                  <a:srgbClr val="5C5C5C"/>
                </a:solidFill>
              </a:rPr>
              <a:t>High branded CPC due to high cost-low traffic for Avon brand name and its variations </a:t>
            </a:r>
            <a:endParaRPr lang="en-US" sz="800" b="1">
              <a:solidFill>
                <a:srgbClr val="5C5C5C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845784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FBD5349D-31B6-5D97-83CE-1AB9E6DABE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8264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28" imgH="329" progId="TCLayout.ActiveDocument.1">
                  <p:embed/>
                </p:oleObj>
              </mc:Choice>
              <mc:Fallback>
                <p:oleObj name="think-cell Slide" r:id="rId8" imgW="328" imgH="329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D5349D-31B6-5D97-83CE-1AB9E6DABE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33" name="btfpRunningAgenda2Level596989">
            <a:extLst>
              <a:ext uri="{FF2B5EF4-FFF2-40B4-BE49-F238E27FC236}">
                <a16:creationId xmlns:a16="http://schemas.microsoft.com/office/drawing/2014/main" id="{C7FF2A83-1140-B3FC-E7B1-C4D55B17A09E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0" y="944429"/>
            <a:ext cx="2463844" cy="257443"/>
            <a:chOff x="0" y="876300"/>
            <a:chExt cx="2463844" cy="257443"/>
          </a:xfrm>
        </p:grpSpPr>
        <p:sp>
          <p:nvSpPr>
            <p:cNvPr id="1034" name="btfpRunningAgenda2LevelBarLeft596989">
              <a:extLst>
                <a:ext uri="{FF2B5EF4-FFF2-40B4-BE49-F238E27FC236}">
                  <a16:creationId xmlns:a16="http://schemas.microsoft.com/office/drawing/2014/main" id="{85612A0D-3A13-61E7-BB02-41236A981C3C}"/>
                </a:ext>
              </a:extLst>
            </p:cNvPr>
            <p:cNvSpPr/>
            <p:nvPr/>
          </p:nvSpPr>
          <p:spPr bwMode="gray">
            <a:xfrm>
              <a:off x="0" y="876300"/>
              <a:ext cx="2463844" cy="257443"/>
            </a:xfrm>
            <a:custGeom>
              <a:avLst/>
              <a:gdLst/>
              <a:ahLst/>
              <a:cxnLst/>
              <a:rect l="0" t="0" r="0" b="0"/>
              <a:pathLst>
                <a:path w="2463844" h="257443">
                  <a:moveTo>
                    <a:pt x="0" y="0"/>
                  </a:moveTo>
                  <a:lnTo>
                    <a:pt x="2463843" y="0"/>
                  </a:lnTo>
                  <a:lnTo>
                    <a:pt x="2409122" y="257442"/>
                  </a:lnTo>
                  <a:lnTo>
                    <a:pt x="0" y="257442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035" name="btfpRunningAgenda2LevelTextLeft596989">
              <a:extLst>
                <a:ext uri="{FF2B5EF4-FFF2-40B4-BE49-F238E27FC236}">
                  <a16:creationId xmlns:a16="http://schemas.microsoft.com/office/drawing/2014/main" id="{E5AFCC31-FC86-9F45-E927-D99271C90480}"/>
                </a:ext>
              </a:extLst>
            </p:cNvPr>
            <p:cNvSpPr txBox="1"/>
            <p:nvPr/>
          </p:nvSpPr>
          <p:spPr bwMode="gray">
            <a:xfrm>
              <a:off x="0" y="876300"/>
              <a:ext cx="2409122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paid SEARCH</a:t>
              </a:r>
            </a:p>
          </p:txBody>
        </p:sp>
      </p:grpSp>
      <p:grpSp>
        <p:nvGrpSpPr>
          <p:cNvPr id="38" name="btfpColumnIndicatorGroup2">
            <a:extLst>
              <a:ext uri="{FF2B5EF4-FFF2-40B4-BE49-F238E27FC236}">
                <a16:creationId xmlns:a16="http://schemas.microsoft.com/office/drawing/2014/main" id="{9C20752A-C2BA-862C-CD45-EB042FF3EE39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8" name="btfpColumnGapBlocker679000">
              <a:extLst>
                <a:ext uri="{FF2B5EF4-FFF2-40B4-BE49-F238E27FC236}">
                  <a16:creationId xmlns:a16="http://schemas.microsoft.com/office/drawing/2014/main" id="{CEEE0AFA-998A-59DE-8CB1-8468EF689241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0" name="btfpColumnGapBlocker200955">
              <a:extLst>
                <a:ext uri="{FF2B5EF4-FFF2-40B4-BE49-F238E27FC236}">
                  <a16:creationId xmlns:a16="http://schemas.microsoft.com/office/drawing/2014/main" id="{8D5F1097-7688-1502-EFA9-D818AA581CF6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8" name="btfpColumnIndicator100593">
              <a:extLst>
                <a:ext uri="{FF2B5EF4-FFF2-40B4-BE49-F238E27FC236}">
                  <a16:creationId xmlns:a16="http://schemas.microsoft.com/office/drawing/2014/main" id="{C9C9B85C-5DBD-681A-57F9-9C640D0D9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btfpColumnIndicator278926">
              <a:extLst>
                <a:ext uri="{FF2B5EF4-FFF2-40B4-BE49-F238E27FC236}">
                  <a16:creationId xmlns:a16="http://schemas.microsoft.com/office/drawing/2014/main" id="{C7468BFE-C50C-8CFA-1B0E-79B4CB551EC4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btfpColumnIndicatorGroup1">
            <a:extLst>
              <a:ext uri="{FF2B5EF4-FFF2-40B4-BE49-F238E27FC236}">
                <a16:creationId xmlns:a16="http://schemas.microsoft.com/office/drawing/2014/main" id="{5E883D48-892D-061D-7C8F-31E54DD5DC3D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1" name="btfpColumnGapBlocker242064">
              <a:extLst>
                <a:ext uri="{FF2B5EF4-FFF2-40B4-BE49-F238E27FC236}">
                  <a16:creationId xmlns:a16="http://schemas.microsoft.com/office/drawing/2014/main" id="{2B00C35B-B67D-92EB-12EA-D04E067C8EFB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9" name="btfpColumnGapBlocker104840">
              <a:extLst>
                <a:ext uri="{FF2B5EF4-FFF2-40B4-BE49-F238E27FC236}">
                  <a16:creationId xmlns:a16="http://schemas.microsoft.com/office/drawing/2014/main" id="{F23751D4-79A7-04C0-4819-1789B98543C3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7" name="btfpColumnIndicator291145">
              <a:extLst>
                <a:ext uri="{FF2B5EF4-FFF2-40B4-BE49-F238E27FC236}">
                  <a16:creationId xmlns:a16="http://schemas.microsoft.com/office/drawing/2014/main" id="{8CA98CAA-6C2E-A25E-57D3-6B16A4028B23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btfpColumnIndicator334761">
              <a:extLst>
                <a:ext uri="{FF2B5EF4-FFF2-40B4-BE49-F238E27FC236}">
                  <a16:creationId xmlns:a16="http://schemas.microsoft.com/office/drawing/2014/main" id="{14F494B9-8DF7-33D7-6E8F-98C2F336E4A6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DF6B14F-EF51-F750-96F6-9A90B7B774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4" y="1"/>
            <a:ext cx="11531598" cy="876687"/>
          </a:xfrm>
        </p:spPr>
        <p:txBody>
          <a:bodyPr vert="horz"/>
          <a:lstStyle/>
          <a:p>
            <a:r>
              <a:rPr lang="en-GB" b="1"/>
              <a:t>Paid search: </a:t>
            </a:r>
            <a:r>
              <a:rPr lang="en-US"/>
              <a:t>Opportunity for Pave America brands to bid on high-volume, low-cost keywords where they lack strong organic rankings</a:t>
            </a:r>
            <a:endParaRPr lang="en-GB" i="1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B1F3090-D306-621B-8B9D-8B51980B5F1E}"/>
              </a:ext>
            </a:extLst>
          </p:cNvPr>
          <p:cNvSpPr txBox="1"/>
          <p:nvPr/>
        </p:nvSpPr>
        <p:spPr bwMode="gray">
          <a:xfrm>
            <a:off x="9960529" y="6378848"/>
            <a:ext cx="632190" cy="22659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36000" tIns="36000" rIns="36000" bIns="36000" rtlCol="0" anchor="ctr">
            <a:spAutoFit/>
          </a:bodyPr>
          <a:lstStyle/>
          <a:p>
            <a:pPr marL="0" indent="0" algn="ctr">
              <a:buNone/>
            </a:pPr>
            <a:r>
              <a:rPr lang="en-US" sz="1000" b="1" i="1">
                <a:solidFill>
                  <a:srgbClr val="000000"/>
                </a:solidFill>
              </a:rPr>
              <a:t>Legend</a:t>
            </a:r>
          </a:p>
        </p:txBody>
      </p:sp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8C6E0A16-697D-1209-CBF4-5B42E26626FF}"/>
              </a:ext>
            </a:extLst>
          </p:cNvPr>
          <p:cNvGraphicFramePr>
            <a:graphicFrameLocks noGrp="1"/>
          </p:cNvGraphicFramePr>
          <p:nvPr/>
        </p:nvGraphicFramePr>
        <p:xfrm>
          <a:off x="10592719" y="6388145"/>
          <a:ext cx="1218176" cy="21539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09088">
                  <a:extLst>
                    <a:ext uri="{9D8B030D-6E8A-4147-A177-3AD203B41FA5}">
                      <a16:colId xmlns:a16="http://schemas.microsoft.com/office/drawing/2014/main" val="3303214137"/>
                    </a:ext>
                  </a:extLst>
                </a:gridCol>
                <a:gridCol w="609088">
                  <a:extLst>
                    <a:ext uri="{9D8B030D-6E8A-4147-A177-3AD203B41FA5}">
                      <a16:colId xmlns:a16="http://schemas.microsoft.com/office/drawing/2014/main" val="89983032"/>
                    </a:ext>
                  </a:extLst>
                </a:gridCol>
              </a:tblGrid>
              <a:tr h="215397"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8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Rank</a:t>
                      </a:r>
                      <a:r>
                        <a:rPr lang="en-US" sz="800" b="0" i="0" u="none" strike="noStrike" baseline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 4-7</a:t>
                      </a:r>
                      <a:endParaRPr lang="en-US" sz="8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BBCAB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Rank</a:t>
                      </a:r>
                      <a:r>
                        <a:rPr lang="en-US" sz="800" b="1" i="0" u="none" strike="noStrike" baseline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1-3</a:t>
                      </a:r>
                      <a:endParaRPr lang="en-US" sz="8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8342306"/>
                  </a:ext>
                </a:extLst>
              </a:tr>
            </a:tbl>
          </a:graphicData>
        </a:graphic>
      </p:graphicFrame>
      <p:grpSp>
        <p:nvGrpSpPr>
          <p:cNvPr id="29" name="btfpStatusSticker719082">
            <a:extLst>
              <a:ext uri="{FF2B5EF4-FFF2-40B4-BE49-F238E27FC236}">
                <a16:creationId xmlns:a16="http://schemas.microsoft.com/office/drawing/2014/main" id="{75F6E46B-BD85-3F56-6589-AE8ED292DA0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102664" y="955222"/>
            <a:ext cx="1759136" cy="235611"/>
            <a:chOff x="-2269853" y="876300"/>
            <a:chExt cx="1759136" cy="235611"/>
          </a:xfrm>
        </p:grpSpPr>
        <p:sp>
          <p:nvSpPr>
            <p:cNvPr id="30" name="btfpStatusStickerText719082">
              <a:extLst>
                <a:ext uri="{FF2B5EF4-FFF2-40B4-BE49-F238E27FC236}">
                  <a16:creationId xmlns:a16="http://schemas.microsoft.com/office/drawing/2014/main" id="{4CB66D7C-DE6B-643B-6B3F-76AD32DCD2AE}"/>
                </a:ext>
              </a:extLst>
            </p:cNvPr>
            <p:cNvSpPr txBox="1"/>
            <p:nvPr/>
          </p:nvSpPr>
          <p:spPr bwMode="gray">
            <a:xfrm>
              <a:off x="-2269853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31" name="btfpStatusStickerLine719082">
              <a:extLst>
                <a:ext uri="{FF2B5EF4-FFF2-40B4-BE49-F238E27FC236}">
                  <a16:creationId xmlns:a16="http://schemas.microsoft.com/office/drawing/2014/main" id="{FCA7C88A-1987-82D0-0957-79F59F191494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69853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D9CBCCE-EAA9-2AF9-A8AE-4266A0F145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5824371"/>
              </p:ext>
            </p:extLst>
          </p:nvPr>
        </p:nvGraphicFramePr>
        <p:xfrm>
          <a:off x="330200" y="1497695"/>
          <a:ext cx="11531600" cy="4791061"/>
        </p:xfrm>
        <a:graphic>
          <a:graphicData uri="http://schemas.openxmlformats.org/drawingml/2006/table">
            <a:tbl>
              <a:tblPr/>
              <a:tblGrid>
                <a:gridCol w="3590819">
                  <a:extLst>
                    <a:ext uri="{9D8B030D-6E8A-4147-A177-3AD203B41FA5}">
                      <a16:colId xmlns:a16="http://schemas.microsoft.com/office/drawing/2014/main" val="1978026863"/>
                    </a:ext>
                  </a:extLst>
                </a:gridCol>
                <a:gridCol w="2544226">
                  <a:extLst>
                    <a:ext uri="{9D8B030D-6E8A-4147-A177-3AD203B41FA5}">
                      <a16:colId xmlns:a16="http://schemas.microsoft.com/office/drawing/2014/main" val="3582200954"/>
                    </a:ext>
                  </a:extLst>
                </a:gridCol>
                <a:gridCol w="2803096">
                  <a:extLst>
                    <a:ext uri="{9D8B030D-6E8A-4147-A177-3AD203B41FA5}">
                      <a16:colId xmlns:a16="http://schemas.microsoft.com/office/drawing/2014/main" val="1675891326"/>
                    </a:ext>
                  </a:extLst>
                </a:gridCol>
                <a:gridCol w="2593459">
                  <a:extLst>
                    <a:ext uri="{9D8B030D-6E8A-4147-A177-3AD203B41FA5}">
                      <a16:colId xmlns:a16="http://schemas.microsoft.com/office/drawing/2014/main" val="2315043492"/>
                    </a:ext>
                  </a:extLst>
                </a:gridCol>
              </a:tblGrid>
              <a:tr h="225699"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rgbClr val="CC0000"/>
                          </a:solidFill>
                          <a:effectLst/>
                          <a:latin typeface="+mj-lt"/>
                        </a:rPr>
                        <a:t>Keyword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rgbClr val="CC0000"/>
                          </a:solidFill>
                          <a:effectLst/>
                          <a:latin typeface="+mj-lt"/>
                        </a:rPr>
                        <a:t>Search Volum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1773849"/>
                  </a:ext>
                </a:extLst>
              </a:tr>
              <a:tr h="198494"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ncrete companies near m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,1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CA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5981233"/>
                  </a:ext>
                </a:extLst>
              </a:tr>
              <a:tr h="198494"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aving companies near m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,1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CAB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932874"/>
                  </a:ext>
                </a:extLst>
              </a:tr>
              <a:tr h="198494"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sphalt companies near m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,8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0279077"/>
                  </a:ext>
                </a:extLst>
              </a:tr>
              <a:tr h="198494"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ncrete company near m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,1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4544587"/>
                  </a:ext>
                </a:extLst>
              </a:tr>
              <a:tr h="198494"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sphalt paving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,9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4561814"/>
                  </a:ext>
                </a:extLst>
              </a:tr>
              <a:tr h="198494"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ncrete contractor near m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,9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8650692"/>
                  </a:ext>
                </a:extLst>
              </a:tr>
              <a:tr h="198494"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ncrete suppliers near m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,1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5580554"/>
                  </a:ext>
                </a:extLst>
              </a:tr>
              <a:tr h="198494"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sphalt paving near m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,6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CA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9702178"/>
                  </a:ext>
                </a:extLst>
              </a:tr>
              <a:tr h="198494"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arking lot striping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,6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6802327"/>
                  </a:ext>
                </a:extLst>
              </a:tr>
              <a:tr h="198494"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sphalt contractors near m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,4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3187485"/>
                  </a:ext>
                </a:extLst>
              </a:tr>
              <a:tr h="198494"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ealcoating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,4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0773601"/>
                  </a:ext>
                </a:extLst>
              </a:tr>
              <a:tr h="198494"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arking lot striping near m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,4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4360848"/>
                  </a:ext>
                </a:extLst>
              </a:tr>
              <a:tr h="198494"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aving companie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,4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8653143"/>
                  </a:ext>
                </a:extLst>
              </a:tr>
              <a:tr h="198494"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sphalt sealing near m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,9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4964663"/>
                  </a:ext>
                </a:extLst>
              </a:tr>
              <a:tr h="198494"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sphalt paving companies near m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,6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CA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0982370"/>
                  </a:ext>
                </a:extLst>
              </a:tr>
              <a:tr h="198494"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arking lot painter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,3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CAB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0741436"/>
                  </a:ext>
                </a:extLst>
              </a:tr>
              <a:tr h="198494"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ealcoating companies near m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,3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4023191"/>
                  </a:ext>
                </a:extLst>
              </a:tr>
              <a:tr h="198494"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ocal concrete contractor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8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463210"/>
                  </a:ext>
                </a:extLst>
              </a:tr>
              <a:tr h="198494"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ncrete staining companie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9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3864128"/>
                  </a:ext>
                </a:extLst>
              </a:tr>
              <a:tr h="198494"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sphalt repair contractors near m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2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5128234"/>
                  </a:ext>
                </a:extLst>
              </a:tr>
              <a:tr h="198494"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sphalt parking lot repai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632732"/>
                  </a:ext>
                </a:extLst>
              </a:tr>
              <a:tr h="198494"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oad paving companies near m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6453645"/>
                  </a:ext>
                </a:extLst>
              </a:tr>
              <a:tr h="198494"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arking lot asphalt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CAB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84484"/>
                  </a:ext>
                </a:extLst>
              </a:tr>
            </a:tbl>
          </a:graphicData>
        </a:graphic>
      </p:graphicFrame>
      <p:sp>
        <p:nvSpPr>
          <p:cNvPr id="7" name="btfpNotesBox735198">
            <a:extLst>
              <a:ext uri="{FF2B5EF4-FFF2-40B4-BE49-F238E27FC236}">
                <a16:creationId xmlns:a16="http://schemas.microsoft.com/office/drawing/2014/main" id="{EFB01B38-098A-51EF-E007-B439B5DE082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330200" y="6341860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CA" sz="800"/>
              <a:t>Note: No paid search investment for Starling in last 30 days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CA" sz="800"/>
              <a:t>Source: SEMrush, for the last 30 days ending 17</a:t>
            </a:r>
            <a:r>
              <a:rPr lang="en-CA" sz="800" baseline="30000"/>
              <a:t>th </a:t>
            </a:r>
            <a:r>
              <a:rPr lang="en-CA" sz="800"/>
              <a:t>April, 2025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BB84D66D-C25D-C2EE-EE42-009E0C116BA3}"/>
              </a:ext>
            </a:extLst>
          </p:cNvPr>
          <p:cNvSpPr/>
          <p:nvPr/>
        </p:nvSpPr>
        <p:spPr bwMode="gray">
          <a:xfrm>
            <a:off x="6472423" y="1488170"/>
            <a:ext cx="2802206" cy="4791061"/>
          </a:xfrm>
          <a:prstGeom prst="rect">
            <a:avLst/>
          </a:prstGeom>
          <a:noFill/>
          <a:ln w="28575" cap="flat" cmpd="sng" algn="ctr">
            <a:solidFill>
              <a:srgbClr val="C0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493B8F9-5287-575A-6971-2181E5791517}"/>
              </a:ext>
            </a:extLst>
          </p:cNvPr>
          <p:cNvSpPr/>
          <p:nvPr/>
        </p:nvSpPr>
        <p:spPr bwMode="gray">
          <a:xfrm rot="5400000">
            <a:off x="7778717" y="-51317"/>
            <a:ext cx="189615" cy="2802206"/>
          </a:xfrm>
          <a:prstGeom prst="rect">
            <a:avLst/>
          </a:prstGeom>
          <a:solidFill>
            <a:srgbClr val="C00000"/>
          </a:solidFill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CA" sz="900" b="1" i="1">
                <a:solidFill>
                  <a:schemeClr val="bg1"/>
                </a:solidFill>
              </a:rPr>
              <a:t>Pave Americ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8592BEE-63DC-68C8-0A34-8DD84F3E36F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496175" y="1518438"/>
            <a:ext cx="704850" cy="198520"/>
          </a:xfrm>
          <a:prstGeom prst="rect">
            <a:avLst/>
          </a:prstGeom>
        </p:spPr>
      </p:pic>
      <p:pic>
        <p:nvPicPr>
          <p:cNvPr id="10" name="Picture 18" descr="Rose Paving Merges with Atlantic Southern Paving and ...">
            <a:extLst>
              <a:ext uri="{FF2B5EF4-FFF2-40B4-BE49-F238E27FC236}">
                <a16:creationId xmlns:a16="http://schemas.microsoft.com/office/drawing/2014/main" id="{9DBC264D-19AC-2ED3-5BB0-A63276FD0CC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88" t="27030" r="19071" b="29133"/>
          <a:stretch/>
        </p:blipFill>
        <p:spPr bwMode="auto">
          <a:xfrm>
            <a:off x="10252793" y="1463641"/>
            <a:ext cx="630841" cy="244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F10441EE-0934-663A-C962-82D840DDA1B0}"/>
              </a:ext>
            </a:extLst>
          </p:cNvPr>
          <p:cNvSpPr/>
          <p:nvPr/>
        </p:nvSpPr>
        <p:spPr bwMode="gray">
          <a:xfrm rot="5400000">
            <a:off x="10483735" y="66529"/>
            <a:ext cx="185817" cy="2570314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CA" sz="900" b="1" i="1">
                <a:solidFill>
                  <a:schemeClr val="bg1"/>
                </a:solidFill>
              </a:rPr>
              <a:t>Rose Paving</a:t>
            </a: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D5E47DFB-22BD-0D77-2582-43144BF925C3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38" y="946635"/>
            <a:ext cx="252287" cy="25157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142039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B5AB060-F145-B20E-CB73-AD13D33BE0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3504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84" imgH="486" progId="TCLayout.ActiveDocument.1">
                  <p:embed/>
                </p:oleObj>
              </mc:Choice>
              <mc:Fallback>
                <p:oleObj name="think-cell Slide" r:id="rId17" imgW="484" imgH="4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5AB060-F145-B20E-CB73-AD13D33BE0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8" name="UniqueVisitorsTable">
            <a:extLst>
              <a:ext uri="{FF2B5EF4-FFF2-40B4-BE49-F238E27FC236}">
                <a16:creationId xmlns:a16="http://schemas.microsoft.com/office/drawing/2014/main" id="{E2C84EE7-0A55-EC2D-04A0-FBB9A451C2C4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26214322"/>
              </p:ext>
            </p:extLst>
          </p:nvPr>
        </p:nvGraphicFramePr>
        <p:xfrm>
          <a:off x="8236274" y="1104624"/>
          <a:ext cx="3609134" cy="1316102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0549">
                  <a:extLst>
                    <a:ext uri="{9D8B030D-6E8A-4147-A177-3AD203B41FA5}">
                      <a16:colId xmlns:a16="http://schemas.microsoft.com/office/drawing/2014/main" val="3897694433"/>
                    </a:ext>
                  </a:extLst>
                </a:gridCol>
                <a:gridCol w="1356491">
                  <a:extLst>
                    <a:ext uri="{9D8B030D-6E8A-4147-A177-3AD203B41FA5}">
                      <a16:colId xmlns:a16="http://schemas.microsoft.com/office/drawing/2014/main" val="2729753460"/>
                    </a:ext>
                  </a:extLst>
                </a:gridCol>
                <a:gridCol w="1152094">
                  <a:extLst>
                    <a:ext uri="{9D8B030D-6E8A-4147-A177-3AD203B41FA5}">
                      <a16:colId xmlns:a16="http://schemas.microsoft.com/office/drawing/2014/main" val="829964771"/>
                    </a:ext>
                  </a:extLst>
                </a:gridCol>
              </a:tblGrid>
              <a:tr h="557294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000" b="1" kern="120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Brand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000">
                          <a:solidFill>
                            <a:srgbClr val="C00000"/>
                          </a:solidFill>
                        </a:rPr>
                        <a:t>Avg Monthly Spend (LTM, $K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000">
                          <a:solidFill>
                            <a:srgbClr val="C00000"/>
                          </a:solidFill>
                        </a:rPr>
                        <a:t>Change Yo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14307374"/>
                  </a:ext>
                </a:extLst>
              </a:tr>
              <a:tr h="379404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>
                          <a:solidFill>
                            <a:srgbClr val="C00000"/>
                          </a:solidFill>
                          <a:latin typeface="+mj-lt"/>
                        </a:rPr>
                        <a:t>7.6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>
                          <a:solidFill>
                            <a:schemeClr val="tx1"/>
                          </a:solidFill>
                          <a:latin typeface="+mj-lt"/>
                        </a:rPr>
                        <a:t>18%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0825124"/>
                  </a:ext>
                </a:extLst>
              </a:tr>
              <a:tr h="379404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>
                          <a:solidFill>
                            <a:srgbClr val="C00000"/>
                          </a:solidFill>
                          <a:latin typeface="+mj-lt"/>
                        </a:rPr>
                        <a:t>35.2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>
                          <a:solidFill>
                            <a:schemeClr val="tx1"/>
                          </a:solidFill>
                          <a:latin typeface="+mj-lt"/>
                        </a:rPr>
                        <a:t>148%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5808991"/>
                  </a:ext>
                </a:extLst>
              </a:tr>
            </a:tbl>
          </a:graphicData>
        </a:graphic>
      </p:graphicFrame>
      <p:sp>
        <p:nvSpPr>
          <p:cNvPr id="42" name="btfpNotesBox735198">
            <a:extLst>
              <a:ext uri="{FF2B5EF4-FFF2-40B4-BE49-F238E27FC236}">
                <a16:creationId xmlns:a16="http://schemas.microsoft.com/office/drawing/2014/main" id="{89BD01FB-E9A3-CB5C-C7D7-1F7B6031A2EE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200" y="6318415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CA" sz="800"/>
              <a:t>Note: </a:t>
            </a:r>
            <a:r>
              <a:rPr lang="en-US" sz="800"/>
              <a:t>LTM refers to Apr’24-Mar’25</a:t>
            </a:r>
            <a:br>
              <a:rPr lang="en-CA" sz="800"/>
            </a:br>
            <a:r>
              <a:rPr lang="en-CA" sz="800"/>
              <a:t>Source: SEMrush</a:t>
            </a:r>
          </a:p>
        </p:txBody>
      </p:sp>
      <p:sp>
        <p:nvSpPr>
          <p:cNvPr id="12" name="btfpMGChart469693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dJY2OMwf8mgoXWrd8S3Dpr8K8e5QDX9l/GOurOelpINCJLA3EC4Lci7vMC6fiShJ1UHdlzzodfzXVhfa9I7ytnjk8UxGhLoYCoYswL6v0jmUqyjtlYKGO7KNrwdR3Jtqv+irS/Sfzu5qGHNY/GWRzcMCJB9+nhml2tFI3rlve3tOSrKeIxWD9P70wEfe8SJ6/MJPLqB+9+ChibGUJZcZ79MSo2j5u3APi7IPvBbU5vnnU3oHNXYDU1pQpsZPwllRfSorraV1v/13W5stHj9VkwYm3cencw98ByET5gQ2DWVEgqSQZ/W+iegWBwc5uL0khqyxbvZmzhy+TW1I+hoIly2Srcjlg6MINbVVTjlASA9tDfjsFtpO5zohwDAqdS5+/q6MQa9djskrR8BPu1EB/81/MTXlP2HIinWR7mpFT5amBKZBJ+rI4NYSg1gi1epoUj568WLp+DiZ/FPfj+Bei/++5PFDDqDvL/wv/6/n3GkoQ5FU/H+QQ4Z6uj2a5DQ7PFOMR01wGHPsL5KIbBl8kdjlhmJBB6EjIfuANgnC9jhnyK8UCNvwBRpN84Q5vUkELJNIpmTqutadRqLilWYVjjE1SMsxHc8h7sDjsz5S9CVuXyyu9l+BbWsnEpVYXJZ+2TvACfjD0D80vyTCqBUsi79NdCz0tHwAMSaOlewGgxZeSBjprxiflDbkvt/eLBYBfExaoQb2cwjKk/f7wUQSRurzI0/Vi9LFsaRi7SXUPKMg5BxbSm71NgfKtYMtDzLOfP2EWWW66ZpA2ykeLqnVmXWvYdPyFvJMMQQQDdhZ/PQFmfgMEYnaS23A4LyYbYbhh4p9zRjOqS5dvSK+9HsImXb1QQBthl7I+lhNYLYisvbRo93UHP8WhLlkqjLGqLeLRN1t+wXrRTNKMeUBoMZlWyfhmSeRwjsrfZHfOgn6VkMtdrXXJlimHzRQxYkrtPVDtpXku9EMg1ZAyeyRuaBXTks29P1JU8goDt8Aw1yIWTuS3o6sGURfcNCc0IIIYBGU61i7vGkwtOQqfgFyjUl1YhO12dY63h7XYa+zJpgb2LLwF5QeQVFeoVcKLPHbPzMWdDG5RA9cpJnDzTRQ6RC1dYtz0/8Gd3ihdCPT25/jQz1mB1GP7eEn9tiBrcp6A1L+B+uneQ7CICo1lztJaitFcba+aYW1Lpmzn9rvi241WpMKQtvVAQKPUyY8usnN7EyoWtsudwlV+XKHBKtwCyYUmo9s1WcuiqwtkGlrBuo3X8fpN/L6fNP+C8YKDXIBs+EUSPHTo6EVNe963LyyvsljZUVqGU1m7jCNxCkLBvjnBEUcHhlgUnmjbQyR4vY4pbzFOWRx55i0EMDJlJGZPfEPmaNb7NoSmV+IqiY+9SRjSyTVgMJ1JzJ+I/M7eLepvriLAUMvcuKbu8pERl7p55T4WJ7H0sMVn1KprUrkCZb7qRLm9oaxRoOKV9QD/Pcf9aBHC1IXqcrmh0kUkEAkNJwReoN3x5WMDIoasbUNYO71AWvk8E0UTdl8Y91s7MOwTg+vECpCVxXOcgRIFxT3Zlv8ruc//1k/mU+tF3FAFinaor7mxeFqSmt0PR2MsVkEfUOD3Sk3S5AbeECwEAw2fOrKeBFtJYSMJcBH0GwjusX4HPnveDX1loiUl+7JB23Q0sLLsZdQ3TXx/v/GXgvY3tlOcYH/mgoMt0JDr87thtZXNb+fzFr3UK3UST2hgF+XAu4UwAtf1AzNbNhHUsNVx0OHeNMcUKKIUIeVZJyvHxx1N7DiercsfkZxnpM/kyspIvw/Kxz9o8hgUpITWB9Q4JQpNPunx5gOWiL91JoIdff+bVjmYfT6mQT+UAaC6BdIV0//336wI/m1s/VQwQvPg3jXUSPfaYgu0xkMXRuOsQWv4C9VPl8swkReC936GQLcTM8eSPrDnawihDWvoCeke0rBLj95jRPL6ee7GfI2kWJqHyzs9B0kk0BSkS4kreJQmMLgB2tkGEAxdrELQ41R9N83umqLr3ZjLBJdDqhKeGpnrvDoc7aGI2Nm2TahNUnJmC3L6Bdby1do1QL2WUXZe3pUoBJK65kwCmu+H8zE5SbPVn7/FW1LGXpr9k+y+4Fc3UiXIHkBWh0DvuMr6fP6qf639mbISVx+qhP5xEg+ZP6SQW0h7sIrBKOJ2RC08iFUabY/wn0m68lVqb81zwte9jy/gZlFXEnhE0yBUj1cJ/q4Jed3Dn0yw/GRWjmz9Q/IVdVaBJZuEvATLi2myEws+aChQ8lgC2oHjC3xkUyteyxf19OhOVsDB2LnLOmIeYHh/NKQYoR2u9I3PoVk9us5Avm/4a+cUS1ip87F+aXTymVJFAdzD1FFOsqTBQDMB7D4kiPO1GPbWDK3KUy8q6ElF30tVOeMqaHQz1FaP5vN9MESlZw2Q0E/3AshODPnXljOhERwievlEnyjB/Hhbi4uxDs9JS2/smJPuskIoyeeBZySuDmUfDWm67JLE0CDrEOgY9a6dntnn7VTlm1bYK+bgHvQ9QfwHRXof4RF7yTHDWIWGu8agacHPe/K7hgRdq9hwH//Sh6Mr6A9s7OYsgbr69SCmY+vl4AXfI5xgS3Ml1b+nR33rYcEfMRLD3U4/MQKB8DRXaqb9l0jNgymG0uvLcDDYLe8TG20N8AbyApCydwtOc0nzjfJ30kcDZt2f0lspQDUJf0jC+Kddxn8kpALaYecwMePd8gDGpUzd//BwAp10ZOE79kRaOJHQkFthxkejNS0XOCPZLJovSUQZO6z+uB/rypvKCVh6KEktONp7SqG7sl9aMRwTWqopyDhx8NEsNkBThmG06HqQ2ZFl4krQi8+KZQOArym3E/gOQPY+iS8R+4Mt6KqR35sdG4ozkglrDU1Jm7mKeE2OG66ZN4rUDj+ATYVcCbgKdlvQtHh9VdgKXKZ2yq4d4FN8kANHnGfVZA5i4nE6Fpl0ls+WV484vkKjZwmvwBL8D1EhgebPEqAWMiJr10ThSJskyB/IDUGoExpM/GjqyYE1d6eEXg0lgoQnJAmpCh0ys+9TBIe/rmC9tbCiKY3lEFQGkp7iMdq9BQiKgLSsNVyuUMO2CgNQbZOekOGkhYyYYN/0Lvn+bBc7AuDryZ+DmAHU7cPVK0maDw9uLlL+ilSU6N9aLoof/vAzi+YkkOwdLaPXyZ4CelbzCw282yHQILBVG2/yqpAoU+h2/wdPaICIo4fHWtMicYkSoNzcjo4RUbyfdrGtqRUKifNexEmruT3PT2sGXc+vDNj/i3gFUjnwcZNinloGrCZa9w8/cGbFAH5UV76a3fmpQ6JiSso8AJQi3zwg9xyZKC6sC1dQP8bqWTEKUZO8lixHteUXw2AeYRbc/44AwEsh+qC6jzAY8lpgijPTAvMZ18cyl30Z9QiAztSEhoLf+WTxzr1CQWf47WUBXUrR/07ZHx8s4FdxvkxV6MSoPSCAkI9GwGZRPr6IKPYLcPZ/TuFA2/x5AMgY6wM651+HzFw3rvEfadZnzFc7/qP2vIw29js26Ud4xYrQAksrZDphf0eH1BL0WJgcSQijAyKGUTskr4WAuIlzwqRvlvXS7JfwTZJ/L7iYr4hsszNuIlmOhrcY1XdTNxx/ee6888Qk5ZTALrSyfWWL5WpTQDeS2ws+8nB+UA0v24JkmlBMCj1/RB6RJw0EwemEPe9AEWXSfgmIuHWZzjYhKJbLCTFJDMzNgfxyQL9K8rbqm2U8wdOODiSYU3sqfnVfNiYM8FolR1pBpE+Harq6WOfNFJ5fA9LF4b4c2H2WEamN87PVljcE44qv6kIIvGf1S8BUx6os90K79skgaRBz4PKdexwShWatC+BLPc2ZhmPouhjj/GvMJh73BeV1c+7woNbdUV8ZNnol8Zp0tBUjjCHnOs4cHH9eDmjxcuQBHPxmUCcvlBf1/ZncFuNBB9z9waq56VgU+8O3mtDih9YRqtxqiEFadxukR++IPDeTfwYVHNOTdiRmcYS5Ot3csjA7hKf6wxG5pszYqiXWqQNyl9oSlB5GYM621i9Pwq9OatxdKnYKZZN5zKONBkCEek5ETnLmv679uAD8BryfH6EOM3Tz9z6nHEfMY3Vyi0KfzMd4lcIA/9GG6gNaW5YvLRRejeRnfwSAZLvETz5sLuHClphZ4uAiQRPi04QuvdzzePNJOu0KYZHDWjF0TCRxmv/LDSa+TAylM59sfOV04QtpqQgsP1POQ6il9L5lA2w3wjQsy5gmaKhxGHMYyDGDtNC5MEbHO9kLqAhKlmHbq4USMYSFsfC4YFMXOVEVl9WEvoAfhXwKc53iRkG+5oIBeQha3LqsbVRZdyaPqhFnQ/MsfSRYYOUKlrrmnwTBN6e4HXvV8E49MAfB8LXsr7UEy3fRWYhXBAzmOPzzt/9ZvSPdxbQfxktGXGNY3LoySTY0mn6tNXPjrP47q3LOqItloMgeAH8cXmCl5idBQeB/lFk85G2Z9ZaP4TNV/X0XTMcFD7KlJJ/eYt6dXQMNtrhF16+wrPg3GMIZjPORcTFGP7Y0bH9oPS9wMEEIh2q7PCohGWRRb+VXAJ/Dr4M5MMJMN0QfD/63075iyalLxEt5qGGfzJo5N/InfcO3kD4bnvlgTwIwArDu50LBhls/MHtKdUIwLEy2DmIYr0P5eViBP+GSux7qcFgSz9LLyCRzV1TjpjdfWU4pRGuX1fI0m/30c/k2oiA5PV+kHcAq3AdRLV5MTVtITiWXoJCXdFTGfdGQX3TswNzmYxnDmGrH4n2yyQpLGUfNf+nFdFp07d/pfT2TiQoEeqedcLh4Xlw1eRZqkX9IOy5sgKxPkWiwASQ3lACydYbvFv2uu7NIQH2ReGWVfsweEqLBULRZ4tbWdYIBBBfUE7lnowwogiMd26PJFJSkWuUXLkANv9FBKCb9AtQ9JRh+BC+vPMWgdEl8UbPGbJ7LDiO0xz2n+Kwg0Cz7Pruw5APBA15oLA6mDBeQQY1A6GYRDHhuUAvgtn+Rl7XTd+18kGO4Uu5MIrZoooHJtp5khtnYOf8ujAMRmdBt0ld1qkeWmIIPPoh4veWdQk/UFwPHR/S+x61vgwFb/T439IySxYOXo/Eh79vPNvH9Flg7D6OEg+QFIJodun3rfZe675AwJwcbY31r/087i/rfbvgl6uZvxF9oK+lQdAXxahQ62IPlkbAfNb7cPlBhOR0B8xhZtDQeYcDlcBG3SlD23Mb7W2quWSLJaxWNnysHtQ6pr9kzQsaqH+7rvtYytBHa0hdL6KVwm5ZnbhGcPqSA9WAHqDl4bh4eW0Zlm/TZWXIV5P62TQAjDLr9h9UKYAJ96sLjJardrxQg+xQ+DdSe22GTAe51dEXLpex5uv54S9/spU7hA+TozVpkAUCq58Xf2c+AYj73nexAq24+jqXdK3cjsvvuhSTDMGp20dOKsgyr17OIKnxspERU1o+veGnAJRDQ+7WyG9YH7gi9tLT0GmDeJ97wQJUzdFyV6EK4Dhb3h5EkA+ru4d9qpv1E3zSY9ZrcKo4m+EjC836WD9/l2mUpxl9PK4nEXHbwLwvYj3zsIpR+J+zuhptWbV4kSyoshsZcLDYr1BXqCRi9CSgV09tc0qsYKabvOeAP1u8PvbpE3kNX/c2dKMs+iM0sXXM8205ZTLe2o8Sm5uKf1gFg7n15asJW2IwO3uR5+R/zWSIfmeN3vQ4qrQQJY+84SL++XP3LGy9Va8CIpF4obRF2s7XnCQ9OcJbRS+uDZop3etPJugBrJPx/dF+OiY5Y+o9BsDB7yX0t0biHCB2SvxdEuvapSf/ExT8PSIzGsR8qlY54E39hS8t6fd3W3N4BxvprLahSJ4nJArior5DLB1trrBcmKvGb6L23f8jv++YwFcUZ4PEHmgbyDa54CFxtcw03yNyDc1dtjFGnr0famx7ht6G3Rp/ITCM35iQYm3B/LDbs5xL/Dj98OKvcJmxLeHblOPL7kOJUykU0L3tJxavfF9qKCuuTjeOQE8nFK+qgeLf1L4CbTr08MGKcHo4dQi4+s1T4SEru/gP5vsubmkf7fBgTp+R2gJ3DYKjSN4PjbtauiqW/xdP/CigK3dowTUV3IeUcWg7O0IlR1/OCbur9htcuIufobIGQ5LaEg/LrXIUX+pO7NcZlQa547V7xJHmkEPjSavatP/aB6jM1lTNNg7RTkc0YxOU63jrTZ3dJKVXJSBZvfkSXTlWoqLloTPSuWM1fv7VkU2/hJnLAFY62vAdrU5rBWO/P7xkdFDk6f+th7Yu031f/b4r0tGW/lSMJmIeLLJI91g8tGCZWqedAono6VSXLd/f696E4jCeJJ3bW/oclvWFfe9J2pHu8GoKNeBS/3BDhzDOnje5SXPbJSReULn9YJ0aguxhwUvqVyuXH2+6SxFhzwjy7wjMtO0k4t0Ye033Mt7Qz83wr2co4DfVPuX5uAL9k+FY+KYL89gr07JVQT26Cbh7a0AaZXbqslpW//mcNcoLrCtbhbKHorsVPn0MUDbxXfZpjFKX0M+Pmi7UvryRzsvuS41k/+Mka0KP7/F3Xiyp38zRPIIgEyB+k97n3nKrz/Te6bYfGXEA/C/PnLX6hAbQ8tHjaLycNk5j//P6doxvM1lcu9x2lAO2DCDOmLCcJhc5U4TxbGbrt8p19SpWJR23eBMHc9dkY4M+5j7wSunMvL7HeBEe2aMJqhGORbIKUcU+1ARa4U1+AIjvNx7/inCGZmq0GmlxzAao5540+NCbTHmOOqQxkKzfSdesMNl+tNXSMJo/Gutr6qhBVnvIE2A7zC/LKUiW3GNCmKkaI0q2IIYBPzU4kkpK1xSrmTxKz9o7AHULYoUnOqdrNLkiOqkKn8UT+mKMJk/zvRtsY8WaUo9mJGFu96KKvo7HWdI4Jh6AXL86eRS1kLL6IeUdRIS0YxxVL56JqMy4jVbvp5NQ9FkLLNW2Wbp29UdFSpmdjRceEZWx5on1BkHM4JGb9ieRumqJiZ0zjrFkpjGo8OPdr/C+/XzGZYitillXD7sB/+tPfbu6V8NTKnQJQnJOcwZjAIzZ9IfmWqcJBWSUJZh4VTEB6XtUwNfKUtML1mBwLrse16Zcoyujl/sXkFW/UmN40YqHPnSsfQ+JZz3yDTcagNXw3sUgR/c+QzK0ZSEi3kZGi50p84g3jiZxTZp/XTSF3MGl+MaNhHQHaevQZbRCxASgRyfRzugXDbHXRI3HuJnTGrW50jpDCLqCVmxuEEOqgAuZjHHYLpxlxmLrcx7lMbK1PZ/9L0DbzzKyibbfbRhsqOnFmPRWpp56QR7vGs0resNGDgxdZi0PZh/VQIQmqi2aE3eDa3vJ0SLs7cdnjPiXLusrB9s8Uvu+0wwNeXSwZbiAdfgJ2DbbnPyGIrUr+sjToNTfoJlhmXUPEhPb+wRriR+h20J+qxXiZroph4lLVfrvk0RWz9TIgdCHwj/6e3pV8ZVtK/3STeqkqgsi+xsqJr6ZcxSVQvAYWJxLTNk5JUDDZXIGv4GMxfBr/wxHKkUUtwtGjKh1ZR2smFzKd3JXteoAvEVND+QDjy3Gx9bY5W34CXQ/s8QUyWjaOt1et+GSlmP2a4mj2OYnxnhnOLoAQSlyDUbIllJ8aZzVsiPnJs8pKBLEKAQDR7J8vN4T0mceKNNpIndp5sFlZmlk2vIhOEM0wmmPtEaGLPLkGU7a4astg/wumKL3sdEQSoLdseUudiwXe45KGWXgqiEMTktjDy99JPtuy8a7bcdW3T3G+7/vn6Ep+ZsVi0rnJLJB2oLj7mBS4kPs2bxnElyNjk1fWQgkUg8bNF7Xn5Io72EoCx0wgxKL6Mjt+HFHLEwDtRK6t6Q/2aDzyOjoS5jHLcv6O3bDMQIoVpiigBtaqC2iNmP1jrfqsTrrqL5EB0GPHE10S7XGXk5t8CTEJiWtxTURnZ5HVuwW7PGnCFjgImI/YCmmyZenOULSuKCAq24etpgampD69ENYi4y62RNyh5Eqri5F+7ObeaZYvERaERNszAcfye9diJ1CZo8rapgWmfs6nXAYN+2wKBUoBAp+VYYa4fIt0A6ukNE4Uv9yahiKllEbKJhfT41bO7+XcldqFC5qDzD4oxXQG8J/KFekpQKgRaq+JALaeoTxpNfBAZzfBERt1OoJozlSi35g+Zk/wpy58C5hjOQrwSEGG5NKWcH1KYQ8SpI/NOy6Q/Wp6Lo7XyHGOd4Dn49ONQO0Ys/AjnY0wdbCI1zXCVB0DKUNvamEKp5PuuTSN+igorooTfbpzczIqfXdBqpL8we2v+GrVjPbEv9qOtblCTcOUJs8VR6CJY3MBy4NWdPRMMlR0yuf/eCu3TkcONJISg+zLwr32Wqs4pstXv39ZmaMrFz0il5tTGvXOnWJwk9pWPXlZDKBk9xnVZlSc9KsdYz5zuWdbaoUzElT8IsM7Hx33pAT5NGFHP1nOgSYRIwDl0g/pRsrFh1f8lmtxvrBAdb2/waVVabbMLDS4fDoyvNDbkIjl5laSou01qatKNDYG4Q3sf4XY6NEjqHXXABnjqCdyBrwGTg/AR8b+39dJLAGlEeG8wFazbQaKHhjY0q6Mu5mbPzjn+SRGlrrDdpL+OFlhqAFjhSmmBdjkTolcK94AEys5/ul/81/b9J4AZpzWkJXALwz0Z7R2HVBMTckPRqRm1qvBhQSzpMi6wy+UZ0UAbsdGBHS+Lc9yzmkri2fBZ5cvYhU5oGsjAiBDJc3DyrhqELC+WQL9hTSYs3O98eLgLRwuIK+Qh7NFhWlONj/ECbkAeYmC7voJnpO/k8l3oYKIhWhU2kO3wNAgXwrzJb8a7jlfcI7JvXHu6/AwQd532GbKeGSQgKaU1OPRjxkGXbTaeMEVMFI0pLLQkBSZ6wQmaT/7Z5FV87Gd4gkStcrmNoLlIZ2K1IIZKjl6zuamSe6S+B8gZ/1rbWLCyyxMEIOCQCvOZm2kkmdw6CPvPLoLOlQZ0GpwiivpL4gJIzJSci3qM/d/3Ze+z0jr4rwyJcCSxDe5LazIuJyqU2LqAsYS6LxRDO3UYEhEPELSXnsCxfIkmuYFTnEUdZYLRvzNEwkONdUN2qK3pMxbiiz5fUhZZZOrH7DiH7/3FzkqDG+GB3wPyMcnFexTUR+c4KFXOgQrSz3OQE0LAiDib5O8apa+NRY4PwdyHDqX05T7sKbLkBseTg763IAqAdDTHT2Gxt38txzSx4aCQcYQNB0oU/vbDdzND83W0MSQDsRGHMMmatlXbT05kh2ugq1L5Sq8bD3AXlMNkhs0js8dBgoG/+qgiZ2HI82JFucLsDe26R6u+5cZkloZOyrFuPXZJykSLOQj/WABiLpZAH9LMtph0BnQPPI+ZGhCqJfBZ2yJ5ZoASEj3f1ko8kZfrhh6YMMxCc07Msn2AehMwuALJIYGrn2By9IODBPsl2HVAwaYV9g2Ikn7AGVWOBeNT5tgGCK2Ce7aELdWdyiu2PCllk37+YgKW1lEKthZFtMm9OVX2eSF3g/eipjaaAamIprd73epeY20pMTGKt0bOiIr8Vp7+9bUhb/hcasgxKj3+++6+AuGN4AXENFq9vRoHeaKWmfBM9cK3UTxKEE0Of9MzKa2VToUmNZ3Vp9XbrHdR+dkS+DNbuhlnra78u9LnJc1J0NmAIybfYY6Pga8uik62IYEDdirhRtc0d2loYlEGMOZ7l2406aySwC+Uto//Oy8GVMQM80MWanMp0Gnu+wgmF5L5SeG8zpDnxh44Sm0rLpKmVNg5EhuuUW/D6dZMXzv+y0ovAJEWKOZ08craOq9Msx9gHHzFh1ATyRybrM69r3SESPvSVxbtkjJnDOdX/5jH1+NFrXn5mcddAVxJXB0CWvRx5brLu6ho3qJ5GhWGAsxSmt4VdKKnk2VVuCT1cHRsvhOkHFZwCKpFsWL+4kVrytB5hfqvPjpLGmc8ofrGciISJ94jgDn8hIKySosyWCikLqhEtcw2GoRBXJC4UulIUq6TGJyGebqP4TuK+iprVH1HHD5T2gjdvepQWWqXmyzFL6z9R1gADAFBbvq9rGCEBLuWC+AUlXtaBL8jZNXpoAtZDOx7UyhKM6O00Rtnf46+Wyuw1hI70dxFnjl4PFiHn+Q8cBVQMob2bj2mUdgt849qEdzKs0rWkeWthRrnMrky2AcRWkcBjPPieSrDMRCERZWHma/HXQzHQeC2fR1gY3uWuLhhdl43fa2lZsgyrk9CQew8SRvxv6syhywswiXaWYFhkPnOQu9WNJrDsxf5aupBSfNmNfChJkV1PZfLEjoU1sLfPE/IuA/1p2mGAFx7rIlkaonMdWjnEPhUWovh6M0ET9vXHjJuj2Z9aC7cnS4QkTn0scyJN1Xt0elMGhWkGJxP9Uzo3LwtcvCFPVd75qdGzhsgpJsXjSev0Tzzv3JL2ljMtkWpUgdxwx2vAjNaXJCJSukuCKOAxboEHXCv/j5JEaBfTRvpv4hS7pDdeyPfKUq+MxoiM9D/J/iEMIhDOwaZ8MR19BxmlJ+8GiHd55dT6GPffVztipXtnHyM6AcrYsikDKGcbSwsAfw0sEI52+M/y22MMu33TgFR6oDBasj7v+PkRtZPFviPxWYLNSywe2R9N5w9t3REnBngQvV75ST1k0j1uXsHqmg9mmNWF6X7QZW4llJVtMLP6SreDeR6WO8NgItH6YSJqxMV68ccuB8WSCnLbYcuTJfjTqwgkOL+B1ruISeoRF+i/UqIrwUUGfCmRK+VertGNpjzK5SO6ZOK7t+GE8sOQgvJhk3v65v71Gn2kp/oa6O7OxUiklKDvqYs8p9jVOfdRioI06qokWUIycdAvfmw1vrvP8B1e1hNP+s/iVNopNMxWWJCpF97QzwcDBq3sb/nL7PQGa7569aZckiyFTS2BOvbQlf4RgC6iCfC1U7vUqhsSE9uR4X1YwA+3EhSGUIzgLO4iKZfU3UzlHJOsfavHnm0y7LwPQDS72meQghB7Y3akAuvhn0mCpxU16A1pIS/He1dd0QqBx9+NTU3Aa34iR23ktNaCXI5IZAF/J99TyEApdDWjekX4G/tAJ+lUglJbgpFlnFmmyxuV0d7T2XdS066r3MtnmPQQh3B/2k/y734zQXxQEPdPrngz0rkoPX44/2HK82QiLl15wj+iGUkZ+euGyK3pec5id4rJ9xOEh4f4kRfifMZXAehqC0dPH1Yb00UedNldL9pen+WY+TKDS0XuxZb0O1G7Iy9n87wIV6lVi1xuhT1+uG6iiGJ+6iKrftm1U3472RpELsQh20NK+TzK0w5HHCRs5W6vsiohCKkREOF8U7iBlURlC3JxCwkH37d83/KdZHRUPZ6K1Ca6P7IjJsw9rzqmFK99tea4MWamzZFe8O/dF0fBMmv33859fclV1L4xWj1y0Tmmd51VitahC7ZEMLo25mkZG3ToFxlTfOUkrM2+MUwdKJatwJhbjCSq5Gz8duN+aw/zRo3CbzE20s/wgG7OhLSoLSyxx11vQjJyopvYj6iZTTNx0AqrF8hbaxxFqgBT68Zjuwf9VLdmlbwicISfygXiP0n6mUBzBahAYU8yURKpic2caluHspPU13/VH1Ss0IatHXIQvow3K3JcYh1FI/UvDnxJ3gaXU6UTmEbySrGgeSI6dRt/AdnRET4xO5HyUkDw6gDFQbDmgjH1RiR/KQ3zL9ldZJqBjkBup+UZZGRO7thjk9u2EWXKOLVCT7NUxd91edDE/ASeMnU+zP/pkJSrTNs/jeeFWtDUNxQHnqi4pwpp260XFqkHzw3WbpKDZMTmtxkpEYT/wYg5qxprcmun418/0Yk1TKxPZW2zA1Ew/9jSA3qiP2Afzs2yF4ri9v9AJkLuUK2pcq58j9F3XCrHTEuFap7pvXNN8rIVTjPxb/IBSnlZspHqugzizyDqVY1Y0fJW0f80yUv+Zpiry1cU4J/r1O2LZ9CuPKRjmlkLd57oz/GMdEa+yCn7EYZgf3wdKr5IyHID0z4DleGJEQuGSTDAd3y5Qbnmhd3wq/T/3inAx8vb7bzy6LbTakEv12aMcllw98KT5PjLMgQtUMqAMJszoatHJ1iOsa17XWcZ78Yncylgg/s+CDnaO15EDIfjXR2winum2szLtWFiiavN575361PGmeCbWFOzUwmXd84bcGXZ7WFaprJBFVcIzl9kBypBPesuOeRbAeTdamgj5C1SnuqbDdThM5zj5Tepp9o3caXNvI04S8YZOJ2QS9pkwQiadm9ongpszeL8g9kA/FpHMFhic4r8nPTXaF8IOhXYGGyirBvxLMsAKdQEHhIl52TlNkbP13iABtk5knDZA8qgHlmL1UIEPenDLrQ8NzpaPazSjqSsCrfbHdwS3e5NCJnaPGYL+wWyJxD4DFvtQkwk4pI3QY1jMEkXCO2J8hWFLkisacOlpYsbFXd2CjshhV9leTVtVstSECfQL0ia3rGF789rLRHIZjP+r6KDCmq633IF3gouZFPGRBrvrqanrgVYNwK6Ag0ewo0bd931vP5PtikRlFCyqcNP2Bv26yLthrurWzm+qsdT756IbNtyCqqh/CHRu8oMnbaJEG2Iayr46wyP3oyA2tQzg30nliwLsPCNi3ouJDi2bsdyvJF0Y+2wFkgtu3KNGxzD/pVyPrt6+a2z9yuENq+BxbBhaNnGUE4LbATHuH+3xhn37wCgGU8nEIgRU7gb6gVJiK+HeYZiL1cxOirjumAszKc8f1vB8pfybBmcQJb93gKUQDyxZPqyhXYhhb4wmF56WYXMfhDgRY3di+VFdRjq0ft5bLiGVROBrW52Uk7v9g+MPZDlSESuUSslHn+h5r+Y63frhKIxuzkDu2m8byyq2ksWft1KU9zUQ/psSiXog+bzE4MnGkTHttk3kUG6ajrnN2UXQt054+Cy3wUe/nOkaeqB+kWIZdKDwNnAamIw/rjRSXb1Sx0j3cWp9gUXcudcWtcrPZCq9DwVKErd7LDexLT/TplUzMygLoKiw22Pi0XH79vxIXiY0uG1rtL4NlhIxzR38/qhoqryS+o+BohOQ6vOUJoPvqf/9b2zsXEmGD2vUEhD3UtZMBrkmuElMyGyWyLCJcK4jizwnEs7cc/Yz/Tcpqr1W02nopkl+fLYvvQ70LSflfP2/bgwEcy16J9FAm+oQhZuTRP53wwi3p1rhnfTosYkAT25dA4uRNmwgYcxYiXNpW8nM/9Mdzrom28CrHPqJTjQTH6p046IfFgX6K5qDwm5LZGrVOLIOXfjVrFkR/bsQ4H6AS4JxS/Hx4IcLLCblszrvZJ+NREkrLxTIC5eIcw6c0ER8WLzF3Wgot3fqx9U0aWgaHjrFHaQz/5M2jHvgf3uawPPbRQ9DnD2nosGNQskeBA887Ruo8Juq+jon6kpDmAfTSJsR3YVqGOXTaqyCMO771SVSIlkR/DKX5yuZQ6BE12QEm8VfkC/3ptqWVHHivGArgngeM41u3YnfbGNVbbcd+kjQVWTl6P86mDCw6GCyTmFTjBNhn4twTXgyeWIqnVlCMBf8Tjx19byTjaNIFUoXyjMF6AETqAVU8APe/DgXLZPqLbPBsnoCCb5zZFDoImM/G/SikjfMLyLDhMxyCaE8pM5ucXbc6fhMLUZTDFEUStz8ZSK1Hg4Yqg7oarq3PDeQtUQlJG00gxO1ywOQUHTUfCGpcOYqYxrFs9Pm5KGpFTI3W5V2hvaDTha1wkq6wOd52KOKmV4dR9iTrD4HZtqRh9vGeGK7aoKH8LXVrytkk2BFDL5S9XI2CfIgrjsv9hm4o8Cbadg+xZvRklLpMH3QyXbBxx+YF4Yd5WsMrzzyTN8HKFmjNtznhgmvSpOkUj7coBfEbCDHYqd5w24R8etMzZEh/TsMdow3KJe3e/uiGJ23IIjYnLK2PbsgNun/FF/5xaJl0iOnOumGWwWPElv3U0sU3/QY9ibYe0Y+arDemsGxGQBh3MqLx29hsTfSCGzP+uIK+eV8MA/km4dimtnITig4oeP0z7kgBHO0I4+lTGAZRVLutg6i2gvZ0jSu0eHTRm+LZTxel1d6RH+TY7YxGFT9XwULMtPJaCmYH/QO0bbKoGFpHNHhNEZhqa/n7EMq+T8JncjL5rBuS0mBomXmeWts629Gd0e4hlo8P30E7u07w+XbIgg8ptekBMggS74Dc6KM1v7bzZ2NHJhMMjjRKOVhxliAo5NYSyZpW1elKIRJhutxlP9h36OOVTvM0+T0eK7DhORYC2P+YRzaodPly+e36y5EkXzjNlNst4HaPMRq3QII75WLm5QUjnZDpH2EOAb1Eo4+mdyW0Hs3tI2s5E/7KDtoKposJrpAPt9wSW1W8v4AtKXRVa+rq92zOwlmGTMuXTAAbDE4SVrAV+d2IFz2+O+l46lz5aHhEnshiuuidY9HfQf1Zgsr0lUoUFMFqEbgkuOclGeycYKWOBIdetGDtNuuoLFmXFP81Z+r3IIGuYuouLjvKOX8V1MyJqEmnQjEKDZ7TEFpW7dl9C0Kjj5e3N0HQsCg2kfxLSsCn6xtRKXyfmO2y6KclMvWuF3/3CXO3q1DZ8j5cFKBoAg6+s1E0PnP+WD/5G9gWlfgd0N0EVzQ8C0LtGA1/VYBY+NxMtGAHXowlil3Mai8igrkJcSSaRHt7kVv+8PzQF+lPyogCzip9m+fkIZihCnNkD8xFGSq5tZvT135a2lfHXzmf1ozElrZketwESyb+NY6+yH1qn/W7Ry0gdZSveeG5HDLanbsg9CTI2Z7ZDucafnV6X6JyLGD0Ia7RGsvcNulru5aGrBNK36L/Yihl+U3szzLeDWW1EaJymlm4RRhzp+FpZvTbBQvIz3TWTMakzcWZadUb8fs9iwhRb9e8wAPFPoYyrW5X3v4g3ckfMgnjDijciGaqMhWkxdZsRZWSAGkEzsxE2WIiN86o0f/5WLJ7GFD70LCzK5hBSkUAE7xBuROqRj2B6ZOnfMYCENZIUuOgrGj9OwqDt7PBqzYlaKijojThojFAKGQkb1RpIgv4G/u1vCjQWjMDp3U/lQShxH/h7dVWglQcQHOtODU7oPt0E4mTeyaLmhPgB87edLvTVa0Y+WtWEeLNi1jPTeM8gUmJQ/Exzyt5OdJ6rTlH065peE9QrW6uJTFSEE52DJVsZQLPnCbMmiucSCaX2n5/eP3pQ02RBmZRWpJidJJmftdtTso5MiC9oTZQoT2Y9a+7VVSLZLZSxIetraVwJWPpsn3SdA07pbycqDQNT+ydgrB5xWvvlBv4gpqU4IycF8abhw/MI3h4PupBk104ny2j29AaLojfaFnSJP5og/VcHGMnTaUDNPZ0CVnTAdY/8mMLKgSWNCTeX5nIYvoaVEfQXZYg8ZrgD1cNBN3h8Sy7va138OAY2J4/BTj6rY6lf90N3IJVIZ4b+S0jwbq+TIAFeuq+jP9Zs8tzy4cSTf4XoD1lfKt9HJr40Mu7x/G7FW40vOnvAIV8CWJWXSaCE7pvh8akmUoEMW/zQuzCZny8y9roEmauLzOpUhZj8GGnLdy/HHnyoLYGbV8yWmvtylQ3rlYlf/omlEQztSB17jKLIAhoVqf9SW6yURw3tExeFhhOdlrEq3b73cvDxn5n1L+MbT6OFzC2ZbQi+D0GzdVZ8ThuOx439Ou0x0hBERX3+tmSSWPmiCRwv18/vVWOfwJeWrnL/80b2/Vke3I2SKY3qMoKRTb5P+YpJOx+D3y0bv4A8veJvcKCqibQUBCedYo+41zBeBGKmzUbF1Ll6TbsTZx5fEIN4lFH5yMGIDuezL+GwuPLPOgpqFd/9DtBpR4i2jOSZ918BDTiL+naAlpIuDXgMYHbBcJbZuZa85VGn7bd8YPM0iItOlh7kNlDpkJNYlERsZHRgeRPGGvnxQm8lkeefD2z6ZVwxfNAwtCVbWYd7VawbZ7kjX+NacAaTqZ7/u+Y8u7wBNzeX6N1if7UnMDCA49WRAVDLp8GwC6M26IVi+dsuIFYLm/erKjTeM0SmPP6SIamgeY2DunJPQkAIjyVqUWc2rRthU91QQSPhrd0Z0xcF9qvkzX0J0NBld1x7Nbaq81qoAARnn0mM5dkFZl9gJmeYdoW464Ee+hfcXfyFAXBUGb+wlqstrPUkNW6WQs2RWJDuwVMFq3Np1g19lRlYSNyzTCMyNIdR5saEDMA/qKpV28Sf96oPpCeSTvkQZ8Voxc9NXcxPw/WK8W5u0uLhAd/m5g0XzrJA+Hb3lrJOowWivUB0ykLL1G9O2pienqo7w9EvABZurekjRQnRsI2TRHYdvcWCmMGcJhzV1KW82+LRnBLwPYJCQ3CSKF1ZdAKsO43wlkADfaWxY0H9SmQ/oEz4leBaCp2XERqAl6+d4++tPHr9BTqDUn75Dh3qm2mBpqrRVfUZKwF2He5ReIV+QoBtbU1HJC20rOy5A9yjA8DWyNU4UMZTmN/hCD1P95eVssvpch381aDDRoxjlGXYCgHJP/jeOrhXDmyHOaCNzqveOVgEy/ulVRYUPlKWZ2gcm0dJu8qGgLko1PGg9A+vWQt2NPvZRw6bnIQePg/kcJGqiNcDPJS6OyLGLqczpOeMQW47ur+ggETK23nx5ENlhq7Xt9vafoi4V+HahNJ5GMLiiC06EoH/k5hn1jJXU3MGM+9wU6qi2Y8UAx9cG1E0I279tCepJG1A048kjZron7uCXu7r7MzA9kWA/yq8ioGv6fXq5RFir8rBr3wO2rUmS9nJDw+Qm96XMR5h0IdKQ05AkFwSYeyT8jzsfADiFfw85tPQa02w0H+b1eVru7F9PJP9X5RM+V1vw/PwYcV5NHx/ZSzvJ8/zOT6Hi50SSgiLH2eZS3qctYmaUr98zDrYmY7JaRHN3XjkaYIimBnQs7tFzidvdniADPe4KEpD+ShTAB7zVTZqf87vXAh4dfSEGC99oc0066QwWx2OrqBugU3aDczAGtnBoOu0NoH9ljin7VsbUN31wEZvo7Uf+U0bX3V/7JbRmQ4uhIT6Q37GI4x4n+CtzwOWzNySEtzbJm5vKeZAa8Nugnov2jsxzvPJcymoyNoZwBbT0j76AWSKYE1VqgW5s16oYd4qABVK6IoRm5YLIY6RyK3zAb3x5K5vCa+OA1PIL1PmucTLqX6n3L3RclpMj0sNOUPsmVMf/2KZh0s3zmJr/pOADDl6obybNqT83pysxQuxAvmxDeQ9QU/od+lInq5a4rG1+A10otHBghhOuRQR3D888svYCo+Jj5A4m3IQHPlHtPIwfvSFXgiuYnDThjikUsU9ECQUtd1ZozafE1XeR7O9Pzj4yOk4PbNX/vUONtlSi3PXjjYlSD6guq0a14MRNhvXwt6+BmueYcniLqVbJGoxcmruGh1DGzs/zgMQCp7nd1Q+ACORvS7HNWZfE0EuC4oHb6BKst5c8wFrkG0/tMREpPn4o7SWf6APQAF/VGUpOvJ0BDql6o1rWiYXD5q6sM1JtmKgxqGzF6z1/Ssx+v85HF8tQU8ky7zs/RPn2CO7D4pmB44o1dTrdj0NGLc6LWtGVRetkTLPNamDlih13W3muY+M6mc3HcGlKMwL0hSnbhMnVQi/yU9QxCttwbGBini8vtQVi7jYVMJw0BAashN7vBtVB+I9N0Rb40pl6SLxfymaFWfMfZkVKYpBdaJElIM7NSy3CCqZFnC95yjTIQ57/oLCrSPAAg7u7K84gD5E0xcDeL/8v1U7AFem1+B3UcON5RrIxm7paDMvI5e4qks7DMkOKc6hgRQxVilc6G/ZUKggt945BD2o9VXq5ThKKWV+TPXe057bM6hJ8YNdRjbtIJVeQxUVFYZHL7oksgWALoxeVJrEJLykHtBJDBBcv9CyaklmcYNi1u5oUxDkN96XIWtqnVpEj3euJhJdKIdozdLEusadGH8poO77ATjx78onfjLf7R0zQR9lldoo/h9xwDIJF8M0N86FpdVppz8B6r72MLNnv9mi+BkGB7qbyGDNp+IISBkULPa9XxoOMLjHS7yRwm+ka5QqyqFIxxyQJhXvHEOWeHaKy73EFDJFR6uAhxbqR5rQ8GqHJ4W7tcT2pd7uo8ZcJV4+iJaTH46CpEbJVy4ylT79LMXuAMiRFo4uFJ/nCwhusk7Yq9zvuMC+ZeWwFttxYhU234pVp5czj/LTp6MquzpT5F/mLYbH64xDk+PDSj3ifiD5iFvwDX93obOsHCW83An1RRJW1pA1iJ439P0iy02fot51/6Yoz+HC7Qu7dMaswDYM53vM1Lq8lG7l9ZXWvTlFueIrO+8IVckfWsg0ybmFNLIZCy0q1d7vrkUg7Pa6FS8vHLxAcahNp3Lm1ajXlJjdKni4nhUfn1zErqdPz/YGdypN+l86+O2F5fSLDJOsQz6tHxgB7vl0ZY7e6PBN2t7DpqPDtG6y8+wwugJyr6HgQt2uT5ECtNOqx5cLt7EsZ4Mnq390Go1cBO3D0K9VxKcWP6lS0R1buSvcsbAPLH2OIO9voPIOEe6tVeridtaW6ZoaBJVdJHYqncpRVIfW9AKh2KpAXxQ9PjPcUX/D+FM2C1f5FDIZwWcGe5QxSroY7w1rLEW71NxCGy7J6XpZKD9OUYS37ta9/elTeQBj6egJyVw8wTMvGWcB7dP3qrIpF5JcyjkkWKT4N2FvG+E3NxF8YoHuNrU+cUyPmcqDFmA0Z4SKx47GBkldUAxNTauH++BGGrrky6zHM3aACI6yvJWpbGDxl3JbfRC7+nx7koSkJjb6q/jopvqA+KM+VzGdssupR5jLyrzvqZVjXwnqHO8bP8aIQ5V8bM6q5dYiM+v7nmtPMqcvZ/CLwygzgsE/z4mhNk+33AvhsjzWl5Y6m4hBxcYnTqRdjZDME9mjEe6OP96YYjc0LPImp5Zq7T7Hi58cQqkUTU8ZN9zw3+rQkkuLWQauyovtjcCMe3XKDVqcpV7Z5UInW0dnt19INCLbzEK3QTM+ZV6nd1BlsvUtZEOFWxw/fY49cJCd9eQeC2vooEXn1P7iBFv8hGEN2dzvlF4d2hIS8HThetG8zi2hNd0W9vZ78xeLJ1a82Wuav+GHzPJn5bUirhJlzw2eJbZDCDAoAtAq21RlMnCoZMxZEULJ1jU+tSlTBPP92XHWatgDngGz9xbV73LfsQIohF4hBE115rBIhIUSLbcNYSZwB5WWhYa3ytHkR4mGf7RNkDtVQhianz7TEXVfRCVqMR6rrpcHwXv2zkdXQAq8jsNrr5AJ0fB9X8cFnsWlMvGwrnxOp76P5OytbojuYI1YK1lhSvjESUb8sdQjYDyLKbR87zW8ahi0mkXk2CMOEc4p/luz4uHjIgrEfC9uxXLN70sh+GDeQ6Zo274pnqhPUGpysZv7QimsBM8rn9eG8T/OBifRgKweak0ERSibNMMAlHCpEUrDXIekkqImMdqI2dy10h2ojYsaXjL//1zGuUI6vXy5MdCYSImuPRu50eZA8kRc1lYoblhW8w6j7SkOWi3GRLIvmH2RGWF4W0Wz+hkfOG5sRkTqR05qtfC4wi4tItx4fioFlGrjg9FG7OYsQdATMWdNmd7PRqRSYAR6DLWJqbmoAVzFW/yLUAiFncIpxWvO7yjLlXXpYhSCMTTEvW8pfCeihSLQjrVDc/cnXpcIhx/2eVq6NJJNtYU7+a1xI/K86SjOkUSyfqe6d+b3JYBtSfpt7pB9YSTsQMKO5HnITA7kp87KHH3jUTkPdG9hWbfBJe4n6Cij19sQzP3sg6kF5Tkq6b0on5uNdtZH150PDqpl/E6aeNPqncI5lppZYBcoMdLZnN1tP5YrXNYpFGsbJfeiI3CKeC5m1LRxJ965Vd095xcwkoa5/oIrsIZVGS5H+d6WzlEXto1TCnWxNmXR0am4oBWfo/XGK/S5hoomdJBuk5S7PyIhyaeguVyLmsKdp/JHZv+6zrtmOiMpBRCZuP7ZIFKxlbOhBYBb8ufbyx4rNXEOLZs0Zk21OIhUjQKfDGOiIRGbe7oHqm28h6ZXgULYVtEp4HFk32mpb3U1bVwmQZO+tryyJOwwgrsj0yJvxFZBQJT4hJXHlznEjmwqy5sbmPYAOw0scmEmYxWOvqAwbHWDfMLKn7xOXunQUH8cA0iIBK2r+19orF9geXG3K6r7ey1HsxP1/kMset+/6QKGnV9o3NeJNT4fox5Okj+fXeCDmsgBcB2R6tMjS2L7CHdEOV3Fy3FobWXhSy/iAIAOkPTJPCyET/Eum0wMCGzi9HCfdBiELOzHpvEYafgWD3LUSwkbzvXsM6bhp/88uhs8tD5chNs9hhJ+7VXWxxWBXzVQ2JYtE0NVsybt2cbkBQXGmS8XVC4KeicppF2AeTRmgybIECrxvSEWSzhGRvF7pMcWlXpWuOLZLLz/lN89Z5iVaT+nLJozX0WM0bbbw9Qh3g8mURZKyL/h9cahiOSNI/9t5n9DSnpGsQgpMmGfmr8DkS700ijAid+KNSDTVUmvh9LQz9xvh58H5rUTQsiZ57P+ad19J3RTWSIc3U1XeAhAqoIupoaj50BsSb9mjN2zoFf/wP/IOJizzCxz9whPPiaxjtsjWb/414SW4uh3Anf9OwV4hF7KQu5YPWhbA88idI44VWnysDZIvdSWj6bgIqEz0ixiRKnMTnAxOz88x38d2l0dRlYEBWbzwjJWqq9Bu2CYAQIwNPdeRCRMj7n6ggnmyE8QMY1Njr7bvL36dmFBhhyxiMEBqIUxpALWncWTt5eXDBjT4zUUw1eQlJYpd/wjB0ef5Lq8WqMwPkZB3m9XpeVg+yehozcx2S6TH0xro+WnRrYRc98a+onEhTRwKD+WiRYnfa9pK9uy+Be496NAWZ6mZLBjPbGqSK2X01RQp4KEp6aL3dBiuoxQiTIZGPapyLhBdTPDuSycY2yyxDaYbarClO7RbyaFxcpu4LujkuhhtUwS4G1zjhTYyvCsgM/FVs8Fk90xORLHTJeVm5E4uRkIFxvoVN3U0qjNbBzkKK2+czZ+yUbYNYBTztZHzew/Qj6gjBcMX4tSMoZk/OsAzw3tbBh+hFKQga8AKRjgO1SjX+POBEbalq9TTuhtCN1JLzmp70Wt7qmFXp7YTXyoCqAWcfewwQ1Zi+sM6hzMKD/wLrEG2ieFBM5hbEtRqAgTlDTZ7n2PSlYdBtk0JZ+STVZIavezgt2vSMsyyHfhvWTn5cVbHzJDlElY8aMWiYxs9LyJuiyuI+kyN6oVJxeMA8rkx2i6mM+Wj7EocFC6RfldVwz1/Ch6eV4MViVCKXo1Ub6ynIFbneENgNnSCYS40/Pb88VRv7qu7IYeiv6JeBmogZBdJ7I2L5aZDDXPIjJupCmwtPmQ7RUtvhaW5hoqU0DVJRPyDSStWgeA8Xcl1syiyrEH6ufwfv5ENoC/Nx5sdbgSTlzXLJu4tyzl7Q4l1wlz2L7x1qaqVdbsXIH2Zhr8jU7e28E9RuQ4M0dqUwXxuAhDW0XlORsgf/GX8WpaQ+heQyyqWWem1lyUd1CEGg6BIbI7e4AojAJVFDYgCHtUFIv0U/vkt3qz2A8oEfoHOoYl0eGLot4LbrcXTCUP72ZEHQB/+r4yVNl0mCW35J1HmoQQ52zy7Sp+y8xpkQgTR+biiLz5PnCRM93FUmY/6qppYbi+FRM+o5xvZpBomTNZ6TjoqLcDO81GWoKRkN5I+yGmLAQ4Newc31kHXqaGXM51n0OyPEUf6NVxcDdjMtEo+BBE3AWWa4vSNnZ4Wz+I7/Cq7F7Ovfvib/AXy0pdzuI9oYBU1FsIWzrvkH31wpA9wq9Vk/JNQSatytMe9SnHXt9BQ6EwcjcfiFFSN4BW1EyzFncO11UdIxEhlAfCsTSH4m862gi6Q8CWGdfWe3KP7TlgBKfAO5IIq2WovpHSV0fWdDbq/qLvUk8cYzP3byXfBZzlTD6gUxSNYGh4ZdA7azJmUZQeA0JUJPqy3ot5S5LFPtcL6f0N4Fi3q6mfzmG18ZkXsn4iVZwSm/C+fKTvh/Rk5Bi5pHSqJBaz0r4X38bw4ysdoRVS8zS+cS6m0druDwLuoyb8n530OIHz3AzZblZVbLGmD04XnEagHYUGs+LoehbMQsz68Y61E8Ha966KQIjIUwnxXY/6aPHZTztz0I6o2TpBj/wYAg936cAbwbJW4SEuLwz/o/RI8JvDfwcDU8tMHDRsoy8Btb9X/eHDHZt5GDsX8bDD+DsHqxwGbE6LGPdPm+0oarUDKLeVtU7NGr/mjKSKk8yDNqLyZzNv3uhr4p/Zq8BpUNCUc/KvbtkR5WS3u0DhGsHXgr/P97pAgiDQuIz5SIXpxMKbV4xGaQAZpNhd6HpBpPk26UCyWaXsbHydBLsEmGccKpYlib6nr0rdB1OgnP4Bo7l0MEOmAMJ/CFIern1qcLz+YmmmMBHaRr8ZjeeIoXq+Yp4w7pLi/bgegu50o9qitE2Phem1lBgYC1uG5Ghy3sLuwPjEUs5GUW9TqsLpfHr+VL1YoL9Dh7mZJLxMfeLskzoUQU6kdqQDM7OStJ5lvUJ4KAcJQvTpHG7ImpSbB/d9ea5Je5k0EKuzstuUo7rXSuu6NqLsI6ZFFmWHLpNotUYatWGvbSRKWtPCKcUj8/IrgNEBtF56E5z9m2o554+1EtjMW72Uf2/S37IDVMV24ThWr04Rju2XOZHBt9tIqirwdiPzjJkugDxmYMz+7bG2WpunFE+JI7Nrqy0z/mYF7sKFC5JY+vXm9Ucpy9VylWkC2sXx9xE566QjmdkzZhmFHM+OJyZz3C/L96+g9lPSmGf9uE8rBgzPDNpdevIXUJvSrTF9QWchUDyEj2tQ2DJPjkmGyzFoOBND2OELUFpudJ7DzwLmxjrvSZuBbTcZ+3/6uiQ6RBJ5qhcYb1mrI1rwOjaLJukuMOjRctwKDZfnMTldsTHi4L2OiHFkftcSZ2t4d6aJM/+SaA7mEDq9Y7VlZX3g1zc/TCmM2WgqU7rztT6x1YxsT1M6xwd7p3N9ZguTMKlFuQ/ZXUUiZRAQYJTO0mwpyyiqQJ+s6YiCjw2X3W9ZuJ3nx7Q23Qdeqi5NVGUIP6Jedum49enVptTnjO7WIc2IMQWhjsEpazVgNbYIBxGa+e1G6YJ1vIXeOXF+LQv8e7jSXAozHT3gBOU8UNO5EtSmDIDaZyL3o3MeRBCvSg8b2V5V7ZyhVIIkw+7aN+Gr6upseIYLaipqF88hIe4m6URBjR55Nue4eEJO6EmtSXsQmmBmUfj4i3/d0NgUBfuK7YgcSIBEtaLODDNu9DrNHnfjEGMENbzy8oCYlb6r5TI2bPB4fWbCe2zcVA8v2I+DDdG/X9I1JX3V4GwW7xzcM4/Z8nZ5asQdxTKFupJeFNYGNLg+Aec5AFkKiM+wHci72N+T+oO2eEa2yni1IyuCd0z7TJrjLcHAZbHAkH659m8YAj1Qvo4FlLRwZ0b0zBLLNSrsCd+2GGsgyEdw0YTGa/c6zNdm2P7rfoG0v/pdUbIxRVJ60db3CgDfvSQVUrojovHoGFJmHiplYLFWXy9LuH9QCLJJs66VgG2QfaU8s+Uq/yQs/FDBIOmmyyfmhXwNli0eM52RlMzgoAcSBlaItXiw7TRYjtVXLcN8XdSN7tGZPkzG8NaR421OheW5VUFObbsZsauvFIbZejwQP68iwxGxVoITv77W0GTI7Ys1WOmyNgoLh4jvlUMkjGZKBcOlzF/3U9zRLqCvj5MxBLH8MogGTm1MB9uGiO9cvwtuLG+fbEejecp3ZtdyiGStEl3YtA3hA74N9tahW0KmoxAcHSGOWHAqXpmUf9eRig402SXotqjXYeXWwiZ5f31QPosFk1lN2z/IbkVWoSrqLb5EBXeuHj4USgcoAzfQtn/m7I8cYo4aU17wNm2ZUiPo8siIzgGO1WZuKMzF8Jdv/A9W8zfr47keXdoLJPUJfIj8g8lyhxSdp8AbqqS7iAnmDGeVPra+XAqx/UaknVqUiu1mX14FHFd9n5nhma2eRs5f/I2B0JlVABEapA4YwBJymVynom761YWX0F3ffYDEhGGk/H8KD6AH1cSWaT6c5hJrbQEF0bffeSnJHiUcN0R+yAJwVGsHuDg7X/8KwlpOS77UIbpg7E25fDJcJHtsUzg4I8xdtvpNu0ahboA8kF53g1HhDvzHd3XESiX+HP1hgCwqajeyULnGuh1e9cnDPlEXGqtZms2xNstmJPrOlF5YX9NMZlEjoVvDGCvuMOukUKGY8EKR5vBQxJbvRmuYd2+ZqmnsXtdPpWJqepY8W0efoJmcIEWOxA0mXwq7XcSDTMC7ThzZ5WyfFEBqTbocIKxB1+cabBiYdvoshym/VUe2P3fdZcI57GdvK9uRB0TfB0G+ETxlMoNGQo6Ma2YLHrvsIAh2rK+WqSbaHDdtwVpI6fXlFjywXkvlObBxUin5GWbkvroaPx2NDjJqnKw2wACCj7kvXzqFzDihCo0mYXawyb/FAgDpa4JyEZhS+pd3OJY9UNy1qQkUwN1PkTtL3wtlUB2HIBA9ItMkWB5aWc1SXmUve6HPQNNvS4qYKoSAaBej08eglBldK/k0kisDt6zcEiKx7148tFxDv5Uj13/rVr6dFD8h8Qa+PMtKwYIF+QNcHaXj+FDLKkthKoHZZM7hTaTLtRGVK5v2jZUShQylmnZCw5L6HQ20+QKgdL4RgCShwmq0gL8BNqDIkQlWicrh00UbRb9UfgU12eRBMClfeYM5G5u09RpT/DFK4w/4gZ77u4aoB+ea9bc+1CUY/iK54G+lJ/XD1k/ad4q8nJkHbrs5qMlLBPdtZkPHkxBpd1OjgikPk/yjHnTUu9bARKoQ6OBD43o9Lyaegz2iWlbalj0suDY+2ghngvRfpRhezAc+ARc+L+hXpCGC+VlPIiYyEuYwYuKQ3jARJ1eJ9FRt9z27AxkVsqVmvWtMyhPG+Gz+nq9xOhqJO1IMD685FFUN+8gl02RjdJl+wWeNO793zDZMbCJuytV+xd2mzMBthAH3xQFQlBgOJuNT2XchwmkX3qmSONp5jU3KjmU4u43GbCjQcmQuYH8dnwbXliEQ2Syv31Gk1egrddu3smvNfbkO5FVjjJxU1YA9jPyGPx5CbChbGV8IAP4PU5WOy4hYMm2adL5SToUv1r+9Xo/lytUwXY75tiTeFdP26xYJFRMF4fCW3+v9b5E7KWr4fUmcwrq356PiAKjBCp/SK6EtQKmPyb8aynY4btHmpq9e4onc7eqShewpHhfSK5hW7OLCYunikK3Gf0ktJJ1/AWkEUKyoIck7Bwjogww9/2/XTjVaJX1XxsAcw/jBMxN5H96GKxg/2gM5zPK3Qfkzoq7CTlkb1BxR/2FRJdb6M+qxGLdiRMjy5mJA4N32udIMbt962rhB0HyHFybfoIkGoWhkeWIv60BrbECGgLUPEZgMnPYq9TXOcv+KTYqyaD0cxMM5sYV3V2I2J3yo3L9G/cDSom3hj3whJ3NYn8/e/nCwiqZ1KifL9ySZk49xAi3hckbgampB2ONkDwy8/1iJbV4bGU3XO9agwQxsOh9Vd71iSvPSDA8b9hig5iBAz91AXSRpVjkSWb2+d2G+7GvJLsICxx6BMKl4TLw0sol7BQhkPkL1jVyt+h5fQmoiubXXs6IONGVUIGpVtcVPbBXtITdd5kSE9OLZb2mRNGmkWrLDWjkGqdrGqXB+GMHYzsXC7urzDbkRBhv8paNhViNVK7juu1AT1xSCGCidZgAlA+xu7o/aEkTxQ6XteUHra8TPaEfzgGHi840riSw86yaYb+CbTtfNwVElWgooJMpMv3xFoo3jo99OFAAVtyIAw9R40pnTTAMb59AIUIRBonPf++30p4DJSsuj9rvzj1Rty8JUlG566V1iCzJmq4xP6tou5M0eKq9XDwJjnG38DCtsUemJDfEyHdhNcqvR0e0TD8SgCCHHSBG+a+8L+DxRh+0/Tu9rpj5OXN0TFEKqVx3TsqTsxaecY31502vDzfPhDVCMJrUzTEBXD7ovX4JtGWEtnRMMlAnzvOfy0amy8YBAtrLTZIAI1RwoVjN/RVrR8m3QY5ses7lACo4UYo7IADq/uTmpmrX9dE1DdjFfzuOy4P+Xlu11ww07fCsEYQWeXTE+wAobrWcq5CBEBnC39tQ5uv2Xf34UL0jcgJGyKmnRo+0iDW4nlmfm6UxMzy7nR9BrDd3GWLI/clJjbnSDrG9bDi3yEvv1/mn1u7wjK2Sf8Eg2CxShAuKNuhQ3Xt38SNbB1LqMM4/1WgYYm2M9lstq4+wnhRbUPpczE5EQ29nPHc8HiTW2u2sQzPhAgUHz/LZ31Hw/jW7vE7iiRkctQ6H6xEvIBhX3WEaiirVvzenoRSHAj8/Y4jCoSUvh/KhC6RozTeTW0g2XU7q99O6sXAj/a8hJpetJgOrBc1x5tV7OyAsndOwKRBqSHnVuzheBYaxIejHpQx0aAP9PtIDmowKMBmqq3AjiiaX+JZvZX4sJKNpKHy2lvGJ67NrxcefLf6E1+KiZMRtVXYcL4YvsFkCFH2N/hZxS08Ot5JSh0IB+65OO22ABzbfuu0DgIRApK2K8nfLpwOKLcvUOUOeDZRtqK2jJV66PaFzVtwA0gCr5nKLnXQXAml3nJ3lwYVIT7aUylNgDXcWsrGE0PZ11dOhWYf1HpMH3HbX6F1GEt/czzImZJEWweddfUBNuETWLJnHq89LAa669Ztnp50JGvJ77K/kbxHceOWQDcBH83s1wNAK9HSm1pXvwzC0vMa6tH5sV8KFulwHcFXhwmF0fsNWVsfEPW4yx38leZHRpRuMTcqvduA2w2akG0pjy8IMN20x9Kpu0aOmN8rkAMPwjI2iaGDBl9ya9zuWdkJiyhPi7PKRpH3md/ySh8IqkpPdIcZvgpIsxyr0IIGRnzLnTG09YGgJhA0J2HEDNl6riFmk+sz+9FQ+u+uA5FEfnCobRfsi/r4mlici392jtIMEd0UmHU8XCWOFIP/51H6wPA5nB1iHUK0GLlT5djrS1xB+RJl9tTpbFbx5hnSn+A4RLd3Fsc4kc4Nnmt3T9cGSGh9OK614vm9Sjo3RF+Ukssm0OYVT4C0Pg6i+jLMi5tyU2Rau5cwv90UhT2HPo1GuAbl6RRQiCWTKnOJjVomh8ZTg96QuZXGDnxhMe4VTQSS3N2dLiQ+gxt9rO3hisC0iHnP3Ju+fujCV0IK7JJKrp7Dk+AD2ilkWHvSbQfVupFOCkjagKqjPFUc9wzHqYEMCDyVzebAjHOXKpVclNOSpJ4Y6UhJw49ssR6IydXZ4jMOFWEvswJMWKkSjeAtMKo9csTxCCiBEm0H+UoC/K1gtewXNzDCvyV6+h97n0LIq0S4U+jZ2jRZC6nvyfERey0GzrEKS03yHtdOP8BoyU2LU2ONyDbBIHcT0Cs+yhs9kSraADbRed4aC9BxBL0eE8JpYMPT0AEBYhCFcJwMzm17n/Syl7eiCCKFv9bmW0VMFq60LgMySjp+7N4VuI2UXWKEBQMBIv2rQl27scXR36mK/JMPkNSBZCErLPUzPu20pQH3f+xQTdc1RD/5t/q6AqmS8M3Ty843MEfezudAOS0hBKiINvJ93beGEbaUNOFdxIhtDn32SH8D1yo2+ixIKw7Y+Lu4TYpigDN/9sU5eFbRUCkeOY4pDmrCV/VZwvsbKj5zXy/jlv6anvjoNWfsb5c6Grl09IRp6EpYcMF4jCCFVxhvYstBvPC2An97bWKGB+XTx6+KHlfIuERqNzyJdL/226Vxcbr/4158/FnxT5A0bkXNFeiI9srP2rxvnU+cT8ahEEpStzSLeQdpw3oEGSPvRJxQWJERODcoCd8WDinM5utTMtz6h5zYF9xKrOtvGsLlF5bIQMTPnveh/rEMJ2tmrKelJo1xo5tYjVtiVcR1TU8b7YAIwpnheeaWKALyo5ghYDYPx4rI8Y4wcp1GaoWgjUjQyWsjLh2Z1hhRnD+9KfW4sgdViLNLZJKz/18hStiCPdQVUVWsN6qft6w0n6YaUIw7cJEgviAbQ0yL+Cx4M+DVOvl3FpvT/MuediS3GVG1/EwdnPJrn1MHvKr24T83VZH+FTyqy253W57j1Avf44uwS2nmeiO28WefypOdwEmd68DXzYQSu+5vkOF+KF1HghnDkY6y0DsQWt0Xyeu474mApWoxGrInT7kbEd/QSDxht7ICLytsh8TNL3Xhhb0Cb1JEQjz/jhEH/O/hAn6SPc7TY+sYnX2vDpZMT3dY94RFrJLeA8baVNevKqqa2+f78wlbY4XG2Wmsl1M+3kK4nzeLXy036ieDigeoaO5CujSWHqYo3Is+q+HL5YtmM9wvZgs6Fld/nG5cUzmc6K4JS9+uGUKgDgYDpqwKIrZtITVvt5abudlK8linDYJxagkrSoLS+ahmVoyzxy4DhY/sOVj+DJWJ729U5UxBXcwyQisYPDnSJOtLB338O4wOjy1zSpWVg6gCwwAnAxOBslnWNRtQlkkPIhX8X7psNf/wtJbKd6jlT3teAEAYuELe5SOuESrssNX6rqFO0XcL7xxLSyL6QiWFjOx8cFADgdrwcllvxvXk1dRiDDk3yHaGhkpQ0I2sCAiwoXEc+komTeJ7uCs965TuxS9TuFZ92b9d6LyvlyP6cU8obd1MxNvtx9ndoztnpp9J1k9llFppgcCOi7T98V4LoxE/Vn/Yft2eauRaA4Yo+XkqLgVRQNQCOit4uLPc9orBDFnDcR5ytHfwlX52y7KAoAuuYy/FVhAUzkM67syGs9Q73xhXZ26tr3BNl4UQcjvkq1x6zgefDpSLEe2pxgL/xoWslJlpz3byiXxntRikL19PTaJi0/XSQY3HNiC1sY4k1BusfvN6LLD72xCh6XH4JU4ByyNtJpsNIdU0QR4IR7PY31UYyiG0DYr/PaGztM+gXrbRyM3KMR1K/ZQuLje91pBkgUdOh8/5h5S5OYJ1i0y5+UNh8MBUxyzDqWka4s4DK0DXYvVdufgSwDStEb8RGWGgtFFHIkCswCtNLZSaSvQ+upMSI5nJAF3YOG0zhPP1kjt6TJ3ThDailajYtL5xA5tsHbgxXLVxhB+TmBifJ0HuBjmu24XGOscwvuttscUnn5ro4C73iz/YyCsROUZVAfKocRsZhvNmaRyyAdBhVYBjO30U/NdhmSNESQ6Y9yvM+HouamVfZODN57nva2qSVKZ1IOVTR5/SI4N2VrbcEXXRPpPd7g5uo7JpTcvI3lR64oMUWtJP+2v88wswuHm2CKzICBdX80qFklYGmdYmNDyhIpItndErgfzoC5QawyNXafx21vtxWD8GZNFai0l+NZs8k+EjTFTDiLKPPiI1dgcxL0LxhgcRI9+BUJekpo2RMBLX9CpYGCqIuESHV0wuIB8XT5hpwdmCaLwuoGXvL4CqUa7c82KQXWoWeWFiQUvRpDwJeuqDgL5cYmEZox8Fo8GhmXYAEnFO1VSmn7IJTC3lOeQUVFzhJEW2ErPNDqQ12D5Iq4uOOwErXNceqvg9qnWJzvZoM1CVeQ9JIKeMJtfGY7B4lOXn5DHh1ILEzxwPmEhh0dBVaMIPyUHuFQtWEFZ/NjfkQ81iIRkocTF+VGbAs3XYaCDq0ZvOGwG9EkK7kVfx27JIZ1rBaz4RBQeOryX+6VCxAIANVdsxAca0n7RaGYJVB2nkNza8FvsPcmuduRspivguoLhMLDbtHJM3RJplF3cDrQXDJvISCATHsotkra5+qQUswG1R75qepHyxhW2WmfB1ZWI28DzrkruFYWAQcxdH1+aae2mgl3WaPNPcBt+Hicac3EeFnnIyQocGGBQCatr21FCJUnsq0enWqomytJWy+sM7fcJbeBIu/5hNY9rLvxmEeb9EcAf2LVSFiPWNf4UybRYxFjCAbRgo3Zg/D5Yh11+kXfBxCwQb1VJZd4PpDX87x/PrEg9MwXJ+iGNyCG24BBGY8dTMt1aTRdIB2FDS5luwhDjfXJyb3ciQ5TsNElOff4FKGqcUDjGHpdKfVDZ57M7AzjZxmm2oDtsIKCb18DkZ/JZiZLyMU4gO1wkiMb3UqsxDPP1LYqOFRK64afXTkKKG35bS0o/Hmf1+3R9sv5UIbT+WlmVATP9QXlIy/OpHbUXGB80SqQpactZGEaWasYE2iODrtWFiyMogbB8rlrMni5GY1esYjm8kFkMyaHeEUUvEZNUPIZzEYLErNptzXhFjLG9z4ShlGfxhqTzouSLllA51Ujmm7YYvCFqPQO6FTmxBH6XzgMrN9HfPa0h8n1AnRQ+qKtCRd1bgAIJIktg81tk19v4/3BpcEHOE2PmyYao1Dpl0GMBhRYuqDH4rsGw99JBwqYzec5eb09APSnC6dre1JTb6mp1DKfLVQq2jJkLgodGc1WR5G2cuIFg+opsdv0LMn0ZWJOVDmpCfzIMsouxUNY5D5ZZK/mg+GBOYFiw9E+PhSf5VaA0dWG80EWl9pDRQZ6p33SqUoWUHTp7TVE5lYRFJabcDQbVGbOsxkATshNR3/DufBp1YkNpYgtSg+o7OjOHXULJ2gKGR+mlN+bR9Ew+nRTy7LmchvIVd15rkUjDMw08rQT69z+HMnSjWKEM7A5oucqxeGoKIdRbjfccn+DHDncRUse6gRPHf9VsdbxldAIlbAKqNTVc1C/PD5FL4LqHU/MlYwrfNZ3G8Y0/jjsoUFaJR0bGflE0ZUVKuIJerYQuTl1sUvG31aiWyQaf3sw6CDUSJHae9hhKNRsVCn+QXa57cNLDw1jvHylhPH1QgDzUTIYPFw1Oj8Kcinw0fWKoc0sbMonvUTQwtRay49LnIfdrtLygMH67nM8MNxFwvPcmmxpnjdNKQE1G/HYG/1a4jDIktKfMWDB899UlbErpZexJ9Qrb3CzH4cxeGxM/4Ubyvs6aRVQErQipNl8nT2j8nbFu4MjMcYI6TwrUDj8SgE8UtPiLQutV5onzFHOXQp32X2LIVFM1kVm6h1wmstHqpcQd2xPtHn0qnyuJBIqqrg+xc/q0d4nnGgvXq4RPOZzS6cnlDShURLQpCLN22wYD3FwLQM+vOufJPDdqj1tsaCeSRDv4ABeYkOHRsdbk0Jcgk85+Kidu6JS1J4sYFpOfykIF0fHB0msp8jr5Dc5/cZOIph5O0xsuBFqXYxxShe1WTp13Ray3pAQzk0qpckjOsO6OelckeL7yMNvtJRhdc389SaD98adFishdWIJ9uvT8U2ptH1JoP/VVMZyulPEZHM6Ph4DaJmrNE5vBKdpkl+PrAqo9TOIfzx01p0XJQ8xk2+F1gjfpX8ngzH4JGapxuCxQF7vdZPPT79gv0nmSIEmTOt3hn/+a6aSbAo9cfxUxI7FOW+ATMCNQL8NaHzc4N+JAOC+ZTK8ubrdpi8pATj27xtNB5rjR4x8t/9wz29t2Juo9jIkwZhmHCQSxgzaBU0aVOHgKOomDbKRjo8gIE4efLuvVPrhNfMm2GCKGYC6nYj9DTNbWSH+MEZzymN2QRkuuxaSYpq757G58Q2sJy+0ZZeFGIlMAVS4wpJ6QEplhJ1Zamqm5AWHA7vROFhAVyn7PcRUmnaVA+aAnxQma5uwCByEH7X9D0Pzaa0tiqjGnzr4Uogh+vAEAlaIbOuI6tE0PEmEREZMvIrefhKi2ztDu8gU0eanf3jpdfElr+jG0ol0698X44pzN5zcqDmvpOOZtrPy6uW8cNdpXDKKIKLJy8zPJ3jf4l3lE1DmpKU1M8pRCKusX68kaWgdMh1DhGezSmQ0oYUuwWpwEKXyxqdfo+NayhbIuzJoQ1xM8tp4apGL9CEgkKK7lKsATCtjmxI24mE7TwTKZMflv/bNI62MWJjLaqELlzFyibhNVs9fvzf5a/Bkw4yOl0ckcs1QFhybvDdOHKx/2N3P2/NgJOksKj5IBEk1XUb4UgnrYWPtJs57TFyjBrLxzD48u/xnp1YNP3TL/mbpUmPN95fPk7ClUnJBWBhb7cX0RkOIl7/Di9reK7UGMncKQkpVKifieXXROJlPPkXODvvDqD5bqdyi1ilntk7pEk4/dvEhY0SkWHJFpTJp+eAW61RMzR9aIdaGPbg+UWwhWgvkIKVI5FCIDk4Rwc6Uj+AOqK9GsTg9lzO4IuheXFIOPteSMp7OVvpNOoG8Kd7p063FdDlMqlSabUXKFwHnS682t3C8kIBp4azVlrQ7qIUSG9SR6gFSs0aAqMgetYP1Ruj8aJ5iHiZbsLk6u5lUub6BXB/5d6J98S0ipGyHXoLLYaPlxvC7MvHrUumyfWuIRWL6uuP0ILZYV3fq9qDbk5zCwPSnLmu0awtilreFttGK74wsShi9hf37aYnNDPsLmrhmraVDaXM82ingwfIVlEovJ1tsScUT214sT9Q9+46LoJgGuirVYarzLKA4uHO+K/mX3CPtKLOK+GJdigm274PoJERx5IuJ2rlhfFCudWKMDhHixnZ5HTcbKisvmJQsd62vhLzc5/lbFz6j8g6/kokROPEqWWXnhJGbQke/+vFRzFe22ZIIb1rqJB1cRzdzTIxoFLiG9DKWUWY+iWLQnq4qZSpuAnA8tto2hqRtpxgxO3rizpHte2TDKCNLlx6KMVWcx5oDT9d8ZA5Cp/iCxLAp1NNt4tW3RQHFBwDCswXVUMSR9mZGmlLvkUXqhsl2aBIXm4/PqxbWfqXYAyI/aQj3ZVnkyE/YNHMBOjnoWQu+az3uZl3empqWnDuCT3WS2ImN3Vs2bBwwIrORXdOXINMQaa7joKN9l724ygdRF+hg3h7D9o6mJLokTXdT5b/F/8wEgD0IrZZeqo1/ywY6lOReH3tBDkpggjbl8U0asK6CHUGyM20o+kmGbz3KYG5fsew2OOwLSRZCA08mH5aFfBmWBxHgSgi/7GXd/GG9nWMydb1qswMG6J4BYxa++w7qp2DtBpE7JQ4B+pUdhBNyyxjRV8o1jQ01lWAii3Ay+stThHfkpdk7bq9XXGC3AkBYxP+03LeR9l7sKs5MNjboGQUWQsZIKQod7zyG8TAKNa+d3NSzYXziLROh+PfPgxFD9xT7CchfAefxFRcb9qnxQ+6a8fv1F6R2+uM2t/dqJ7YMMWJmKmx9TE2gtu0neyftuAUfTd6nLbJPzZzkFrCML3KMCynbaHCz4rbweRDsXhcJBQd/TAnUiEpFYEDoP6Talsnr7aQsQPJGcoNq+vTS8sVoA9Ox0+66Ok3hnvwrPpNwKRz+7WQgsB5txjaoAcnGSgwGZulq+R1w/0DkOEc9R04C2Tu8SxOFqPBBtiLbZD7Qa8m3THw6KJRvqeTTznh+lA014u6Y8ugt7MEuyNTkFB9tVsvMeT6/df4AR7LF3yqKkdpSAT9BCzz7kTmnujrNAkXSi9ijBjSRKq8f5Iq+NJk40Fh/to8qUMqxot8L1XEjvzOEL0ud/TrDP84CGqq701PUIOd6BZ3gIf6IlXXUohBM9YgZqOjpxsvO70TUahMLugvTDiRQADg6gkEHcdbjWZIzowvcaTEj4YL6hxcMBWTYtQyjuXd0oi997ZnYiI8vw/nDVJFJwCMv60LiLhUzBvrWCYikaF6kIe25VPJlozPN1dFoCE0LnoU+EwRl6lGMyLYvgjb/Hpi6ODy0tqHd4HWL48dheRbhBJho9D6kUbtQIVjeMHQp1v8sCwLhiqLvpfOdxkDQKfs3OeLuEiwnnYbAWQZ0uU0OZPJqf5mrdU8MHN9nE/0nSDDv29pEnLsoKI1Lawj/rTUiVbIkaxlquU1G70VQ/4n2eh3+P7V2QMvf1ouu3YxIMtsGHTakyzeZ3NB17bhx7e9LfqjsalczZ52nxp/o6ycGBULov3Ex9JOYQyRYNDENJRM5EljkWL4Qyx1klzMqjZXIM/G9xpvvIaYzFQAZo4TEqw5DjG88VvNFH03yPggXGdDcsgO8X49QRaTQ+xiDycT7fdY1t75UA6y8o/2LBu68izR9Ev1NgePIy6zMViiCOqwa4DDWyQRF/A4lePgVgN8JgSLx9/G3NrMpKVuxsRQbJOMHgQCyxOB28RE3MvWFfNj7dXNOIizL5HZtEfBztvHJK735FQc6K7R04vQf3JK1c0ZdR0xJ11KwfND0aekfI/Tec6J8CO0ekmy3c11fZSSJ5crzL4FOYx4habzLpBaKSqNBzhTI3aensPKrwU2DlsO3o4aWHoK5keDb5VHB/noy3TXcvFA8gry0ywmGkKJpwQTWNXxKBuQSLVFn9sFJNQ/Tzx2HjdYc7kTKEYVa7NvkBQ08JeQLBaHgpINDW1aBTx5YEA9FhabnBTGcHYjwbjW3SoYxX1YEw4AmQ51Y8j+OP/grhU2cyo/4HqBZ4bdAeSxZxI7Whrw27+3P6AvrlCquJzlk+xa7W4k5KpuJU1vaMee1YfnOVf/zRcdOMfVtK97+EVHL0LxoFKE6+7WiFB5P8jI4E4Uoiz6J2G/OupBnQPDu6ACMDGIYnEo8fqXZVjwy//fZnMu9dvKB5escRQK3gmQk/brNOjwhNEXgoxQbQXjnRi0yYwCUYJ+XrTixRMeS4dS61ZKpy+iw/y3eI0/QmESO2wZRF7WTcS06K5BLoxJnMzNkQoYm5i95GdwGBKc1zZHvj4D9PQ5gf8bHll3elwW/k8vRENYULhbfazBju57yAPw52crXVRLOSLXZSQFzutc8pFk/98p6GYF21VwyUnfXP5KDbDuklkn5RWVeVwKPPBAc28yDgADCcK8MB2IekojWMaMS2tujpVP7BDA1bWmMcetkAVsa+RMhersH18nyjuNDky+wRupuU7lOm8zQ2cC/E+mwj9CnzgFycfHSy0Zlr0Ip7Gy9tcmSsYmHMEfznK3zBGAKMfmuMYAadULi55eKVDZ7nXaTr8Zuj8By6bWpFBIuDP4vm2jOeEXcLWVNQ3kznz0tsAy/mstfsn1OvW8UCrpuBWz9+QTkrc9koLUl7omXWN3FQST6h9fTVvu+Mfej8DsCUB50Skp1EFWGkDTJPuJyl+HBn0lnIfzndaZqqfiakAyfhEYUSaowJ1YBNvlajlIsVl0vSZIIhHog+absmcRkSOkzDro1DjtJL+Imw0ysckuvJfQLOHnsthilNgJ7be+rmtN9Mz7VQ655nDzDUauxgx733RITmZbF5CzNDH1Nfa0OIxDhSC+opjWpdLcl+DCvHUuNVux/N1PqTo0qthlFQR4nfbalYoQF8gpEpOU+jx4VNAS9X1P+xkfL9lNuc6DoyeoZL1Odd4EEmk7COlzNcsqQeyED7c3fvXYL2wpHWQQ9mZSdQcstfe467TnvbEuq8m+U3TRf4EJWff6pvUGHqg+QMU7d+eaOQNXBkpihCDPiUrtF0smuv/nqrlH0UKFNIENBNjKbEWu8HEevXzYbkEG7KZmQVd29xgdbo9CMyHQ6r4xcno3E3DeDJxwFQ91yr85FafgCI9N/+8dRVhgZFa98x4OcuhcLM0X8jmvZbbDl63OtqJwWHgkleJi1mAS9GKw8MWqRHM1EaUFR1s/U0S+VmugUzXrs4xmqoDbyiKPoYTqfls+oc0xfsyIUuLpsGpNzdo8TdBh0C/ekFRHlSMSiYEPANcpRbVj7L6zDmTX9ZKUsatFMGAszLZ6ADw0NHGzUbp80CKqkfhUSuFkcanPSB9BByl5W/M4NIHKvCWAsMtZN9RnSr4oeGI+SL3J4Q0ZfNGRv8ALxWuwxah87KBfP4xind1UML36P71sn6Gys4VNgF1rqUYT1oA+OqZkoVDnhF6MgUzF5pl3x2Ry76ayy/uiTs+G8VAMPWu63pY9LYClz1Ajv64AVcsZ6X0WR3xcV7zNNSFWebHhlnwPSQL90g85EFm6sPvCRRVjBDiv3NrAZz4IZltEHqEh8ipiUrbfosTs5I/zBkSYjXx8ma441GHD84Zrydk9i6IOT6J9SBMG/l26ys4HI0f1OS26cyjRTpcEfRktsaNkilBs4hQBQkL6dV+4e504tcxSNkCbN7DIz4cDzLAp9v96uB9w3BXbAhn2skl7n5qYkLMtbcwvdpvlhnA72io6uSK6xlJI/elOKr6HqpRI6Du9jdlzCAH6E6f+Emg2/me+KAmAMMcxo9QksjRJhlIUSpu+Zuz6ahmTQ2fdFm3XPQP8FZAa4F2Xa03e7XUC55EInapfsCEOr7Uqa4a8vxEgS+nIyuiHO3+6CnrzeNSg1h13pB3rvBy9JmHyPD5jLblkAdMmtDeZ2ExlPwIALtINJSwCy3x1K940ceC7dqzQCib2AZrcjPlQP1t1lxfZ9TCmNEVM0/+HkleGbOOww/eHPLX6NpqRzbDQFnyX0JvuwvOFUEEcyS5qg9yJWOZrx8D0iCqstJDC0TvXhbpVCc6UZr7FHHRuCxZ8fPZiSA8wqg8fe50rYNBFD42rtIJOF6ZYMF0RhT2FcIJ6hmzXzt6/HxrVcNbNI+yWQ63pJnSTx/2uFEjzaCgeYIUod7t5d8AHP8OVf5g+4F8cypRVtyBhfRStgrzyeb7yYxT1/b4l2pPrG7KcvZ7ffbL+wdvebFqA0OJ2DIkPSe9HMSnk+G2D50wuKqO3yxFu/fkB7HjNDwy0J+Bas9MUaB17jBHKkyyIszYEsaDo0r6S8HO4x7szBkxJ2mbrnXr957b9N9Pe6D3xlQ6kpQEw2eX8MTX63RZYj9IaBNS29sOUK7katuyu4dCwvYCDZtyF+cMdNNT3CQpJVaQk/KJKZGqLfaXy+YMou8ipjo1gJhv2ltjfFTFqUCZA+7kpmmD00VP2EGEe7Hh9NiGkfH5i/UQ9OGzKZ0Wx8CksDhrgT7JuUzNY5EkUVpUcKiLrPqt2R2fg0vx19WEndo9EN6A9qbY6SmcVmpmO/BqpjCXEPeMHFR6qZlHWoX2u7u6OpnmEKOSibe9J9mqY7hk92u+IY65lC8yF+d5BHptMuT09DnT3IPz6POMkNLn8y419qcABUIRvyZ1lHGkSLehJtlSr5eVNek1aPQlssnSeIOqsKxMw6+08CQwVS81pIX8RkaPqYD+ONeQRxRck9ECN6wy0VO0qi9yrP5zD+PR+0UDVHkQGxYjM+WdKEYJvvrfVyxbGpGAwoqZ7vvKax0VfCyo7du6dDUmQwDYRMwYbTAp+ygaNYgYRaccsZNXynIe+137Ub/sVk0ataUu+mRf9RS4aWcT7rxFPtWRkQI4hKi7hnXplwsegnLokOxhKpqHORx9EsYskmityKBqqPq8FP5gDfHmvLQv6P14ArGhY+TaiI43MPIIi9AeGiHuwOLyOozEikoWYgnrj698KeodyqpbyKr+je8XuHanLViYw2sdT7To42npPI9vKn33jIlAmBdCj3pN6lw10ndlvmp3QLpRhuYBpVnoqssxIbBUnZeGf+4YHsFVKmm8IFzXOm35Ae8zl17jP2mttQk65aOz++IAATCMKduSS1SeGeKJliWLRPG7ntwM0A8swgQLnxZd4feirRTVz7Vc2a9lr7oqNK2fIneauyS/23dPfumCy+Ip7UIeii3YqxSG/e/xZlVM5h7z3wfY0IeJYtGXA+V+QDmtGggDX/SjCFh65t4YdHYndzYDiK4v1t/Q5NtioY48hq8Fr5/FZN8lpBOV68sM5oAltkWwpJeoKqfYDnu4kffNeBXFR/NKiLK6L3EBPmElsWJczraCyuI14bgjUsGu9bRqiIWTERDeu6BlIyGxaHG1SFmzUuYpstDJOlN+OuiW/ersbT0WKDKtKbKtfQIRs1dUQhiGJaMwqbqhtktd3GWkmoYPGlmAvdmaj09TLAPjx865IwAUg6yZX3I6Z5fZpjvDHb6fySai08yCRtu39KehuMKkx3yqZ5OyQcve0RfsLlBViwEjyl8DsJ5jtihWLmQ1glSohDue20qgAFjDO69ovwIks9wMBnvRgtROy0QibChyKwY4YWAQUYEPkp6K6/YemCeGY6NHNNAYfm5M792JWUjU77Kkxs7qfj8Ea9P0vz3Kq0yEq0zvhWSJnl8Ns/1ZvETFttcCD0dkZ+SpoHSyWUrgg+WkUVuG4pIdZTByQ8mH82VcAEAKPVPauyich5nH5a4kteM/22cG1DhTa1KjN7qX9WUUsSYS/G5w5sW0r/DpM45v1TCPgYiTu8DCbVzTLdde7nk9DkhnPuTE6wRQ9XJYvB+b5pp3xuar2As447H9QAq/dD2EMLjr9Em4/R3AdayjLArrQ0GHlZ4BujZPPVe89tWM8/2MzuslCc+p4R4h31wYADZBgs0xy7rkbt0TZlCaViPmf9gDh4BHK1SRAUipJZoUkuYHsbRU60xUna6kwAPQjNwO2zE0yNfnnmEGl9RrLoDMXeyc1F52rYmBowtDWR3AKG1//4SE2E4fPwfpVYY9Mc8Fra8H9SxR09kDIZVQ0Z1Qrha/7F2O2Ds3hUmb0z+dMpH7Lsi3peC+oa+yrrhkZlZgLug/HBGau8EmZaGQqurhtS+Wqf2w4KZ4Q/1fLvM0DLOdBqIyEi6WI9CimyVlNbTuSFh92mRcQy7/WbtY+43/J/7jK1sM7Hs+n0cOQtP6Nc0sHlFaMkFpIMRFBpWRsQ5sdCAWp1Wx+JazNZeyOevj9AEJ9Kaxd7aH2vT6LCEvbiknBx6JcMQEr728AyM34H+YQxa6knYpTYj5gk+F8aN2/rNCliKrCezBRfpfbEucEK5D6opWdsEV17sa+Tkm5jxjqwQroPRRcmkjaDlNj189tC+YzDJDgh11zFlMSDbjswZbr/bn4ss9CQiy6C3nexJxtvmmcWmaziEw5PYwJ8ZIXBJ96sNfQAnOjj+17mnMGMi5NjJEIJY/cLzFt8Z2zyD1OSfDhrx2t58Z3hU9cSA2G3/RwFqKoWWNpu/s8WSaybj3sP5T0/CwCffFp96S3wmfFRTX5nwpWozDq9yh9SZcNV6W8YGCSYKADjTtodBR46cpMFiCrZ8npCY6tuLCyFYcxN6kN0tIf5iVMOqPYguRSaYnPi4R9k69sv5UlI/bHNwk6tiY+KQu4txwxDiNzhtdhL8xrMa3V5K2hXSVRS1x9Mch2Fq3h67aXgER/O8gzKZk3Vi0SerLL0Dex0nK5Fbiff6fnJwR7OiK9IbJpTpS8wQENnalgr7cpjhzI3efMhmDlBi96gda5mjxh4PXLMtrqTQiPEhmxxTGniWJCxCSn8y+brdZgULtNmd1ln8wQfSr44gJ2XiM621vR+aL6Vy6B0N7CMtAZhNVNUhuC3eKfKNuzUOcrLcvQSBqkV/LuXrIPR2NHu8YnvrqaRloDhhCxb0Bt4Hky3rHrtkIGSo8w4qtgRV7urP2QvvPe8SXdtDoMl4B0fF/KUQeWwBsxAeu4ppkmsmM3apsUoldLD2jm4EAvfoLgz+Ql0BjKGTIJhZfgHeT9Ms02W/zh9mzntdh6XyYmUZHrBeXcMpTyr1pp22WcGwbwOGrpg/3ssZGp14Iwi6Sj5ZNCTXH38VfKYJqJyDQ28k/eWt1tv/rA/LoMjMhZQODwCUO9Gfl6d72hDa6jM7l0NvN41mqbnaaKYhWFp1yaaEhMquwaakVR9iEx/ICaWCN/owvLzmgp99F/7df1VCWJUQjTWUmTvrCCtT3iZMy8r1vnEUPmYKW9YbKnRaudW7JEyaV5kNdjQ4gcYEbMyfh6YzJ/ALX3EPPc81+QnwjG3JHUwf4UnsFQWKRfl+BjlKjpEVVqzv5okV9RYnxGevxLS7wJq/nN9pbtPSp9dHtLwylMuEtHBjqLUV3wsVWjYGP7kRL5cRidloAUIwTFsNb8WTq/vDjga+uFkF/M5AE6P+XAiCssq2uNHJytt50H2VCc72JpRtkdt/6RuQzGOXIXf/7BhduIimBLOzaJco0+kPw2P2KpItkGAjHiRxE0sAR6SuW66mTMvbdXaYJi+e6kdPKhefgHDcYNY1dTzZx3jj+HmoFa9eiFMmXZaTkSRxNm3HorocXyiPszvqTThBCcpEB72JY8V6H/3PViRQ2TXcVyTFATgn5EupBxrEKzOsP4ROusXyet39Rza1qLwDhXGCXfu82gm6YzLQhySUIXxeuDElY3d1TDl08H8Edkuw4O7OQbmgTUCP7+ojjtO/oQv/E/x7+8R6oyQqOKvmaVpcXEmnv2+aa+3OVeJ6hBUKkzwLwaeNZXHw7nT7g58sxNod3ax7XtvM1uLdM+wvzX5soLnSVtVBg1UvqqS0KP4J1lkoYXHLmE4vb1IeQuprScl09PQoqR/gaRkQb/PH+9P2QSiDYPlex2u8OTRas//2QooUnZkz9sQRKHUQ2+p0XnlI4M2d37O/bNLfVkZaanzFPIpsttnK8XN0V21lLVqzKQcWG/gyVvG5gOjpvVMYITFv2icL2OMnv8nj+XJnWF4e5je2rrOyenIj2JtGhXQJkp1HstNEOuN2XjplmkmwOj0sdmfDDjAY3NFHsPuphN9aX1RbRogPAFFc1T4AsdsMyIYdxZ1doZ13J1A34fc/a76Muky/2rP2/10woXyY5cxZGcC5GB3ERYewLcy3Vp2x/AX0J5zxxLKK1R7cjYRv2GmDhiGksKC0Z2eiNpnzXKQv93llx1zDVm3dQ37VLaOlOMQHFCNq8lpFNptylk3SFuKKMAy4BCMjjaAYBRB5gJlQuj/ICsB4KgOswwosTJhx9j/tyGDHkrZTSpqoKfw0KKEGQU6qAuPZb+M/pbNvJyT8VZ9JNIs1iLyZdW+b0aZ9/bs61hsjQf3+kPy6Os5tfpOZr/l4aFeGZzM5PNBWhduhpb6dy14HnxAZavYFqWTsBUGgZtd4xoaLV/87K4N3UoZ1EVmQSrhEEZH7TUUcOOUqoMSAEfPtW2EmnGiQYQP2kapVZ7QuYu/v8Dm8hXZcbYNANXV9QKVnogkujmr/I18FnB+YOL7GN/tFw+w7xTbEMtQlPbxoBK+GHx5Hc0/juTuw32EgRffbuF0RqfNfRTzTn6vxJWPXe0Bt5/nHGXY/PywIY2222XZOIsvcFs+pa3UF9LSbAB5fnWuBHOJvvLc0sDG/UZPMHRHtAqYMrSbFIFz5ANHwVYKiw5zcuFT/dt3Ji1fcXrMGEWBZDStvQmbDl4x2kHkRQgU3KCy+5kG15jZ2aqDxVIDILfHui89xioeuZvvwQ965C/qdTXcKh+Nqs1uxyHsiIfR655Ld3u/g4PQofQUbPeqxnGyppsZXgLZrk26+BGo1mnm20mbWFd3MVOCWMd/9tYYWlsl8hVSRkt7nwQgQXT2Dn020HXcpVlYLVseFquPs1xYVPFdvEpLxdU2ar78Wk9tE97iikArB6Fd2YiEpy1N+p2t78mV5vQAgUqgePyx7NSOhhmhLf2vSfoI2CTkHIHtVXBfc35DN4e9WFQao4uhyiaT9rO5yBNXs136VQFSO+OR4df+7cSls9jJ1CK6kARCyH7M4DzQEgZP9X6P9xCZpNCGxomOtTtWpaGgody7SNGVeNqyJP5ZuH8Fo3r89LHD0cOxzT9/+MEhOAm6GRaCNLupYmiEhB7Z1SFm1E+f2vGt1jUer5uot8cltm9KUAu42qPYpqSZ9xU2Fk/+U1RkE4NRG1Zsk0KP04lsRLgeklp8X+m7lT6MjsqVVjWi39tj1XtjgUes98BqhbTYcVEQyJrz4oP8r/4iB5b2xcxcLzlKlY95ZoO1G322Oq6198i48EfVVqiF7Orj6LUG+tqC/UHLCvNiGecCyaPqYyoH4ObF/QH5DMBeVRORnANMYUh4HOkJwYAjYk1wCFj+Zrcp33WVytG4NLJ5/NxtpmHuaYih8iNP+sudZzyuTdpevV5yyHr8emIZum6P1q76sURr8G3DBADXiv+2ZLLzdczunaxElJrHW8UP9upk/B7RImkowtqoF4pCJ293L85KvHSmO4uoK/3CFsCHQ6AOz8MlSLYXtMTVinjYg8THwX45r0BpqF170gZi/nWlGQCB1NnoVYjT1ZqaciFZaikFeugPrCxvA2aY0n20Y8R6z0MqWjNeQgYQPQTdVNiL8NLG5yDtCP7EEGo1Z3xDcQp9dLENWHx8ld7ZrEqgLva4I8HfcM2mptd6sQxHtZWfvsWMcMLnX89n+gSuEIPBTa4edcjUzCKOL21YjMJtO3qKWsYwFbAJp349zVDc8qChJVa1x+Qh8gGAF8i12jtt2ESlTG7k7MqYeZkAcn9UxvVtKktYwRycyxbsZrOetJSfRpZPM5xHjxu2ydIwAMyIxIPJJoLskGfSyv67RPxsfkXgEJ4i6iXthmD3++NM5gAgKcGBLECP5poJuVF5xf15EF3Yn9dxLZRZm8vF0MErh3RF5uNV9UdSOAQxhv1T5Q2s7x7LPly7XNesxzpQ6s2eAmDLTsgczaPl6M8cQIk6HPvwSxqgppPCgEErLCDh8JaLXdb4MjrNLH9iVp7UItDyU0gIABHG+yntBbd9LICTxZocs7g4w8N2SQOYG4JF5LVHHybMPiizlQg/4bu/AILdEXP9jYuZ9zj5dSSJPvrtXiJ2Csx6/EKwPU/BeKsQRrnOLZX+RDPbr4sJFZQQ/Zq2V9J1QTMTZE+WRpuAl6ZxCYw9nAxSHXY/EcUGC84vNdYxW1LUuafuuSPwMEoKB911BtdJftvVCUXujUFuRe8HxRSj/35czfI7j2c2Sdh46DI/r9csQz9bSZXPlKcflPv8y/5Y2MEYszRckY5eKw5fPtLep/1lRjGFB8iMzALIHPxtRShfV/0MwV/+QpU9LS8dbhM6irpM2g8SsR/emKh4+wH26cwQ6T95jZjnOpFwhlVKgIruRTU5bAh445yp152EX3uoNm3oX4qDc8GwolpYe/+BmYIylXhWHbXLjS6mKNlS5jE4ML0tg9UIBbajO6ERFahe2ubnLH4WvYQ+c2r/sxmvnz4yYLJnjVyoyAct97K01olAxLFIE0cmo/Eql4M5jH166cXmoJKobwsf9GZAdmdFYNRGUTpoLNE76CzMX81aosVDpqEbzKEwpmb88P+hBG2isVmhO2erBuMFPt02I9EPalvbBGFPhhK3g7zRpy5ZC8ii7sskdpS86XoNNMmbJjqASA/cMWrMfyxGeQi0pWI1kOIedrmWaE/Q6Uq06HLQ7bQsKL4VYjFarmUxQIXjNQNqtGHEhz7HOWleHGDW17Ux4rhe1wADxpcjOXwgjFtlMbloRtgAHH0yf8shqXat3vC1rO+CAo2fABIHOzmpbRKn8WrrKeRpcoY7Wo2DRb17L6pUGTeAUxfVcAmq7zl34nNcQqUpjYCJXi10TR8L5NyTBhlgDbJrhObCS4QgxFHE2cD2ynMoPgOVb2B14Gyj2jk5RGg9mPdwYnYH6zktYSkOP1S93YrfKFy2oRZP16gb37Q0+wC+A/Pg/cZh4HcfagSn07W4EK8aUwThuLuX4OSaLjYgF+TPhg/o8St3NPLxgp3lXnFIwfRLTcCPm2wcjcQIGxvzBOOt0anosL6/Ix/t0jcSQ8c+QdBTQvMdII99HZCFTOBW7lWBhAU/iHN0coV2KrUkepPmHryiyAqSBdU8aOC1KjeEGYUT5k9icMt92gP5nKHc36sI93fhawSJ+enAOj6cqbXNV7Sb7Bi3HQdIapyCf9qj++3eLO70XRud0JDbUG0KQoTq8M614tsvTawBCLE7SpmXwQ/IZHUMPMYV+e5KEaT+W/oiOmrlSnQBW06ttTNVCocXOmACqXvJUT7FoASOkSYez5YARLKXSj7VMd/AbqYLvQazjW0VGPmDAWHMufJvOQbM9Y0sDj3XgHHKPCxcoU6eHKzVjFJuYgVShHjJAPX9kmFWqkwqtF9dQUHfvGN07lfCxw/3wr+ChDQkIBIg/2xeSKqdlK4uF76etydkDSZb41s4W1ulb36g3G1yE31TrWA1UQSGVfTkOspOKEkER+gue6FWjcJ1bvVqC9n6QeWeP8QNqID8ykfj+paPKmX1D0N3dSQ8JG5MflcJidLVGBCelU4mNUoE7D0aorUrGESwmgRYMGmRhDBJ31amtsya2nK0p234zsZ02qRSAJDfv3QiqQ9puAcAfINxoRtuLUJYWc6ug+W3IfSJDU5Hmln1c9VoC/ALBCLLQ8Cb6053z0+tDdKtEqLJoYYdc0BEY8GLY4KFNV56uXX4lG+qkixYFYsWuxup3h2ePmBqXQgd0txQmEjIA/fxdOlF/KCNs7JDxiDMFKD5DqDDZ1fjpoSeDz/Ru1Oppv0xDp/9HB+pZQvDdnmW0kuOEOiLIb2I2L0EppkKtjrqd5YhnE5htwVW0MwMk69mSkp6l4IFMGwdH0QUTTc3duou70p1hbdYeqsMLPPsbG8Hm6JGHD8LJ2Uj59NlohxGiF9IjqJR9iE/Eur0jIOBw9gPKcIvt4k4UyucF8blwwi8hma4ROQ4xWD1QyxYDlGpdT34/M7zs3Qq80cCnBc6k+qi9HirlFof4dcKJ6cjOe1b194e0eQ4lv6MXrCZ0dbep372FDcDE3q1Fb0m7R6fxGDyJBayR/UowbmxanNEhG54YZb6t9cXVm/9q80kFbDefbUMLxlmKrec85souw/gkWRrXUnVSsX1sv6yYzLTVFcXXlL5ZFjun+P5Nz8wkwfHRwQhuVXvd86DnS+fQrw2i2kcdmrdHnfmk4jN/Y0xaiZUfIPfLMvBjOLhK2K9lDzIzCZMoraI3w374A/Cw6J/kF/D9Vbs+JdyspgalVKvAD+5vwky7OkKMkvdvtvhMNtPoCjAo3N6TM+jgUa2V16yMV0p0M20/0rcbS0GhDf2KCNl5CCNdks5695t2i9S/bfs4DfbyI252a5jOoH1evozgSjgjsEMoQDg9qTbcZxVR0OysOQsgqS19MTkKVxBp4L5DN6u37qELtnVjV9d38/t4YttIPzwUsmzVUVE0ZbYayY1WSpqVxwVpwTWz48PFc1kJ3tSF2yMCGzgkA81W9Kj1e+0BexFkqydoMHAs+b2rVT4r3xaCENm5q7umUnXXeZt42hu2asfpFhnq0fwBiQCUOqwiumsdv77ZuqIOLeIaa2algI2WbNMZpQ34IZLOR+dQuQEpTudeLNX6dasqTj4W0BuG7r8RzDTT5zIePA62U9oIdFM/D+wc2UZDd463HLkvjYgG21dOq41WjqCsfA7YWzL0XOVhb+U/dlp6cPpz71auRq9sVCBpOyZu015hj9+HX4LDWnMdxcmePKRue7w7HvUOO41/7u9fB/Xfjwk6U3XL7XORO7iUGNJq5k0zQNM5UWdpqAkv6ibjIJjp3qd53Smn0Rc40fxdpmZFo1ray1F/QR0w4wL99hEtAf3CuCLG2Jrshnl1jNDh9E973l0y/n6/Q6iQ0no/ltwmmb7lRLDHOpQXlijZ6Qzu3lx5YyKBR5v5fTFd97vT7oeCMNqV4EoYczQhP4N39WwPQWM4v+nI70yXrNst5neU1WuJCojoiX7HzQ0B4CMk3q0F3o2bJY55sKVPztDUTzgDb6lVhGuLXFfVBhnh2PvrqTmM+6d+7yCdbHYG/+VDtImzGK9ntTl6ySgcsFFv7dY2BaCVAdjl3jX3/T0+WRm+2X+idshXWqJ8lZJOAWUOvoe5ukQI7pPl212Z8KP3Fdo4hJKcAGAznTOO6rO89IurrdpgUjflTZVi9wlF6Gy76fcpfQd1D8xwgkNfdKNdnh4IkFTCvc7H3WGmbIhD+CJLQks+2MiDfLi/2zVRk8HsChY9xwX+sfeNQAH77hXFi55NKR37h3RgT8GK0iPi9nApbNJWOw9tK+5hM9KRIdnHDaYuWl1/JwkczNfIFLRNsSpbJRn7/XwMLlEX4FUeKeuT5j6s7Z/GmQPb5Q75ExnCFGXWD50G1IsBNWI4vDYlTU9wa6MrpjfP1RcUEkCLMo164csb3JauIJaX5Van8B0lNGNQ19iQ9Y+ofBQybfEKY1iDI3j29xzuBlGITemzO+P+zbfwmCnGsdMq6+Ijiv4piVpx3AgRuYmULymQL1czxWTV2uRFFFeYHD3yUzNp1XO4zS5GRJSXqSyRwpI4DriwRbryhRV81nVIQ6ddZ/7kvk1jgbjMfsGi5Of0rj67Are1JBjA3f8/xzpgywjIGljLvp5iWxkPKdahj2fs/vQYCY/5EMsgLxJYdk2qvivHBXQ2l7HqWbHSCTM1O3sN8FotHhijwixG2dWG5S3xOo+W7YmUqNRToS6QC3Vf3XP/zfT3levURo2n7XGt3st6ojFq1CbWNZjvwOuWkKMdybskNJrefzVt5EJcw7IaktbNLU+2rKFxmERCVI8Jyz17OfaYu8k70xNyjGrtrmHv6QK25aKcFhn/0SSlghFxFTQwfx9bon+Wr5BhOW6JWDQdNgul9SXm4VlLKEOtUvlmx3erfeQN876mFcAgAd2BLWoorezjcEk/fBkByPWhPunJJ1RCT8xbVYPc+BkEA9pD4Ba9ob2J9kzdkifV0YVEfWWZLXA98Ax5oVHWnvyrLg5/Cn0rxT3J7Njb0nGSSeDyMdxSjNwcSPxthUCrlUrKdpUguacE64Jkv9Bs7lRaDWk9mnwQCcjgorBwUycLnTRe6nPByy+0x4QTtiUy+XrmpoPnL/pJ8n5/R33qnmqKkdTZr/3wOn1NMg0X3hPsvvq6K1S8ncD60laYulgipiYeZwEUcRYgy+HhJ9PTwPSA/KFRwhLZ4uEWi/aoa43UjgAT2/bMvWzaepYx7qMvCjPD8Xa61gMAhegClvCuTUzqwcE4bDXqyXIYQw+m1rH6FjwN6Rtcxm6G9QChOobb0D1hf1X8NZz3Jdsss6PqBP3TbYMvUMr48Ar+sUTSOu5oTSmFx+o+URDvjTvk7dl6bZwpWwdk6puQzd073PoaCjsT4r68nK2ZJcO4ML9lMqtH8jUKENPD33CAVLyMPfo0BUZmm3MOx6MSSRD3hY+GQE5khggmWA/F5XDYIj4YwI9hg0haG0kFWLrwnrBz01y4v6a+DACya401ileUJVm/sLGohhEdxlR5UxRlHxTCcO48KuSNmpCCkD+nwBCqvadC4Za3YaJHAv9WNusR3BT+TLtT96NQ4S9BcnLKO1dmf44s8ellIHl3K7GloNejQDHxubKGeFChv+b3UGxhG4NJC+IOkdFVX2T9uHx52Kf+l4Qxs9ei3ulxO+Cwk56MyyFtSCYjRdgyLQggaG6YlubRhGQBuvRZYmzCMWS/UrbvtkZtP9qjLdBQUYQOfgKEqGPRsDNnbyqAjbnMh9dVsm9eEVoaXBSB0qXoaXzFsCGirUDRqL68q6iIEUWKYq0XFowSfsqfCs6tUCJAkgYXJBMlZ95GpRt9zKBWdy02/XlPEwFNxgSDZoduLJ0zj7ZTmV5Tt5lKFSaxWC+95PLlt/BcjTuUy4EtLNSF4yHmzV6K03d8sY4gocz2TnMSPl3FURleWQpUG1QOuJKitmaGrtZiLhq65YXad5fdnv3QnrLm/FRAfPaXBnWKeDKFodZ60kmDe9upjy7Y2f5UmLL3cL4axud+NNvrgrY+dwWbAsY9Cx5n1528wzjfoURe+2wb4m3dmqXf7S03KcYp7eAKD9BdmEPek2GouExjCvON6MaH3871E6nCWx4eTexzvMxSTl3zVCEY0iBTaB5U6n29v+wnxzmEQ0+Fc+xAzRoPPaqcncQ/07t1W2jgKJbVGwd8pPCHf/3W+NX+CJPJo9n1/HDisrdzsqk68dzjrASbi21pYHnw5Tay00JZLEGxzBLmJoyLfGFtA164f7096rIRBSFF30rdFL/sJE/49ykh1lVZE5xgHo5Gb6UdNH/8RbWafz1YGEPFyeYg9zIXvwdUGJNWs/k5UcLVAM3Pwp5zK4hc9LLYFm/rHnaMGGvuc7kIQqWwqA6ClIgy7CyFZjUS1Hys/kfiPo1t513A2utHhEEFNy+DnccmpjGOY0pDFgdXXRW6FcdxxQZXDU0iIIiLYv0x6z+EUy2PGF/NRr5nQTOreChiJxV2kBR7nS5dq+s5F+bztJFntn9OkA2wKiUOEwYZ257gBOOQPKvQ5SQ0tgkoBX3hNbgVSu1bTy9OJfwdvwskxFrfYCMnUHZPajtRPyIw81G4r7CWuSIXjm60U6s10wknm42P39ITCT1hsYF1SPdiEnTiXZ74ApovfexqSWiYxRaha6ad6C23OJW19m/+AV/bU/Ps19YLCQZXATbEtOHinoG93yE0YI/oMta5Xvp/Mt0MWJlxbVsSmuliuZ0LqbKPPWOnLLMqChMlBlqIA8MGwdM0Cqh4uVb6dXtt2fqGIAMYBy9bJpBRt5ptUJrjGG+4tVU/jMhgZU3br71GfotckGhIKe7/szAbYkO11DZVYK7b3A1OeKaV1V1rHNLMXe7/MHZmjWY1RnlRr9SQ9pMn210yoDmszoTI6dVHXEfPzi2ZPUHly/weT1DEJXZBf9zQ1OK5/KxvWE65hmN6V0pZxG3f3LECUrYIL1RfMSw1Cu5QXyclrXxkNDvghMEB43FyzdnsxT00MC8AT7lexHRZ8BmxAVmgzQ4VynHbzwdl6MpTbv0NxrISfnjwBY7ba7UgYNwLgfLBej9G4cA6Wo+lmRI7sfV9xpVh0BbXCnsIYebD27mCfD4apK2octzXRHSAXku3LU8Ht1WtnsIIwzyAavFTxlTQY+yfXU5Omkn6Qw3W9KU46uxriXx1Qyv6dQ8tbx02Z4r4ecPGRqIg9atqXrrmwmr6LWu8YpjFDDEx58aZ53E/IcGQl+cbGhJRlF3/QKXz4/e+wtarr0nHHnXYF4JdfSk0mIHB1wk7XaDOPmW+buzLMBQ8hSk7vjAqe0zouuUqsWBCZ9xWx15BqFt/eOXzRBMia60TZHdZceRbAqGIArUmsnfuQqo29qu7wSdo04ScnrBCGorD8gW9bU/cntScooRCjBQaZ5d6GZgqcp5ezw6VIBpLFoY/IjZeAxZDer/QtHbMj0WroW0IrJKyJ7Hl4ibKCk10eODr8kUXzCQ6aYThsgjRMSaJGsBxGyZYaVs4KNH33dEsv7wWAFCpCHTfdFTMiZatrxEKyel6b9DF1Ki4CaT1GTTBdUzrOE6n0lgCn3euuvLlmt8mkhTyqF5QCtvJ3VWViPwK0/b+z6UEQGP+5JzaALgfzRXwRs3JpyvoTmD4zx+KO+N1gbZwDq1FaEag3AGPv9Jn65ZCFIDano3Lpor6oKj9JVG09pJyETFix7uY9NZ+D8DZJAW6ST6L8eEdaY32KeP/Sm5OiDN2FRf3N2rHf2BDiQZZwxV1JiYhO1g1Kv1/7vwIEroZwLEbI2zGSi1MFhyyMLDe7RYZD8rWbD+9IRofMM9ZHooSa3dSXqeAcsyMyodMAeTK3KVxRKfzWVoJKJWlEcO0ugDzZiUP6Yn1gJhaPfomYY/utP0wfFYQrSKIuQE43agua7ZjBqNAItGbJ/Lg5gzTRLuZNACQr1wUKt7sIIm0seBHQpfZTrGd6YaSAp+LS4Oceig/yVH8Wjd94CxXtE2Ik2+61DGkR9HDm9jL+NWekqtmFdEKxVCX19hvn9JPkObmpjAq16mg8+LO4EAS+19lFn6a5xL4vj3AurCa3HpbGb4Ro1BSaASnfqpZjCSRB5wdg6xI30D5dQsizFazPp5CingLTfZ/JkEV+lxkKuL037WRbOY00+70Sox6yM4hb+8rRIvxrBT8/rJVZJrW3mHDiVyVHY4vYLUwc+gWJvpD4lTuSFv+/H1FnEDcMb0kVn6cGidCw+z3wsc3QZspvwZjdBOuLWAcz1zL92XXGXplRP3W9jfHOSg2uYKtBw16PVQhL7VunDyub+lJ9y+dKHSmSn+DpBTmaVwGQbDMBuMy3ljC1pYENCQddQSm7qUa4N7afZoMIDjAYz7UBzMXGb9QZvpTzTNAVbS3OUIf5l81WQEAkzPAEDloT4VxNYWeCIxVMlIcQESrSAVuywd/INebHCYzHOTFxJo6LuwWoH10T36D3bynXXZq9Nk41NnJgOb5lAiZ+a13Qra92vdiY/GNZt0XxMKlJAIzb3Ra3SJ+ZGGJYxE5hwXDskBF1vJMpz+7q1kZzUSS6CmTKL9YbWQd+MfL1tCJdD12E48EGbzbPBFbDU6D24Bs/6GPKQ97szzAgn0O5s4UhuDGbl8j6u5/mKMT+QUBmu3QYTyX4jR6LpcbgcjHPt4cG0LscHcaFdxizr5AePw/sfNt+DKA+eydJYkfJ7Ay0fz7cMfeBnxiEzDq3ZeHreJtmj0BRKcycqu3gM9FSxVoejw8D3XRtXOubBZ9MJzv4XbgOcuufoWuDxXQBRYQvfwKeA9Q3Zeryk1jaGJG2CHA2GOOeogowMouUQwqUY598QR9hrR4Of7OYgUx79iiTRfvCQ7v9O0RTkWfgfppIDlNJ/3SjLj0/yZ0V5qn9/F/Y9yOFZeJTF2pP+Ls/dF037NfoaUMqUPqSKaRuzePfhmYA7M5fZP0FDRYQu3hM14qPchMegM1z6KsCr+tp3vZ9+wGMYwYXNWKwGlUOYaFNTNiCvmnkUGgOWFi8XPzmTJGS0yZK55aXs+cxZz/cBcfYzgsryFBQLvIrszTeJ05jDVORCl972HL4Oc5cC0iDnsjtGyhAHX8asOVKOn8c5p9hS1j3c2ljy2vp643eRY4D/h8XcYSlkDWNSx7N3vWbzLZdOaYl5TQfex81xB3CxIuDfRl3pmE2odRn2MkAQ5doJcbjjc1CgMUKzmK0fWGZcTytI0Qb7zUJ10a4m/3x6NqhTiN6RDE8fO2Br7pE+N0c9F71CXton+wqaWDJlN684j8PGvPiPuOI30CSHAqBB2QWmlAnPuTbY+yZTOMwqoWzZAgP2aPasroi7UmsydSaK8k9NQQH+cUOWLz+tUY7doUfmuGVlA9P/6UAqkOExW5U9Ms3QNo+7h0OX5k5ZkqA14KPy509v5zVJ+mIfELk9shvXipH56B2zGx+IfCvb8FINNAfgcOhwqdlQRVQRoSphbOHCoI0EbhcseNkPWP3Dgh1/Ccml6baRFEOzwtG4z0oklyq0dPjDu8eFy/zJC1y+IJ0phw7PiKxbjFMbWkmxk5CqcmhbVoaJZw6nFw9dSnOyXr3l0VZ92TZ0rt+YukN/4VcWd78vVqC4cxt8n8tdSqENTE5KEemHND2NoeQhTiwPBh1bVpK3IQroURrmQka51hxoxrv1osf6sL7Z/VgPi/XpCO7BIa9cxrZmfroyd5XyQUm77i5WJFWIw4nFwaUBo0ZJTOSpIQ7+8DZgI5sRPC8AO5uirMTuVYvrTDK0pirMYNRmIF/jVh+BEyHBzVnPhjCDLIVwcI0kHHU2Ik7mhASMyl+mvFcN8Ptjy+gGkZJfaPzFQ+RoHDdA2TAbLDpwLmpgWjgA8IB5Qj+2Z57nfHZVRP71F5DbOFA91jEQM1UhRLTVUMJFENoAsSiIDUQQ+X0jjVMS59MDPdacrwzl7Xv9l22jBeUAPoIASS4SNgMAZBMNa3Imfl3QkzaKmGhoUKHYom1tOMKiX6IHlIyhSsSh53ajqq83rV6jYeTOH4l5zns6b12C1XNEnB73Xq26kzoIDLfBXSijbiq5jRQ72UFrh7MeLIz6EcHRvRZBhjf4o30lJ4v0Mfxx1Kv0goKXqqxQVnv05CqsGh1uUQVPU5e1CkbVHWe7g65VL93H8RGZBE76991FYe89r1P7xV2Zk517G5GqclBNl4Wt8c6pB4xLjRTc6Di0R4uBcDPi926cFLn7XdVRO/vEKlAHLRhQzKQIWocGy9zSLMSJC/C6/XmrOsQCyZQ1LNASXeG00J/fidGiuXc7050f3nB/iY7mNkMy0VmhOX1VZX3yOeZQMIqnHJltVTkdBPM/tFCV353P7y0EdM0R4rRjxpGx2TDS8Cgos5UeI578xqQgCNXK1mjXOLPYW2ebUoT9i+y7/5rLUgAxYsdQhRch8/g8pcYFicnHpbIPl6D6350jPHs9JuoGbQdOK1ea707nxJ3yiVRGogiZuA1wxhWKAiakF65XtVLnIUmKAKAObMAqguXMB7kDOEJYkms2XKbrPjJkiroofrutTZ1Xp+SdPNdeJvU0R18+VX/0BR0+JEH2cGbfguOtXitbUyJaOeQjt2CfMnzBR+9SfAkOiwl3UoUGPff3zdnrGNn57xGmGO+qYc0kukX8fEH/yriUTZpUC9J/ri6qraNn1N+sfQC9LFInF3dWQMsbTayHC8KHwttzhm3JOTgCyTsRFdZSAQ57HcOus1i51prwlqOeTKnqIZnWffpAl+y8rehboxoyHvpJ1arG/kAqZeo1f81mt+mhVmYuNVoozlVf4vR+glDDDXd+rmAM6fZHD5y92spg+IjEqJS8pYiagNN7xlpucmIf5mX+7W0eMEATlK1+CI6IU9DgV81C/auAFuRN5jvcVSDF0f709iDoimn3o3NvRXEJnkmmPfNMWVxDak0/jtSTKYVZq9N0L7AJFvojCap3jum2pihuGMO1Bwtc6o6kHv2qepYl4adtPZ/D3oWc2GrPeRpeWVLRk1M8DjWnqdEjKFTRvhQcsjFiDqWR+EKfyhueWV+9VryBQptEQpf26v2ldRu+edplHs2HiUsWNwodP2TW/R6W3Xj+DeXreVuC0+9m5hzbOfBL1Wae2BSgn/9xjPbQWa3qPbRAEzRQFXLFnluf2wk4aeSFXeQc7LeOTHLh6VuJC0BqtU9iNXYS5V2iBgML9BtnApkLWe6knbObeU9Kh4hISOFep1bwOxx6Y5V47o/kUup1L+9kQ0/AN79ndamKsx3g57t0a7mgP5XZ3UKc5khXIs8XD1y4nos29Hxmb4ffU1KZCX5eF/2TxIGxyzTmGXkitjlB5fb1VIGwCioa50pRTZ2Eo/XZEomznXgp9PqprH1PGbECCxDonLUy5OmauHyj4KOer/ONZ/65XXoLfwiSZFXbdUcaf2KgGRmDaMkPAc8c34cAHnm8s1++BjpQBL+1zfDhm5xfBdlTscPiXWgjhq1jlaR7oFT9sxjtdWCzPmmOMXaPDAmKBUXwJpJliDLLfxxUHIKwlxA1UkHq9+r1xiksu86L+/AFxJ26sv4PGEsFwEgktfKGB0UKWZhE4i4csUVUHlN4pQzViPe6Y5d8B/A8U6OgwRgrPIjLSaebiHu2Qqm+QdEZ+9vgkTmCLLCyDP7EEEzdUan9Ml0M8BC5lF3mX3hhQBLLULDdChsqKTcWsghWB08xG2XVSmtNboG9BG40pNSSXayhEwIoO7d7ZjjDP23Pkaf4wAVhJsuey9cmqb4mJEEwLUX2sW8GfwLHiMr6cyg5bcWnmBzTOGgIWlZOvWmFPAxZQtTVXS3mpaCfT09jCnRFemVyOPMjCAkdqJ8gammGV4ztR7HDFotJE+Ax+72ckUA4yesZQqljV+mY5afqf1QJApSCahlxswAoyQWWc0fSk5rfkCLTv7Z6x5jDJ9EkqTUHytz1hboFf5AOtXQS52VPT0KSvoF2c1dQZJYz5TPW/z2Tyq/FXqYKursjXVBaMx+t/OKRtWYu4vHenad6QIrlz9MLTsaym+nrSxGL3mviYFTzo5xA78ELzJ7xO2vxt9F2nszzYwBVGHXwq1jIE7XDFCACqqF66rVpUyg4xZxGUYB1Ckb5762CbdaVXQIFkfIjAFEfx2j5C2EF/0cdU2cAL6uThSY8lSMj6GyRB3hf589BavwpNGwtyP6ybTx0d6Uk4gxB8NfqaLYBQ9MZDgyhzX644qN4U6OnbizSi3TisEzwnIgX8FG6aEoBdjylyW6P0txey1cxcQGqLqKDAlw1GgvmAWUwlN5g4ChIl0yLAT9kUn4wLJ1ciyr44N9LdP6NWubml9jHXBRueEtRxt4jELd/YJM5NvmoefOb882xlxtCmyzmnZJQHNXkKxqpXISNYnIUrHa8TWeJ4IzE21LHUbEwKjMcfaFhtDRdwBQDJsJNhGjTxULNZbD2Lwq3K+IV35HBjHsGQZOEcgDNB6QBoORLeArmp221VT5ipEg1wefczY16OmCpBMRoQXDD740TtDjtbxcNQEvceImDcR9mDeYAAjuvvNcI4cPhstHiJgB6RDNETCdeJbXAqTcAutyYZaanJf4L3J0evT0wvE1b8zB8ML9Unoty1/HqsTtBME91AzrtyCHee4uivsFYfgc22h1KCeALld55+RwrPsHkd8cga0/Qc9LcA4jWoR6s1jBrNkvotw6cogfC9iAgUJ04iCba243n0Hvv/EQwUBsbmgk2/ua0EpmynN5CJh0n7opS3/UNKk6ChBbyoR4Zt7EdG8H6T94gVaOy77nhMzRihWETLr9qkrH4EP1abecFZCVZeUhD90d62duXw4aAZIs61w+f+5HEtoPbmRmyD/5PAQFBE92uCaWj80QP9cC7Z8OUXpPIn7+jA0l5J9/sStleHtWEqcM9uqgAItDrjmMpGcn0AMMmI+ZlIl3jZhQH/p7+IINIh/SyiRsqJX1Yt0g2Pva2tzusE7gTSoB3r90zmH13kffvnVOM9vY91uU0L8XpFs8hL2z56y9RHVMV0/mO8/so+lprzty4Lk6dKHblj7ZFJnp2A1hftuhwynWRJnAOZFvsNlaA8S2bEFZrBKK3/8YquKWh+L1EKnb76lxvZw/RHcxOXYlxg8twvAsKkjRyIQ7aY92bfHuh4w5qOYLQU6+7E2txR9bqDiZypFRETYa3VszAfBI0nauaDNy2lWeREFa9vwK3BvAQavVguFGKtcbQyoCXrMq1aErLPO8PkAneCrUU+YTiu8UcyPYiX0yBFWdeu0g3J3iEgExbpIsqIXjXKCqZokQ9Zs+t316tAubRZdL84WAqACM2IGLWTbgQsTZ/Jx3klEjxPn/R2XEILFJEbhgHv+QhVjSfME5AQZ+qU/hNgmxXCW6Q1BqDNCkrxPvc7wfvSN/TmsZ+TBlW4AphQstJkXEWLZbPK+mHnqVg/7w7QC+jQPjzI+jmZcpzX4LFST8khXkAON/6vpdnWZHxPRKLtvo2pwukevPvEv/MxgZFoRmW82lBe/CWFnPPARXwLOZ7lJLIVBZ4yfjQ1fhdoswkozbmi+ME0gMQj5VSExIx2Ep8FBm506SPsMtV7ppK76nMGHq62t03B+Ouf1WbdJ1DvSPpOa3yWGxAs1E00aYZJMSRqi832kA7iIbMtbbhWtXcFFXhp/DSlwdem1kTwTxh5pzZs/L0dpxpB3RQZoJPIJrOC9eJJnCCWVyDmfzr7khN9fn+b3cTWa/DxzZKtr48e10luGrTilxUaECC0CqSdvVicgCtkLA6tXXSoTSLnJefMQSmiF15ZRcyNIA81KZnryotVD/d9ToA2vL5rjkVot88zXvsWJainYFT0gPyC/m41bWa5jTUl0ZLiNSKeKTEh3rxkXsjEpK9SLXVGuo9QkCxDeMnzcj9BciGiyqXU5noiKZAkPJcq/etVnCblcZ6Ak3y9GOY5yQZTZZlrdd01C9PVipW4/SNjRvSrjRBz+LVVUPNNJ1lzksngug9YLC/XK1zUMgMcPO7c1FmuI9O0E5elLiHiJo09NITLHFtiKuxSH85CSj11+kAnJA20yd1Yn66QJWdZ3OyvY/tcsJsRJnqYqEoLmoY0WzNYIOzJC8qy7nKiU3ky/xLDk1kan6tpURV3jQU7NNpDM6Nnd2NUdpPcorsTdQmXoc8YGLKTJBf4P5yHQAjzkNpx9XpX4JE0swRPhP2JKFdhjCP2P7HUjiN42/Y8J0DUcq+qVxNZKHyn6tLLcvm4brLqVyAqKA+B5Wfbu6ZptF/iP5grA0WBfOgjeffC+AsnIGXflLqonpuXvh+eFG+hwfbnTyH7GNGkeUiU2ynZEJnJFoViQptRQL1/dDx2gQiYdW6GWxTykjDhWObl+M70RFJ0UwOhaHVLGDLznAwpCkFP1GOwS00sk32yl9+vv4gSNLHywEJiyUo8W5xCEZYrx3GTFkV7qIRgHAZDp+7Vd7NaFfrMm0z3nGQEX+TgqACsSOOe9ozP5x/J2GrBmq66XpCSecdoAsLAQJFyiBgQQBhKrWrJacTgx20XufhJgW4evfKt/qym+xuNi8MkIQoVRrU+4AgGmkA8I8lSzPtAnI1fvN7SZyW0QWdTnLqyaE0SryMhdxRMOX4mylZYQNhVKHhz7i1GVTw0EpVs3dqfkUowsL8/Hur+Gv0wbizIO7R7yGUWgWaaE6OnjdeqWYeP8AKdtQgYcSXqCix4MIf2LNXjhEWEKiH/NH6G8Kpq/WFaSaSeAlbEAUN8Po5bTTYjdynSc7cQYFTNXEMnQ7mRplt1WfgindRRsQuipil6Jm8pGqM3y47mbBKEWboBGUgwX7vlyfF+/W+/Tt65SBFYdhOj+OIJrcXDlU4D048qNB98SOkhg6eI3EXHYEBLJ4ePBhAqedBiSHW7J2c6EoE5u+J1A65cyGFqiWnBiIU8UFC8sMOBu20SOJu+fteheCis1gpYowbYNVT3SQmmz19qm4Tj9TDVtyuLCUJqxfoApdbIdDAab+55U2c9b5Mf9LTg1iXMNZ76AdL+PSjSR1xRy5aet51YhatTbLszK352i1yFFmbr5ZWI3qZNgJp9yfdjT9kf/W2p78ZEybqkxpslkkBNQXcf0TTV0Q+RFFzqCU6WbUgX6CLVf0+ZZtKAY/lSglHuIXx19wrING4Z8KXvooQhQuweoDBx23FC3Mgks+Cokwd39siLqi2X9+3whN+ymN5Axd1qfNbhA2aS/ai/VPeR5tcFEIWmXnfuCjV4xr1Ts5jhFz7j8Au/g2gtIdIXAd1Ys9Zwjk9lURpA5uBMqSsTStbu45CKs4VxamVthQiFArzpCEw+es/8KewgvsYvyQW7ghsx4Zpi9k3yAjHcQA2m5kUb6Pi5cuUzrS4s4XNtJNVjR4Pt7RiG+B4b0Rk6TB5FQ+qJ3Crd2JWRGpF+W8+Ra4/uP9WQ/mjeHyGkPUrWOM5DgrBj4RSqnPhcwzXxPn/07w6Bnc8+tD73LaDsTeIz/NMRecarYQV38Fko9P/0txvMmxiJ4owaEWUycfziVbmYkheqsDJ9X8WBj7Kj3moBrRZSGRZJo35XmFQZkoTg93JoL5lgx/YncKXr/fPdFDvsO4gJ0bG8YKctm6VFtDm/OXQ3X4l9AKgHibVpldwq5QAFEtZwM8XAVNM2Hn93Qbj+G5Itg43jR7FIP/qJKLqFY5XnOJ/AFwS1LtDcO9bkJymMywcoM19gCMIn/Yl4A6D3z1MqXx15zExlGTvtYHXko4QYVNMBAZXLQrgrz9afylDCxZJvAAI7EnnAp3zDQyf8Eu/m0/trNK5Hw4Hvc50R8PR0z8ClonTExOEMCr7oYT4OYoyqpESVQKZPz+rjzoa0lbTZIXI78opwsW9d1sEBBy6TmnpFlo5cRriuHbohKm/gfpp+57L5JnrlpsKXhBd6+576ouTg93w7J+Y7d8uR+kHMJw6psP/i+0OoEPvq2gKq6Mbv1PKIyzBtOuVg/JiiuCdYcH8d/7WXGsgSR8DB5jRvKYWjtlsFs4WfPybDUJdGUuQwjsWXzCgufJrNhvE6mSHcmlezdfatYr8uAfIbDgQQNsMZcxk09IdFVo/6X70ktszCQYG3Fz5CkUmE9mMRdW24Jgs6W5omsNiwsS8vU2vhaXthINg3JBfivSQz4JnH5d1mfHr622yiRCfGgIeibF4XF/IWTaTK4fVbZPn4JMCzm9Dyr8SZ1yTuc2sRVZ865w//ncVNnD5AOiiaLCXj5OCKv0oEyZWOcwaVzCL6S+WTGhHPo7YdE6NTSpN3Klzcp6mjuy8fvYrK+Za2PX3rQqS+75yrP3gV1pdZFX+3hS3wIv3FucF/LmEfLHGXTrFAAPSlxvfsM7OvyI3rjMElteLUI8G70WMiq8owVDNLrgJP+9Jymk3dXzyR8Hqp2Jg5DCgk2yeUAxMf0JM0fw1hy4Qwvn6zrimRvvwBGS+PuUNbsC5Nynn110NmzzG6UUgNdv185tpnO4RwjPpBNMvPTsn4+g6q4pu6X/3d1QuvOMskDDF4tComz1sGwZEhRTuy5xSxxgMZtS/HDMdXv5VNO6XhvAEBgoanIsG3ZophfQzQqH73yVbDshTSVfMq+6uEYhis6hHrwSTZBUknkQ/DyeaGY2MrssVrg4U4G3+AQj+IUSKDyejbjt4GsvSGYstAOS2xPyA43bxOTF2eoZCg2u37uIwF0Uj1zUHdeSiokt0UwmrpoyzOXnqjKNZZjbW+Ta+uZptb4Pdslj2Ekv4rcaSs68MITF+OPbC/O/VDEW5VEJM6/U+fmDDZtfUh0a+pIj8I50G/gXdG+gl7kC8pUyRUgpMa+herRyspMMJcgczNf2SJ3hixNlKZsG7DQ67u3DQ+eWqEhcvwUziVK+glQMAa6nQpoQq7+trC4FDQcUkZZT4Z/NX7P1mo3zswtBN65xRIqNQWOakWL/RG5RclHzuM8deYwNjWeWsHH5YJmvj60Bw13L2C5D+sHTuEjV4o9hsagJVm+qH/fMQBCK+zGZzYNiC7wG59ejGg4qvztKACgRpgTbq9S/bnBFLXyW3WrWnb37qxRI27uqYB9zinN3V0AOw0Ljt93HzUYQPvmCRsBI5XLp3AmSJ1b+Pl19kIT8r+FLdqGsPPTHtVwnSmRqJBPziQH/UMj/tK/OjdDf75t/s+gVIwpWBu3Ahho+b1w3vYrC0AXDUz4C8rS8cHY9cUsGamupm2pJ8Z6TZC97khrqtFCPO5tpelkCVHMMt/ELfMWwgRdIVe2O5C+2LB8xniGyiwZDi6pONx//Pmv4RR1qL3i0Fv1Or7Ton8JEVK+SnC+CSf9+YIcTnoA9Fo0zFWj4AvixZpKcEC4NxDdLHyW17hi0TNDer98Xh2amjdoj/TbYZWia0lTL4EA250p3d31BjVE4LRNz7I7f0dEz/UARQUxGC4Sq7op3hDwqU8c6MtfCSQ2Y/TAMk6WKlrxNjNzp4wttH2L1kXTQ5XYW8Gpj6wQcApS16ewVMDJ5lvOY2m3MMgOb/VLystXzY41EzY1b4+GsW9ZoB9myNUWcH7e0ZxqEFOpI2Vsp+33LQat1nNvVYMrOEIxS+PyIkCuy9pMLN8123MwMssog3KJdX7s61FjaF5eoiOLXnxRMe/Fy4lcFW9hJvpreGbRwFp9QWE1g6xXQQizeYLl/C2s3oqgrdt5qs0pyvDY6FrssSD8q3eeAuJOb0HoSiANG6twShMPHecuqqSBSicDxbAmfLJSQfwQD3lUxUd/rg+g9Hn/rhQlJX1dIWeqyMZFlepGlFtGGPBxUK9detB8CqlUcqrHYA/rUKMCs2emPG1Blcr62lOgz/iqd9Q0AueLT+rCd0vK3jqVyGYwZYSb2BgY73OYsg5b7WzC2E/rwQfyw3dvzXHcFSL2z/799Wy2wQm/tesByqWTQlhlALWEl7YNPWqJnmunqFnyHtvrQRBqVAH0nfjexT6XjxiTGcYp/0qWJuHHX+R0k8n74WuJJ5PvOE5Yv6XAtR+mk5q6XZ2wyKs50gVJPGRrJ/y3aU1RxGJiQBZXx3Th0NDq+TuzOcoWY/TvuRCPTXuRmXKOmekF4JpvAwsjWmGpNzRcrlVmV9fDUVJQfba7z2+wDfLcW0sJnb9wl4JAuOpwGrhqpZ5yKxKokWna5xmmdNCCk+BIh3f35AG0eIUimGZ1wiKHHr+p4pyngZFZaAN6th+i/nAEv4Dakd41ddxbohfNZx1XCoObRA8AjPCeNoZR2q1UwYJ0aDR0ePzm8FNrKPiQubzMuXZGNXaMc5vl2DZZIEgheP62Ny0b6JFLGdXI+vHRtLMZ90kboShu3QQs/HhGcrk2PwcD7uDCwXkVVI3UDYKVA4OmhD5uYXGIkHueSY9Il9JgzAXL2YIjZOoAAYBFPYdkIbqqYx0w+qHWP06nr1MFQQlL2obLGVcsUUHtl7r0BhgL32mMvXCHPQc/42WNHVkCypr3mk6NUkplXMUKQ8b3OFsp2EAUUug+52yRMCrf1qlTjT5aYLgDAUZHlXLvXSP+NNs0rf0DLx+mlfQ1sfGa2GasHpJwBCAQGrtDKM+osLDp/B/rnJ3oc+iAw7t4OKW/RKT5JBBTSWq3M6VSSOLLL3aK0zrihscNL22SDoLOphGltsJAGZqNmsPVAnVRgBTQ8uj89DRKQGPe3tRBKGz9obXvpftwBR5bcB575jRozzEdienRyAecj48SSDeiRGpVUA0L5JhNGUDuc0SCf8OOpmffanLhMVTTvHeHfq/0/VJkhf9wN6DoKInesRvnOxdt2ox+eZWJnshuBB9k0/ALdJzcs6QadHIkHeIcEGQt7eMkzLaJ7NUfRxhYd8ii7o9Z0Xg5++dw/xvggStgWl1p3prCjoMkFV3gNtp2SxMUjIczDpC8cnJa1/gpLAOL2f9Qj/VfZhP4K2OmVYIcSjcUsJL83RD1tYjyYr1T8juFV6/fr0DDghCIiH+Q2mcvXqwpkGYi+7SDvByyMQPLE6xGCzOZ43URgEwZUpbW3uljzbVvwm7Nrzn5mBRRMIuA16Ljgnl1s9eRDm3TaErmfGVtwfAy/NLwYVLQY85H9Cz6MeKm2cJ7r+xGCgwaf2yLbo0nHesNhBwZtq79LjQXQr/hDm2guldVYicKWbpSAERNTOTImcyKLzbV0aHAASV/Or1osyaNPB/hjkxJZSySMRkYmIjIiWI+vn5Woq9+sR06IDAk/mhnnWKnHU8aGhFM/zZ+BOGhkT3eOTwKU3+e0cB6V+INnkLdnLTbvZmX1xBP3ccVdM1mya1ZMK53VDoUuO8ijUuvQsEORoqHXPHiI+jDifJ7YK4Sn9ZmXA1nNr5b8sDKE9tELciYJSW3fJJuUv+c2/CrhAjfv8p+3e+GQcbfk5Ih53lCTqX8AToKF86QscIF6C6RfT2F3z0b3UY4luYQAvLEaEc5DYuvtICfY0MK4z1LNMZUF+/mHwoPyvQe9CkbkHds9wq27TFyEh/7kDNk3P8dsiXBt2m3ETolb7nrgW83Adtpe9ia9oSaXRpW6tH2LqEyAAXxwiI/nGkJPjtHcUEgbw+laADsauHoRL51496U0sWM+wKthU7VzYZH0aEsSirTfDv+j2Q2RI4Da2ly0J61xEYwl9TE1mdneoVjEZvaOzS5utKu0OfeL6x5DS5Y5P2gH7C6DrWhbhyMBCoMCbD/lB0VgDHsPXrI69xEUoQosPSE/gFgQkapL5BARgbC0hN1osQ/0q5wX8YYRKN1U9OUulxtwnxU2lL6ZddHRzDgNmAg8yCHXkaFu6tv9UjuKVtMZWZuHHrxNuM+4ronRBLZ1/+bSMS4HkyZ7OnMk67VweiaOI2eJDyFQRfIaxa6dU28kGir69J7spmvI6FGXLnlaF2iUyJHaVKWAKCAiiCrR7jP4TZIGGnyRPLXAN4jnUKvvhkrCJPrK9evLvWtABuIjtAmAPsajgfjSpUDeNyniQDmIOEe00PqD6KDczz1332KesxQPqUY4NrHo9TjZZYttyF55yLaUNQjQGRpgpK6yKE2cCm/2YPlF46Qt5BY5K2d7Wb1CJzznc80MFFN5+xbmVMjVXqywiTdOUl+joWHQzLWCfn3tq9V2uk8Ni6yCa4S970uL/rSdtFqxaXMig6ykfzXR9VVLUCy1V3Cv6q9OBU8JnJtbwjMryRFfUFMMmYNdQW4bZ3vZoXtda45z19Zh0EB3EtsfVQ71rSZ0lyKTwaS42IPoWQxxI6sHemkiC2+EvMDHvBA8Yl6mmygv9BMwC25yIAj95AzwOoYyw+uSnHEcF/kZ7/1fxRUPY4Md2V2SoCMnIrWBJGlAQb5EfB+vURQlZKOsgiKLDTwPoOkW/Eg/imPn9BhhzPAFfH3PxW1zY2Y67aLrXYrZMcz5wTZZx97RyinHJ591h4usIDc/QCEpBlPR9e2ouruKbZ1fjygREZ40s7bS9GfLYnVc4o3qui6qi5/+0v/CLSKpmASFVsEX6DrvWElvQ6qHHn2W7WhoHyGOk2V6sPw06UDQFuvnaupuSDonGmzrfY4weSSyJ6wiNQA0ndoZaNxKng9+Am7lm1z1tdg4kMPQ7F0gqXzrX2lWVTgsL3Ce+mmk9lKCIBOJyY7o3n37AoIZ42nETaJ1Oy4g80GMeCfk3k9WoNjTLQLvvfiSh63qggAQD6AXj+01Dw1rOCzu/qCEkIxJHGzmJFgZYdk8lGrnNEzwqMlN36ZLQA8fxPfng1qhMBnS27lJ72vV7ze5jCwQwzoit4AdxRfevbQ42KiH2UR0fhJz8FjzSVmz39Lw56JZmv7ilL191lWQfBkPEVMkKFG9svQYtPxp9beMO0AfgOztkb6pFhinpxSfU62Dok9FI0bYGPF800httqgt3W5BRpdxlDcjXgQHthpNZ1Wf9TR96PFEGWcCOWC+Ne2uqsWKtfU3uU7dDTFhP7u5cNONg3rRqYe2wYvmKHlZbKx+KMdCMxncWw0CjK2CcFlF/RAtV4adSCo2snqg0nVMfMLKbhr7nQHji1vZrrpmgVfKImkNiZgAaHc4EDp6LedBomVHejyMidFDivxCG2kC2aBjatjpGEHvNvIgYClxiQDGvFUJPBI1qeW3GRnZqPQ9N0k41maCSJsFPi/BVYSZYgMxwgcSfEtevn5yIDkhZT5i6ilgMb292FOufubzbBeQHfKHtCecZod9OE+/omxq+IzO6f41Y/pzoHmcQNaFo74gu3za8w5f6s+SiNt4O4BYLKGHhOFuYYhTW418lmT+u8ZT3+hZcfA4U9rzb41WIAiXM3uDWNsRs08RNuq87rCky6i+LlYwGrerXUg5CqL1hfoEudeUOHkGw936Miuwqfo/UJoYvubZF6ErF4caNJPa/1HlsDb77tWL+XsO5Jr1KiaaLwkfnZLKI7wCgvbClzO1R/Eh8GAoOMbVLgh9PWJT/uuTLwY9Hy5R4h1psHRf0ekxnf6aAeJnHo3D4BU1mIRuPW8W0sKTEuEO5ZfnG56kW573uvd3nyAp6z8bmzqWih03+ty35vs5HFyPrkpvCkBTBjTter2nwOxBpK38J1f4bqiTbTZQ0jqq7eU8A3kHHclVP22DO8kzXUfj2Br9ThKNQ4O0IwxXW5fCjszPdUDESvvuD9KxKmPQ+fZorp6qxvkcEL7oRkiiAIFl3dWuO5KRd5SLKJ8bvn4czL7EgQReYRGdOetAR1cIfTpYk9Tyit7kL99swI1jCMvFp4RT75tpdvalxF7mhhD/KlfTUykhRQw6fWgDp2YowHRaqiNDHHBAcyRq2vG0REtPrFUefR/86X1kwvyLgAze6CqSUCk177hS7chtCJyrwWfYqqMYWaOcxxvtAex6Ie4QzeB7D2IIm3TY8ljx+h3+O//S47tuj6jecjMi02QwXdE1P+T1DvNHu23y43jfBAQM9/qLcZhfBlyzZJWKO4Ydo7XVeFnHsaio7fUP9swVwqd2RQxx+oMj9cqRO4wq1pifcv7oZqNKkiIj1Bho1WnjJqFxztZ/3l8+leA6+0sUSZhYk++KK2YgWBfKK+TqerdZouhNLk0oWRBMcicvSBt2JOzea3CYm4P5h43LSrhELAPqLyh2hMvWbazFSthBY4Gy+DTT3hR9Khuc68aVq0ce6CUKyci0qGNjVeDqp46QUh2sFKSr1FRPC5V2YY3FGphCF5JOY0peHKEKG07oZ5aSJEG5+o1xeyE6yjZdSp5+RFprExAZqE5wX8I0lMCFwXb2aS7OXOB4T2vzaovfckwNwbRJore5Vi7WakwfwCu8kENByDffeTBSQYdGMBMEgGGInk1R2tzdS+4VtTREUOO9Y7mzm2EkrB2V9ZAoJOZuMA8oDj9wEl7IidwAigxhY4iYeJ7nTaWztJdU5XH0ViQUGogu4YfSNi/pw2YcHieymRmehqj4EZtiUENmyyPEYrgWCEkSRvjA6g6ogGrzHww0q7KKo7h9XJWeDdx6WAXe2Q0OLzJCSeWPayu7Z7GkYvLKpLApY1zhGYG5vEvUZLvmGO9pehzny44Es9zYD2qwaCWg0ouf1Wjvdye+ukjKEtN5i2ChMSMd4XtLi+WPbZMxNT1SkCjwRuZ1pwquO8eiJmTMYmdfNHfjHFgSnrCMYnLQG6sjHw3UZi1M3CBosDvlo60xLzjQMon7RFp8TVtGB9trqUWOJR76JbA4ZAOqY39dcb/rzFSvsUs880wtuNr8Sm/1mul6G5eVDlEq4kzmRnf9l1TzoqludQLuDjJ36Gn1jag8vAJo5JLhHYD4gBYBqQKvz8apQZ5azBfQtkgtEbzW81j3vPnQqyEmhC426AYpWh41FOwNRdracwTj9QYzqz9M/gSTzQRc/bjBcfE4X0zQwLMRWKfFC14dZzJfLEiQ6V+Y1aeg79l+O8Zea/ocQaDad2I1iSJMYa64ikY7r/Qohz5GdyI/Enu+TkkEr9mX6qijaGTZMGbeskOlRUrDNoEQVoRJZIkXDXY5JbZZ0V5U+9jgYO9vbrMiLkQOZPXO4UKChuKBts/gb9IO8kwVNTPu5Qrt/VT0t90R4sGZJASlBOE7xtRTwx1qvHWFIAQ+Qh76kytjsb57RoRQwjm20JlrzDmTaCPwsJl7sQQre0I6NgW+tHm5Ucsj8Vsu5Vz+1zLS4sUy7R0QkMYPXOuKvz46i4B+vyVK70tj+BH8RcY8D4WGVb9j/T8Z7WKCV9ur8J6Mxk0DmEygchcC0dtX6Ju5HMkY11id+7ya1fm3koLFDsgGRPU+wx8cXP50usKVKwAyPVPxEttvz0jQoLpSrWJtRv1RwWNneoPsjH4V1qHWzNc4GlcQtDicgstgMnzIak2jI2LOH1FurnqqXcSxcArXyYRY4/E+InHaQqHT1t7at2ilYNShgLFAzv3O/7A+SJr+GnFX/cejkDNXDvPRKdGAffFpUT07MDJQY25FNFtL2W5ijuoWUm2DwlWSnoPZcGX6laqeccRhgz/klR6GEHYYQpl50eQYhdAiquCebECsVJaI4J1mfAmBVmHk+frBxBcD1iKsGWWTHWHzbX3wmKzQaQpJq+W1Azqj76u3dY8BBNGVSV3fSdE1fU1ujKXSkyGi0rMKhuwWKmu3+Aal4D8WG8Z7uJaO0Fow2CUvvPmJT431Ukl5d2unILNaZ0d/oqN5hsXSIW+QZclcha3okRhT4i0FMy5nmd/WPWHgeA/CGKXF3u8hJBb027SzcA6xW+M8XQXRRUQSeqHm3362Wy7DS8dhk8AaqfAhHoKjQzyt4RcTBXeQJjzTWUaWOyk+sMO9pSvN+5Exorx4SnRp/FoEOYVrm6nQhumYsU+V7ZJhzxtcYst1cOgjyX3uuGAC2yYphZlmEyA3rFUrISCiAcC8ifgNgjReU4Y5V/HVOzC5EmkHmc042FHanhwUyvNzOQm+vPyc69enc7zezSCKun4JPIdemr0wKEBWZDwSVyrIiw0fI6GVSNP71RkNSUtBHPFSZ/RqIVS04SJptgZZLex6fKqQeyQiZ+pktG38mQy7fJS25xYnERuSuVAbKXPU14h2PS59iT5rRFBXlm40kOTK1ste7HIANcrFsK+VewJ1auBS1/CJeA27s43qL1YbUhD+e9IM+YJUfOCCST13hjaWi1CjMc5ZUP/z/u4UXCdGdcUWAhbH4wpW7WN0eSDO3iAcSBxRi+3PO4/SIGOBTNTCMjP3WYxC/eoKLF5vjTRPtyIx7yenxJm+BjmLhQUVcrlobfl4Jl2AWtY9yuRRKXR7psuCLWErpu7Jtup1XhX7e1asQuzxsRsoDGkgs/im6alraEqEJmPU1tD28aYaY67qLjIBcl0GQo9FBNAaj1VA901KXtVQHP0z4cXJXW6EoUcLaZq9Hzprd778Kl4eREC6gXAG34stpIMyL1cTK/bm1J+kGm67QqCydPNziZJ/bFIESkCh5LlusoMwvUpyZY8an6WFJ7l0YC+yas+GkyUbLD15cVHxXyqiCtJl5CRfZbWRciLmEs8oVxQHcHzzD0d/rrwQ1ELWJ9zlos2DXSBhyDc2witdi3JfszraS7L+OyK8vRqJaGFYGPYHJaqhGB1Myu5E+F8fBRFa26hGNjbA86nVy+DMCJ5Xj6Oq1sybdIq4IP5mokbVtXaZZfZeh/NF480WtZ40eWtI94dSeltgd/lmsP0eAFhPHCH3D6lhdYFg6F8ub5Obzh3dpXZGz4RtuqqUV84oHPGvzWRSyNH1rDHZ/pm3b3Agk4GVFIu2P4g26iwSmAZ8xiJvTa5Z8bXAX3TIa8nrPWGxE0Ee30yqOPnvDvqOhI14AKbCXo3u2MwyEwtuB7Mc3BCf4dfq18qzkmj2uqi11FFOuSVvA7sMkzHaOGtUovx7RKet148c1gQUf+wxKCV/8IDdTrOYE3h8T1qvIytSSRf4uyFr8uBoygPkJgYvGqaPZ9uiB0cw3UkpwSykEAlTCMsYkDIp41HAmxAUwdJ5IK7dI49yJHJXMLIIERneY8kSD0vpOHTukvvxybxv7u92rRj6K5oDwBmVEknhAjBitsKWoRJeR0eTTS4oIA7smi7COmngCTPkoEUSMG718R9uIxh6ELTVIWTWdD0LFUNCv8pKt6kgFJ3iaHE15Hxlp7z8ZV5S69AcrUXz0G6IcszIm0+meTyJfESoqLcDYMOphPS06RQ2t0+5dgI6QLSGyhcQmLP0LfYWMMGU0/oLiU86/sHFtjMA2/9qCCyF+k9wC8Y+hm3ZqULfpbk+dCnnlvs/Gow9I/k+rYDHJInCC5Y4VWFz+Iwee1IImTiaufbg9BWhoPUOFj+f2IMmaTury/kf2Xawg4JKI3X8qpNGjTMBjQmOsmffcx6QCCP2YATSlCCr/QA6sZ5Islf3PcbIgCLXGs6Opo2rBUEaPDOalKVlYARofUPMqxHtE8z7L6E3oFs+p2loMVp+OY1yL8SkG+wPK1j+r9YeL7feYKBPP/psVvo9nyd+6gYCYjMn/ji46xz5gXwMiZSle+r1AmTqXjCrgpsHM4UHgloBP6ntwpTGgc3QpwMWEylGBL+CX050jBo2R8pLkZrv7GfXit1/eHiyjIXOQmhXbvVIykrQxwhuTJUcs6XQIG/9W+X9kfmT5rxc00IZ2y2TksVKjWv4Q4C60nfw92IewPbpUE4z9h4BDdhNGvZJ/ktKDszJCAbO38NIr63HK0XS/HJRW1NirTHGsHbyenCVfsjr4JJ6/Jm/Zm8hRh1k8Ndc7LprVisamKMW36BLyqJCnUunSf+ndL3ZN8eDDh18t8flPUUYqOMU4GU9J5Ov+OzTisGO7YdEghlAWbgSuehKTHGhdLetyi4pG6Z1tO2p2UqaWmaROzXpIz8oe9R+SIUFtnT4zrU6kkIzAh3iwuvgUvUraclu0Hoy2X2X1mE15+LoXKeFn5IAA+tzaL5Av66Xa26V7whEjGIT4m6N6mPhrHE16ESCxRVQ7tTP6QnDneqI7zr/e0xUWdZRAAUtaMrzT1cMA7CsYRXN18pv5lNxWJO4wLiZ+gCtTGFKQ/ZD6iiR1Ca299IfWdmJoXSK6SvInm6kJn75Ae2HABHYlOzTYuGWDE4X3qVjO/Hy4Hx+7uyQa/jPHrGZzNANCBXj6IYc8aG6t8seQGjeKY2xDhyXYMerIY4Eilytbw464YUkhwFSvSCuX/LD97c9nlqaY4zbGBv9A8Xb5uAb2H+X9wiIGqVkgOQlQGCjMTsumEx7k+3PN+3z+EbMZz2OUZsVHtIlC5/9/BEiWDp0THKv3yAv3ScHnligtU9V9LRDlRYu+ekBt98CgFk/uHccstqUroRqDN1EsnOqYPwdYow8x4K2zl1jIWalymP6GUEidTXIgGJWuWQBt/AiMx9HWpV59eG1uEg25eLK8VoCvuKBxFh0syeg7E4vE3exis+ucgp54c6NgnrMvJt2MQvm3hXIuRdmsmXfjK9oKbI5ZSZD+/DDEguIFjeSIfCw2ZoiscLidaSdfjDw6r1n7+Y3iXf6Xi/7TKrWTlFhw4ApjiZn92BrqAZBZzx0kiAJEKx2LJbgfmFkBHnfg7vgGo3xcytmkcaF6GLvVfZ7A9ZhcHniwGT8Zdx1O5QIlri/ZjUYONFbXpNsoB7sVGnMQ7FQmkE+pFGgKnggkB2dnpfmUkDtm0y53gsCUxZN3bJYRGdDUZfxDPSWUzPhTTPEZMOKG/SVOHLqjaHPkATS7jYhgQsM9pjHEds5IfGbZ0wRdZNKjbgL7pfwcy68v4A7t1kP8cpCmM87ZfvsJHPmoI3qMylzJMtDef2XthUjeSEtaiV2eoBkdWlTLL5Yp82QytVwHK0LwgDt09QLWn1YFFogomYuIVp98EB7uNgJ1Uk4e+qFlMpvvC6yK0DuWuJ0u1kOihsvfdPsNvmT2nRmyUoRyK9GT9YvVDtVIbwFN5zmTwGmUmmvaWlg6JLNNjXsD6fY3OfpC2yaw0WLxS1mY0K1LGt4vUUaX0KGpSHLpGvYFKL+7uIz/Fy99NQ7YvaZU+zF/m+PaAB7MyJ4NbiAF9TuIo8/noRUmbR6eaSzoJAKDWoSvrZBay4BGn5I2iwZ7KEhj8DwJSBps7wynq5HwKIOesl5ALk4/TDQZ5oAZh3Da0TrhDbcGccul7o/eGdyDrwXq6JMrQRJ0hcRLFH04JxIk994kMAqamv1kdpSrSMmhOd0bxRQ+qzLJYh9zqCGHz61pMrveB67/X85Vf83r4Ck7RuQNJwj+tmFTUcODnQmuTvby1AHbUjvplwCLdNxU/BLFvflBx3r58Hz7bleOtXe/QVRxL0eVIOSGm2PaVfkZ4a8wkGaB9datOax+KWOnDgGuU7YrTP5J8mnFtH2q0iAkj0Jy1ANWoS1b2n2xn93BTX5Kj6rOxEql0Lpmyw+ajuAQ03ErruUA5sjmmv2RJGSbw1I78KkxU72HS+GrfHWaXIA61GuK6AXr0PRbeZnvk6Y+hswO6d2ruvVzbGeYT4Al8cOo5SpTUSLO1cCDW9cYGfUESWnvrHDQgKHXjcJiosthlYbpY6NGpIa7gVxYgRsvCti8JE6dVL27SUcvdNi7dGsPg7c/mUyCHdo2nUdVtQnfvviYBlgDmJuROv94ruiHAX9le8QkUmRIg3JKk6HYyg2tRRsNpeo0M4lof/0GKx/HxW3DdyppkI2Z6QHFB3m/DUNQlI45vcp6ihn6LsOzpFQKU2IcZvY7iDPY9tRqoKs2va7lYJrs73IE8484yEoFyC7OUdH15S5qVhDw2mHDlC8/hVmY4XoywlvpEI7Ms6QzxCm83xhXCL4L4lE0UGLQjofPp0w4AiM2RGkRk7VJn0DCHapoSulS4Sk+gBCY3uDIVCevhuzOv5PZVsIDgXvDCFeksWVTo4+xtPbSxTE18IdOAbXIH5jQNgm4luuVDUj1hIqi523+BM5+pwj5J7TSz6PAuK32M/0klsMOY4Ps4+YWwbsUh1LRCLjzVJGeTTM7WtCDV3bRro5PoWJUHfh/vSzxKYo++oet1Pxwyr8bVZNYm6tEJEsppVjYhvlqEAs3uwKQcyaUWHCeiU7zuQGyIjUKgwNzv3TUKc0hGRsPrTbA68asSYl8oNji//lb+M6KQHqSVNjOxvxtWCn0q9BDpioxK6SXbK2gSynCFALYpculsC9dDlzUCBxiHq4AoZOckAWGk0fYROeW7qkAcCWlTShO9voEeT45pn0fHBMb7SeUB3VXqRHF4JYszuiHx4AEx9uQArmZzaHusNHLfvc5XZEfB6O1qyGkY9UfMzbpO/Uwt49ZPi+Gaff/xn0UEAETh9sIW7+35PKG4j4xFIqooVtXxgDGYcNa+Dib+yXX54bHh4KpH7H9fC24wxpCkzaO5NDyv9umgACjeqWSBEC+hnpC7EYWPXGE11kiR12MYpWDcyAE9F1CaNbmdv5wj23Ri1soBOszERUKjTuxsZzLCd2yJGUISrvad2TufqmRu73OfSOaKO6gFYOlU43OVchoOtLYfHgQUmmCm77hDuoASIHTLcHHNvCWn1aI7W1d1p5CdEJsraQhkyPj6iWs5fn6uDJ1+vINQKbOTH/z961Z5wuV11IKO32U4yz9Tqg4so9rmQTy7J8ngpNQxFoNO3fJRxdXKaqHtApk29KNk3iKPDftfn+R0WegaWttZxdlIDXCAvi/2WzDrA8SnCmlgAOdgXLXUUTUuVtocaAioXqlUeQ4qoOdCs0Dhv+2gRkwVYzlmM+1l3NHDv4fWq9jLiil8AoKVLqIEhdveoM1kwQIcuLE/aG74nOMpgO42dZ/q+/Xm61EVPGJylI0QppT7PPgqTVmseN62AOfcyGzq8/O0pA+tcEV6WPTjMsmtmUNT6sfBG3GCCacFPGhot5c0I9rDbPxIW7ji9A0bJHMmITgYeoBim2D3KYLQbJIC0vds14eIeKOTIUhjedQvLrmilj13R53EBaPZ6WLyIahkbsJmTO4rgz7yocuQ987gWYrbMWmmFRT/0mKDXXCQ+LanJj4BXAoCrgw1zT6Xw7lcxLVc/VKMry6uXoUpHqutyuIZ3TApXspMYTgarBJ+Z+R+kDm51js9zcM3r3ug6f7PUT0RbqLbi4gM/zx90Zpamc2ah1SUpDkN441RjIU9f3IW/hBug9O6+l3FoyAF3vi4yj6H99TC3TOkAikk1py1nY2YZU8yH9mvwVlxbubGenlw+SsADc8npAhhXFEMhZCiLtUaDMvclavz7/6w0mEokMZ9RPM1Gbwh43d/12bVqIsSDVppN1p8Dr0Fyk4H635+VCP7ZPd7C/0OtMkGKC5v1EFTkACKlBZwuJN6jN90gnqc0BCI7OkTjukRV2GIHd7BUADKmGaBLi9tYxfES9hpqtyVL2FviQtkdtHSd+BuYXYyQ7XWmVtFFYC3wg4FUJks0BQacqW5+xxNvWuOv9nyao2gIt5a4rhRgNfx5hr+p7yBnICz+IHDPbeNM5kDojGDX2mozp8Z8YdWzCw8u/RhsxdUfxuFQ5SP2LnyZjFG9X+6LFZ/XCUClYVNuR4NkBfDRPG5LEhVIMFhHIZDt8Kc7WnKA0xMRrxeme+S0XQBXZYVNwa08bYtjEBZs6+/fLYAZhEobEM3RpQCDTxQ1QfFYZCZJO8p58Rn2fGcGE3qBRwO57fYzqcXo0Z6NNxXULkj8Zb30pqhJKanvVfz8pZP1iURHDX9S8jXbZgRthbo0xXnZQQNaYbDNECrhItL9RV/x+edMwySWG5Vv9su7hs6bdnjX/qMXyNDmErzASsdb2gg4rnPzb6zZebiw5LJzc1LZmVmLv0sD3Khr/t4kdytug+jg8i8fjAjxsM7gTShzPobTZjag1kQSaXDdJ/NPI6GBA3dbGZ4smkV3ZToMXqDIlm1vdOUhfMJJbl3jTlg84Xupppjxk9W7iFLsDmYt+JQZFHNbQedzLlc17roaEhskHtae+5ukEdfaJdN49vr3cxwBII2j7tN9QETN0LrWxR1ZTlxfBcvVzA6VR76pfBkz3kAhWNuECZblB6MK016oejmZ6POSiyY5S/LpEZ+ErTdga0SpCqFFAVGkr9vJL0nHtK/tkcZ9vRG82XoVO9hkHwt6esjjxakL/mKAKWihdn2Kxt7gpZNKlkVJSPYNOYRYdlLaiehiece3+3Z4CbOPZcPn6V03MAvjAf1v8A4bfu9O0zOXbxGooPIoZshnswoWxokr1+n1bDQ53XSSSbkT5xh/7Ne459L8I27m24q7hgmh6PYPa80cLpbyu+9q1Fsygz81qj4SVyGSuKdTNTRb0Upl2ERMdW3kREoyUHLfa1ieM6q7o4sZ5eQxg4eZvADv0+GpH8Zv2LpmU5K+Gi7j1WmQVeJyd877uJ6gYdymBrKc0p0ZMACrHpBsBPyiDlW6O9WXw7kuxuQqfqGGNt3+C+hfVdDt6WjmD8jXeEOU8UqdVe7L61e2sCoKWIAB0PWgnZxZs27dfdgchEAt9XMkF3jCufKAVqdQN01OsFwlkKGznQAX53F3xMZO8GXGiCfLzbAqyClGQKYLNhkbirJ0Jcoc211nVk4GvwW/mLBFcZk+kqMQOeho12D5CZBoWAmc68Q2pRN+WVSRL4IcG59vj1qZwlXT+jn7/GL448i/dEvbUaKdO9pk1hXBjpKyg9uB3fR74cF1GYfLRsQUbx0yNe0mcmXedDsfQyPwqp1M4KUC0eI/R109axJruTOttdR9++Q9LHbDnyMHk0zD7lTfjC4jyHXvwfNw8yBpJLhoqokQiJS/TikgeBh7Osabc6/4Cps7RTdWfbrT/sdeGtJUVreByO0qP3And1OVz4LdXHpCMvOhonPcC8REtQ8/oYjMUdf58FWF/48iZ4HatZDwTIhp0tvo4qO7h3zTNAWQlVPCLuhWfrFMz1IG0v2xJykU4TDfVkh6IQVp74X6x/L6GMPl5Tc8SurOikE/7zxf9gfjDhH9ZcnnBp1gTZgHWrx6X2eV3LKG5bGC/guj+eBnDbdk2jxFtcpr2/3Lt3YK5Bb7LhEfhu2TKDO59u6FCFsl20uzlSWhmsiN5MixLJzkBQgzoq9vlBFIMkG2Ng+jcDVl5uR/Wzmla7gfbPRuvMEfuK2m02X7enRaMQCDwbcqlwqmzJqZ8rAQU9yMTgWbzwQsxoX0nUcsy8xIx2MpGrepIuOZ6IxxKjFaSRH5rU5ly23qohORGBETlv4zC5mGOQdYi+NlLCzh0H2MxF2xXQrHlM36xT9NmZ5PB2D1KMkKdLNxLl1P2DBQBqwiUutXFOqayibUvYNkrsMOvo5gNnw/FkcXaahC40tumJ4yPUiAlAXJ62SRs5KWKFlYSdeIcY9DmDLyfhkCh1MyCNJLpmT73vx5RH1hEhiFDP/XMS5dhpp73HtfkNGnMAYndvXcL+lW+AvVEyu90c/o5dUYZc0UIKRDhP0lGtfNgtWi/jED9AieOw+6S7HAv8y5vdnqKd8W18grl7BQltHI1pJy2TFxH+GQ4m9augofSW9fU51uRi/TTYl0x98APZc0FSFn/jwVrvlKCZdJnYC1S0DpiOI2UUyOM5YQSGxN4b7Y65ncPa60IcS/R17RcnvQCgWfU0vScEjAtQwIw9qvPOLTFGJqyOThqCNfPY1q7ob17b4hXQ0Wu8Ll/tnR4unuFIBHRKWKXLjRD5pfqHXQK5cSciRRn0JDI6tUX0li3cfACcD4Fw79QUdDR1fvAjzVCIzdGBPwK4jCEqK1D4VqAEQS53dBaLWoqbHg8gRVHDgTatPWQHNgPLAY3+NIjXaFmml5v0DvTh6ua4HEY5QbizukKNByzWdurLiCG5bmeki2YSLU0zgpHAno6kUEIuKqrG0p4n9il9Vkm5SNALpsANBmr+f1LnDE14ti1FqJ19eHyrLD/p7PwRV8RRjnVnoZHieD128mJbsDkptucOw+DLq9GAkPML5YTT4lqq9GGu/lLTkE5PtjnsxGFdwuNTtOW/oBuVraW6MnR8gB6MrNZMqRWYBEQvkO+ICCLUuKSyYtzCANOH8+dzjs+xWnLzXq2zKr0mWxpNcn+rguuOF6rMzJlDaOn3nmr942FOUJJthJBCTbc2rkPvJE+2d88f9Xel9gIKyabKfv1r5FJGpcLeFShwrStqET1qkVLbhFGRKvCU8bx8CB2F3kJ6WYwyG0uupksRmY0sTAJPeDiTfDPcPPPm4ZqwALZAUzzIElg+gyBNc6jb1xpp12CpZmUbtUIDqBFnEtJeX3UdhnPQrALwAe9MWeqYQkNgAWxpj/5tay9N7SKClj36dt+NE037fSW2nnd4rD+w/UsNB1kBILJ6F19UbwHKKsR6KDFjY0i17CUrqUyqPv71cq98Y2lXChoS4vQg1/lanAKLtDS+7PHnV1ApNZnLa2SsZksZJiNPliHU6wEepLOLe7fJ7+r6DVGBJm0EvVjJ4oeHnCR0D2bdpVOlpgYPxDtCHPQ6w25YRPlGqrYalQhoYll5UPn/JiTJXLkahLWfYPPZKjytHjfm0Wztuvg/JTBXxGCM4sTd0BvlK9If+LeNWESthmzJT9KO6FKuIRKNw6fTAmyQXx8GMLjddhzlpdZzypJCilxFj/5tqXi451IuSv52PZ4xMPCxe49G0QH36t3FNGyubJ9wZM+Un1rAt4tGQlBI7VXtjrjyu3DxQR5o+EYJAAqeL/JJD5o96zJYulMOVcUE2BpskWApzQ49+1VGhfyo5eAAYSM5DuViR+OzNV8N4cii/hv971nOzY30IwapWzSSLT0VDNfskWMobzt183Eu2qhC32EZO0fDP5uOlYPicLoC1eT6YhPMNFnoCtF2+cMMXkR3LIa96DQ+aHUclaeOAOuOQvKFlCsSDvjg9RwrOlm8fsricQO8rXafjsXTitEF+NQOeJdw68+QMRcKpHGg2TxzZ6w6DGylon0QmYqfjp0w6BVvJwuLcFxWqcyJ8BIxyw8iQ9Cc0ZhLmiPBRtQ8/+v5vmMyUlq4ug8/Xv3dJHJtBQArgUEmMVHBPhDLM23o7FQaDS+CSydgoQb1EylkSHZl0+k/Zcb6iqudh8VlHICq6XFvcmRRXtXebiqCDM3+/CKd0BhaJHlEJdB5YM8ede7PditFy+n7IDGyT3VYRwDBvS1xdblWDOXIpcZrAW512am6GpW7OIIRnJKrS4Nn4v7YnVvunF+n86wHpMfyVE33z0ryq9yp+K05H/xBT2gsefVgp6DqcUdZAJKEnkdoZImpeJ4jZ+nH4DYwOlvVE1+hCZGiPGxomRVP35cHL9VeoPbTARtrMHX6FiJAJpdjUKNG9imNgGRZtCJRCdZc/rvCzuyC6fuuZQUjOrMq65HZRIhn60NYdt+uZfNdzIRtmNm4832NAF/6Jud2ttg6jCbe6uip9VWwVZuHjkZL6OfwJhvSYQw4aBQe9uerdxnDL7yS7rFpaU0EN2Sv6Yny3+TahmTMRuhGiCOPYxDi96uAO6MaKLPH/BSNtwIl2y9yVNX9kzQDNThR1z39ySx6mjFby54GvaWgEeUu1Ej2SFkF+pNsgZRx7H2FYNlstL1zmVlAh9N2tYe2vcsvthhc5CZ2myUJQ3j45ouiJ5fl+dhzd4xmnZ0EAR2gQDEJaSLNwPXy+0ATdnuNFEFYrYsdJom7MaJpaNwt2sVBmCslXYgnRPRoRsnxirXk7PJXnf8sRCYsE1HXvIYAPyI4mVeJQrIiRwXNAPB2YHGppePeLcDme3a2yCUX2CP5s7vmuv55EoTVKLA0aV6rNZTscrY62Ext2XwdQN/yu+VJio63ZAc2/8+0dh4olEawOqODt4Df15wa5kjjqD0YYOiYlh6XFkLMrqZFFyxfPP3BqdGOpqeTo5jzFzr1vvA5dbmd/RApYs3iCmFvxWoMeSiwgQdsB3czRQApuXjsniuFWGtml6MNdatP5mbq33vJDOj4xzCwz//SkoBmtUpu1orX+uXKEKc/nnX0QISY86o5G+GmWZE4mFYzU9LH92d48L9U67FXlmcNrgff/V8pSZWjbb114SCo+JqPDIwuSwOE/aWP0hzYbXnB8sb8cvOV3VmFXbV+JxH8k5Xb585MQQvNLnrSt4/gdhcRmjdDXoKuDRIxQLUY7OYSjogiyA8StJYwb/MP+X9MLxtxgMHArILqUV8XYifYNnuQVCxkPc5SlAR6T9FnkWDjhNIGdAxX3n09HsKwKwLZUkCCJoEul/MXsz6RkHFS7cnjSy/yr6z7rnAxtIcEhtWjYKzXZVwJuTdOUtPwnf0whi+COfWCdtqZl7xQhgnKzcz9H3iyRiVnJL2klWHOUR1Qc6qhbrqYvkcF7RqotR77Q09IjzecO72BkAfsPvp5gNCXx8m0r4ao0s2FQsPXjF5lqR9o98QjfUe3B+zF8ZvlRVEn8quks7rW6mrT7n51ocPZGN4bkNzx3LRT473H7XiS6ucPa7UmssENnkhFJ1HA/Pb/wKKWZxDdFebIgI8zFD5Gr+8ffj9m1A1f78wBvMIYYPiqLO87IGZgx0r+qdIzY1B2ycIRyh8Xo4qNLktR8I3+sXGb7m5VPAeOrP7aNPf5ZxnkYdMbHtOImlziqwEotHWT9Dzys/Vn4Jrurq66X5D2BjVVpgAPLqQG+1Mo7NeNn/f4Ij/t8uqt+FFpUjWstmAcf7kLFJ8DdUcWgXSbnqNZ6gUP07FyVacFzryDXcRb+YKwZbEG8gD7lDszUZiCQHbPF0MtCEQBULvLF98zdKX4WN6rofzkeDEy5lT6H5NYNY87QCBCxp5ggdvE7zqMgxG/gU0IFDJsxDGAZWKRM/lxif8SRvatxJZ9WIC64AQa0F5cslBAIKzYLc9T5HRx2uJrsEq7N35X8IqIBz3ANzVtp7+SXwLOS8slnSkRYb/wupy9IQoGOIrhjWMA35wbtZJXlJ46d9IZd2KhitGMkgDNOi6oyc5ld3ao3sVo4woSla4SfAO3zB2AKE1muNCH5FqyrbOapcL/qx+zuarpjpWM9OhRMIFM4kjc13f0l1GmLCmrroykgpbggAv2UDm65G3noqRP7SdubvydGnRcUFonNyaX8lHPm+sJaTXfjPInNfQmM52eKs0Rqp/TUDweGCPCs6fpMsEen1m0DQWi3tKmwQeogNSrAXgKr+X671oRZNg6B9R+r0oLg1qfafztDdXylk/tVemYp5sB9EhbXrVVLCXKvqDm2HMEB9FpiG0uSsPZXvtoy4uEU1/LcVjHiALmBFaL/pNJjC36+Nt0FKyWIyjC46s5t8o0HRXSagvvSusDdNqiTOX+FA+WATTcpkdhstown2lOit5wtWucqCusAatM+NAXDsEsS9hmSUAC7FXhlcnNggtWhZINVl2RY/8U8mAXb5OkY6fy403AHCQpIQKaQ+f1n9ehcwYWflAxguKIuvTReh3za0jUVlSSux7rmgha0Mrt7EJLO3Zhh8jd64UJvJte8TA+rs2QHVJXoXyFoueamHdYD7Tc4dOL9UG3UAHrm4zrAwiquomyCeDUiQOafGpEhy7nks3nvuzyTOd2UmOydOIRZD9I6+ndYfrzw2xQ9NnZyY7IRNTWlqS3rljpJxRtNHq5XruAfj0cLId1UlWHPE61UUlxHxaXdVOjlzQSURVaV+PxvWndQ6fzsBW6V0Z0AsafEFhKp46vOCj20jXaBoPZZsFcrGcvV5sbHmG0hRmX/yw51E7f/Bn2nJ7tRbI+G9mUKg5ZaphsN3oik99uLWPNgNG+BU/T5EqT3X4Z0Ta3c9nAq+ZET+4jsMuUfl47sdFkm0a4X8t9QEn6D66DJoTZF1C/DLoPlY0eLe/74z9xPzK5CuRy27+BJayudAquEdCenEwP3Y+rUYFQ9ddhcp+Tm5n4at6AzgiTC9IHexdTfSql2zyjNRYtDQkSeBzBIqjZrlNiYFlsAiJv4VgufSaX0PXSs3xqDteox+YOZo723mdul0IZxWFW/r24jBZAI1wSJInLyN+R02C4oUWIn9CF3etv9f3Ai0vMJxKnHBkPRHOHQO0U5pvh15Nywt6mUDQrOAqkllXmoiXg0GsMpcY/CNWH0b5sNdmFQlAEuCj7r4vIqwmKjEJrz4KzVMrCkU+p7WrLFu6urX2+emO4yKNE5sRMCsPbeigJtFSGWQaOuSHQOCAaYxQkNxqR4AtjKXd/oD9058vWjcIUu96iuAdZn+DVDv/C7MSjgFYWxrp+8C54nfVXiufu1EvkumRbV7pYKU8/GLip7XW0xiYNTEAJUKECE0lhifnMA6wNh5efDHPYS6aN67tCMh/1LvWkmIM6JjQWxu8SEmJ16zFYDhEJfCYF+8CQaW52KAhRk+CxVPMev16qiEEXoFEYXKFslNkqb95SWy9dVsw6zcf+tfxuhZzGdfrYEwuX5o/lTLpL+RHOKB1lRHurBAUjXwwU1SlqDPwilh4uZwUz1tKQVuq7zPLbO1YTFOQ+mbtstau3fuTfT78eS56ht7wyCDtjlqypKWdErj7oaSx31mN0ZPwddI89fDMVoqQJGeDAOxaIpRQCb1mhtlM7jHtMlx1MxQZfq/+BExc48j8kBpVE4ITyvkEl3NnNB48QhY0jH743AWpea0QBiBEn4jANKclGu28gyV3XPcFuEpj+oalwrvS+KIzJ/zvSgQpSWl921EcKj1jxTtKHVu9xT6bdxhXJnvR4R9uDYMxnqMaQAW66Wp8UNS/QDET7O/vU4Woxu69Zely2aVosl4Sgawkpm07Lp/qWesuXMT6HjLShPdPMKGmVvJ0M4HBqsJDv1EvmrGiRJ5ibtAFcJmlSi0lHMqH3w25+Ey1ruirsGeewUAuW0lsHx4mK8WSKRlqHHjZZo+NFS9hFISZs5e++0zMNsiWorAVJM4ML7Sj0CPMJnrJyRBwqBlUhQWw1e2nQqpsr5S6JdI2SK65zHvHi0CREalAbOSt+jdwl61jbnm5OZ0xSL2hLw5jausprtZopL/JIyGtwYvGBSioesIQV1lLu5xrnoHho05ZtR3jqpSvnWyQf3LHak8M4gqTzEb+vY9u7GJfnn9rXZGJuXR6be+pd7vhyvM04uyO0MDC1Zqf+Wdnzg0zQ9fLcQao3EwO/7NFVixtvdUfJJG2sdqpaVOl72ioMFm2EqoEbzHARuCfceigUZbMPYu3W6hNlmha8egt2sokUN7cE6+7wADvaQZEWENrYQXOKyjoWVbA8uwx3pVSgtcfqLra19smsDDDwP7cohn+bznN48XEH56O4/ZRHgMmxgbNtvZKTfLyC9ExNV7p5wuC/gcAOOL9oMmT6OVVmqoxgSxwYlgIh7jmDMt8CGZUPJ2ApLjISQjasmCwz4UldVOZgwc178q8CcJoT6TYdry8UmyBtKn7hsV2h3whc+epJy+dDnQ5CRLNBT0r3eLJ7TXpmBA2YB9Ocjs6PfkNx+Un4PYYV6//GjZ+ik9gysKnRxYy/FCvpGPuKOF4nuZkEUbW8SWbV5vChqOh2pirk91mweKj8Mg/PNJkKhVydBT2k+0VQ6Pn7DFdmIJGxj09VmDaoEMXanZYv51oUKTH929Vt39oiXHz5Z5jk5RYGFBOf+7CAEqZtLq9m7NOU3Xvzo9Xf9UQ5jOncyvv+r8FEB3kzfUkTowOv2fGY+UYbI2e9bVPbUBs5qN9l2JjyKf/w4QUCkUSYg2Se1NvzS9j6vNgDryNtHgmjTMdZsDR/AuqobOANNUddmz9Vn1YO29HpyPEtE0GAO5egcsM+FzuYpBAP4I6BYW/SrSvr3GbE/0C7hmv/NeWjMDsvsHYvOUQRu7Flo1A0tHkfGffVrE70pSl/eqItsp6h24H6lNALdUIOUl+AvwzuWqvUU7Rc3AsuWGLSrlgYYWg62YmFNi5S/oxXAYwrK5NZ3ZenEZpQmz4yG57ADzXcjCuekq43bd1C99aP2Q0+P34qKhaw/o4u48sFjBhMaByNpIKU4E1fvhvmVUKTZz2wmIXSKD7nTpKF1k8klZP7Fj72s0jlZVR4w9HQ1Qos1MjkmCkFafJNBGU4thX95q5Tyt6DeoWCZp15OaTW9aDQPnUucln+UH1u/7GRbjRl0Xd1VPVz09dXhRIH584W2yBuimhEnwgEWfH9c4geR3cDQD0mnrqoVGbnGaNKnmKeQASuEzg2hZ+gjW5xlJipYSAJA9Z+kd+hvTvG9F5a/A6s/ITEE/hPQTCGKb/tUgR42wq0Ii1TAR23lzTEra3FBJ+NqfJZzXAS6z9hAEHu+76vqtfZKmKgz+FPgDdZhKdYBWshHlc1z1he4esSVoh/yCIMywZWAC1m0hidLHa4SoPJko6bdM9JWMG6wIFO7zNrUPUWJorGNcWjZhta3D1SqAYhWakM2KEEmliUPnYxrvQ4lQ1yfQcfZLqjtRzSwdFPBhbayqV+taeCpA3ob1GCxUXIgd+wbSA0UmcIQS8+0B1V0DaK7pX6bK2O7ANB+TxkXrDEhadLujNpH/Qn7jurTu3+TZD9ZpuHQF7mn6DL6o/u2wlWg29NgtsZlEhRWXrYDVNqCgiWAFbQ03YiePIgBYj4va70+fZky1GuGthA46Ef78EkeojUlJBH20TuVb61RspQ+QGwFLE/+ZTtNBgOOidVW1oZwBGbvrS9lnw6fsx8/xYFgK9uAW+0luaU3QX0s3TQR6jfcDEEN1S4cv3Gh0tKZ0E6xWhdUebgs3g3URJEkY1jXXpEpP6Tzeqau4/fj5JSRuR4Dq+TkcguQkxUxNiP1DK7zthYRG5VkyWLSKtuvDWo3BYQc7F5dnxjj4uZzZcmhabPO5NvfG5yBKNxbKDp1c2WHOjxNMULZXaJvhsekKERdf3vKolKSMwoxPbaN9cjvhj1F6Vw8ErR/SDLed2NVJ6TFmGfrGuY2oU+4F1lbT9kVciLFZBFR6ACMWWW6mPrJgbGSCL3v5VjCFsVNq+QpTnqt6jnmoOm1CIomlny0FOK4Pa3FQIdsM/GBet050jZakKU2Ktgg/JLi4+780X55m60fTdsVWPiUYtATAtrKvzcvN6V3kDaub3yfhdo4O6fcjsF/VgWiURndGFsestEl+zanLWeFi7xcwk+YgfgaNQYmysKiZyJtpCHL8d74qsVLK1XRN6cE8FHbRLHW8xRIGpkHZPTV1rLOqj87Hqwho7EdJUFM0dn743YqjwG77Q71EGcS1RSJJFwxEAxnQltdkRkwWa4uGLHThf2yXcXlL7yBd5whnD0N3Kr2m41trkgJTCC8XJjdky8nADek6Y1FmXM6wTHVxBw4eUub2dUf/vrx91/mkbHC7eARm4zZ/98A/VKqdx47ToieeCaxsbh/BSTTWM3dI8OeyZtnhYZWtqfZmbtrxp5wBkC5yVQvKLsLXIYAbgu1oGjJDvZ4gO4miH39bf9WhRa9aj0qOtZ1AaEe1pVBDJa/RTkGvKfhhDFWZUBmMpUfVvneX2oQSu5F6p76pk6YFlvuKWayoyujVioW/gy0ZTc154bi0mLDfQYsT+XuPQApFz1bbFRgQT5sg5pmp+FHFgdJ96dIbdrNt0sgIFoCQx9XeShtmiIv9jrWjMukukjNK4dP3go/rE9ckE6DoefxCsBv3bQxs25jZOerQgFK9rVqrD/L9hhaoqbw4rsD0N4Qy74z0ZBF5fS1ywp/RBX+fxp3j+z1jGppYdx34PpqjAwg5wTRx9XQ7yltyc7BKCahvLY/ITozAI2HmMf0nvyadiqZf7RBV5GXGPgZnSXl6DROpyZgvBf+d32UAbcDdSMWboThHJ4Jdimz3OgFh4QSgIvUM/CXltgXy2lIIdWHIbbzOkdFyt/YqkO4eZzd6uKu1olHChdq8wgkVnwo75jr6JJCG/Z5+GXBJzVDciXgx/I/ahe7zgqVk2Sms9UDjPJLUH94MITFHKtW1RshA7goYwF1deieRX7kPEN1rtvu7cb51idQRBT4F3/1rCmuvC+FqXvdMt9xEYw+EspMUD38fmZaIOSS9NbF6ocJgeGGxK4ydCR5v9GOlUWvMhNatYJQLQ7zDcsU410GhzYAnLao7WlLo8zYEAg2C1pN4y61thALWkd5gJPiCfShRmNAa6bDDgSB2NHRvhFsRPCv++bxPkoccIP0slv/zm7zEx9/BORBlDlrEYqFHsVkeBy8hsHKOrTsMf4z6EvutfrNHVDJHlaKAHmg2vkvxnGYURuQoQVuI+acQZeMp7P/dhLQpPrc/fvh22br7p7CyOqINfhJbToHSItVOqEHhyZRUKOjh3jp4A73rseJIv4oJE3AtyZgIb0RLBx0WKoK8W3+60rkI3r+OV4LCR8RAyxdYTYv8oLDT1BiVR+6EMuRmJs6nl1OZAAnR0eYLj7/kT2MxQ/QjtXEZSx9drHcAVcbHl3yXBUkr7h8fJTTElPcR1ExCo4MJE3wCNI7LCgrSlVCdw9RBruHZ/ko5zUU4e/kl9/+tdu1vziy9s6n0pjH6lcRtkLCpR/6ETl39rEH4yiEU8/9/zZzczckw/6UQ7FJLC/taxmf2jEmaCwdFuiQjEloq85MRVuoVlkG/9VkaatfhybTdmaMYFrWdJgIvHKbR3n4SZf2nwuBUg1lri2slZud5fF8RgseXHWLxYJQAkcJtQHq+Z5kPvAephM+napeIOUnBHNWot0vlGkFtuZw8FbFq3I+Ry83om5JmV4H4H8KS+8v5KEd8Zan9i5havmugwHNDy+GLAkbBkDviSkClTn5jSkdnVGgQC/XJrjySyQIBtDgo6AQZWcE4FxJDXiIEvqFpHPUWuteBZfJBG+tw9x6H42iIPwLI5c+Xbe9XNxGcKja+/CrT6FjNaj8D7pJUOnwxHjy9I3cAvZkW/bdSjGjDHjRFkGKzl+CuYSsSgYGWHPUTTEUHfxRbwtBnjDGVlswBm+tbNZH2Advrx5SNOFL+RozrnoBoAZ5f6DW1v94/K+Y9LpsPvZ14tzgY3zoW4+/pcnbvwRiq+1u3pUsO5zDovX4pbAeW5Wnk9DiPmCq6r285St8c1XOSOtA3+HaofhSc61c7ZT5cHi6evS3gfeZwxNfEU8mhfpFkGL3Qqh8rX9ByNruZ49lzMehjeEd0P9j2T9RbgucRqi7Z0lOBv0O7DdibNDfKUrkNuqEdc7lob4Vp/+G2bJbYF/tDr+bm0wLXufJl+hVP82M4EbKAjz/sgFdG9UBXnXOSJBnk5Jta6ugdbeh0ycpcjYVq09YEgODcUR/3OkSB0waEgUpbHFzUTOcT1I8e9OKqSEBW7UAqL4sPdm+pZera5n4tJWDEWFfdsC7VGQ1bRpk9ML0JMy0DA5+uasq4DlNfw9SY4qRLNtHbxxpwn/rDeWbZ1UFxtKyKqX9XE9MNXgdnIrk2alYbjsf7I+u7FKBVmJoNLS5iB0TjrBH/xLZ7ukNIrHixYrRnCQvq3i4JiVSI+cctGnQPbF/1emQsyljKSDSOoOFZJknjKl1KJH/FFaZwu8AQkV3MmHqHtMe7spM1kpl0tlssjyqc0zu5fWZz3s/AJ7GDAI85xqoq/qwIHhQUXV7Cn5iZFdNslvwTP+FbHgRGo4fxiHvc0UZk+eue7Qlj+rPfyI9AkGPT6sNAJVGUsOlXpRBwQ1rQv1Tz1YvGWi/cq5pDfxsJ04mxXvtVMDrlDTujpMTvv1ZPAT2ZyWILFE3coor8tiKCT8ZfBhCRzWPfdRpROYmVYzRynr6qe1ZEKJLtcHDss9V8pu9TqYH7tkY6XjEkR23Ww009gINtBwtVKfCM+5Oq3PnRvL0ZbbMB6GjDO0jQv73EPzbzMrOO93OthBV9PH/IKqrDKS1QcO4TU6j3EhU2HngSQDX3XVKsy29qNSb5xEaouAilRDqv0JAcOXkkdUslGDTzxGmiQMjoBhz6Q76nLCegd5F0bdpZbkSJbF6elER/jzBy+j8OWj/JGFXsecpsmUAppaJ2nGdVYpMYdBy0OxPI0Q2scILF7GREBv51wFja+F/tqAD7zVNcJGq/aAmXF83+fPr/sHSp+WIontNFTrk6Cvb+dZJEtE5dKZvhy0NKjx5VOWfK6rNChjnIkSzVKQOwxTEGyQKl0iHibjM35LV/QgK1C+pJPQP/iow0vqjvKTBj1tzrC9fg+6a17H89x9EjRq33d7bhT2sh8r2OuNX8g5tYYyN1qxOqq/8Y3lvcelxX6pbQmETxZp4JvGGefP2R/2F3gWqmAfkx7YYN1x0lpuoVIMOxK1EY91YzOpp867y+3VqY0jU87HcMsaobWjdQtOkvutdtkOhQgFmtkyWaE4gr4l/W/shxHYV6zidszpuL95PCSC5KKlRfFCuOWkbQbBlwiI1FXMzwLeqRrfsE2AUS3b71GgGp+goBHIQ8kzMZTKco3YD7G/mvayx8OPdF6ExMrWCn8m2U6CGLDBWsJ/mPutgE3vJ2SiHYCCckbDObKtY6eClxMq/N/ea9EJwhs/9nXJp7ucfXXynNazwgm8CnLauswvrx7P/0SPiBz+1gR+d1ZtY6WtJlyh76PoWW5uwdi5Zx6CQEWUVwClON4WGpw4OOgsXeLzIdUNjpPTfFQkwY2SBdIJjxlOQxGPY1l63XkkHOUZMkzge62z29a8zTHw3e8v7ceXdUhONRsCPEDB1qyNwCndxMFAeyAubbDU2a5y++Lj3B5fSUw7kErs0iWlqcD40i29TvY9hg0yVLNjLwkxbr7xTz7SE6J65wyZkrkaKzGeOCRrtKP/t8pkXaNJzHl5l9y9m93syBFxb6je8HSmPPYHPxpUHeVrMcI/61bu6E6dHMdqsleAFVQIjY0jOw3mLHy0/B47z7dM2/QHQ/nFkTV3C5hLDmOEcyOSa6CYTQy8z4hcqwM2Dd/Sm7E++7Vi6KgYfwn8gvlWOXo7rD56lyWbG/fslP2cugcgdoA5XHk72Z/XMeGvL1/vM1QhXK1bCBOSvRXg6aFs3VUqbqUI2JgOIBPUPpIUd11f1JW64UEmiKH4+VDXHyJfd2FcXL+LxcFp1SOaZHDLNMrvJwU88J9GWxirBXRFVmdXCqGpU8tFtR3zFQUrSU0GWJjG/nrcseYz3TsPvPpIsynKWgr7cTltQeOJLBnSza2N74ejaDWk+NMEC4jNWBG5Yb66fCxu3dDApTiI2X1ZmX/+JmI34EiejEmKHvp7cUlo9ZAle0gHq00sVP7swZ7QAVzJzECl9JSb8hgHpgEeBu3/jCsmeA0YA202X8EBTJE/03P5tqqiBSm0elZewqR/FhasylSqJ+OpQa2VfWKGOEBU9KwM13nkYLYyOhTZHr6My0W1A2HPnw5tRk+Qb8Fj09t1nX7QWE9fKhKVlbPnMW2oDYxHs++enKJtA4tdW/+fjsDKxiN7SCarGhgkzSXwmMB/CNagV8R8f4R/HrThJgFPbtNZznlHzryj01hCuImHq2SY7FqV7q9REZsEAFkIDNZCUZK1xHsaU0pT4L7ML0odzr9UDPhsCmQm+iWIL+Wx6hDIYwrs3SVRVgkbxwGgLu8w/XfrVUoyjDEStf9SBp5o7wFMLJSzVXxAmd1lq5lH8gc6rAowpSFKmGSehcqAFbaeESf0vOkZKWnACAXLoWO38vTPdTaYWTOs4Gwdkt9wffRvCFvPfXMRq7gkHtV0rWyEn5JDeSkzbTTbIU93W+MDJrf9r1wLXd4tqRAzlQ96eRAHpBM6j2aDo7YAQ3Im72ExT0FqI10Oii6w+3E11jSEyGjAcbnMUtmwD+bCcsKhGjt979yDfuTWxu5DxWxghDCLqzzRzqW9NsPGIqbVz9epMZvWczO2T1+ukp24W7DqZi8nBYAKXsh3GH9YspRiwV7FdwqqqaFwHMytqbhcJ/44kvlr+YoGBKw0Ui7pu2x4RVAYcwsM/9utqsDyEbodzjIg24zXyIaCIFkcllYU+wU31ZyZVO8hjGqOsFr03fJvN7YL6ZaXQll7t5nMt9q8Flhpu+sQboJzGMO/HhqE7ImDsxKBkEL9D3/gCzONOl49+C/UCK8YtofsuapnZZDF31uhaHSN3VcWY+Nu8P9897V6OJx4WbACYlNrDK1bCsHUrAuIRUVOZGJfw2sqfG/dv/73VepCybtQVlr2y8wHgYEppZ5UULhoqgCb4VktFUT1FYbTKl3ZQyVUTIQtK4JEnnaT01lXmPHaWSYMRhA7LbOYPSy41uA+ArhRwMTMvAvpA8cDAOxHa92wO5nAmEX/X/D34OR9L1A8nIok6wXOj42dzk5Ci/JTx1HUce9K4ZMh+IkdP+d8De9FGwuY21v4H9WNgc3LC5nLCKg9c1703DrGPphinaZ5YX7qGtxS075iBn9pwKBi2zxE6/vhsJKnNxMnyE6tvyOg8YruVBFB6eK7eBIPm495e+sh3JDsfgtA22NhxprOsyKeG95ExXfehDgZxbDjOkcc7XiOo4jMTOz7ZKobC1jSHOOGldeAtWxO9feIQtNo7aXY7IW9azM60xefv/oz9fLG9YJ+kDgKeXk5D3I2uY5p7rSsMwJ/Z2LKUrdBLELGlLfhlr5vnapEqn9fBDvlb2DnznMvFG0I8xU2+TFoaeDil3W+rIlrFm20GZFin5RvPN8Jsz7ehNPaGSxDz5KR+Jx2U65yjCHWtBJOSJiA7uUXbXvFBHZgSUgfw8/Mo5Oz3edWUDpIreDrVsjPyHSij7O1anEcsWSISC9h0sXhVUltYBDpMGZCQ9ALWtCrp6vqSWtYX+2tX+uhpbcVBo/d204WW0G/WCuIriMVpxaLRIRwpEkp0CxVR70zg5Py6mt+LVAAZU6CFtfwh7kfmumF2X2SBitppYJE8huCOVtvbzn7Sj2BxF1Q0/RDbdaPc0JDCQ6yFeK+ofeq3e6Pg2+NKYjtb5GkGElGJcpFT+xbHJN+uDOZUWveXh0TN9qlH2uAJUSIswOcXlsvLdyahe0AAh1h/HihH+kXEVsH7b+v+hm4iN14Axqf28mwO580ndqA1sYQk167rel5dLR6+zpSnEaSy1O35UJEx/cByZEo7LcEkiEfl4kINv7YXBmS0Pq26R/9C1iUv7KJyxOKlzuzQI47QPiZ3H/zdJwrBFKoQEQSBcKmHdyTc5ondeKVSxrkPHJmxTJMLbpkx3FfNO0XzpPXX3+iLb8YJS0rwuSXpDUCFN7wjsXH/5RIPc+izj08QmrkzB75ng2QneIz/Ily5D83+vTdii4q/CPJ3mQ44KmICyougS3O+tMSBSjNL0KbY87lqvM+abfy+WZ8Q7zOm4qP1x7l2T/NaA5afd1ql2HBZVUQ3CbckRXU5d8XjL05m+Ye0E/Y7lD4c7QqJBUaJqHgoBNXnihyEA4m+fGHAmEs483zV2HZgFDdaTYiJtLt+0R/Ozgm5W5upqhVUAOY3fMVmQudn6x3+puKlOo03w4MtsAieByQhL8q6AoZ0Jfv8lzpZCLe6n6s0M2c0TQcMMiwwMbckdoPyqg+btoboteYZj829allSTrWO9Pj5o1dkLInAn8P7JKWbN8wRZhb9VtnLgVVSh+qy2Fa7TLePTZBiQiwve7n1C4ysifPU2fDaTfjGkXNdyUMZNoNZ10H6AuBpE07iDSdAZQbuE1+JIkLNtgzrs8ejCk3h9f/k5JmHCSzSzWI66ioNain5p3VAcEC3sQpK0yXCgzm/aCcM5PMlEGNmzE+5j7rw/YcueyE1pnbcAEmg/S3yDSqX4ama7zMCYn5kOxrAqpxwFn8J4qOnFcIgIcSYxRbs3cdQfEfZ6afhuC/RP3S1Zqckqo/Y2ZK2yrx+NgtH/KFKsCsr/Yml6sLO5qk5y/pfuNcnXz3eu6/7chbQrbz6hUbV7IZ6R68RsBAtnWoGJ80UC3p3QMZ4zbVZNLZvWAEnY2WyRh0rX4165ZXHgRda5U6aS3PDwFTi0ah0tQpNfhg8r8u2krzebG7ZZ2QNL3umqYhXRQsXl/I7y6YZMOuL3W26wsDR5jHm3OQeC/pcJURk/XxH6Tb+6u+ZLhk1MbRO40yoBu4Jd1JaLjIRvZfP9OQ3+A5UDv0ChKkPNn0SkgaONtEiNFsNjRKZyB6i+VBDcE2DsJdH2CB/gi9KzO10uv9VLzU7hMgdR9m8r8ser80bjBO8ziHQg+BhpMlyyk0vjE2GrSCoJJ3SKGb2cwmCZFyD5fQbQGQMpQ4a237Z/SpSPm/J0Xt1s+2R7gQbvvmMgsGtMGz77xMrGNTQwoVrMjnrre8Ex6m+rLeTpJFyCD3fT3tjHHd3aHTPF2CEcvlxhMX+6lLU28MSihZSt3O23Rh9RFpEOuw05sqjilNHFx25oelV53gdQ4LbMM7rvLLYm9mD/1bUBlbkHnKNqu70eMOQV+XC+ZVr/976DsNZgXbH6BNq1OKyp31w/HawIycmyqF84/OIH2acYRzK6UUoNZ41LNB84SBfMA5GNd8FQBfKKFSB/45A5cIPsKtUOZd6iJSuQTasMEDo4zn27S9jWrTeKHr2i8p4PiMcDEZwsCyVmgQCCUHbb2nYBAcrOoMNLFpc1eKEEIE15f21xLPz3Kr1C1+5exKF/GZ61SAOq5o3mN+ANKHlHanv8Jt25/bbUGYOKeOsbqPsL+70iDCepPUJF659DDzyoXBYikzTpVWM93EdLCMPfuzfQ6AxdGYRiB+oqGQ2z6DBDA1yxoi6SOBvHa9in7mrwyF44mrXdXNOqXgBudgQsN2r32zGa8YHfYInaMsbHInod9NLOJe6lR5tU/ofzJVDXFv6jG4bbOIWIaWVlyZmbHYHGgWgEdd6yg2J7nvfQq9KOpEvWo5u5rktCQdD4gGlHjtRbXFAMvfUpxKzpl3/htcwmZQF9c9uCXjA02TvRKJmNOeahZhCJ4bcvu2j3u9BorsfGsJRheKzQ7pQIPudkqBIag3cXvB9rZLMExdC0k/S5sLGwxsVjJPgt3sKb0NmS472TgqHh9VSteLbm+MtsSYvmo1EQoMO+mF6/uUhHcRuQDbv3ChEZDGtQ2QZ43EpDDo0XWRMSAqOrKyuTS2Z9mhtksjmG10QS9NhAc1Ksyit1TxVRQfEb5/OeCOYAtv2OQAQsFSIBfSgouLhFwMbLTHoskmXNmcMkNvJCX9pdcWMS1tFoqc2KChDDY4EKUo7I61A3FLG9J0/PayV+R84mJODBAWPK/OizTSOu6qbiEkmhEGVLeeF4RFgdNBtVsHaArl7dm5jIVQhGdzWA+fl/ur5agvwqdJWpFj3faeLiPbpijC0U8bCdG0hsRlxmiW34JEd47udFIJQnfCEtoLXIFR7bA95c0onYpVhHWgxysxxiWtnzKogdjajSMloOO4Gre0aPE1IaFYO8HNy718QoBdOQ5g+VYBYXUj91Cc1Dl/uGZrF9yxRWfBSR0GUPjT53fmjQVq0VUXtQSqy/QBMCQI+VWl9TgMSjXaEy0ZTso5+qnUEoKMt6MuylE7FHUijLYCu3dk2gOW9TPMVgGMo4DDyDpnowCgtDB6RYvdKBtYKKjIeX2lPGTlAc3F6QzGxrgrhtUCy3DgUTjb1xt+tf5lWqJdHTNY0sOznxUbYU3UU/8YOgtL3J8+99LYkd+e6jHzm4F7pSNOoBQDyQy3OOmsnspRNfWMYPkFdo4AJAqc4fOMNZg9CwQtv+MtxIDlphi+7eiiEUKjBRrv6AEMYwDJfE3cA7hVNTF9siL0eXWroxOLRavYvL8B3d/R1NAOs/LTFny2AncKa8FyISyioPHhZ0L1RZeyCv/YDfjBoowGn6APYZPPphBV/rP59HglfST/7G3lFomEzDl7BGS42PuKdC9juKBiGYQZAc7HNXykI4wNn2c6xOGIQ1POkRBG+pEKkpqsTdjWPqHO/0yD+O0eCRB2bTuWq2qblSsIhs1M/j9iv27E0CD6DD7z6fL8ImUX0KqmMWz8TBGTUqQ2FeURPqlstPJCLRHilgXrBaY/rqmtqgjuCA2nlwoAQbQtI7BmjV/rS0fYhhb6peXH+3eEsHC28qXEHwYabcQgDxdz1IJuu9HPOa+F5W3OjNiCc1TiPhEJyXwtiverdbxk9V8kJykY+oUgpRN67S3JSWrLEABg0Uc2mcyVxtsAWiC5Cv+NMGF8lBwuoZlre95KcpdMxk9mzL4egR04N4ymIoABivGFZZ3O7we+leAMi/dauRKP0VjnxvsZSsvQM9RNT+DDZN7Ohku2y44qH4y/Co9HS6iXHfXm1NXGasWnNA33rA5UfKTfZBBfueG3nTbzAIEWVF5M6QX78iQsapob/00eWn8DaTapqxCFMnXgyyzQ6F5H1T8k1thQ226uX4JrnfUFFrwUwfsf9LfeT6xyMzqfZhSdZxocsLP7PWNAxA/dMvjxph1wWmAid6PJrqIKM5QK+WVnigvv6+udWmFlY7UaNSoecNumK0zb6eA9r81jtorJYqIAiWJwZjezERcxe9uS0HOdd8M/B1NDj5MK2Y+Y3/7WmZ7a7Pzbcw6916t10ucjmEoNyv1nsXWAfJhO3Q87o0IjSfSb4zF5NHMYfvD7dnW5vGVuyYzzYinON5HLY9WI+5Z5ILqb3WOJqYu3b1+JM1EyYJ0OFm2XEKV3Y5uPF4vCotF2zihMsc+vjOh1YR7bDAq/laMyPCaCG83kd5QZ6YSO85pZEPdijO6OaVife9IwNn5hQe06O09GLXuszX2KLqERkqXXOm8tN6fcrj5QIKxW5mEdI7Cqe9GJoV//090xKVVhF8G4uoDueRhSxkrnERoIAcq5XB9+KbWQiog6vhgUBMaJ42DscLi2OHmLo2jhXYXFZVBGN4y/jlBvBZ9AUyyebUIXabjTCcyLkynegugC5PTRGjWW5hPH3CUlf9Gm5NTCDG92DbCn9jH1t1i9zt80E4ctHCDPkWeLjJHmgTagTdzfCGrcHj+C3nDQJALvZgaqLYrCpMJqr047Gwz490V+HmV70+KekhPzQj8FD+voaOoFXa5d8WT0MfoJWwm7TASQqPBYK5rV3M0vTZmn2q3izvBOVsjC82y7Y05678aEyfxQGVWVxt9HI/nLduDPK4jz9VueiNmXh92YNvNqvztBVy/DNbaGbOeeTyIXpkuiGTeikeOpMiO2VGZaEwHJSFXBIgZe4y4bjrSoLYE+nSL8BIx95eOPEnxcRyrc5S4dTAI+wGkPa3GJ70uNUoJwGoSgjC+6kY2BS9GaSMQxKz+kNmCrNUD5Iy5FbYWyvl4kLfnbzM3zEWmpkKOfUqFZ1fy90RxZqKwqcEj3qFOtNRRKgLcTuD3ojblaWlcnKTfKobIyuJyRKwuYyDNrY3Af39Ekc+ShIwf7EVGbAdqUkx3LMYJCoMOVEv7XbSZFcJnz6UektdfLOKFcmA5ZhsDxPQ4jqCViyLsKDB8CgUB69S6Wos4n0nDxOMsOFYKfOFVNrkbbgNPBl9zYIEKEgI7m3ngB/6/bFVgCY2kNBcqsxBLWTmidWGmL1qQjPlIP+/p8/IwQu1bjDjeTbb6PxHiUbQ7pnNNrVNU8nDIMB55Q6URVT88McJvF1PEnUDQLeZEcBVaW1KFqyxLZAM3DsRAQ9KcWwq2pW+Yt9uykhq9062WwkeWKgByAF83WCV1kK84L2ETsjfkwSpx1WIV4jX8uvFrjvApQrR3jIP6PReOUGlA1ye3cmm2eETj4Owvi6xgHlgm3RJ0K0EgQ+cCl029WoQK9rlrwRhWhoBpzN5VEVN2517CW+/oASw1XpzQBqWJRIItxlOF3WaOADV3BESUPsKkbds3eVqzDOpPGUaUsfRUTykEoqtEZ1PFuR9SM7ExYZZr/VYFqezmtvIemxHrZoAiGgAuelOk4cXdFthzPdRZIQfRln/XbQcxfVzaxOyClXnsnYUm3HcNgk3Vy1i8ezfqKQbtH8bZjXw1Dxtb0ZXR4eCFtCCTa3OPuP4ZJtXISb6g+garuI2IG0E3TyWToUOAIocFzRFCGx8g1YE0LxQBmVbbv4pMqeYB3Dp5TcL3XI5AqbeQBFy7kwBqwxoxqF3jAvCVEP3HTs8iQBweitWL1IEBAf6ybU6Xm8zI3wV6j+F9aIcg8YM38Xq0wXzCYvfPOXSZiakQxBQLb0zYkQ04rz4PQdgsrFz1axIICh85fjmjHtXokhRGhNP5d/3yQwArKuZ60tW8Yq4CEx6T5njyS46le26iVO8O7wvPPO9BkBvOhV1H4HT0Xt8S6GVS+ORRPeBXnGiNc7X/2WOks1KKqMUWBZdRmdYzvLb5XxC1vAwvALhhX3MaTyaDZVU73REEHCo6hltaTPVsbj9Klvi+tDHIAM/vmvzGSw+oXMSIFRBXLc5ob+pIal8lj2TPcD14brMz7PgjsNJEZ9mqKe8xK/cQZzhLaGxwlN1V3LXWEoqo193oAJhCceci57nhAIXVFBt20j3Og7z1elyqbLGqmiYFnOEa/4Efj1T42nyzneDX3Hxxg88T9eTBvRo7Kbjv+qF2T4itcVtxRApjNKjW17vEeXUhbDoLtnXgSxV4r/dksYqJs6haA6POm746caHDNJAZ+QZ+MAAV3s7g1AwRWw2vg1VF/RDAj7FTXUR7iE4RuWqXtK7p1rXplR8Cj5BNN3xhkGGuHkWPksJluDsBecnN8u4BCvfuR9aj4MouAo8FRxcYND5PeqU+wiYqyEfS0CeO0+z5NKJS25e5tKP2ukO2PnTOpmgmrb6Hfe6W2yE+zC3XSrKW0auAIDjr9x4qi0pYEcoLd7p1yZR9kFexUsGp4dLaw+8bYcxCXSOYi2Q8wHSsmGv+DyZFObdbDbafd5TicHcJcXvjBKq4yENoVzK0xCbmKJzzvQEgvdjTWbAn9d4M17yKK3IkPoSDafcKtWyOUO6Z2/buTQsXBX1Rl/dFRqN4Ifa87CN/RlLfvfmvlDlZ8i/R/O7IxbQvs3oCdZxK7TTfM9ifWXsxFs/KCk3yqMU2ixviF+2261R8ft2BOPnCY4DykeDvQ69LeeLR11binPjoTth/GSrlA0hipqWU3TiVin1Uemloc2VTcqlmqzBQefxFbLpb3qMe/HJvDHjpUbUcFAjfJnnTu7hyICYUe2FU2FDZQsblDwARXg0pf8r/WaRTJ4lffm+BU3exb3ujEWOoMkxP9StoeL5l0n2bdRJTS9i1/PoAlzyuiHJ+X95CZq+17/RZXaPwa80qm2DdRnPU08Fa4w2JlTaV6FiUqUxfmr9yKNiGuf20d7St5Cnri/6YpNl+xVOHg0DcTYwoNhkTg1qqc+SX44xiQtdh4U22w1ydjzEDzgQyLXmLAQJx5WZAD5nvHisAVRNTqa8p8eNOo6fKJel3H49NE3tk4W7wk5vG285eCr+qlORKgItP3VaEJjUYNsZHiKwMa+DEtJ86ri0yA2W0KtbZ80WfLYGpYuwTJxND9dZOPElU1tVskG1I98lVXInEqBStrwCxfv1mKm5BOxZuuOCS+VGIo14QRwsSSz/5X3/oD54zDfKlTfnuk2MpNjLY5+KuZ7Fmsb2d6RqD6uU/MJHd2MZNQdiXIR3pwujX5zSsuCmSA1DPj2sDc0DWlmXZj+wjXcY9MEUP1ROm1EloSxJBev/aQYX3QOFxg6Pk4lGwcvaT/6Eei08RslTWxxGyvNn50BVtoUeGSUU2HbaW/SD+1OveRuesjUb49VMFN6/1gW4lmv9lDeGVhuWr1OUjUUwKLCRlTBgJj8rRR5kpIr7MfLL55EfgTQ+q5z6WoEAkgxOY4hi6AE8DvfvEW4D5YburSXww9oF0dKPawuAftYSP9Oo7zxZwTS4CODUSKFbPG2EQT02rT2mOAMfpFvIfNKD6Ozt4bE2G7wEzcqA2M4GM7WLJffpVYbYCWwg2H+LpvGDhxxBdOIwnTxazm8t+CDcqccjxkipxN4PyxzC7w3cb18NTvREO/qCRogMptbp8pHs6QnykEqZsRZpDhelCT3QjDRQ9o8oJ9npzJDw2sSZGDz7bvjYRq470Bt2bpfzu4SAraUmtO/FAklpc0ktlntGVhSTgAvJhzLmO5WTZOeGiaU5LseKSO3pyQZJxr9H4AKMU6AE82tr0NAInLt7h/WbWz9QQIqWDTSRQ/6hv6JNkXttG5d1DnKs3jMR4nQuQvV8WcV1/tAR56ZjdYRluwSCQlNvE+5IGXyuMW3z65QqO14rCT0AVdg008XdRL2kYP4nrod24lt6cK+aF6wObN7dQFPSvTS/cI2OogXxJafmWBU0dYsCTHLge77ChfmqUMgONM7AUj+rEvOLUVXANoVZ6Rioecc7hbU09j7xeYP3ZDugo4h7i4c/x92Nr+z0OpKfDKorSQjKK74+/JPFf4GaBRenSoaAZMW8NrLHSk5ejzMFCfzTvhXScYM007NSM/G3kIKFgOQqlhQQXydXE4Pruvraq93V9pbMjG9bFLLOBtS4+VAquq/Rbrtml2bs9RWSn2WgAF0tiYsiP8Sy1FCE4UIlnsMAo7ZQYpCZ2gO93LSXHjwtpb8xMuZ6DuEmNakDwpvpSRdNn/ECH8M4rEbZy/jgoNEZlLmQS5Cen/Vi6B/yF1q2Vnajt0m+9NenD3GUuViBl5JK4jbtgTLxUDSv83CkBkPqyD9dq4xIuJqrd2binNNDp7nqG4riY24tayO7D8fEAi6ZjPhPYRDvK+cE7aTkq4Lhv9fCPUvLpeKm8XYzv5RwmTaXyNJUveTGsS/zAVUNmUk+Rg/+Iu/M4jDcIj4AJnTQifXFBGOsRy7DOPaFs/JKq9U5/xvWUHAs5jTb543fkmBXkguinv9oA1cUSIBJ0Xjy5ZEQTqwkas1alvxWLCeqrfn1SwsNUMIO0eCMZEQTB6/PxHvbfXNI2gYHocYZSewULlsPnSYqxND2baSGBL9+YVkX99+ySHeMWRV9tZhvZaAN86P38Kj0g6Y5ym1idHvnDUSxPE18pdZ2PXEWycmbmYIB9X2rzH4hJkZg1SrePq7AqgTho8tIbTdhRCLQjKkDkbq/sap6F5qolhM208bcrgb9l1jeTLVvzSI2IOVrnlWl/XX1BjSuWxyOSgFd014v5K98QwCptBq4iidYN96NHaHgCFhJoLPbiyqo3yOOZL+9kbk4cXmV2XQtn7bMt+stRDAo8/5Bztuy74L64pC2f9XdowY0c28ZqmM+AqCHDyp20Qdz/ELQu2vYefL2j3dwQLR8RorRMnwwSUU00tVx92gb6anGJmn3MoavbZvzpMhDfcms3wbE4miCLccdGwkwA7wjjfomhFVYmZpqzoxsFAI/mEweEIAXyGZfSDvjTr3biWCBmrkddAzf/zcyfUjTJV0oSiTS2TDQW/l4kyHLdJOfuc0b/gjj8ocDbpRJB5+fa0R2h8tNUUxXwguI8A91+C60nRGgZoCHiIg7LH0zEX6sNSto8ew0xqQcU8pGXw2Xr99541xHQCLdgJOz94Y8D/uYOb7VnkDO7KDI+L1lFEx224nrUtesTo5t7MaHxirdHoyXjfho4tlPZnvYd/UIbULf/FyEPVnkQmWtkApif1R6NWb6F+7ZughK2nDcgmNwowOTmK6H2nFt+u7K/KoAgb9CKM7yc84ZcGZYrFVxAdcMMgIoyrJGiP5PqsbyTqcRa9n1T54GnsEfCjV2eUNanvSyp3yGaq8MR7EgS2GftOVnRJNcZIBqvQX/b1OdGo9UPL4IRhCevYXA0ZxEWrn+GQic/bVnkc2PzYkAZoxN1dz//mJn7Ic9OwAHbgfw9RWtXkSjC16Rf3S5hCV+7RNQHfSlQkmWbcK6m0Y4ptKHErcCfaIej9RjBFoVL1iaGC3yoz+XKCk7DL/xBkV6OcdQnE/4f7Gv9Wl7ycQdbv/psFjFQc13tifGt5YA/jHSuxmjiljL/MmhBO8r8PgZfLiwzbrmOp/b1aPtYpFFh48hMDiQ9eoqlYbyTgvWQx7Gv5S6IwwR06ktHL5pA1u4jenA3r2lrF0k+XOpnXpmspQdkcR8Fy9pT9XHRBWL0pi56lEDsGoLwOpQLstcgjcVdl7vFdt33d5mXB4+FxDJQHZFGusl1lZ4qmRRBo9r2M7V3D4H0+AQ0p97KMkUEpSAsqBghDiDNMNCxpNT3Ds8oo0FDHPWOTaqG5orywcalxp/U/KDYiCkTwIHY5xTmIJx7SFnM7HskFxvri4s9wycbhNSwdrlk5L5GK9TTtgtZZYpDQAdTQ7T/OyN2cxReUxZGD9Z+IU+DES1Nb2Qn+uIoLCGVTqZIhdhpKevs0NSjfr7MlwI2mNP7qjb4SHac/c08iiJI08yIgfX8PBt7SjclxHvdQaiIT608DDHDzafC1cyBFKly0su7xdVYpHYi342nM+EKp5emm0YvjAA8LxESCd0f6MgRk8jYuWtcFcSEwODAQOtvqEHN1s+yFd5lrX5DJbfpfISe7+UBvnN2W9ASikmuVjnHTMDLBX06+RFmiV9lxxz0fxh64yqcvY50LHHbY/+X5wpuVDOprGdG4XAdCItGt1tCvp/7mMw5Mpa5dUjkqHhP5WCQD1+AsmOwwLcquBfkCp4DdgTM4g9eVqUnkdfwsQVugIZE77PfyPCR46Gr7HuJM1DJww45UAjw5ppHS5bhFgT6A6cPMtuiXDhaQd8by2sSxGOrXxdr1f0FHlEtUF0HWuYjWBiTZV6gUJX6j3jLsxKc7gQJU+idckrm1OQowTrnsqdh91YZ5VLnh5cXXkcoNXIHz3u2kuNBqZ+dIa1PUXcRapxTkZiPrcsMAceu3mcBcPXZ4qwZDFk3UlRiW19ALu9TxjA21OrCdboYpRnr7spqe4iX7hzpFyjPc84vPbsC0cBiVI/StQQ2m3h5VLqwcqXqYMsPwBb+HXkvFRYb1y4rrUSbvgP1jnRNopgAmaJUMoxr60LxLGmSfTdWSar0DPvDFHpdada3Fd6gw1tKNoiM7LnQHOk7IZAtTNpKriWbFkvIpX1IeKqCrq4lqlDmkpgegvbQlkQHhZEW3+eHhKDMLpmzjZJLzRYLH8e8BZKEdPl5/kbeYYo31CbXL5jP6BqZZyuLChN5k2wBK1JxUc1WRUXtjAVWp6ZMl9SgKRgj4Yf25Ss2mJ/a8XimFWfLURCGAILSGbfB0nckO5zc2PhrrPpnEXWWTroWLSfQcae/ufghjfQbMBbwlKppp2ye4u9ChOLYoIuTDToAMXBlLalx1blwlBM6KX4ttFFzm+RnincI+gIRDz904vhoH4YboCtT8eeopm7Bax0Ff83KT4JbKwVd5dKD+IsAs39w5GzofszM0fN+lyfD+lJc2zby7s150V16g4+jNYe9KeyC9DjOn5DhmcR7EEkqFr10UfypFWOCfJMwtuZf89w+wt5N12ASMyC2n/Nh4J3O33Vlm09axhBM6mSEOxIVBfocflyC4bY79bImueLwKVC6XsVy4hwMBv8Ln34lAZvB/VVIAigXSXguTjV2TM7/Y20wJp8v9J8QCAeyFhv6b3mnrxzp1dy4hpAH/phYd7C+Imo7J5HixCVwcWEm+ASichjB8+NR0zG9QwJjvfYFP7yYAKvpj8qtj9B4jSFDPyYPWuXeb+x+IJSWjrYGVoNfWh79P4qp/Uro6QlcRv1YOH7qnQI/VJ6oC3K4oc0pXzbsKzbmUKWyQUCuSeJzYqjIkZrmY7sMe5a2c3WVXMDmPTk0xcumKe3GsilshXUwWE+O5NrFWYpF0/e5RhkhDtgy9tXik/ldal7src51f/VKcHAvzV1S+ehQl8TUvVW1kIQrPkTLCXmAMuVY1zCPAhkJc/aoJi8LCn6vt78kKRWOu/sfEZbLXG1RxrGRjIDs0FeudxF8fJXZTM+CgzRG8oRXk0tcbQtMlTbaZrZWrL4oiLbICL3L5Sr/PsdsuYea++W7YAzRGhIBnGFv/HGKs4aQ1jf9cWuh5hW5rtH1J5KEM3cBMFCd3jw3bgC11GHw6cAPPzuxFkZr4MhN7mJA1gc/j0J08Pg5Vrc45TwJA7Z1JSynW/tfd7y/pcSPyoDJliJ/zS7/sX5+g2bdvjtIu5zpuouQ7xxiHVohMFfuPrxdbzAjHR8iTlQWY22jPTf5CXru2+PzvPn0d7gyzL5FypXZf8mySjgK4vIPxENxumRyB2bdbpow1UHdUfUST3lRy4MoAibUxiGFQzxuI4TKKPn54Q5QVAYoXacpmxbb8hVQy2FWAeZNV4/zPks4uFF9JKonVYM/pT20w89LAGnV/8I6gL1uueDMpqLyxAnpcLfV9kfauPo4kpFcjV86QZzkt1DcWqWq5M6mxM5SkGk2FEhCXWarM00vRYVhoZEVeQSpdQ1RRTgjKb6UBXG3lL7xe1IQcYlHO/sv6f48ITk463Nc9uAI62PrG1P08FDT7exPvarwTi7Vmzq2jBhUBaMI7vncuBIYSnNsBbmui066D0CGOQ4i4MmHF8QRHGzltl9GySFj/c5vEJdMP7/H0T3Edk5ITljljuqRHxq1EOP55+fLyUvE2QX7bzuX1WJVJDMZNFolDH0D2OfvWS8u9QnBhQ2ZRa5V7ra9RYhzANX9KivyIR9CSsqQupkAhYSiMScLIOECU8sVNG5YORBr+0HmXUDKaOwaOovtgGLbI5xKeldqOCz5JRcunadrH6Kd4kq4Y6eVgSlSEgWmd2keYJdgl86z/Txstx8VAam59mA9iBhCquhhaJcOFbz7yHBw3PtYQyld82GV0ezIB/thtTnXZenPdPVkeGd6v4gqaNvoups/i1qeHylnpmhdqmU7TOV/g1OqXMcsrCnd3ubpNX8utcZvusoxlUMjia2M56SJfuhJm5fQkdpngicNrRkuUfNLO+CtZwGRU3AbPpjaAUj5QM9du9XsaomiFu+t+T89dw6n6EXQh9tRlVz5i75V0oSkVmfGBU+xKKn2jOhk8VqBHNN/mBoD7ScNM2O22bxN16MABHCISFp8t1hZ1vx77c7zZWYHo7iV1T26EFQUPSMkYeRyUzi3daoYTFs+rYnUh0LJm3vkVtNbjKQLRSPQBpEBxJeDVTfgCwD+OvSCe94U6dJ5uGPBRpAz9yy5X9IFnANA9a8CXGdD5o8uuGqhEHxpOL77BFdP9KbKRJz73HUHsIz8TR875OXrs8zOh0G4owNJeYXw28enoKe1eU8Ep9rjlp1jTvidQRxxaeeVpj+69khTn+qFALdTuPRwRpI6hXUDXrSNT+VdqYpDi0Aea+u+E8AUMNwFp/3Zn5NHoak7N3mGEf9PYAV0z5jdJmsUbrsB5nCCN1mDJoef7rNWhINylhnlWVvY78eNfAslsFJ435N1Kuzkna2UrHBwRFcYwPmywqlDOYelq1dWlAeVpM6IoIwZllU5eT9JqKVY4MufEmGyLuGVQGTo48Cg7QO60RCjnybJAvOkwqafAbrZDxMc3zAX9614cbvW9pLXnSLEMwvsMc6n3ZuHAd8Gs3ObXADx7luC4puobboZ9L8dL9F58mWLqbe2XaMb3zu/B7YwymU/M+7MvW6cf6r/IfBXFjgIuHnHTnYfh1J1bjc5ZXjm9Y68N8IYm5PVZ4uqSv3YOSB/avF5iKaiNRD29+H38dtoUOHYSnUx9sqx/JHFMR2EeS1Jx0u+IpLLRrP9HGP/wCRp0GYR2/JzaHuEwifz9xGn3fmWuSTu+CwOZ5wUsUN0N8/tLr26pY16QQ7fsz+syqt4Iza0j3TYePNlX+xXASiZztw361MXnbmMgMVDlkOvm0u0VGG7wZ8b8BkZCDXECMsJssO0f3fXKiQGbAG23pEdmUwq60HzIsPQkfO8OG6fpdPfcnvpWwQDaex/BdHkDcwNU8bxM9KFjT38Auq7+xNRxcf1ZwIPQ8ifWGhpEvEJ+hMn7gPNVkE5Kb2J3Y+OHzUS5H/yTXWjeazxmC9M+rfhodXPYEJKu52SoRBoF8Ix68e+cPeQA0JdyHX63jTYSxRCvUCd+LMU4i0avfLTAhDoB8PFD+kJOHrqOcLPB9mIls2aIo6lk/waM7jxs0jdW3ra2Namq/L7E0n6UZRY0mxRVnNsOBA2EP8cyq8TYZZlqm2u4vuCemWOqnSi6iEr/uOLHNY5vrXxn10DvR7xcgbT053oNLwAAThb4DP0Me+IfvN5p6TCnY1RlQ7TMCsmhnRcj/63tXwKW9MUHTjnilGfRSQZDGDmUzFiIyJY96VgV7vFdPnSmB+D85dGBj/E9XRqbI3VmJSGYWOZa+JfEjeR1yiQ/DT8rsLtQmvo+Wt3NjQbuP6sDhWO1nI9Buq6rJj6kAMCD1xtNM3IX3wb4W09aOGD7/+nLeTpgN65/XFwQy+pwpMx+RW3wtbJ9J3hjR10WhbocdmNQLuyPTO836+/+exqyZs6VFKAhLdokre1m5mvQB3P7tncDJY4lZ8gCHoKFoxHYM0fWiLbOvzN0FbneI6E0JVjQ0Rz6gPZ/90j5R4IHFsLwgaqAut4bkFvp6B0xc7kE656JAECXUilphjytY37HIXJco2KEIkSjOEaRSBzqONQD52dawGzd7MLX3KWhVpTdtDHIh3psyCRd+67z7I+24omy2RQKkdjTMDtI0h/Eed4YNnMXjS23RmIo82Up7UeT4sscp+g16QyVq6JGywU2NVO1OSJs8KIDWdRRX5CqfU4Eqv0vdaKI/of0wN6Cjag+cjvLuTRgst1zx0rU2F7gzsnIMaPaB26j5+ZHCUcL/nxlBo/ecc77wmZEFURSLyEVPkDEX9I5TggS5ZbKAQGpkwDejT1RdC2qUFQzDafTcK53bLCzPVI719pABLnRI0sg1WsQ19QJ4F/aKZcIi+xbxYqFoLgZsoitDVaUCnFUCIdXiwKdUdWXVy48/DrVZhCMPpfPFIAFkKcAh4StuUVZoqc7R/ycrOb0zX/tQXT2IIR92i1pLmxZLbr/9jS07fmTHeXrlSyoc8w3OTMgb8sg1RJH0BIkJxbB1EZY8U3RLlRN+wQtcLWURIlTm+QplVDn0Gad6w3/5Vhf4rI/FYpNNI9oeuDcF+veRBrgN2ZCHYeY9Xi2En8P9TbJeMSY8fjFwvEKdEMPtw3Y1FvQv9Y9LkeSeQKv2EDmaGh8fCPHSUBTfI0LgFhpSJG13VO/WCYvv832AgTmUqNm4u/e9slWgYCzUJaJinKK+FoW3WFb0E4bhgAwXQcjC0wh5yBXm7E933lMOidWiOUa7PXfXiFUePitPwlkE39RCZh9Harq0ejkbvqVvWuiscGcDEiCN5O44E/dyk8DfVNT99lJeDpRlIcgV5/SodqQ6xJV7YI4HsBhR0rtTKVcmj/41nbUtuCNUPX9KqWdP1gVBv5w0Bs+OEk3nHAaBum9rke2Kb0fJqTxPBAu0LPl4nVO79YH/MWchB8n9YGJEuHXEw2d1U1rM6ukAsge/kHQ7Y35+T0ZDD+mjdfhlBEjAt0j74ZCHAF7rtL0vFYi0lXQr17qKqwxX432mYVi7jPw56/yypkH3R4RyVZtLIaa7cn4gMIY2ySHm4bL2kJlfGPzkOdgQopq6a7tC3/TuJaE+STeaO4CFo62X3rN+z+4/bItrI9h/rttnPz664eL3Ihb6AznievOsU819vyD0UCYc51nx0C9fQaLBFGpdukGSkgehYxhLE3f0KELvKqVUIXEyOJLRiuTJWZj8NM+hgORnac7DfAaXAXBVpphsFaoHwlSEhqK99bftFvFFW0VJxsUvea+xXASLuiaHJEVQ3C5yUhrcZl2/lSXG2rSKZI1I9MzMBsbK4J6gUrV9VdPFBU9A3IohYyLWGJItLewi4F56VIXoh1boxmZHlp6BR4pdf96bZH7m/MFZs5lPh9rh6oGZb0jO4KGcUyT99FOm47cVPHnaviMCabXkT9OFeLQVavva7VmOg3OswreH8xUzcck8TF7DZ34xcOcQk0Vl8uruQ4+NzjJTO8bkjjWNYSgWEYaBURomBH7q9vjQHra8foBiJD5zHl9WRbJ0fVimD96kjCx5ZW5np39Zwky0BzjWZBBoLWPHsm3KmtJT0rMbw9DBw01KFtCKdZ/dSW7sM849kHLZycdBxbGEPRPrIbCfTZcZfKHL+TeHFROXNnYSxcGmjlu1lT37fBT+Rg5Xb3Hzk5Kp2vc2Ne3a3P1YWJVvvQ7yaOUgDnzCVz0iC5s10fmuRgqlgoN0y8amWMcDF4ZY7j30vqoCZQbCxBiU2RMk48g2Ak1yjZ+QufhCbHYx1jqJrKA4uyS70+mlqLG8xhipeLfiWhs3A9eJVSEWcROwj4Bdk9JWp+U/voFyUep1T/+8C/QINdKIpme09lNbXBmwfPr6qWw1soGInra3WmI75NELWAJGv7AE9J6iG8lGeNr/6r9dfohX4jZF5KGD85UTYdZpbg4MMKBUu26M3IlPqzX1Xavm44h4voNgM6UHWzXYB7YakPAD2sxpFM6RwLS+AvFTlqQpOfyO8Bh8QIjWHSxiayvlTQYAUpinuOOcpf3vmdJDpzVZSNbG5OPzsamVCLNV0yrOfZAeHFCby5nfniKcx0Iat6R6DTGij87cmS3Brf5l8M+6uyWpCbNbmhoyOvI5GWIlOsM1nGJcyNTTpNgwfTjKMhADFZXGNhP+voTo6qg5tXom1dNLri1CNqqUOvsBwDXaN+KNaKjdIDJCd0tON5p+w9bPCEt9a1N5hTNEwOl8bcVnJewnC4IOZIIF8CMkNqIUxG0eOFSjbTVzdwefKajKRYEcyB3zzm1dhy2htqD64bkJksuOwrGxUL1EDNyJihJDEsWPXm6V3YXdFM5ODjMUL3GKMJhetY0kz4AqXSTW++MPFsL/IXlusOXiTnhdOfIrgCaIzGRHSath8oOlWR2WIyfWID5IPTsOv2sAI1fJY8X9e3qm3WEh9mex54Kdy98XGqoSaONgLNl8a8ySMvBilmAKvfcn7B9KtSBqWpeQ5nhitKTnFX5fWZfnH++nZ1fRtAjlze0OcbpSnCJNoRfZ4e2G9Z0Qu5eBxcVk7ubmtXiO7434sZdDQk2AnUurfH4lWGu3UxeLzobxeS3JL16lT8Jkw8nBVY1YqRl+MODqhdv7n5Ypf5q3JA4swEU76RKMJPQ3R644EaYPtnisQy5+9Y2X6iI0QOzih331E6kV5uiexwOcUy7W5UCV99An57JIpzIWisWfZbRgUAM5hRIXG0YQtWTYWidfqQOP5QDGZcAGlidogYwXgu9v9JPS2LTL8fN694K/UAyy4h8eQuJE7WLVMH4SUGnZFkPxvSsX5mVaWkJ9rz+rdpYbqtvf5g4PSa0cnEvnpZQWRoLPdZ2td4GAxu20GsMglz1ArrS38+6Wf1K8ZCVs7Mr+s2P8LA0FpyA9d85YUrW4zWNKrpdLI5i5XSNxPngdSiduSvkMYvdHmr4TzEkDDCLxnqaI2phE+2FA7P7GTEfxDd+e1SWqQuqgJ3p0WHTyx4i8cKO8kc4YsCZ9GVO1T61orxnybvDVfGzBZ/pnhulU1554ChL6kIkBNJWFpRzr1j9/WATXI/F2nQ1ydTmDi3BfpYMprbGb9oIkbSykHIyBO8r514OtU6ttdcTwYVf3iwNxbRqDVhSzpXt2lsJgqbl2k1cFMlrdJdqvhZepuWXAlanW4pNKZlQYYd/00nMAa8BUKUykWhs3+ZUCplUUlG/MQXM1yT05Kh5mE3nIHKjjgUecvkhwHhknRk1vwTPCIyNZxHcl4Y1DuKVtOIc/+axP1S3etf09PqmAVuOlFmYzRUaKc90c32KQaPVhnlkD+xQc1nOkJra3+TIwROD0Jz1+NWGnMD6SsO85lZ709c8ojDUL+gNr4DqNFhvN+RkBzXm7qfC9tfKyMr2NxeDZMeRMvV3VwQsRtuofyZfF+JbfZhz9xVgT8lRiEU2+Xcw4PjBXeJ6VakSzrDa+W4L/zzGuHsN8LsLbIOwlxbAVdlgYy37qdsQByLwoR1OtXxbSQ4lfDbU5+DBGxMl9erh4kRqvVD2mGD/ih6Y8yK/m8C1QWKVpFcV1AdqPWQ1kP+oOJ0a+Uo7WSZMJOVC8DKmaflYi93Rnn4sFr6BnULwY/hlRTaARlrZHpVdB6L8HZnqgdewfwuGnf6L4mISDLPOfEoBaLFbvh7IGeGsFEnAS0C4Y/PEe2GmJECIK8Q2qygKCrsJg0sj/KlVGg5qbX6vuXoIHQjbGpCMmFd2Mhg0kvxbR3bvu6MaD6hjJNtzHoUsvNKJ0b6wJg9TdT4BAIWRWKWugTluWK5c1K0SZoJKLoBbVDgxPEw7BABvhkfOYjlGeEgPWhvt7Ih3utneQmq7KBi/z4gfIAoSM5dG5jKKXlJw6tWRFX3BZixVCT2B4uHzwdEa2LV5PcccKeEstKTCcCxWP8lFR569URpQh8+vwO66/Eb3WVeR1YpJt+A9ZdtNyJEw1ww3rkXOe7LEiurbJQJTgRZTp7noyhhL0gftse6VaFDwUhFhvO3SA+ktFcw1qIM/0kmoro//cn1szISb/TkptNEZ49KgOeoQmSE3COmq8EHsRBYeZ7Bx+zryefBbd1u/OT5zB4cMzQQwnpn1tI3eu4qen+83zcrVGXUZeWnFY62yVsAHKiKNWC4sffCgaZAs9adAQ/ML7XJY745CSePOuOzQo3AVY7VCdA21jPKvpAf8QvINWH6TabLrwt6aVmwtBSNl3LFCnuJA5lIPiN3j1Ach3ThoS60gueqlEZuHil0SHsAFouEzqV576wZmZCvaFPTfxNXsiA/nEgEWQBaZ4LqZGPlRPrzvndrMXlDWouJmgwdes46AlSB4sVM21hmj0h1T+jcuyt8+nHdyCDjL5JDZA5OoN27Tt3+LBSkwUIuD6lM19WRo0I94kY/wjvxWBMS1rCJEQBE5HLHSHQhb45YXCd6NRFiwdBx2rdgEP6Tz91LyIEwn58rppklEY7mFSeRhFbhkCotRgLo6XXPn/m6jtAom0sZQ4kVmiAIuh/8jREgL8PpOtiiKHQTVsK/eAKbFL8q+iCSz0Nr9xPzczX2TVp75TV4GeUOk9KBiyZXSsnh79gIg+w4sKI+6fvki3dLBcevwMhKqTrltK0xpy0o9cHMgPzzCCEirmtpjOM3eEONawpGAEaZY64grJ21McA/YN3ECuKuva0or8JKuwQrh6RcJDC3U/CBSzaxy5NWFdrSbBRnzQs+sBO6307fMKrwKwZ4JqHJBuhVmhYjdNWeFdJYjXfrypyFRYqc+fhh4JRCQF3LB2bPBQobLc8GiUR3f5XsVutOdeG0s28XCSfE2QWgJEpC2SBKi68mcofP5DZmXEtjh0G0vz2ao+t1+/ORrhkgzGfrMWiNoUmqZxqLpl/ojJqwI39sMrhGR4AbN83wrkkax6utgJVAnwYf9MaDTfETjonKXZ9ce8GKHWD6E7t/eHXR1J0oSVcdc06O64O1clRp6IdQcJCYtHiV5n1X5bC95pq9vSHhVOmGnitNUY4Sa2NZKNLR6rkUVm209zKHMK8ngH0wctMZ2jHXuIMKHURQoUbvb9NfC42I7XY1rvJGH0L4LaxKTkWXAnuLvUsB+a7cLQAkTdjinxdsTvEBrf6eeOqqWYp/lSZh7gx0MCRDpV8WLur8iZHn+uTjvRdT8WUrOPZiTMQpNVsuTcMgHtU43vHGLjxtR+X70IB56ZIzieDWaFQAPhKP/PJ9AeTtUDhGerVdLNmJcOF6ONFN9fen0WVD1tHBrEZeEaQUBX1NqeQpjXPJidubeG1JEkgkh3hoLihobBZrP9UnXzOpaDlvlw6E/Uft5vPUBwoIH2eVA6sYnNeHizZ3IeapofzaBR01eGRdCEm2ZRZi5xPlZhZXSaYkF7t65i2oYmTYtuf0r/FUYEKA3wYH/R47ay+mCFYH3FceuNqUhd3vLJnYgzYT0i4lxtYOcesj3TSGRtYETAsaFzscN7zUAw9NOIQLO1LvrJty02kAtFmpiiKvckg5+jE2A5cB/rXxAounQD1D7U/XOBBymw/icu7smwWExi3vMZlUn8lHzWBRneDsfNCW7Im4NfsQsVASJXH9kLBz9VdmvQuLnDWEO/2enm6HpsktYCknGGynCaujQoTZQP1Y+5AdS2IAVX0E7ZqI8YqrxuweQgisLPhtZRVD1LNKPajU5AgZ6Ybk3uOx1SeHxU3YC/Dfmhdn4JQuIHB9jBbz8CUNoMt+AMusokBs8dyuipGP5BXJBFDIHU5u4SRapVlacRFklLdrUWAz++9aNOWG9P5QJ0XPbZa+kCpUlPLlPOW1/GDGVq05v65CroGwI4+955cLg02IAzpNrE6DcCzMuCPSWSCyKEZ4PkJlMvv4VA185qdT2bIxSUzaDPGt+wxDFaxDohW+2mZjHxc0iPYtDurYS11JiOsbWn2wRfhFqvWHjGB/k+1poRgQcmrzz/1OsHpKvPhvCRDLBxMmjYhGsY1k9LwEBz1zKCcYZwJsvgMU8zULUa+ecC2btbRrallSk8UgkLG3QFg2VxsTsR3sR7H0/C5puVkYyyTw399u4mg7Io7J1rSxTtflqtngrFH7WC5+enEGzPP5FwV+Xl79jLnHVnDF+HDh7DnkfvrhrazG+Fv9rLCfO1bEAE59RdgksPe0+0eQ+I5zUmVFiC+4pqFqKYBzQuSMHSIBx6FuezKRfXqeRFxwKQDTH9kxdCEZuRDJw5Uvw0A9FPbeFY8P8mmc7MwArdLJuY1UxW/VCc+re778nlxaWB5q62kM/us2TbqHgVB00zSm/AKaFjK5A/WFm2X4TgG7cISptCkcN37SmcuUYuwx19Ma0Wc8uLeifSvWHqlfFMA7/9ajCh1p1yvhcSc/5pETvlu+4ap3QXWLUF0CaOoswEli9PSz5D9/13/stttvpep4g0BX8b3VdSAiLMkCy5jqBTu+rh55YgmE0TIe/Znk209xYnMIXl7JNsvflTqETjY8OVuZoKhBEpgZMfk3ewrChuEX+IKmzVRPLAtaILjHAhs9TqKF/NkeOsMVgtNQXbdmGwagqW/dOoJ3mknX2xDJ2Wl0MDaHDheOzQO9DG92W6/4zZYIyMOsAwpEIwgu7Vc8v5t7OeGZS4J6uFu3pgKGvHV+OGQWnfRcNhmqyWXJDcFnZQaNQrxnjjxxLuSOTQbX42U2cjE1p1jPIQCLM5GPkBu/4T4f0G3Y2pWwSyoDGDrUwVjLEyT3dgwubG3zeUdn77U2gDevJCb8LfQiaHWg7zoiCXYkKI1vYtYNNWncBYzx9zbl2+gRvdai4vtLaysEKPklRvFJpc7WyXQhlqrMCBktMr1uLwsM23mRah6edqn0mCexv0nivhxvdblbZZ8tgo8YnZsta4YZqVEuvBPx2bo9Wmj0bZ85KyOfkxO6EqseCDo0vS0DeB7QEN/6ADN/F8qa+EoTasmyZRasIej1PbYZxU4YMsXtNsxqKCgCtShGd+z5kUOrgLJRWaRG05hfvjUh/l7tbwMTqzh9FYxQYphaXs5fW/vS8y3W6Tp5AoiduLEdSGjI0xHSLEebCcdCuHbhV6caBl2785Wb3epyZMagQrmMcMivJWsyE99LiBTThesDyjsYFs6UAnnyYat3GChZu+3IG2l6hJQ8CVDvE6iTw77aUPEgNhkVfZdIqesYSTvuVAH0TXieGQdOPH2xzHALK0rdvIc2VgIGiNOi6wDI2ixAEFoyzRT+zd6To0D7D0AKaQSInpEb+8WoFjmzdaXzkIcJ/bpgWbi923APHHwtn9J3u0iUiiyyFyOhEKnaltJh9KmACg5AGgOahRxG1Wf75AmQU0VrzEbW2+T21Y8iq9h8TivJkZXmc/6uFihRiCKGAer3Zv+plDR9J1rYTKnf73lc0hqlJoeobL0Gu8dNUTFjKwiKbvCiJQp2rM1R7RREG89k4j9Z3dnXzpwUz/yfEM562LFS89AugxU/M54a9fWNZWQYSYHgv5Ixi+NLJH24aKBY5o1aq/qDWtEjXQX9NbPGsmtpZzZ23L8o/ochmzNcgFTnn/ScnuxyY4ZJ2/9KSVridzqkD0wCSDGqTNZBlFi281ZPwobS/2gwhES/jCpS+wmRwxheiSCsEktVDmYmkNW8a10zJVI3lQ1w/pceaJYu4k3NOI5xu1tJprjvO7YiIaNDjUQWXD6uayukl1g8xvs+Y7kRFjemTd8Ow4f3vBZiAjS8zyGLOJ9fAX1lRYEAhFA1V4zKhYtSGn0jHOnTk/FbClYFSkPtISKuGqNvIXJJRgyzVDgMM0nef1/qXBHftnIkuFpn5XDGbLwnFlrM3tuPuiP4bP9c/wghjAjTAGs+TgtL+tNyi0avxgFMIjKhw09gvcqYgZ0EkueXcLoxGvJn+xAUcKYarDaQcsLl1knUT1cC591ed7g64CRr6cWcjJ3sRiubdPWaqqwLGlpAhQ/B9Oh1oumVOJE3HSjrJutPiJx4/tfeUAo56Mcn3qHapBPOldL/5/crY+nonuegromE2RsZAjTNGKMm+890MWZLsQBuS380TwECytAvfFlWBnNmpMuuN3RnLkaxaVi2ZxGuAnlx+O3W25h5tx2dz2urx8mmPRRmKHTCxit3px/S1oqyD9U4OqmNAKFR1zPpASZFCX3S68lSYQ9uicGHmUY24+43pN0d+okeyf7PVBwZ9WUxeMeCQlAaoixB4AmNqOigy2hTGTZlZTt1rr37+i1obnQhvj++cEaZqjet6nvGGjk+SPdhohRzD8V/K+UrWOlpnK5LLRqGgD82K421zRxCd2YRDO2Z/vfO4seDXobXRIcVXnNpFKJZMj2GsOhWftoAYOFLCezl+KFqlkz+ve21OXgcBmqPkpwgVNSGL2cN+2W1nJ4hdJrFhmOV6SsNC1nmnT3eWEMfmPBlvNMUbd2tTk4v0DzVyeZ/iBXpcd+R+rPOIwACuQdQ6zuCDech+nz5ng9sThAzrjdPOqS8GSxkffmuDqXXIaOsEFO9GxaIm/Rhsl9qB2cg8Sfy++phwsif4DFzyIpBtB2TcnvYWwkqKaSiyKCU0HVz1WbCJIomx1QKAbi9mbhxmRtdUTG4lSNwp45MuoCkYf3tjchCgxSW3C5CQol/253kvRfDYpP/Xh1i87hYCSEN5ayvegiRaTH+POXKnnbpT19wXYKMnKp0n7/+6ZxsZptj6TmVC4g9mbr+7DpNdhYfaEZlv2/3UblZRX6Zre1O0xsylv/Y8wksvW6FYDRXqyql05nHcCUS/NG/7UoYRc5Gf95GzeKCMdg1G5n8KuQqhwC9XtB4C7z416fzyTw8K6juyMpZY0gAt1xiEAyO3pBIn0U6REP9ttyHWZfwsyi+I88diAKJkjkvLnL18OB3EcNG+bFlOxi9tcVgQycMSqp47ftHQ0bXBpsWXtmMZGzNDNUQ83gv70J5auNl1dM+ARamuvYdijhY0FHphEBWUNYOrrxzWjLrNuzN/Mc/CCCiokPT3iTT37RMlYPY3awfaf4u23g9WBGVwpeJwPZsouNnH+NJwuPzKPPiAK4YhWV9jvQ+PEOCkVBF9fjB7CFPVusD2CRW8PvzI4VF234dXxJgwBCDG11XJDuTZNA0wcZsgN4seAceTUqZI3BOaycbvaEb8WttS65R4LJAXjiiU1RUgwgHGDktPeXZ09LQt+XZMbosNVpVAj479UN6/DChhxTN60oX2H0BmW63FH1YrUqZz/neVdENmrdufbYEtfOyu8UDbLNe9HOv4xLV43+XkB3opeqHs3U9v/nSogrrJ0ZgvL2FUoZDVaf2tNVCguhJeZJ2myyFaPvqToEmqa0u1JwPIWTdebvKiBZ+uvezBUD4ul1io/8a33x/K5mXM4BGk/9j8KuTJUjT1RrE2AohmA2r6306eBVu6XGUOU21lVmJwjsWuTxgjhZrZV+fucgpQhn8npWqp410mwcdRh8lNaWLhbWPXje5GPbGYiEuYiX43S5YGG55WWZxmMa6pDORkEPUBjVJEXvXfjOgDvOBIKspdq4bn1RJ3aDsJwtK/OIudUNJiFdOdExOhJXUIBgKdkWM7i914hK91sHSgqFtkzqy3LzbUcODVl/DK+a4/ULMXDRN9DrQ+WS7GBvqOC8fjgdKsEEwMPrGbP6hXfpJxr9u6urq21DLbfmJa2koZkoMrkes1OWtS4I/5mpq6aV2SL6ywKJKuVpR871GZqyHC60tH9OSpTQ/T7Zc0QHKD5T+NUlfSKIpjGUS6MpCA8e1l0NMXa4dd2v3uBH/YmlfKdYaojpCuRVaXu3avTfzTMchn7lfxzIwDDiPK801arsGlBrD/xHuIP6Q8NO29XyzNKgTEUw+9/dzcrsSlVvdivDGeaApQP5nE3sYMuO8Wql4jwoYA/c/ErRB+BZc4JUfQQNwF20DOXO/qEYYdhDkEZq7gsoVqFiR+/eK9xllea86Jt+JgtCoRbYaZuna4CLlXYP4MJ+ppIMCMVp4Gw1GjjK/TxHQ/IihLZH3IV31RwllGCfVt2D4gSTdyN28838KjDtihrG69oZiiLQ/6BNYvm9tXbEVaVIZHQP8c12krgpOzizmrjmrOlK2kIr1ZrHD1KorIeoBFY+2cG1NKxsd/D3ZKrG5lNIeG1npl+6KWwx0p0U24A4kb+Ih+m/7+sVgR5t4pbwuJ3pXs7vjUX3qmlPz6yfx0Orm+CXi7tCkEhwh26XT3VjH+djSf/kaQ0T2HxqTDiU8LboVgxIqSq11dBFTzgEn1bCAAhpkDB43Pj3lCPG63+NDoCd8zEhDLKGM8EEEA+S4+hnLvI1R0kZKNMLyYbH7x1pgetTwxhXJ2TmXcAwcC9E+hc4COGNdqCJm7SSoIQHySYv3zM/Z/aKwjKtG8kfpHd2zzM/YBF2gtZjCiMTNo9G1lqyCkE++gtxmbc1VCL+xzwMJrCHTPK7m0F6tAF5MSGBNk6Vr3jzRaRlRbbAnd4DITj4Y4DtdXceIk1GWfnph3OZUustlWt7C8++BrrhLude835WdtVnO3jr+J21GqUEXRjO6zX5QjAhuqOYg4iXYFjGp3c+JS+v4NIE+NUylR2SCStsGNDuKSFXWU7ZGWx1JtzC/WutEBUrBHAc/HgVB0DMa4htwKeqhOJWhvHY7720BAdxgqh3K8D0uXmpVuTh4CeQLAs4++HcnqgZyXwYgMXi/BQA5+K4KPKQ3tQHr33mdCXzpDSihhVZoUhAi5+5BX4f42U9d5ozRaFYGal01F53pRws21Phah9aeIbMutoE3vv+h+kFigWESYVyfZww0s3Nf9YMdVxyIm5Ov1UhKFR707sYRO3cE2qN4aS5YUJqilsYLTS+6xlPBJD6W/sJpLFVwW9Oi7moqqb7xTRo/226eEwSSsQRg5BP2hNMYj0KBu+KoPgEDnp+ECDJi6OPEB+fUaRZu07b5DJ0Iz0vUR3ejy2dq4ie/Pe2xN0Hc/2nSY66YYnJHEl8NzRlL/89BJ3JFw07VrmOumkDj2a9H5yXLTwgDGlK+KxuTccslOi/qn7ggvl9TtX4bLA9WJcHhtf4d2LQC9SfN+Dh/y0+Uy49wwhfUWlQazAE3f/8M+z2GexvN4dKsS97Ar1QOnzWCnzwASTpzE+x2XeDo3I/+rP0rTDmceBSXyK24IB+JxZ6O0sM1w8z3ETO8LpjnV6VykJBH+c44gJBG7C8nq1J8eBmGRKU8sWLUDRR8fDHEQs1PtijsgfB6cfsKkP2QJvC/1KBsArrTfrQnfLO/KdoeFcQr673t9OLjdKpjcSD8qMOYB7EU0Osq5qK/R/MaOyImAXLtWpmNESEtanfRPGEWUjx7pTuqd7BWUNAO0YTx7pWywaRZ52yPzB0mNUxBK89MXlILwnaUnArTDHcPQDyNfwdt1CbZcrCfhrU3TkkOhzG6bvNaMZtWAJxHRs2AOc3VLEAX+Hd0INRRsPPhVyOQcz3kTpHPVBXZjlqRqk2X5YR+Xtdp4I9r6fTj20c5e9ITB7tEkXVEoqnq6/ct1tCLqliJirpQOnjurMYRRQQBLIQVbouLq04PJGdskMPlAD79g/ijLATJjEK2XWRsv0lSgx3XheCTqKeO8WHdhLx3TskIM7Wlm3PkF/7ap/L18W0xhnYQ+k1X75/ioABUNfCVP5UuWmpFlyyVvJa3h/SEeMUoX5rVjvpv/5o8lAL5IjpoRin2p0jwRulYo6sVtqnmQaqhCiRRBVmpWPQQa8UdCZMkRS102yl0l8xbJWDqF9AwqqIin6UZv6yarAZfhz167RONZP+pouL/4/ina4ba7jHFvSfXOGYzQWreqXb9b2XToFO9wcv1J/2Ni9oYuUfrfA/7qustkddCx4GAqXx6t86FU5/HqfneeqjtD1uzeTFJfHQ97MNsnrWv0gp7DdA1JZm5Yt8pasVMIqlDGFGT9sulVcFfMFir9Rg52Pda7xdZ66ZFlxrtQ1/z89RXZnHs6idAVQbHXG/lDiRPvopcj10k/2/sgVV+s4r8KLDoHQrP6aNTzYtrcWK0mrNHC7pPOrCpZul44/yuzzsClPa6oQz7lFat/CBlzM7PqsQtHsYmHB06SLe27HU88snkz6ezH47xfXnhrnuWXFdvLxz6VX06x4rYjvlD6vDtZ/EdCgfmIwYfTMe0UiP0kr9NBs4glWXmJoyJ/38Mr3DhNKkkwts7UEpjzMNellg/J/RkGHLHna8dg4E3knxO1tJp+k1aeweKwkb3DF+AtWipEFkE1EFHoBLSEVKrzqnj6BUgdQE5V3voPJCB1ViqSckecEoTTRZexEBbpueEXS2KAdTfBmsJeU37TO1Ky/jgSLaoSCU7a8CbBcTd9poS8PGJnfWUlGP3SMgYGhnXtQDyilmm9Gd9Ffg3S3M1OGhd3pT+CcPhZSYa9fDIdjY9gyjvzhRt3VypK2Hm/7dNd5IO3G5sI4Q6w2hJIHtsUJCxts/tMOnjMyWDM+Yvn4XDg2c4D22Ed9TtdZKWT245EV0PQP0X3Bleh8GXIE5IVHaCgTxKsxXmkenPp4d0tAIyATKpMxEkbuX2RlvDOWTpqqyOKQK/32EnDlXLpxeSSJQJfRCXMm/Md5DFZGXG89I+rsX8W70D1hLKLny/m3+Pd2yvguMV2uTrLgVm7Exb+cu3BaaaYMxavk+j05six+njSgYgzHp/9pkh1vyJ" title="Mekko Graphics Chart">
            <a:extLst>
              <a:ext uri="{FF2B5EF4-FFF2-40B4-BE49-F238E27FC236}">
                <a16:creationId xmlns:a16="http://schemas.microsoft.com/office/drawing/2014/main" id="{6F7438E3-5D5A-A1D6-9736-60F5DEC89FCD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 bwMode="gray">
          <a:xfrm>
            <a:off x="338395" y="3737889"/>
            <a:ext cx="8228111" cy="2622940"/>
          </a:xfrm>
          <a:prstGeom prst="rect">
            <a:avLst/>
          </a:prstGeom>
          <a:blipFill>
            <a:blip r:embed="rId19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AutoShape 4">
            <a:extLst>
              <a:ext uri="{FF2B5EF4-FFF2-40B4-BE49-F238E27FC236}">
                <a16:creationId xmlns:a16="http://schemas.microsoft.com/office/drawing/2014/main" id="{BB5116CD-7B9C-D54F-F457-1FA5E4E346E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599" y="3276599"/>
            <a:ext cx="2138117" cy="2138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58" name="btfpColumnIndicatorGroup2">
            <a:extLst>
              <a:ext uri="{FF2B5EF4-FFF2-40B4-BE49-F238E27FC236}">
                <a16:creationId xmlns:a16="http://schemas.microsoft.com/office/drawing/2014/main" id="{D5F8584F-D759-74B9-A60E-FD62CDB0D3A2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56" name="btfpColumnGapBlocker704134">
              <a:extLst>
                <a:ext uri="{FF2B5EF4-FFF2-40B4-BE49-F238E27FC236}">
                  <a16:creationId xmlns:a16="http://schemas.microsoft.com/office/drawing/2014/main" id="{042C9AA0-F8BD-0A07-3896-7D6F58D4F2D1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54" name="btfpColumnGapBlocker895994">
              <a:extLst>
                <a:ext uri="{FF2B5EF4-FFF2-40B4-BE49-F238E27FC236}">
                  <a16:creationId xmlns:a16="http://schemas.microsoft.com/office/drawing/2014/main" id="{39AF743A-ABD9-4263-9CC5-71FCC50A8389}"/>
                </a:ext>
              </a:extLst>
            </p:cNvPr>
            <p:cNvSpPr/>
            <p:nvPr/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2" name="btfpColumnIndicator970892">
              <a:extLst>
                <a:ext uri="{FF2B5EF4-FFF2-40B4-BE49-F238E27FC236}">
                  <a16:creationId xmlns:a16="http://schemas.microsoft.com/office/drawing/2014/main" id="{F5B6E5CE-E423-A740-F4DF-0985C298B88C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btfpColumnIndicator912975">
              <a:extLst>
                <a:ext uri="{FF2B5EF4-FFF2-40B4-BE49-F238E27FC236}">
                  <a16:creationId xmlns:a16="http://schemas.microsoft.com/office/drawing/2014/main" id="{9327645D-76CD-1510-38ED-0F9B00B401EA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btfpColumnGapBlocker421156">
              <a:extLst>
                <a:ext uri="{FF2B5EF4-FFF2-40B4-BE49-F238E27FC236}">
                  <a16:creationId xmlns:a16="http://schemas.microsoft.com/office/drawing/2014/main" id="{192093A6-041A-0D4C-AF12-BBCB58353B67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5" name="btfpColumnIndicator728106">
              <a:extLst>
                <a:ext uri="{FF2B5EF4-FFF2-40B4-BE49-F238E27FC236}">
                  <a16:creationId xmlns:a16="http://schemas.microsoft.com/office/drawing/2014/main" id="{3384ADEC-310D-38C1-2626-E565E5ED6FF5}"/>
                </a:ext>
              </a:extLst>
            </p:cNvPr>
            <p:cNvCxnSpPr/>
            <p:nvPr/>
          </p:nvCxnSpPr>
          <p:spPr bwMode="gray">
            <a:xfrm flipV="1">
              <a:off x="582572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948556">
              <a:extLst>
                <a:ext uri="{FF2B5EF4-FFF2-40B4-BE49-F238E27FC236}">
                  <a16:creationId xmlns:a16="http://schemas.microsoft.com/office/drawing/2014/main" id="{1690E60B-E8F0-F59A-4353-9361E907B47A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7" name="btfpColumnIndicatorGroup1">
            <a:extLst>
              <a:ext uri="{FF2B5EF4-FFF2-40B4-BE49-F238E27FC236}">
                <a16:creationId xmlns:a16="http://schemas.microsoft.com/office/drawing/2014/main" id="{355DD49D-9FBF-4FA9-E750-B83BAA2D2FEC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55" name="btfpColumnGapBlocker401695">
              <a:extLst>
                <a:ext uri="{FF2B5EF4-FFF2-40B4-BE49-F238E27FC236}">
                  <a16:creationId xmlns:a16="http://schemas.microsoft.com/office/drawing/2014/main" id="{12EFE0BB-D90C-0A12-DEC3-DD7C61CF10B9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53" name="btfpColumnGapBlocker670224">
              <a:extLst>
                <a:ext uri="{FF2B5EF4-FFF2-40B4-BE49-F238E27FC236}">
                  <a16:creationId xmlns:a16="http://schemas.microsoft.com/office/drawing/2014/main" id="{1A68AE28-AAE8-9DFB-FD2C-DB5BBE0C4EAB}"/>
                </a:ext>
              </a:extLst>
            </p:cNvPr>
            <p:cNvSpPr/>
            <p:nvPr/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0" name="btfpColumnIndicator251522">
              <a:extLst>
                <a:ext uri="{FF2B5EF4-FFF2-40B4-BE49-F238E27FC236}">
                  <a16:creationId xmlns:a16="http://schemas.microsoft.com/office/drawing/2014/main" id="{0128497F-1B5E-BA99-3BEB-08BB64B6C260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btfpColumnIndicator184195">
              <a:extLst>
                <a:ext uri="{FF2B5EF4-FFF2-40B4-BE49-F238E27FC236}">
                  <a16:creationId xmlns:a16="http://schemas.microsoft.com/office/drawing/2014/main" id="{873CCE4A-9C7C-C79F-7E5C-C1DEE5DEA811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btfpColumnGapBlocker708390">
              <a:extLst>
                <a:ext uri="{FF2B5EF4-FFF2-40B4-BE49-F238E27FC236}">
                  <a16:creationId xmlns:a16="http://schemas.microsoft.com/office/drawing/2014/main" id="{A191FC74-1AB0-1CF7-0554-0DA1EA9B14E2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4" name="btfpColumnIndicator935463">
              <a:extLst>
                <a:ext uri="{FF2B5EF4-FFF2-40B4-BE49-F238E27FC236}">
                  <a16:creationId xmlns:a16="http://schemas.microsoft.com/office/drawing/2014/main" id="{A7F44A9F-49EA-62D1-E077-7801B9CA62AD}"/>
                </a:ext>
              </a:extLst>
            </p:cNvPr>
            <p:cNvCxnSpPr/>
            <p:nvPr/>
          </p:nvCxnSpPr>
          <p:spPr bwMode="gray">
            <a:xfrm flipV="1">
              <a:off x="582572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btfpColumnIndicator354037">
              <a:extLst>
                <a:ext uri="{FF2B5EF4-FFF2-40B4-BE49-F238E27FC236}">
                  <a16:creationId xmlns:a16="http://schemas.microsoft.com/office/drawing/2014/main" id="{C9189560-2B0E-1193-4ACB-C0BEEA55251E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1034505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verall_0_132119032871751368 columns_2_131703628512209970 12_0_132119032882091462 16_1_131703628781553552 10_1_131711414733451698 23_1_132119023857318334 </a:t>
            </a:r>
          </a:p>
        </p:txBody>
      </p:sp>
      <p:sp>
        <p:nvSpPr>
          <p:cNvPr id="10" name="BainBulletsConfiguration" hidden="1"/>
          <p:cNvSpPr txBox="1"/>
          <p:nvPr>
            <p:custDataLst>
              <p:tags r:id="rId6"/>
            </p:custDataLst>
          </p:nvPr>
        </p:nvSpPr>
        <p:spPr bwMode="gray">
          <a:xfrm>
            <a:off x="330200" y="1270000"/>
            <a:ext cx="72768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Title 27">
            <a:extLst>
              <a:ext uri="{FF2B5EF4-FFF2-40B4-BE49-F238E27FC236}">
                <a16:creationId xmlns:a16="http://schemas.microsoft.com/office/drawing/2014/main" id="{D4ADEA4C-E2FD-434A-AEBA-7D67E565C2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"/>
            <a:ext cx="11541221" cy="876687"/>
          </a:xfrm>
        </p:spPr>
        <p:txBody>
          <a:bodyPr vert="horz"/>
          <a:lstStyle/>
          <a:p>
            <a:r>
              <a:rPr lang="en-US" b="1"/>
              <a:t>Paid search spend &amp; CPC: </a:t>
            </a:r>
            <a:r>
              <a:rPr lang="en-US"/>
              <a:t>Only US Pavement is actively spending on paid search over LTM; Opportunity for others Pave America brands to start investing</a:t>
            </a:r>
          </a:p>
        </p:txBody>
      </p:sp>
      <p:grpSp>
        <p:nvGrpSpPr>
          <p:cNvPr id="32" name="btfpStatusSticker447446">
            <a:extLst>
              <a:ext uri="{FF2B5EF4-FFF2-40B4-BE49-F238E27FC236}">
                <a16:creationId xmlns:a16="http://schemas.microsoft.com/office/drawing/2014/main" id="{43A17444-C792-8F46-D763-077CC9F12EDE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10102664" y="955344"/>
            <a:ext cx="1759136" cy="235611"/>
            <a:chOff x="-2269853" y="876300"/>
            <a:chExt cx="1759136" cy="235611"/>
          </a:xfrm>
        </p:grpSpPr>
        <p:sp>
          <p:nvSpPr>
            <p:cNvPr id="33" name="btfpStatusStickerText447446">
              <a:extLst>
                <a:ext uri="{FF2B5EF4-FFF2-40B4-BE49-F238E27FC236}">
                  <a16:creationId xmlns:a16="http://schemas.microsoft.com/office/drawing/2014/main" id="{842E1459-736E-90D7-EB2F-A00CB72F6E99}"/>
                </a:ext>
              </a:extLst>
            </p:cNvPr>
            <p:cNvSpPr txBox="1"/>
            <p:nvPr/>
          </p:nvSpPr>
          <p:spPr bwMode="gray">
            <a:xfrm>
              <a:off x="-2269853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GB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34" name="btfpStatusStickerLine447446">
              <a:extLst>
                <a:ext uri="{FF2B5EF4-FFF2-40B4-BE49-F238E27FC236}">
                  <a16:creationId xmlns:a16="http://schemas.microsoft.com/office/drawing/2014/main" id="{CA65F256-00B0-5761-21D5-02E23ED391FA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69853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btfpRunningAgenda2Level596989">
            <a:extLst>
              <a:ext uri="{FF2B5EF4-FFF2-40B4-BE49-F238E27FC236}">
                <a16:creationId xmlns:a16="http://schemas.microsoft.com/office/drawing/2014/main" id="{4B20A0A5-CADD-ED54-7B6B-B4FE6CF903D0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0" y="944429"/>
            <a:ext cx="2463844" cy="257443"/>
            <a:chOff x="0" y="876300"/>
            <a:chExt cx="2463844" cy="257443"/>
          </a:xfrm>
        </p:grpSpPr>
        <p:sp>
          <p:nvSpPr>
            <p:cNvPr id="41" name="btfpRunningAgenda2LevelBarLeft596989">
              <a:extLst>
                <a:ext uri="{FF2B5EF4-FFF2-40B4-BE49-F238E27FC236}">
                  <a16:creationId xmlns:a16="http://schemas.microsoft.com/office/drawing/2014/main" id="{F7523990-9FF9-2AD1-E51D-A3A56607CAE9}"/>
                </a:ext>
              </a:extLst>
            </p:cNvPr>
            <p:cNvSpPr/>
            <p:nvPr/>
          </p:nvSpPr>
          <p:spPr bwMode="gray">
            <a:xfrm>
              <a:off x="0" y="876300"/>
              <a:ext cx="2463844" cy="257443"/>
            </a:xfrm>
            <a:custGeom>
              <a:avLst/>
              <a:gdLst/>
              <a:ahLst/>
              <a:cxnLst/>
              <a:rect l="0" t="0" r="0" b="0"/>
              <a:pathLst>
                <a:path w="2463844" h="257443">
                  <a:moveTo>
                    <a:pt x="0" y="0"/>
                  </a:moveTo>
                  <a:lnTo>
                    <a:pt x="2463843" y="0"/>
                  </a:lnTo>
                  <a:lnTo>
                    <a:pt x="2409122" y="257442"/>
                  </a:lnTo>
                  <a:lnTo>
                    <a:pt x="0" y="257442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3" name="btfpRunningAgenda2LevelTextLeft596989">
              <a:extLst>
                <a:ext uri="{FF2B5EF4-FFF2-40B4-BE49-F238E27FC236}">
                  <a16:creationId xmlns:a16="http://schemas.microsoft.com/office/drawing/2014/main" id="{4F4130DF-5723-CB32-78D3-9596BA3FA9EE}"/>
                </a:ext>
              </a:extLst>
            </p:cNvPr>
            <p:cNvSpPr txBox="1"/>
            <p:nvPr/>
          </p:nvSpPr>
          <p:spPr bwMode="gray">
            <a:xfrm>
              <a:off x="0" y="876300"/>
              <a:ext cx="2409122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paid SEARCH</a:t>
              </a:r>
            </a:p>
          </p:txBody>
        </p:sp>
      </p:grpSp>
      <p:sp>
        <p:nvSpPr>
          <p:cNvPr id="19" name="btfpMGChart469693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dJY2OMwf8mgoXWrd8S3Dpr8K8e5QDX9l/GOurOelpINCJLA3EC4Lci7vMC6fiShJ1UHdlzzodfzXVhfa9I7ytnjk8UxGhLoYCoYswL6v0jmUqyjtlYKGO7KNrwdR3Jtqv+irS/Sfzu5qGHNY/GWRzcMCJB9+nhml2tFI3rlve3tOSrKeIxWD9P70wEfe8SJ6/MJPLqB+9+ChibGUJZcZ79MSo2j5u3APi7IPvBbU5vnnU3oHNXYDU1pQpsZPwllRfSorraV1v/13W5stHj9VkwYm3cencw98ByET5gQ2DWVEgqSQZ/W+iegWBwc5uL0khqyxbvZmzhy+TW1I+hoIly2Srcjlg6MINbVVTjlASA9tDfjsFtpO5zohwDAqdS5+pAMb7NLtOUJY6aov3b5A1TdPqlMGX0rq9jmFFJNQBHse1nyBzFX7iMzvSEeDw4MTssK9PJct3A94ondDsfom2zRrF2Bx70MVq4MRQZMslzFkUaaJGFcpDmhsUFFu/DBGnzjWABubxD7vwJ/cJrpSTUdBFqOjwCoQ2qOtrBRQ2DsNaylW051KKW7jbxU+GXfjYsevCnYnbmNFCTc6aOlW2HR5i1JBy/DcMGRFRMkHPbtv29KvN5XwsZQchybZ9p7DCVlmsr6HORnQkfeOh7Rpt40QsHtQ/pH5YgjqmUZ3LILR5fX1SNSQPDwoT5hWs8LYcHr+fIyCBqsXfJpmomvZfo2qySyBQoH/cQJ0iBHv3v0Cdv/Ug2Fb7VaCgF2AqCUmKJv9c1/l9kTnRyMCaStSdvMgnBfSB/zOq430eXUM8myupA4ib+Z1i1RdDMRUIVvbPxzb9A+/PFvIwXLlfc3U1CGCzBrdmnHzvkakYFQFmu0P99yksfMFf8y9ofnGLxjMvLzjQszAGjASGAzPsLnRghRBNiqz/qGdBoZ+HrtYh8ZyKhb+zAbzXbXk7DbyLAt4gIeoQtFipX6N4CQ08KG6Go5jrU1vr8dDEL4JhRoMJKQ+R1B8E7fN/rgsUtTmiAxckMy4tfdB2Xxcfv9kNLFXbo7vul9EfnZIQhE+IhgJpO4NMmmpjWK/u/2cTR22v/2cSFbTu1OCJEq3nSxRK0UU6b9l538c2XjJJCPIjnfoNTZjrlO6TM/0HmsHcleRyE4BxFeBcM/BciqxPdL4R1MpgTeAEra74jcnb6Dcr/c72ZEKBMeGpOrVwjkUue3stYCPt9XYeFNw/iTRDEnT98H3wHPWObw9rKERF7bJXxBG//9uNIOGD1fZzv6R1l5KUXXnoan10mR6494k/Y93sktxhpoKa+kH7qRxHjIDHaBfNZ5A+xjRtcZRrkcv60wAWggeNUYOSJfJaBfJcJa9KOw3l6TEvkEJrBxoQ8q8Mh+lwMwCCYhZ86BiwjnD877XTbXAUT6rCBY2TK+XLtktOCeuGd8BErA2imKj1/IFiGMkPiSkg1mko4HuHGquNNLk5Bhip2hNfHoPzPCeXtLjSA/MBhHbwFO1cQVKyEZPbxddXbTDFqqh/pRNnUadmS6oUWVGm3Ut9m20TpCh+In872S5f4k2ziCoAL2QUQWtqKEqPpopJV0g0nOKlmdTvCzhO1Sab0gTKI+z+f2C0YIDR9il+XKW4rZDbs8yOvvO+2RbbQ9bGSN6m+YqYVWb1LIC2fd6YC6JDtUVNn444QTjdQI9aA26HZ11BP6Kt9bRjzj6D+h1pJb0+XjpryGkEH/tBVC48o716o3+rZJ0qY56qMHTW75OR3XGMPVh/oyHCvZEdhU+GT/jVRDoCwjudwhX6t/kP8mAJCCkQOuCWHEOlBc7GdRn8fpipJ3XtkWbHPyY0yI3P7MJ0jMQlH9rX19IJcr+F2hK8bPQHPwZcjJm0iyc3NjHIR1lgnoaETfqeiObnWAiRryWDrIwDOs6fPRhZMLYnfumXDx3anXLJgkYpztXFftLEmFgEPpjD9AqqSuv/azqf4QG7YjBQZ7L0VNdoODdjBimnENw0F96FsNL1Wk7Gyi7TTUiv38ekSCNEPfeXJAy/ymaZb2PC8Q02uBicQVg94tcNdRpftyMhUizoBlkrJyJGLoixkNMMV9VNnV2Z3hTEMBo5gHaU2WQrGW4mVerEwbhNyz1ukcnD35q572lnfOueh/wDKlQtPt9KsG/Lz+792CbOSs7ItHKkp3alz3q1gbTh43rrZAV0UZLMDTKRx1vEDZBXyDKd4MgW0UA/N3XzIG6Um5cX1d7mkQKJDRpI8n79n2usgqjqFANNZLGm4rsoUYDX3eGdfUkGOOHPDP89Oz+/WE8ATSjGIrospYMSWixMIHdC+cEGkigJCnEBL5khNe3e2hJv/K5usCeWe0s89pkn++c3RoomhO9IZaxEs2Ay2GEJwZnhvj1+ocQ/tnmZX/LF09ZgKM/ki5w3g+Xei9lJsJeFuVnAZHgUbiSxeMtsZ+bPfV0MucnIHz+e6ED//n+kEqibRBOqBrym7YY/EAraDPWbuZBIdYcLA1/v6Xm5RngGQ43zvln6jBnY2UwK/xpZ8X6reJGTv0GoEcR29ObPmoUB9z5j8JoNV/w11/OdM1mAq3zR/58Y3fu6jJweiafLpjkMKg+G0e1a9eOdb7CsWWkbPvWuxAodSXI4V1sfWWk4VFPD6Q0vmE0MOXl67M1wjJdtjvhU/ywBjIaB0B7qcOcNUEoBA5b/JwaRunM9aZn/Q9cZrkuO6TjxyxzB2MgCVbhU1AFs7XwIKLK0o9TyGkgoGwcDfJ44vk7GI7pyjsbch40SZTYgE14xZUKzhT4GMYWElghe+mghybKmV8YbjMz7YLd2rDzukAGnNm2sh0F9L03WTHwM1vyItfo7zaTQZYaVUZu+ItvccEZJky0JXnKBm4DDyEy+OV0LnnYM5NBzcQruPa1QQEhohaeX/cZmBc5GFbcHxyPYpesJWx/nbqpZqZLQVrL7bbgcj5S4QL6PFUke1jO4SwMXrzqoSc7/2Kp2X6acZs5kYM+gx8Vf1rLOmyoUEy8+lZtJxQ9Ry3sxzEiTD/02D5b6jrv4t4HiOiPnpf65j5PA9uTP88713qjqcs4NETgLPAte9iCQmqmLYdmBp6kUEMn9sTOaN2uw0RqhGn1GDTDwQYmgdBqDv/cHsBJnTt/9hr99OIq/EfyRa8HgnGOHmTdHFlk6HT4V0Zjif5keZ51OxbgtNANr5wGdkioI9BOp2ZHkdhHwMXCWfkk77LkUyaSEirjr7GRj8u8JAGapsaLpPQVFKzEBbgNFOUiWHZ/ExWZGdRBTl2otudeCyh40ceP+1l5x7UzPVb3xKpJYWSeUg3f7Ulj1WUesIDVMDfL8JQQLVLwC6krmy17y8aZtPgB/3gaXIdvrWHq45CPtUBr1K22FKRF5QjZVcsDTovjcgYP3vXmMp/8OoJ6pRtfDUgc5yBDMUSv3ZzclAGbRlvCurgtlZFhr4mWPesuWSSIdjG3lKf24Tdz5pLZb4Op5ipH4tCcRh4p9QTXgx3QKLTVVNJCIeli0wsamtsGLeo4pP9BacpBvm+Re5EO9EXG45JmiPbiAZXGZKsaXNRo1qicTU7BJPPAeCqZsB2eKwIYv9R7BX/A9WzziwUW1KSDozx3GV2LLuK4oUtV/5JGLyOtj8WRFWwwuGGSx/iro85swO7d8bPH1fjcqPLXcQSowcLZZTY0bciv3SQP82mE7TmT6k6/88+GbrNeJVLioWqG93JYgdlc5Salry1aP38IJpSj54SAxEpXInopSER1hPO6uRzTCYiBjLK6roAYwQFvTbpb40I0kFAFzf9EeVybzF7kodd+tUG80b1ptpo2EdMVz1w0xN6iek7dNwaMYicGtfzft3t2ppqbilZeJ44SBAE2WjaWBh2Cwtiy1SNKOVf3DA+4G3wY7eQ95DEsdtEvkRNqWM/Pk03J/21nxcuoVGOQY0WgVy2z9X1nyFesXNl5g2pb0tBjFncfeKR+BfwDnza3K8V2szm5D8aLCLWbDWQYaN1O/Wqtt+u6FeyVJz0xvNiPoTW1QUzAuIttGx+olCKum7XQ05Rof7wQiFGcfy29dlm53kjGCdhDDi3vxH+ve3XjjIDcBAMbzosT94UVk4SMvG/8wCE1a1N+s55ajrALBJe84YS/ZJOGvYUaaSe779/XxM6/ReZflPKySdg7BqLSa/48fpk/Aru8mstQjuzHKFoK9zOeXJC7eDVu16Eogeu9inktm5G/kdgQxyBGRsHzBi28b86AlQBX/kZxzBEbuGdl0KK66yLTQDteQ4/XpKj79ocYgXd5PmweEVcObeY0Mh9bXVSbP76wYiQNNO5BsTD9FnQ3974Zm5ojU7b0B6Iam8lXZpMnBUwZ3gNDWvGpYNZSJeO33A2dtXJVvzbHC4UXlqWUVsQVfnVM6I0mFFi6oQKK7oHOn9WYtw5p2lIjTVRmugCQk6MwnAuWCCbnQp7i0vW6UusCEKcJp2zgLel0phaMfjPKygDyKX1qeGjmAJGEaWR1nankWPPYEfH90XW3kmwQgA9L37DZhOehBF8H1dJtbFfhdEYgTrDbtErqjEAtJJRDzjVRKyy9QUV3ShzED5bmrNbHjQpHSYdiVO2jSeuTwMhq+3eD/EL7Ak/qRvFNjgqxDF3kAySU2eBxYUWjYrY5V1wjwQSAuBcamNJT9jWVmS2Ham51V16wrIkV3iRz2BD3Shb/bZEv5q+e4lhF9rzbily1HhH4CY2v5Z3Ogz+Xw5ATLKA00FZ2t7BQLPuk7LOdy7Tsxojf6rZSSQbvkfePG4bgUGEQDi1iNEg0M6rGhkT3Hi++aPsfqHh58gpxoTmre64cOXPNpte/AbHSxB2lLRkYOxzHcXqvUJQUlur5rq71/NdcxZaRfcF9yD4FgK2lEAaIuj9+sQSkSegz6248uvp/NM5xralJyjJu2AYWF9MFWZuciRo8Xetc49bdSEq3tpU/NoZu6S2mOSK3somhIASNA9Ho3vrQlk9GI7efRRQOKEYWBjTH3nx/ho+57HYeZyQCQyt6Qt6JcUIeMNC7gpTW4EPfKXrmHxBby9GamcHI8kzYISPoK39Nu5M0sfHzurWsRddetypWjv7ElyHJKua4vlkXc2xsiiOLc43pSHmByANuKg9PFU5rtkjlfYXJGP6WJWPn8TIgruBhkvv04Z39GD0KsBq8s+MmV1Tv71CNpXs37k60vcgkawaK1Uy3Dl0srqp/7Rdq1WQt7uTUMwsF9GW1bBtKD8bz5fOM3HIKSBFiWkHrjkgFxMbMDkSdLHSozNj0wnP8o2nEGq8LsvIGkPZZL1MICAZfunThPErlP143zyPojMkcsVmXdp3PnUtyQZb1t3+KQbtdR3xqXi/QGt5cuq5t3h1GzBt3Y5wNBtqKq4vFjuC9FPAIAqiy6AQd+lWoD7zgIekmAKSxczQrwGbaieorztEfO97cNn9LKfkzhK+989NhMbP9zD5gRI0DqZY1Gjo3L/m6DrphUXtcAfIxUxYkh9MUkcfN0f4F6R+kwXdn/rEwriSZbL6M/N0/lY7A257Xb0KdKAA3UGwRv7pW/OD+43qJn0oOKb9Ea0OqqgdRW2L1MYiXggJ8b4N0AvQkEMAVB8apRJDJ8YAlhyoxWyG0MbGqu6WbTJv/41zC0jrg4fQLXjc6w9lpifI8u2TdPF/wKp2JY74Atbn+O2gApDD+bj1/1r1MCzJYfmh46q/NeYZDwF/61wbKELuI4bgqRxNNHEtsNN+8ARdurQTa6L7SR8OV5yFVUcUqBfH3GElGJ/qpb8l2V+R+STQB0/mYiNd547S9oD6UpKMbd+L5R2bjl97vHTKS1bwV1/e+DJeULlgj4wAqWqoZt36F4GqSsZAWMduYOrAS8EMbVcD56mLqMwuJMYrOMQeGhxfilHrIgtMloOMnJD9mPHhtSEmGKl0FPzYbPeILZcjAC+dowbqk92USqAlxVRrYxBKZH/flUvuRf9FsOKdsqeipJ6LPrlJCwli9SZA87bUqsDfti4Dmq9dg27p9nZt7Xov5y5npYuXHOzvIaZnneNoeL1t+xT5FvyaEK41QMfPHiaBOLibgVDpWRBzkkjliq/jKxAfW9RZQ7ZS8JsqBbhShZeK7P47Wg9E5xR4N+qD4S82XbDCFeP7hD5vedGwk5wZI1+Opi0U9nQ9unznVlOjexfpckZMkbvNLcEftDObT3VZko7xptELUMGkK13XaWSiME5VQLH39Z5qJczf07EiitsAEEJzjlYtRLy5wUGtk3TixqolmjogZH2HEXWl9JTjeWuNaKgtfltOhe9G5Rblz/Rvig1XlHL2X3FxmLKo/uMJ7D6jErghLo3N2G6Hf71JJJsoHxkbuLwD848AsxRFVFFtPX/MZA43xnnfWsZ2vrL+6spboldWKs4x1m/p590ph1S+QYn0NqwoYmA6k+DDMS3PfYWGm7DtOXr4J7kHT3GgsWI8Xk1QzRmhYo9SjlywzloYa6fJ1N33SHHb1ifEMymBuS1d2P2yNuGH27RdolW9HKAOTufpnpx10Vap0Fk0PGvRJ8xkLE76lQGl+MYYXJ0EZqkv1BYbZfG7S4UQwTwSJfmr1+hDHj3IyKHsPuaTLxX42/Dk1RkYitkNtVK6bS+y6edssErI3l8AKQ7uLM7EFVKF5DlLzmdJcUOkcMa5Rz8aaXwCUhYbEzexrIBW8EFYRJtu7FhD1CdtZQn0BmHX0evCrBLmZLthlkSf3E+aLZ9wpq6doWDau5omxIoouS168Ntn86bSj/j9GafA6N0h5wm4B2lH56BUaBLqj/rDxB4vUAZmZoqfQotugELST6gd6kRKYUHoOaBDpwFOBG6ToBkdAkBi3qXVOw5qNVQerR/wGekbQn7K2ees/KV4OtWGd6d4IyO6ak2aHcg4xidoUwgIHe6e4F4PqMDvxNiZS1MPpZ6CHyvjXBUHL79cI7dOUX9byJ2i7IOSW5wVD+gV8l3HcxfDDfW1RKVXTnQF1CbSzaU1S/LfRV+8tesuVHPfv8zDCh6rEiLt0m4zkuw25N/+epNPqHd2nXlaFXDzFstUBe+eikOAYwGnwiqub6/W/293nO5z+N5MnJPJ0NY0HBX+wMCDJkxm8AYxG7Auyl+lneNK7vY6Tob7GLBjV99GvEaG526o1wyD4t9CRHRVdouA1+5SI8+VoMXY8m5NtOO/t0XQ9fJgAoFm/hVEgM4uTvzabDsbJpVoL6Dps5DV5+DlTh3RRvRbw/fHLUMPVL14L+Tez26ncrppFcbTNVPpe3ztZXmV4wXVAO1Ae6ZhaTTRbjMhiOExrYAtszBGcgfenxGid0poqiMNBz1jHLxMg40xYadT43P1yZNOC4kVbyIu3b26zIlaJj5aHSYQ3VDfPHabP967AUiDfvj4ngaxUk0vvHcQhppBqhA0DJNsXOZ7NiWuCHDw5iiZlyrmzVqz5ln5GeIhQ+SAK5e0QW509XoNUR7Ej2VvulDtMj7pKuP4MvUiOAqO+Po39o4qOtdCOZUDAmsYRQF7VrvXprWXYza+FaxhoX7gHrjszSFmXwzUX8GNjQBifQO45ZUDmVTLWfN2VrYGxPyYxW+B/Jtqs2/L+nRN4DykzHJ0VhJlaB1ynKtrVHPucAt8pzNVeNVBr6Sd20+B+7tusiDJIs6rnLd1O4oV20mCmEMwOLPv9gDzvBWzqhHdloVIYpbY6dUG2qCr2xioq4PuMwBfc/63Xo4uOIq85Go/k6fJtBVeBEPp1SfDITAc5zCgNpI6uuJR+zpK9efdGd0c+hzLh8Me2xrmN31Cp53XlGY2Vf8474fyzuFpvWq2uhM2f7Zic/wfflOfZdodoN5UAvctLvCgkTMmmHtoV01uRnC2jmu8bkE7ENzz6wX64Tbert6KuYk9ZdjlzLTmDpRZXgnzT7eNqoBIqkXdKLtDzhlKvln6xhk9x/AOdjDI0MBctdgRANUeBy8eI3fYnfuxAjIqZMfrUtDWWa52/u7pLSpm5s7j9JXM9+G8JX+QHNCXPKN0lOPIsAIaWnoyO9osAwuG1DBjLBx4551uU4jxdNp5a+BSkepteGdWesUwG103gKWHqUJAVFPcUeSvzvj54aY/AAyi/0ixppeY2slgYz3VXZdiaX87IlBB2/IbR0pQ/pEiw5/K7517T9UbCX8AlT3//rOi4nt3tVcqeKi78Q3dmOcQY6NwlIlmcA9A1lCPAA2WzZbmFqudf5boCGFUanCCYv75GbD97FqB3FqIxXyheZstmTy+tc3JiEqyfuWHVuxsCoKkCyJ5paHKu/SiGkE3CTGj5cFG/kqzoAnRn1gFJbdDzu0L5JAUynz4hGMsmjtN+sq4ZGKozznvA/hrcrjOMmlbRSjCdh7i3yCB6DrTJXOfr8DRmkM5SI7XXO3tjTuPxVnGMBi1f3D/tpiB++PAVYnKK/jRlDgavZV3MekTrgDDdRevY7EuflvDADbaVErEyYHYpvLmI3uNpRIlAZrgzvUEiPdwOQPJzX+ffmLsGrhg7edEYDoYYm9AO9plShExWv4zNnyiNZU8siUFvE7NKLdOuy8Ak3SV2UbHUwZm2Y/h2Oi1uBaNJdu0Y9r/DVhtdtZ27ggUwiStUYSpnRXSvX6bwkcUzbFNDtlWc4f4qNOAB8p8jYBelA6jj8rkUv2vqPP1TfaOOe5wEY7A0ag8dShcNkV6tBbDOu2mb53JU2Qh6mx5qmgW4j7jGDFTxHz0JAnY+yRx35CBPr4RD9TxZFs4IyGkPw+xHO1sbl/Y0D5TpE9HzU7opitaKXjZ+N/r+OoSTCz3YbJUKk6uGvAlNCkAV7Tcx5zyJCl6Q+HkmfnY7RJ2sfdeWmby1P/z4oKb1RAuswhoehI5lAGSzcvkFRhBEynjurzaPAtVB+Pooy89GiTf4ajJgPl3nCC36eRSnXX5FsAmnayPXHpjcceIsTJ83UmxSrPjT/KrK1iElDKWZIjlTjFFxhsN28OdGHSP+NaVxJICqX2oWjU3VnqtkIvRG5OL3A0KpP4Hkg3ZkKQsQtGQFwKHgAI0U0Yo27qA88JcfjBXl/Kcj2AI1gkrpZp9DIRg9raJ4rAX3DYtfRZtMvNNBa2ZwWMWLB/q8rKC8GZ7mhNccrlHSQPjR9AHA+gxACRIZXSHXWQCsvQ21REFi1Neb35kLY0+fpRnvjnbxdcKGNYLL45MvGQY/WHJgFKVFB4D/AZv3Ccp4muZ1FzEYyTyuB+O+8JOgzsfQi9v8U2xtGwQ56sXGCIrZR2kH05J7tI1mSBjmGJTw1S6nHRRYWSoi4bkCbwyooDlSiEx/W84N9XU9Mh7nRo3aepUToYQrbce6vwZJrdJdgDS3w+JzgguB807kteft6ChdqjGVMBgwho1Nc2AenpIcKlWLvFb7XhTLd7SmvC4rt4UOZlQymf2Y+SzbFYxUYAYF0eUXxt/u4MCp1HqxftvBtPCGy/vrPV/H3xcf65Ya+zCznLvJzTvivmaojloKt6nDZsBa1uQz5hvR+YuV+BGL2+EJySPkwDKl32qOTtiD3/mWT4p44tJmwF45QSHjNj+eSh7HaTJwDr+f9ZY03n7Z+DxRSVWEIzCiuRFzAb5z4fBM58MS6eUJLfp3bY+/52sO2iV/sc14K54fjPEswMGCWX5wlqsDUP+voNPSEX1OWHbDvUyFScFUyoJ7/TOFzRNfjzh1BO+fSk3dOSqlROpYN/VxbN1Zmebzhpg9K043rZw4Z3QhrZVrP+sujIyaRTML5NIIu/moYcIp96t5T/ZLFeDjtHfZ+xIdj7N3SZYtwaVfzjvH0JaZOaQoUi0OVzBeymA5DsZlvVDukACTbQ93MrtNshrS3zknwso/w3uIrpHOP3EuHo6qPRg/wpGCSPuyXqEL7kjWDts9mmx+/Z5Td+iBMizKpQYCprjSVUAX6EZRFamk07f4GLiD5V67mk9gDebifEf3QV+YG65Yp4/wKP4TAE/LBTRZcSpAAdep3lt5qzBUT0243r1HvSaj/O3p2NpmbLpiMDTTP02+DvRiWGDd+eEtB5ORFQIjCoIyix+fn4Uj0HDUjTJ88qmOg2CxgDrtPQoI3mBhdKxhSYOkxK7orjKJ2hqvLRSGreMIRVqUvTCmKSICpxgg3WsqTlq0w35/XzJUxNBzgf7QmKVYZ6X6zYSWxhjTOJD6tqeLKcn+VDCh3q0ot3ELyzICfI+l3SMukzyts6lnJJnrLXjVNRf6YzWsOuahm4bQxhsof/T2Q33JcfwnlAin5cJPCpdTWJ1ooh8lxKfioZ2PU/5IjS4dEKoTsGxBzYlqcHjLVULGnwoFmnibOfspye3NcLTw7Zulpp30LSjFj4zE1umps5vaqaxshZlXm1QQsKIvMsEpvOs/lO2L/+lGpe3ZYGPr28SxW/7s4SMc7qU08u8eKaB3vcSQEZXsfz9O4/sXUrmN1vewwOOa9b8DbxY+G2opTDqP2n1jhDQ6UI8HY5Y8pBLdvXz/F89goCB8forQv7/e4gThw66T2ik4XIPB+cbcy0q6oqCjHtWrwS5aYqTGykjqq1Z4VgNL6nqQWSuYCXKhh8u+ybLF71xVKYZdJ+2LrHw6QP6JNytQkF8FZHYRzl21BpDX26f77PT0ODeyvu9dv+LsR0Q2U5oyW8RSavGcD+iJOUrg/msQmDifjD+KIqWvaAigE3b2LUt17arQlYPCxCvF1f3eiL1V94VWeShYLypGYGbW3yGmcEHUqgoHAf8fVy0/Cngb+LkPXoXAsl7BQ9gHr3Yq7eQyuW00Gr3MepDsSe2roZ4JpG45j8oeAyUmRXT7RZ56Fd1Brv7rmvPREnjkRTkuVzX74JoUpKt25kIHwLrorTFB38hUgXfW2SHtFvSkAof83vMBNGj4iuTj4WkDlM8qJGaAMGaLExRx3QQHI3cXntezP0iolH2KoiBmSjMYKpFfEd+jXnJVRiElqPLkksBDnBqpHxZYgFfBK7ZO62VlW/5FZEQ76ZO+Q5OmUthOxdpa9KRqQm0YlrwGmfKSwwGhigfanH24Ou28AVq3kffM5lZL2c3+xOTeekhzNs6MV7gsRmqYnKWZvrB9AAjLfu9u+u11SKDhcL2Li2VRBpWt9Ov7VTWpMx15l86YmT8j5Ho9G81Mx7vefh2960wjqTqd/wheEM4EGapbFsLNWsOg/cVsDYMZdLW0sevVrMtZ4QHiP5PQzr2O+cs9ePKHLAP7nzRCVRj8Auz/byZLiD5Qq6wHP71KqrD2+Wq0z5LVrRS/Sa2NNzJr5SBmKx5xJTXuTT2Z3u5oOwV4b/WJGB3rOoPMXOUB3wfUa4htIhZbQNR9tzmsCCm/KaxzRXtAMwF3V2QUYEIwDP8bdU9WQ8sP6PJkJtMiZMBNfhuR2mPs+64qZKpqawUc+cpyGHetp/JSlDkgnYImTxDRyg/8YCjZjdgMUiBMHDZqGHMLQt0QY8LkT3f/Ji5AfG/rh7RMlZLI7+JJ4IxzeONmDHd8vGfgeAbO5fI28pPoo9TginAC5Hxvme/RhCcfZwGUrNdA6pK+ddifz2YniYJkBCcmaE3ZA+4+O6vd176ECyub5PHlr4u12NiFc18hGsDPn1MhOSBbD6FH68HNoxoVfZ3FJmola9AfnDNlVQS7I6w6X+aJIrxjOfIsaRr1X/Wp4YJuPF4kPcHSfibEi8kP0U6+fXZASjycAcqk1kjka16abpSuPACLLOUj5IdeVZNdLMC66OuhN0Hl5Dw08wujgGqUq43Q16W8TWH5a4WI42T6m0y40IdYotDv/Wq/gD7WHs1DpKElHsQ3BESkc0c+M2cXMMaIBUZlYXjevqhJtkaxTmYAaXBuhTtvG0gNIV2dEXSRBhvyjKkJoUtM4YjPlEU+zccjnJF8ilCRMZis6+9eFKwAAzm/QrIrx9km37popmyqt1DQO35dfed2UDFKF+JXjtDQFu79k3VJz55id2ExqLqB1IA5hkxtkAh0ZD5l0lxrPMpatDfMuk1ueo1Xn7lrj3I/1RpZb54IVBjiOHyT/OV7o+Tlpb7tNQBdrLK3uwx8osze4yJtmJ1bPil/ksKmUxsQzxSb5lRuq+EEOHD7YMGZ6vUJb2WOleBTaMn618+zZOE+sGi/ZZV/8FcM+9kaRFc6EwHpQV80Z5C/1R1Itx6So2ZcgHoz2DWLpwW9KrIVLGHm2LTcdRZGqL3pZJdpGxoTY5kz/GO2JBcS++eLz4jAwfeUyrX/jTT86/oH3pKdxjnmBZM6c85iu8sEw9/MnkdOVGu9EjITIvmHG4tnQH/fxukQzW+tmZ5WGtglZcPAcEkcis7CU2vfirQkTWBCRirKGheUxBzwhFVHZOcfUqt7mlEN1tVzYOEdHKSPd5lVlLIVcQ5RDDYQRlgG+cC1Jorv1zWqwnuDJY1SKPc79SHCaE1S5FbjDY2vvNesKCw6vmjRaUqe3wj5oVEyfU8VATbn2pBexO94JWU53/2C5xNYjERc0yV0mXrfKVHcPhwWK3vZXu7nskqsuH/q8TLi9yMqBZiGPVJLGEV3PnsHnK0hhZfXj3BmKPjOb4oFf7F1cXfZKxfdyckNwcWPoVto2Ugj3FbQ6pRTXlATY5Fkw0BULqfKnj0M1G7Jo8gb+P89jIr5NPgFVSGmurwK8NIU+63xhc07YRWnby1wQuwftg1vsXfmjGmvbMXMXRtgiacdz+dALI/WmULK0MfbrK6OfFG9Tk9JKwpsfZfV2IOXmRVvgkaOIml2KA7pnN/Lj9wbEl4GBCbsWfZAC8IsMUMHI7zoF0kNkAPnPBpKK6KfiTFFl5b7CPjCwtAdsdc1i2cMljHOIY6mbbPJMOEacKMmq031+ku05B4HUoD+O+Mh5VY/S6ar6aZkyS4Ki3cCz2DgXD765Ck9oJdXpDAMxG1Q5lqe6rUz2EDqd3m6CQOZa3v/CJd309ICGHyurquzXVnf1TZInAyqzfCesnVtnAcJFVThPZobNK1RNk+xPSyaxZqK5CNADfmSkKQ6wstqELaF6zy/735hBdlePOwIF6PbNLtVPwo/E8QJkxXn7whGUni/UHlASyII9beme3ATgJQCmyirq6QbvhIdChbRqUTYwT64vxSMWOXX8RsdR6t2QkueYl0kpC+I5zrIB+ZthLdTQ/zr4gbn+10Lt2vDqDvL5Obe1qRk1bBMhQxnvH5cvq2g8tqIPP4a5YrqAPlrSEWLE8YMP89x8PlE+4TS+Al+evI8KyNkCecFc752ngDvyxA4XzQtswo1ucVH/WfYaOhZ6ydav344C4CLY9InnwWw3xXvnbfv/SnWHN0YCfFZ1RGWQZ2seAPfjuapLysPAv5RafXCSgR+S4OjRb477UTMMgPrxlkwPpMPSkzvZbzkHD3xcF1ly9RVPM5dosuGhe5xP1A2/XJZ8DmKbcOSKwGM/1+8J8K2npwdku4Wjk0rblhAB3TzGBMTRX5EhjcnBptg2b6JXRh1c7fiB9uKFxkaurr5TFloyR5mmKjPSxjkezSedgeNzlHayx942UnEXm6VaLfb7Obav6jgwYmj25tEOO3snU57bIB2bTiBW4tzbV3Q36yHIqn9/e6cbbjrJdlUeeHl3llyyftDQ4BnW/WVBgAr7SQpAt1cvRYuesJloP5WAeJdox5aLimkjeRUu3Ds73+8VyCeUqDcVd079KQF06ebs6ArOyeNc7dckUacNd4QKohc5oEX3mSu2wKetKhsqi5ik9Xg5kBkY+CChuM8kSFpqwPaqplM08YLKfxrWP2w2r1XdRmgEB5PBHKDwC2qdOM297pDKtN2n7Aii04RiITADOPs/QnmzEYryB0g5GsXs6IGi+WMwrbtiWbtvdrBtaSKjrJEsz6rwm/D1lLkFwFlAM37XDr0ybAafS6EiT7ka52hFOOmHU3RzM9wHqExXwC4A3al/suim2HmCVRjbc3x/ofig7DlzeaZqHrMQdQngo9WWcgorWgWv8IoFAvNSnACBlxt1CgUW7GD1AaSdzsgQxW2gIUF/uDb00VVHOxjHRIm+YqHSMJKNiCxmKIXRwKkemMojxx4kvv3SVgNfF3oPVKP7EGNa8hHsKNKQwiVxAaF8iU9IdtV0k7QDq8LwESgPC8DsIUUS09Qx48Fzj/cWVJPklTPm2VHfg/mXAc86VCtKapptCD3HDk1mWTgA7EuYwv4C5wsy5oUu2DoWDZ5T5ybu1CM4TPxh9Z5vwgjibMaZPVOYZME0HfYD/A8PnKxqSs1LWfleuvW/sSfzjqDl4NWxirUTmP/WHzYk11TGp7zbmITHSLXOATcyFZxDutwZvb3hecCpZg5GYSsjWwto4TM/FIhmyiTL2Vz1vlE4d50RcMQJ5pyF0xkYZyx9aSpwkNJGhIlT9GBsNRcC/VPdnthUZXzTUkN+qfS3lJktfJ+6DHZDLh8psNE8c6KEF/bcV/f0gYMAh0RJloA1hwBv50GlGtzNPT4iv2XX7CmLtoAnM6sR9DJWTjIKVY7So+Nbt2IToUoBwUuDFSfCYBMEHr7x+/dZtAvXFtbBT1SwTNrwQBPogGs7IIEPRAOGiNUBNgoSIaWGxynlD70gfw22Fh/uoq0aaoIzBc594dqXkoQEEXVX0C5d88Wsgrp5vmNAvSoKt/v96YbJbEAYqOjm9Xae+807MAAHEd5BZIe4uK6BEWPFVaX5r55a3mifn6u2IiiWynVxZpl5mlN0QBP8p0tdfqeyWgLHonwVuKrYy8jmYGj/MrcL1hbjxEgD5kiWTbTHs68acJftrU9OLAvjHfhcjkwjxptIKxMF3sliMds7KKA+V7/LSWJ3VSU+48JN1c1Ci8/M61TbjbfmXSwKm4wZZhUEav9dTiP2UUu6GUU9DD6gZT6GF6W/BaPlZwu4FfPu3vRdZXKcPYsgGL+r+7Gi18pKMEQy7m9T7NDMoh2ZGUEkPu/GmgJZl1xVGcRoM9oRqMs6OoBgeaFyvrpzDJAGsVrfwuK5FHertRpO0XyYvS3QHlk8mspnr3rtG4QX/S1qhWRqnILtC+QvAHE73OODFCwEGxUiW2eg7Lqm2ygHCQuGJEjznXCPbvTn7u9OJzd99f7LWJODwRum0P80g/IpG6eYn+lItYy0g1de9qHvubTPTpNuLPMxxsAPxuaEybdRkfQgXMifGGioxKk3c5UMM+9jpHK8v9i83KyKCmr9Ioq3OIAk5k6fnflJuIwPLpDTwtAY4ghawN2OV+IaoZ1tOwhkwYsH7I557VCEAsq0bHmqBs5nMeNWNUdTgKJO5WSA5hNTBOr5o3GmotBu3Dj0CODvbwVKQf5StIgaA3+lMuA9VfAbArXjA77s2wfbrGJ0yhzF/H7Sm6x5EX38IC/VS93E2tXz+1MXCCmWSE9HXe2AMEXD4t0oEIRSWFF7VRaLiuIR+XexewIZnj7KE8FSiFsivW57Uzj92Dv+3xAjZtx7JPlUifCfjILRHJwgqdXb69oCg2oLu22phKITRJ9iG35Zq8aevE7MpBOeYmzR5Kfk1B0VFoGOuH4t3kcSqiUysD9gwg1BDPbhWNp+YSbIbQXp8Ys+HWSYFfD8SvRdVOyiigxweWN0xgXjfOBf0Mg9/AyLOHHi4zVwWZ0qOHhkx4V4pV6zxVI65Uk0znG/Lf2t2xP/0j6b94e1Kjn0L86FRs/wzgM2BBmUkGbsO/dktMsaWQuO5PgbloGeCUTjfokpTHndSgX2YaRN1HjNvpH5wGsC0Tp1TTpJTi8B18H6EJ5XmnK8CD42vnMYgTO9GDLFIY1B0qa6MGUnNgYXR+axwxV36jrTm6LjrdWvQBO+1eaMWLJFtKWYq3G7NFPwmXVbEbXaHNzg+8Oew+c06NZnQpFtJpVIoK1016NQm6bCI3bYPutmQZhMMoecVI6QvHyNoYb4YQImypX1uQQvC67EGWpsgGSXq96vg6VIrSr5OCmjFtYz6Xw6V2yGkr/OwjQFXFavsFizZ6VS6Np9bfL0uXFonMhuWqFs7hLpAA4GDVaZsWwAIcwIJHq2cDbKf8wSb7Bozw2Y0umm9ejUeHwQPtfWqnu7n7XTjH77cbsINK4MilyHAaiabIiA5EfZHgt8kMKSw7vnjnZFUyBx3qNjIImhz3pRdEuEJyLYBEQvopJyS22WSu/wZmDwLtZSjUqtbO4hLeha5G9t6qD0RzBaaeA/fmIAz+QaAvAdX7e2W2dI6rucIzm7eBtn2N5CUoNX/Go6gGaqACKkShZbKM1HwGY1U/VWh4xTEJl/1+28sV5rL+1KOXROPjmTsPmb6hYd9YlNoXMmoZuaRAuk5FLUf20iiZmhDoNs7e0NBsUtxlbqNvcD7nKNgurO+gsRQMIGMr9sRsm0IpBIZd4LmtV4ADcj5SmLGUwH0brodJWG70MlzoJ2BHW8uXTz+hXtwo5Uw8cfNAurz4g/unmGxBcllwxJnnS+/1dh2AMfyZPxfERbQZpUEBQ/6wN8D2P/tw2ImSm9FZAbD/ltMgc6Od+JXna+MJDVAZPz4OVgIgzGthrtLfRKcQYte22aL8EPtYUspipZp0o9XzxvVzzfbG28oRDnhpzmxMvEFrTTlqKkNR8KXiqfssxlRHwqx7tTn3ucaHVFRfcFxEo3t0aNkVXQrSpaDqWIMmFuwWygq4BFr+oDAP6R1vmvtpNuZCKn9T8XZM/m6n7vDSX8O5qfzkaJESKRuTPVcNoDtY4oEQwAcTXQ+yBfAx3wb5YDLpP7e0ruNELJBgMyExArnkc2f7IZSC73RsNzbCGIRRl6ObnByFcNEry6V9BXn5Ckm0teuLZUrZVsnaqD1HDZ6HqrX3eNgSAivkAe6Rt/PiMS7FtGvX0hyad5UHXUeASHGb3hOG61P0X/+T68YXPuYq4H2oxrLG70XuRVeY2/s+0rlu9mW+q1UU0Xmhh6OWuNiE/sUGo6WY33c+Dj8Jjs8ZiSr7GyeNshj5SMLKp1BUgbKlcKNMI80YHTvEAOdQf2XBcaydZgJLRWXpK6wAa3htb/uv0Fd2vDCwfG+Tk5qFB9gc4HASl7/cxEPCjH3TNQN16KWy6bFqQyaM4XqBnZbNOu6/lmunrzYFnMLMKOFReDiNb+z8lYrNyQz0OkQ4cFWN4rI6OkssBfHedsOf3YOHNozfISex6bc8JcYubD/ZVI3uzzsMrnQvJYaOrSJz1tHkIaMOeFmPjwEdCm+03LhfMVsy8mEbFHBUaDT73BR+nYZbnjb7TWtLw39+VVv2l/ngSFyjoazvAYAnp4EITY6HWLD23NXVim7OvCApcuxqZ0yhTPkRFE6Ku90shVabNV0YjnqE5Fzx+wsqssJYo8LCiNPFOlk/pency0ngZkIluUJPJXJoNsK5gCvZ4QlyLPheb47OPv/fCnwg/CPud7ludOdlAnS6MK138qlI2Nq/POit1jccTndYXy9DfIVgLsvEP5UiM0zTWiZJ8WfBiSdBwCg1/93JKXRqA9ssWDBsCcejWQ0VCs8hEpAi1UZBHazFfb/+BVwp3jLfWD8hcMqCrqpP94P2vkJQqH7Kws7+whpHxXDqVZ5/g+rmOlKLItwaaueW1aXjuPCqc8agMfwtNWThEiPSGkyS8MmB+E8Zp+eWWMyK0NCNObLiKjB2QYOnIn1hXSSrD0+//tPdNh8Suep4NFGu/eiwGMK0W+NhvG7+Tr9+mYh5f6pXLwCJAK5Nbh7XUavuGMfk2biB+ivjKWjKqCxCtm6xePRLEO6wYmHl25oEXMSnYYH6kdUicULUEa9Fpi9cpbfbBA/V6foxTaOt2oklbtgKBR+UaeAkgQ97HQFkc9XkuM28UcozarfKqDJwpbNaG+msq3wuOe5vvlr4sWZNENepor0Od7z+R7c5ja2yZfK1r3MT8t+LFnB8hRI0Hoi68f9vWE77syBOnqMUbmMj+98MmrQzG07eLW84Jkj4yyC2FrSPe2dM3sl9+hbCc/bQ8pq+NUOtcegsdOivJlk1zeG1z3NzVHraLuDfVD01hc/SWp9GV6khk2/E6bgNZ7HK/EayePktPtf36EHOBH7Y8b0r5LhLKk6QNxi766bbX3mnGmlrTh1nY+dkacUZpo1P5e/PiWVGDYJ7u3oJ+LCE/tjwbuT/EnvDO3t3kawMZEj2PnpvF1GkTk1O9TLbeKvC+dT/t68aWzRu+MoI7RYb9bU934BjMdAB46k1NMz6Fqk6GZSja6x2/KPoRf5rxieTXYx7A0wJCVMercGgnfVb8gTBMUlKm56TuG3YUnFPJWqxVZ4znKiDIcnEjbOOv1RWPG8Zo01+PtnEoL3M2Lq9Hm6QjpqkTMVlYMdTn0vj3jOVk7IbwiyU46EJlIEIgjUUaS8ma0GavUo5u22XhwMTNw1PMDc5mo8wYQoDSLOUSK5kUHiM9T7ZIym4xHYG1PMMDLPd649cbIZEbWs/VpsxUleaMzAsHWBVtRKs+ZKmM2ox+lBjjefAYz867R7YErKNU9mEBU/BXfAi7EA4nbdaunsUH7vxi05LQO8g9aXRv7vB/7tI55g2gjiaOsgiFo0vBpJtkv29eQ3qHBfiO9p/Z5mWZz3/Baoqg1pFeDqIPOr8KtAzwEqPrhdPjAa0Yj+jDUedelcL/vgo06v2hpgZrQmYlVFvfrlfFeEAVzr9oVAJntLEYMw8kBGuSmiuPwJcJXRW3m7H6YHEhRp/rY+mw9C89//ChG5Uh0QHFhc7d6xsY6gFe8mIKicAz5B9dW5cm/YXY4Grj6jfaN64iN4Jt4RtFoLAtAsDmAjyZLD2FEGrEhytLp4UW6g0dneFydW95hl1LOdVtOPKVhmJ2LJgSL/9LKKin2iWNXPxQfgauxkUshJ8e35ca3CO0HI9JERcKOnWqSYUnxlNz1ksFXxVKM9Q9YUhfFTjLs2ak4h/2EtBobcfwrPGkUdSFQcCDDFeV67VVApaiz3RGPLrhwdhF1lhgEb7sMMmRexF8h6kPJjQme880kYWWztLqcdCg8jE+SVabwdmWNV2oSXNzJgYX2PT1rbTtJy3J1u0yaNDEcNOl5jkzKlDp/MXMSVkSmCSnDWH5V47KnHqhx5h05nqtlvOD6moeZFGg4YORTn8zYpS44ywWQgPR8s6p6JA2RWeKmbppFLFlvUWSXGrb1XKG7/6wBSx9cJUxmW7Pfaj814BnwfhqZhD0pKNu6f2Xa25wXWKuB8sov8QncA0Ta73DAohFIboeTq5eciFFxiGGqjuvZrPy3rIC/4qnVNeZSkfy1LYvnYYNmaLt6NSVzjP0YdNMShbBTs+yParJUfINEFLhycicGsVfDNCnQ0cAr7YvwXUEK8wVY4Rg1+yRMIYYR49U244Dpp4zS2EeC6kSrOc/ABY+PYRBxajXWkGaNtyh5Jwkyo2AMc5sQ726Kw6BQKkrf2TaZATWgiAHewl/SeFXvexVCIYpnc/a8ETB4jcOfUHdubWvLI3sOHwBWRZ1j4mkFQ/fRhgHCzNljpRmkaAL8YC06VB3dmLjFXcPurbC+7Ouwb0/+AkIWEYSR0NeA4ztP+N26Orfsg/OkdkQNcSdR2iiahWS8Mw2POTAnqiZl58YJVEsKGUIjYTdGim3wIj+9Qe2dkMe4gE1qp8s8e4OK/g1TxgGeXB19ZTJd3ES4uhNaoLDfyzZdFA2PIzA25CZWRPomAsBVXT4mFe/aV5LHJfynry8fAVNk+nadhUJz8eBUguUazwuc9zAV+lsaQgjibjjXBdhk6G3Q+B14v17KLImN32vRbSOJjHTaKFmv4aAHCTgRznqrvdBE1hUeanHCaN2NlWjcsdLKInqDVSLnEt5xCF7gX0TAX8IUrxy4y+P++awWl6KzZbsuHTY+fBj2LTrIkvvoMWJiIwLRKHIibzgbI0kQ8oWZHNHMXcC92fv2MfN0LC+Dl6wr6N7emRlaERURcFDCF/jcRPMc5lbJUKq8nj5f+42sXuzjecMRMwZ1sg0fgTMT/mUutkVBzyQVfD/UL0ji9BrPZU3+rnyMlVNxmXWocwikMHdGIF/rREOtZtnw5+q/C+sNomMKhZ1y151NzBbBzUL7IA+OvG+JB5gTD4pPSKM/hAgI6Lrb04Ect3l8eTMN7NjF1718QOKtQe7EJdJbBPAEVdtVSTy4L++zVFIs58wGhgnVPsaBgzaTVZEU9ULDcF/uvkxG8k3YlR9cm0t/nCoLHf8gMjWvWHKBOsCyH02atwdNkiTaptoyPDHv+3ejFUVrH+pLo+liKLtoP74R3I977znOT9dS1CbOIRhEXsWMZVaU7N69GwYndqFklGYwL4B+BQtR6A06dM3Ztm2ijU0qX92049L92VtMUkIFfckqicB4+ddYr21DTMK3EKHjSTD3iCm/pAhIG9tJCasOgweRV46UrTPFlKSDJ+EQta7LUajn/6NdeAc4mlUM3ebILVR1HxfzGiZQZBG5jt/QuLSJg4aSkD90C7QXBc8+7uVHNPx2o6cnkv7N+Bo3TpEM9g6PC4nWmJfv7diCEokDsbysukt0e6j6nt0vPVPmrp/AYtikoa391PzEqf9MF9Y5Dzh6DyX8u4AW++GoMx5EqK9X555wDDQcDsfaD1ecqZUN6dK26IigMlbD+cOy7vzESIgcthpIgH+fV33Baiq2xXb130deR2WTVErnxqtvxwsVcai94CEkkIbuMqKiVj2dY39/PoKg+3EmgxGatmEKYbN5u8Sj8E2SA+K0xXs1F/Q2efSSzC+JAyuLsbaEjYjD+3UM98AZZ2b8V2NIkm4ombtbV0f/HlA4y6u2Xrb8Mn3ovSl5dDx8H0XMNSgbZfIBsySz5POj9Za+4a1IDAB6jrCz+fRxtOPO8HobHxv1/sxz/aottZ81AzpEpkHVmJNUg5Kc7CMGuDVbA/XdpIkGZ8j0RZQ+gIQQUjePn+tcoR+c7cxzYpQDCEiFENxyaVJUiDx80+G4y73V9ancMPgkoWjcNTp2yTTLa8m3BUIXDtNOFys0W1z3kNhxfjmY5hfnM9/fI/stD0tzVJRYVrEx40d1CA8GScAF6Qx+HP1oYRdAinMj7JDTMBxttx1vh+wUqW0omsxRcB31shSckVayqa5P2FnWhw+PyzpkYrBaYRk7M3samwX+aDYS0lQEi+vW2v73cQDexd+NigX8R5azIBkU6eu6DxNEBKkOHW+dWf6LX0m6zitwba3PeUdlD6S8yR4hrZCixA+erAB+ObsnMIgjQd19ImH/YIHUbA/+cUFKQzG2xMBv3rJv3uLXZK2GeRH4315PxbpeszbuBef8bProeEATpubW7DZYh+W06a2tdgOUC2AK0eNnSoIU+64ReccjwG79BR360tATJHDWi28ilPfKwmkdKaU6e6tju7ysqqxkoZf2harR/KvP612rciTGuRTgBu3NO6PIewhOn0jI4VKpRkhpvzVPZ2IuxQTfVFbH4NsWqcdZtN51btZxxJTdl7tiuPFqwV6DfwfkgQ46Yd/pMxCSaWXTFL8HynYNUZx5RiikcFI5uSy5BboIXl38Fter/ZIVUfA9iE7No4mW9st5RgbnD7mZol6ilLhF2Xpw86zLeBoOc7BSVzeuj5UJrHidnrGHW7m0KrHNe+Lc8+X6067TSr8BAssP1syn3pmcMCiyOvXl/LOzRoIgOVIhQ9LxHT9Iduo1tTMorCzvtYT6Bby/7P0bYg/Q1RotHUWVWbonhsccXWteqz4R9fXFDCges5u00kf0mszjnSD+gTHu8ri3JfPaxa78FRlLttJsfQo7Ys9Nmu+0z9/wUamKJTVIlh08IMmDz4OoudHS8RcwtMc5/jc7LVkV3CoOwlH0xyI9PYBgLc50SRklVichTYIm6dE4NJAiBEVAgOsb7o10gGwjvOkZv2WVTIbblwtDMdBqxB+YPKcILwBxMNJ48pwCHszrbD9avakV1neAx8S5OivwDRiOsWES61QpDPhZ/ylyR+YtiEyZEK8MPAG/t6wQOhjjyUDP9jvskg2DbbXl7lFdP3+8I5EcMuVdNEXyHXFXoWQZ4fjEXny9y/D2BC23MlvcUmWyoMSoXhORZpimC3uN2mGWkcauDmf+o8Q3Nsr2Bo5Pjw0+fHdPYtS9zfmpEuD3DPKKn8y3p2M0KTkoa1s7Qqch2WpkrxkwvtD/ibb0hN9KYGMf27fER1F7TIrKl/1uJPMZpKajPUImAUJglJDdIg9ruWd+Nog//AH7LxFsm8xa5GPS0aPw6nA2PK8pBsG3xGRf0hkzLBpyQ8zb1WB6rlpsD7z3Vz8jdZ1T/yIs+zBVz1QimfmzxmV04msdPyhatBiR8qmqP/QiYiuSNVu8b8myoHWAiB11vzyzLn7C038TnEzTXhYFxGVT8MoMVEyCbBgTOfLe2bHEnZ9AE7dSCYcVjI/pFXWGU72eF5tPTOIlX9/BNeo7Az7S7IkeMKhZx7UgOIme7HZ45BikhOYJFPu+HvcCVDBGrOB+erW15aD3+MBJ52dpkcVp0x8tyIIn39P7AiuJQxKmTCWcgIlizRjS7/3AnSthgWmQvPTEBjWY6h6ooKiMqbzWauR0/PzPpt2bnECj4Y1D3adlXOPVRRaiFVb4EV7/CFbWLBmV6spGrtwnUKkoHpObRdiXPds1YtBw/K0qkDoYGicZv3zztGhG3K0clZpbSoQvFVSvreaD/Fhx0VAqk4lbx9aDjq4MP65Z0h7qdhYEUnQV9m/w8C/hXpq8VacwC+ArLurBP873Ud52gePLkmxXioLq7Dm2uKO3FnZsWXjptDf6sVypDIwwlFemu5Wuj2OH++IKfZ87OE4PNJCPVbQXL9ZWaKZM7dcOgssvzg00T9jm2xjJG+3cDxJYHofAG3LatgkIO2uGKHAwBBvtuqgro2ZKTFSPWIJW5uoJuVZAIdNZuj6i0xwqIx16tIt93tmuPDdUfLjoRtO1AarJzTPfWrMsM9kYW5fOE0S/AqLueiXzSUpuTJA6lotHJCOabYf1pArY2mru+RPL5HygKf7sQRH6qPiM6qtD756eKAhQ3Bbp7r6TJ2rZZnm/tZ38F2f+VF7LKIXBQDjmCDgua53QjqE3QqL7hkMImQpaP5kJl+qIy4uhSiGtSI31fzh25bXqQlNlbI9cma/Nv5h2zZ6/zNjowOxjXxpzmwOqCJW1lso77S2x7xNqs6Xntzz7jtkn+Lcwm+TOvysW7OzGJpyaqI4Kov47LyjS03Z6TBZN048k8KexbCSDkHS3A4Bux00HzrWdJ6pagxXc0iGponapH+dO4bbxZKJOlobOrlRlpvSoSm/giIaCTpQIT5AFSwJUnzxfz/jByjGtgjto5TsmmXipwUTVrdayulOpz7dBNAxbSoLy+JWNkrho21MWAkzjyxB1kK2rzbGgEwxExObDOl0xC2tzx5G/AQnmrBIh+2o7dc4BLZPrQPmftAZCF5RhR+2EkSrqtDKYBvEmJVdQ3uuBs/i9CGXaXlwYe8EKBTiXMkQ61KZUlhWKUtxKGrRIRbJRGHn/f39LwK0xISIMHTpfxwAcyAAX54emcHBOJA8lUjEr7YXiZsmg2hamJtmzqxk/r8XGrSBDSqRoWZf6caj+jNg9Uikr1SiVV4PV0XpElbtpUDqwBKvtO/jgw3R+hoQYdPjOMWsjebvpJgqtlWIAeWqTInhnd6bqQ53DURHkEJloJkvmgWA2V0kgVV0DqPfB24Ac5U4y/4HZ1S7Zb0rJGSalln+YxO5aYT8gOcP+rGka4wdLVvh/wYck/3NjdyOSPp83kaA0OtfdzGU/W3IcRy8yZpirZnLFh5LyAqpTFXz5t5d8f4Q0EoxR30EJ9RmUGuy8f8ng4u4V6Hm0/POoAUpP5Fm4Z/tlWA/KwQ7Y/wX+NANYOv/GacBVAW0OFHf8h9wdC6Ac6DwW3aW8fOJWwR/CS+1ekCQ9sGCT2haGAsE89AVoXIj+nB8sy5Xkz35t17ZMcxuCbVUyiiJ4YLRRFPEOun/5LPixVQanZQrf+J+za1X7f0p302SOHM5D1ZEVUXkFo+Ki19F39HoYSV2kPayTeiMedzOM52y/UoVNgI0V7KmQmU3YNSX32KMdCMLtgXLmVa8S6evcNAxbNbaCUgLFiCo5X1fXSB9wjti0dURaVpcsoRHXHFCD5VO0+cfvdpCRMB3PXtNn8K8qQc4LmUQLaWaWjbrxqsXXHK1DklpX+PpiMyG9pVXCQB+15vl3Mxqi4/WvpCZ5WiM2hgJfeaLjiD4y068HzJqC+R/7eD/gcAFRXSQ9eF6eKie7yJ4+x4wi99jFNsO3bJ7DOJQ/ngxEKRJ4fD/r4Gz+0c6sjQry7khjBqT1KxmMhXQdgOUGl5xy8V7UgIJgE4C2ejhjsH8TusSbs0DTvr9PtxkeTB7bd5NQLVp3Gf3LvrEF760HINh4zO1T/TsNxJplNKGRPDY8gCPKbWPTh3jtcEwkjfq2gjx9Vk25iv4Aggm8jJokWZLsG/YZNZnOWSgZW8Eam0gWgsgifml5UR/s+9OmViAez/dItqC7ljRzfD/fsnF0q98JL3z8ZQEaa++VyhdH2JYIKxFUvOEgiBJEijgjOkfsKYXMnr3pB3xw2R62t439ZgGS0i5s0yX6WTXx0dX9QJGIJLEi47FM4NMn579p1lDW49BSLTHIUNgY1uSQ9Peod8oYnKa2YJQJoAzOlYQ70rPZfFyyoUiuo9rrrWe3W3Bh6pBy7GWIzyfTrx4veiqfys2MOGrvPF5cFnP5HXechY/Iffil3tFdHI3VJ1fvsx6uIJOCQTmdAqjXG4qOr455qY97eIF0caS+3upH5C5PRp995iFTa9lyvJkCabAJ2gcrJsHqu+5Ecfs6LFSmIxK2oRA2NlruX+wPDf3A3h6llfkONBj4RCVhzz0o8RMx0OppW3PlA85MuivPQn1WqWwiYYY+3JVBcWZl751Pqf40u+j5WxL7W2zVRFF4/Qpw9gh5vbalx0JUuLIWdZl5dOc5YpadbQpyQsOya+0mzBrzaVQsAnSNerlftvVAsWm70TGHDTNuu47FcJ8K1WzUqWhkIAer9SIjHIODigXJMqvvgO3k/fRQI1Urj8X8kGAAteArPp5GtW8duso8K9YfC8Zuc458NC3iWxtLLTfUSuDAw6TiES0xhyGMEKLkqGV5bXAgyIVCu+KYF2bjLSwElnxTufRTaGzXQYm8NXTOo5hY+U9gR3Wzf0CjVoPHAiakJGMjS831hB8PKMlsgiXk6Wp7s0tJwMFx8ySYewaVyIPB+PiJdH1w59NQUb0z6qOG6qVTGLU8leWMdxajuXb9pEjDzst4itXpmL+I8U18U+rGklxdMBPo8JKaP7JtvlX+eI9rQkJv3O7OkhYPDDfs3stg2aZm+6ejfHrBvdT8n+c9Rh/5EoJo13dJ6JRHbFERa+mlZslmnAbva5hbXI9ney3ALA1ksp1cufqKYhUGVNzli2IdxoCV313KeorZTgHcVYd3DlY/vNKxkTKk+1G2TdosOGrQeZC1glzM05FF4K5l2wVPmd9KnxaYN9EZvfXB+Bzp4wUAfdNgeMKSqP/myyEHbBNZojUNXXatun9eLLoKmAqOmUtD9Rfpp4lUmhdPwSm/we7bgPgVKNyaeorachuAA6trbF6q5oHUm0PpbSEFx6mRsemx2DKW2GMPYowjVeB1mQ/u3lyhR8++1k969rD37RNKgM55kEUAB27C6DJlTphUpcOWaFqCPVPLUAF7N78aU+7ldgumrpCixBbyn2Z6pBKdbb8XKxValB3I/SA+O51Cm0yuOJEG/rlATWNGC7W6+baemWP9hkK2HKHJWv7OLZcXczssgJXsN5fcWkZUfq/Dy9OXK6GpfUZZOZri/bZzO++LM46NiPTYIsJk+glCVTbzAm1HfaYUEuTMO2UHM+5VU+57CuL2dRBN+t5ZvotuWWta2hZVtQyYemztXttwiEQJqUklki/q/ohJ4gxqDn1A7NU9mqtBShV2ztDzJjo6AhCwlDs5D0qhTI6Nu3CoeZgoQp1p8vJMsRcNnh34boYpYGS21XscsA+4CPESyjb5rFom64HjY+SNWR3RlbQ6KcXMsuhpvqZraoGKHvB+8K9FvxC+F2Ohnh35Tfh2AbCwWLM+F8BA8hOhTrK8SIHnv8d2OfDQ3v1BvdCFC9mp0br/gaVImNHKTJG7gK6Sz83jAi4tD5On/jDXwB34r+eq9X3RyvYcflVYkbNCBS4tmwdne6MylfXmHeECbgrSovQiTKPfcmPO+ndsuQSifNnIhdnGdiOy0gVTTmC0zwvH06nSiIxWrbylc151Ybf8q/A3HCFMsrLAnEEhmK3g8pC8CvTAK6jNCFf5s8ircb+0hQPDvKENOmvEaxFDAZY6pib1KAjMImJgeH3oJOomGW56zxIwF56CofYeUId69ERYEKekuWRUIkg0UOzV3P5bpmdOzXmzU08ePGqT2qpD/wOaZxydkMQzl6Eo6KMfU49qBKQuaCS1zcVP5PUB6FJusBiHd8eVJkxPPtRXS2tFAy3q8FHZF+SXFn+Sb2Z4Ps1+aUPJwNwm/hmzWTV31M44nYnxTmse7bHEfKGPQrPzZnmNg9p9PDmz0JdFM0M9CrXtNu0FOUWnSap0WsFD9Y1CkmONFmfej9/cxa/ZjBvBDGHnIMTqEHW7fsyOSgZjpdLRBCry3bpDDmNHmRx3IIYfiyjJ+d93Uv7QDrASzJN3QyJaprCQZiiw5dZapmVPe1emUpYyTZp523My9lnhKF+i6rtXOIkfPW1C28De+RKdueMjvOqcTR7vpOqVXewSxeEGv9S27I2mdSU9IzQawk9m06QSSV5t5byowOInijn0oAZHIoa3Mb6aFVyvbqYlbuzvZU19blieE0jeD+S8LqyYfcp7lOaWPhyxlWtxnaj1N7h8v9V3Vez+wQjDsg/G1/36JS3UTUjT8FMx5MhWMEx/vszHCkK87rCxJdeaFAfqhF7Bhyp+XKto5ZeBn7Cd7+gaSEUU0zUNE+M60EyELsKoVy54WQ/9/gwIB4E/8vq5PeQQVJLYoG2ZueayHv8iOJpm2iLKspNqbYsG/jP7cqfsbCJay/Ze3Pyd4r52PebURQQakO+4ynlBF0C8aNgBhSzW3NNQseGDSWmvXE8+c9yhIpiH7e498u7s//Aqi1U6wpPZzrKRjQnAxaG+H+MDKbezb5pvnqhH9fHk//HwriWWBdwsQfe9JF6mwqu53zYzdzH1DaFXyVVBe1NFL1FWvay72L3tclHEV+smLelf5dhgFa+b+1bgJWfe1TYdo/2lxWc1oH7EeGK4IDM4A3hv//xIlLa08LEhigQGRO6eTfOCV6jDSNtzWG8o0L2MouK1DC5Y82gDhzT8epIFgw2xzLjw/Ece/t5E5xB9ZKoUaOL4n5EtHMXRBQ0TUEFu3UNBZBT6l8jYnlqeYi4FdIT/SOHVh8EL4cl5LKRoCOF38/o7SlLbebh9q+si0FpgoYKYa8rIQWXKRpzIW2FB3ymYcxlIqn2PAt+jM/Dyrz3jgvaRHpjNpXd8a0UqhWsbu7uORwSHgcv7rDRDZZLlVTfyYm5uDXY6FJj5RuvaTy+Y6A7AglqYZDZIz84cY2wmJ82/nuF6MlUG8z1F1kOEkIbJXWiBHnwDknUaTgzwuoUracJLNgRgZHA8TZmApOFUjBLj/UeutDKaWVfomHZlQS0xsOpZlepzRMrWMiTbjRVV6Wt6XKFtU0g6PVBpAQydD+jnIdNYScHsfLaoN8xXgkVSDq/wmbHKrJxqLagweJWDcQnmk+0mJOiQtgegssZ5oWbFezO5AH2qGqT0y7hUNF4SoEr4Iij9wNoRV96XKZLPN9WEJUGlQuWlUK6tHjWJ0qps4BY2+nT811YxCd4yqO99HzM7pxMt4HMt1KGRgwXziAAlTbpvT3Rj37d0oDsa12U1j7tjroJIGcYvrzA79yu9XQKTqqnHcDn7Adcm9d8Fuu48ZGnXWg2Ovv5Kaf2ethiKb8FVX/midjun3rPKAtxlv2Xy/PUndv9HMocCvVc/e0T8noCM1BL//WYk86T7vZryTZGwfx2BwTRbs1EjBDgFnSx//kxno10HncIzkss8sBQLwNVhTCP8LC1LlMGtqlPYLWefWnhSe5eJkbCU92UybRJm2x7V26eQrAan7RBpNFYb0Fi5XwvfBETwhHFlTD/QGjAg38idOGU4GancXiKTcLzV6NU+SIG4aUz2N/y61uUd9DwEiW1HXIn4csFKQqqCiQG03yA6CzkMWBhytDDmAVaWJIuhY0oL64jzcMR75HMkWGobk4yIOIT7uObmbcgfurmTPVhtZBzoKoT4rseZs/lfwKMUaR5Dm2PB5E8fSZ8+7es8eM6r3iKuNpqFKB6BDlZYUHyVyC5Qf1zm60N3dHHgRW5YeU30Qj5wldMlod38bfAKwtScsj0d60fGo3A8wJsAmQzFHyM9syA08JJVRzM4Bf7s7I4waizt3J34b0t/S43GY+Ua2GLIhmy7V5haG36frmUNPK7vz1v9DjaY0Ggpz7tns4lcYkBP+AFUAJyqjy6ZdliraIEpaCkM/zTykf8lM3FSmtB4qxLKzbfj50dU2fIFaa/socO76AvtdEbPpbtZqm+GcrJ6Ll1ANXq5GyUeb/5xh1/bznGpNPEk9Yb6BD3cMeR4FySmyYg9ehCSD2nBBYKVYWKXYsTGdu1o2dBQH/vgVawgDuEc2gkhHk9Vzri0MLOausp5gFSC2bVevevGN+wkJ5Jkad/0djuI/5T3EZsUn/1tN3l3WsJ9IGV7V/oOeaY2tS6bjSUhIcL9HXKCwwbJDeCtyc05M5mjTYvLVweZrYUYcn4v+5SH7V0iEIUQioqL+7/660XZCjXAILZQsaC5aBAOljmZ0F7ppLSeWPqhp0u1+YYFHeVUHr9ZM4Kc85BHnwmPaiastW/doXCcQrsMMn4U4e8CbAQoZA3zrvQvlhoXjCX+g9yV9ygIeidxS4yaB8IqTirdojWzBkxTI2j7Z5j8ND6gZZxyDtdhVX3ktwFJcxhaqY/0WvK5LJrnHw4VC7YDgEq7U7+yzWFHPWUhCyWv2XB9mj5st31JoLukjhmgekeBig/XUv2Z4TeJpGeaMtOF9IwAM2GFTNVXl0f6QGzd+4uMszk/fhV971L5AVnxl7ZJ/WsSrth1mC1FOd5v3UkRL9J32Td020MJZwHt3UXqI5MTHFNzRTcOcCHCWsaLnDajIPZJRKBEAyZM8+W+aJDmSDQ65ZUY8zpX1pmalmvXfH0nCXsXWMTIo3bebSc4amBy7WU4/69+nHbTdalSieR8xOEi4VA/pWoVOWSNTePQ+k/UZ2R4juvoWmEOpxtvc2xS88KqwCIWWKcSdgI5XgcCdmcaBE5liiV0eBDYozTqnHcbHCUITrsz9M8iWzHPzjxvGECCpt4yiQgHicRAqAaP8nH/aOuAucET933ESNnYvUxQcgBmQ72XzCiPwFHQ7yE6FnncmpMtn0cR1wi3dkiGkC2JGc3XzEbW4oYJDvAjwV96iqq/5mzo22G5W4qSGp23cIKD0vV2CzPBtjQybwNXrFiH6UjbpenX1DcAA/m9mjirNDjX80me4VKj+NjOMA5bitObZE4nogLoGXLhQfOFj2PzxJd9OVDIQDlkdchVgEu9lq1Jyol4VvQSVgf5UZHZzuXtpHKBqSVQBkbJpEvBn5Gltw0HdUeeJnNPA/jjWdD2Djnhlx3l9vesEfY4lzZd8RmP/4QnJbnt1XM8jHccBz3bhCicoQJXQCUs5TpgAFdYjRX9+IOJ1IE3G2SYVH7wJfA6avKeq2k11jN7ol9G/uGw/LvpQw9owTl/svhR5RYtP+PTviPH4NomjdA8Flg+NoYuiJRROwRla5hj3CN3FIxLrqe/Yq2ytVgpYGWtn0Mb2LXpr78l0AaC+LzA0WKMQTt/7JTVa3GgGzcL6qrsVMKGnI7Ri1HY4V0agTcxeJKdWMmBz0dZKunnU60JXmG+i+OC2OHB20aMcZtLtziw/w2PZw4QW0qn9xtfjrWruL9+D9d8FMR1YwAZ3UxpSWNqNVkYFGBKfir0a1J181c2ptrBybXjCpgP3Y+TB3H1NMcMx90bkOrQz6qOPlg/PRWZdAnXClgQx5COns3tHk9LEhgHy4pKlBUcCr0up2HOd/3QMg9aqSrf3YU0q2NrB/8r90HyQFFEqmmnvZuO+rhP3uySh2dxrSErJ2MBB4FlPfgNXf2R1gbEsG3Ddued28H2Nko9QgKSA2r+yo0O2teOCgcUK7YbS1jhvelTioyBgFN2nwRiFlevKE+lpoLyg7E57zO7gPDJxtXsVh/9TxAPq2BqQwP1WbUre62VbNHI2Qn2tskcSAQDiF8iaquhQxjmOmuizpn8mBibQVd9sEk+r6zZeDuFdXK9NTIHF24pNBd7A6JdbD6gOUvg2KxGqhbn7oLrNMhDjQ8li7RMvivY/6Yzu4Wg/PgSjy1zxV3/jIv9qeknxXYavalmKhg7kSh5bWu2e43hvD01+vxx9b07XXzBjv3VDK28tq9Mo0WHAMXmJjOQ//5NYs90jNKdmK74g+dhQ5WAs+14iSj1pvwicPNFCKgGEQrN80ZnPy2BtPkOJ66uWfUdvROhtQbl1eX0gXaB9sudZ3m4aURVxRAA/uUq8QcxJ8YC6e3ZvJfAfs4x8HL8pZZHw3c/D1Hehn9Il3mtc8fs2UbcKJ+oiPzdoERDatX9Kz26qbZD5dlEr7K+6rMGk+97QLb+kg38oyZpYTmDEXtAvo5s+2hWNABoWTK0+QDCRUwXDAY25rhAPAeiuihYczM5rBJIqUMHYV67dnUMKYy5TKmwlqGNpRIkMNii09WaJM6Fu3VQcpu374/EtigsWF63OyMHTdo3flkUmTcP5ARiDSSIh6AHLSnNLasMuGmrPM0fL0wDjN8Bm7CNsElFFh2ONzy+lbTVM27lZux5XoxPluQGCT53l/twohkXhazsrdA6DSmUCl4G/vO0aaAy2rCPdhBXp1bWEYoskerPU8G47fFHWmMRM2znuHzHrFWaOejKAISDMWBzo2BNeL61maH7BSRx7MotSkisCL681aYq/pM7ZXXWqj4L9KkeF5lvTDNpTLlRgW1cYgJMXFlh8cclzfP62q2lietP1bSNrpZCHMS03KqULkPWxtrm3kE/4JTV5jyrxtMZ0APkaYwqNxh6s9QWvp56CzXYeU3CM4i6o/KWSPBijaf0IAbvpG4XRLYGZglsi+Wn8uYUg/pX7yUwKRZK1hSSCaUZIxRIV1tFAwjj6wkyLLspkwMGTuOGw0r9wDX1bYpZpBnUBJdMyAaiLjzG2gdc6Jc6b9JB5kKjfdWqjU7cToxV+E6IA6QdM/8tzpfBVCKLieapKv73nTskaahVUet2LBcPvQwwF2kLdRKcwnYmvvQrBMTAPnAuA9PyVs3r0Hg76xgjHUnede3aWOD1CGbXe+UB6mIlP4Fft8jO95d6DCli0LGxrM8zBdPwiFkb3VpTVyoZF2QQm1q6kVx2+RDu1EcoPR1n4P/leA4pH39PicvKFzVhMsy4a2KC3MjBiCa1fVhVnP5pp2Rc5FcVg5frNFL8h9wwCBnvxrmYKkogLmpvsxIpzhV7so31vmSBarenkwuDPSotpzwrBsKEtToE4LET4kF3llC9rixG8pV8tgjer6v7p3UvfpNQG9X0nV8qC3OpysXJE5x5sLihSBgrXKtvmDzDHXV5YtugjFDE8RuSGyqyhf3n6S4tFEqUApJbcn+jqDj58JVvkAr4edp9Ad7QwqGKWOrPEf5k1CGPu0E3NVjAiIicWrrVCQUxyfyuE9m70xSczRjCMzqOyFyfv8eNwe+3A4w0uiUBJn8+krt7ZUWc6D7k6T9P/FRW2vcy8PleB+JUvXah131QpJSmKYr4d47Qt3Rb48TUfzMORDsY/uoq3QmwEscfm5o6LEoxC6Xozq6w8WxDStL3MFF58ciqs5CE3a19FbIXbHZunrIDs1ukwKD1T35JLqwXhT3VMSa5pvfIIR5QMDy+s6NGmNV7RnvFyz0x/jBY+ay612iQxO/rEEwFEMYl9BUfFDxi6NbPTOQPy6Fd/UEIqiLc6ilHaSZHr/Pp7JQLgkklZxQHWTYqN2Pw7/OqcRPf4wimV2YBgckdM2+o0Dx3ih6ijetBhTq2hX1PDg2nPbGilmTnUf8DrMds7Mqrt2uK2pz9Q31IF3ACwjiZ4VsCfZfnyAwJ8Wadzwu3le7bSvrzBdUhOFl8tVLUOEKSXvq/uOEbVcnnr8qJ/9GkApFYg1oTmDuGXQEcjNL/lIeZmUQMbGhgzxcjse7g5Asn1sMDgYDZxWM/yMGgKBhN7jTIsQ908KoT0FrkKu44oJ9btJmvYB1xU+/VnHh06DmDV79LjAfqGJkfGt6JT2YCgq7XY5OsJmWkIBAMd/sU0LqUG3q5kosNr9+kRI83USdIx0RZoiZr7HH5YIAQHm4+xXoIbdbcVOw0QbL3/YOQwCTJqEJM9+t7yxZVoNXLheCJsvsyno02WcLjV26ulTmR6L2H5Wiat13cLTyFTjNWq//BUToT31/EFgN5zAycF5sG9qaGU1mqvDf6t1RreXlMCreqnUWSotkKiy2dtXRolKn3n1HH8h+tuJHxqN66KU0xqu0CsLEekvQ4wnik6sZ/HPhgzI2u3SPaWzmMgZ4pAfnecZMdnhjCtiZkAOPvSZs8fOYrS+3VpGMHfG3kp33wMAfbG/2ZaZoS8oVvzprVgQeqhTFqujJbEiHAHd9Y3gswtRMSBLr0obYi2s4PV8tDLBlOwe2c13Ial7sQZxsno8MMrQ06HZ5+Hw+xtlJTVYsmIYLc2ffNn3liNWSOBjTJJF/CZc7URZ8i1L0Pt8q0XN4rdWfRUOmmtKQxCxnJ37bsaCvppMhXaH6Gp4utV7+RDbaZA24ad//iNuWN+7UIwJ/z3TRd6g/mYiVgIg5UHWJ9s8ORqMoQ6B0OmN7tTpLKgkZOczVq5q5WcpTSOMoA8C2UZwZ9YnbtGG9FoH5abyVul5pzWgHM6ggReW2v4ClSqEq5neD/YRP3uZxBzvt69qPR4cZ2rNo+xrteMbWVA5hG2NWLtj5wI9jObQOs3dDwa8/QVUa5WpB1+JM1jrV2ArWNtQw8jPuFHLgXkh5wkocIkf6fxsfNOd5zK0PfZmnbERts5Q09AVawfkZKAX7meHX69ShIpLJZjvI6AtMpYtK6S+IxOvNr2ak3lbjfive7D0N7Cza0ug339pmIfQ/OdqEwhf33NAi7Mw63pjp4FBL3P26LIn5aFT730MGuxlNtmMDPxdbsvjJkI7ek0rpBdUaA8aGXNY4ZH5YyuGo8Q9F2S0vL2AHc52m8BObcXj18QZ85hc54nadvMSMqDcoFAFtwEwVuhKqtKoN8HLaOoGtAExomsZrTxtuwdOOh3ZS+PkIvLUNTQ88yRX45SB0Molic4SQ+KLfegwSL42SyEP5Op2+SaBUnfQsXZAq2FIEUCQaENxyyog3qvibLJKFsL6M+hl36m5w130MayvEJ0BfdcpL4MgDA6H1LWuS8NgwuKr8UFLcEt7KoMxmXbysCIQnZSOfhts+ZsD0DVyiprhk31sjvvcaMR575SKlTZKJ9VW1OF+rA2pyWoMgLa2CtqATzHRdfij2/p8h/4j94Rd9fpMr7Ga46lPPFARw7eNCbh1zyAGjQaccMT72lGYveqsEd1m4CzNE6sBebjJtQ2QNxjp9N+dlIJvK4+KiolaSXgiiB3rx3Fe2hgTkcS45poxPaRHuwirJkRRyjgLtlTCs/4MiYCcoRfH8Ti7ZrHmxypANWiQw09njD1bH2JwOoDFZaVm+BeM8pjI7mKehdnFBjVLahHEe/EsDITXz+3dyRQ74Hs199KbXPttwmUTzku4SyKUf9b3aLrlpg41Em2Mv4+u/pEX3yvPF4x/5QhvxEPBseA9y7ZLOk9HT/y8MtdF9SuWpsQgmfmaOGD+ZT660uV8xUP6rKF38PohbuVOoqVPKTSToTyGcsK136uF/I+vufrV35juZsD/XqrAFzKqI5ClhR6SXEajyKDuDwexw1fVAUM1OnWIFICVADkBRJ6Ys9VR54Q8WGCymXh9O3ewEUnITTl78Kdj8a4z73HGFrPrVIzb540Q5tjB/7J1qxuZmddv2EJsoU7tJ34AxtAXTOmdd3YVtyJmwDUJqtHN4pNmvNja/ZuZn7Ky9rFNfLXGUvXhBh+0nJ+x3GBTy74Gr1/RNRqV5F16ep22lwt1sVBYE5aV6VcT1mXzWarnjzdTS61GyP0gBRAXDBWU96PA5erVPGzSdMjRaoXc0KD83JPB2P4dYO+u1CCvKGPjLJ68EErQfq2FmHyVhGWkznHRvzXWv3Uq4deps4DaprhSjgJ7kzE58uBhVyNXzFIXa0OCrBIZZEvqzYwEacbrw5hTUtenrhfVBK7OHoOXTk3FWMujhnFl2rvp5p5QyCTDD1o/186G6llT50Nunm/FkhnXVAY+lv7aF4ayt3R+k5WM7X6aVyxSKC+WYVJMnssCtLuFTgiMbYqr6cweNQkrL1/jxVdQtbdo52SZhee1U0htZN7FdbLoToCOp+3F9BA25YxWkkhcEcXY7IRtxM3jVieced0jPlLv4TxYzNgw6SV1cRQXDYROA+SCmkpFQGwTcCZT3IVgDe0WeieU9aFxpneqv5la8omX77fzmSLuNBRgGr6VGDk/th+0fAiz52qJcHPhIajjnukIT2xlHSnzGHeJNHIirK4m5CMB7MdRQB+OqjqYm8qYhMdPu5vHJtPT3PsAQ0vCOZ0hoMp0AgMajFsmI9ht0F5aGdtmh+nDgxEcNgtZJzBUi3wtmdqoXujATHXwfGYSnCIUwtrA94oXnhVDElGMHQUU0E8hIX6dGqVjw3MYsDL6bp7UlQpnBEgTrOi35UHmjZ6Zd/1q0EWraWRtAkNGouFWoQLE4MubpL4IAJKU9C0P93HsgdkBc3oXMDlxEq43R8d9yG8SODzYCLzAvNXtE7dmWresWrDPFexrhXt2ZFFOYR9iWmbV7YGLiz+UecetUwOKuf9RRn43K5xnMoNFFFK8UK5RWUZ48cM+llU4Fn187SkbIqsgxr0qsGEkmxv1KWaeHcX24z+NLKq8qIw1zRDrZ5ARcuBMvYZ3xQr61Y9zfHEyH/4xkBm8nODejJxju1iIZOE7rFE5PHXAW8ToxbF9XmpK5W/W+4VfnWTTxsq4rUraSQV28aZNo+hAiZlvgLZyMd9Keb7huhIjKhkEawitzeAvBoj58b8OgRwoVxMB9yEZNbRM5VQsurlJIaZPuiAIg3yELZtcDwGBQpVlvqwq7cqfxiIWJi9MU6YgRi01o2bYuD1HxGKj3FrNyH7/4YwYxWij+7ZnUGqw4+Wq9pCv29pNslQxSQu5aVhGT912sG130SVEZSOMd99GFSVYlNfH+PCc77DEbFV5NVMux6Ee7cJDc3uCoPsJnWIdZK1VMjo3miKoTy91AjK4cXpNDOIqRE6BkvvQ6vw0Qy4LI9YaNl0aGl+LIHH9iNPeQRRb+hIr4NjRSLWtnIOsFzCKwKYgwuf7JsddTyvCzNfHtFgAEKWwsEoYoAOrwcb1YPtmXhWLestfjmNl8rpQ/lgl1fMq04wUstUWTm4JzkozTzFRNcGzBzCCnrqfbSZ2aMypg6xl4NGI+6AqXoOhUeOicE2FDeUZ/39tqHBIA/Nz/vO7CmE5WjGRsc08vRnokrnW9u+C60KWdgsS14nsR2RhXpMUlO3G5w9dOlCTuhFA945pCRcuyRpP5jv3VL/o3eSIWVwBIpFmvutqecZGOt0z7b4TzzU4EcNbFHPVRXYUyGldsXWc2ZUQdJRUGcJHubFdE36J/3DTY7fIySYh8tXzIDW5dDSesWxAdhyyIrb0Q1S72nE+lyDbL/lAKWNYNN8RGm6/nY0PmkSmk0J/A4CLEc0cZE6GqqYRhKbkfthSQ0i9U8hG95w4Y1SfAXqL4ppSC6LgRpCPAxfhFU9ws04nDdG4/HMzlnn498H9LFbmWKgRm3+AiN7eoEULDyVNBmN5zDjHqv0YYYwIhZuupL+tVgr0mR6HeXb0QIdeF4rd9Sy+/rUtm1ilBR02RgXX7zuU7EeKD6Mk7u0ZAhSCCtN8GwpBhrPvvVXsgBGH/gMqmHawbZN7HE6nnJLCx3WGLOYybMtfSIyrriYZfLV0iGtLf90fZEn7ibzqVee7NaiJC4qF6ur1hehtr94wn+dcV2Hqv4vjs8PkuGorOd8v1RzDX4aZAhJ41zgB3Y2qX6Tp5yEfY3gGioLxxe8/A96nB0/IziHxHAesIJV2NkHm6I9t5lQWopNEa/sHDG3E7+M0yzOq9PNAawcUeI3yysz+AnDgf1E71Y4rRFgys6rW1TtERYpgCxO9zohbZlp8UAp5TFWLt76esaHajBklOtSPdnpMuBHgP3O5ELFkDRDVBxK5CvlStH2kKGPwSIi8q5Lj7I62ronwPSHF819VKgGfi0fW7t+CwunRWI6j2IAuftIhqnLSt6QEjat9KGLi++rvv/HLGV6FfsDc2dbDXeajzLngoaL+GzLBgtRe/8vU0xNjhWWOK5nOfYt3VhyMR86q7e97A/aPQCG0koCWnqeWmVde44giOZDTcPh457pe3n9ZPxdrdCbPCxBeaEeGMY4HnAGyyLYY5TO/PmfUhXdEMAaCQeO+O1OxW5MxqtB9KuqAfe3pBdbXAIsijvN29Gw9TCL+WWzbmaZsbHO4xs+myXC5QhEUnUV2elIWv2TFxVYHBqMtH/b6qyAEU5JbwsiBKBvZxZqSVTsVfMQQ4/nSe6QpddDAPapzziLALh0qU9RrNfVQHXmCWEWEIEa0kB4VDsPcSblSdH69FuIk8ySDKFF0J97YUz7qHHvWgzHPwip8qUlbzrK3AHDtFWRVKIczPZ5ji8lAy60ek+NFBMH3817UikqZ2ohADRjVbI0zlBrcZidPC65h8mIFKU2Jd1BpMuwrs1g/UAyn6Q5Fqh2WgVs0lBBUvRenyxVuJ47ga4s9vUVd9uUpNthPt0u/+jGUiAe3VZj0SkgAgQo3fbBiyp3Ri2BWnNuMPDXEZMS3XKckSbBZo+iqvdEYHgrMZD4Ugt61D/JpDBTyesgMPfC5LwYk6WkEASP2C2dKmcm9dUTWD0J+pDnWSD0S0YScrPPXHIC5C/Of0NFErcF/b1CF43fEkT6QJ0YGLHCCJcsPPDJ8/iLtUPe2Gj2EtCI5nxKLxy4OkKp4uEKUyWL7MoJ+XGE5onvqYxa5sbNoIDUuIm2Iikm0+jiWQvylpzXP0U9feJJBh0CCg9BUbqQDv2Lu+RgE76bDKzDHaFWftZswUDU5yPw0s9rjtXPg2N6pd5DrL9/nLI7CLp2gxx2vtfAlFKTeZFxWDvyVrw0/X5BOx0Fu95rR5yHhiA9SFFCklAT//pMqPGI7f/nxRLNsFuwBk+r8POiJRq9/DvB24DPs1uc9IIAQHpuApIFcVxLmqd2ug2jhN9e4hSFDhS41VYH1NnizTTJmTMnW4Upl2dkI/pVXrhXAkQuk3Xfz0/qW9KmhIP6eD8HdnJKxZPNfHNOaSABQreNHZ/dT+UOOre5XWTkfRDmKhUxzWZVWG2ORRYwz+HYGbSRo26GsmphDCIOdq1kBGjc3zdJna3C/yjAuT3BgUnhh+8HYsJERJnr1OPqPT7RWfsgumhj97hhxgHeii/FM/ycUeMZ+vndt7YHa2A+MVcKAv6A0i9jojTjlRjjP+/vO77esUt0W+xeGhzpqlm+3M7ByIlm7iGfmK9P0wAzBnc7512oMPGPVLx2/bOjyfjkV+71/H75L45ICKPfEjvJlakLPjXZe9i4ZXbaO4E4b81Ll7ILZ3s9slMcaKDamMiE6sG8mba1Eqqv8Qxd+Yt6lbrNsdgJ6T6yoWZHrD2gnKR60Vh2lROCf7VC/Cw/Di/JT+wFUEX/Y0OmqlPrFrPiwsSccKzAcveENHnyno0Xl1dKD0zEMGdgNyv/UcLr+3mQrGGn6zpVrEgyGl0IjCChSnBUYfAC+Sr9F3KQTiDOUtTOwAAe4GqsmcnO+8wJ+o6lRmzysqyXNwKBLjQkeA2Xllbys66bnf20H0cP7W4wiqvCfAINZ+YyfuCBqIXpDUXvfh/tMjPpVDBV/9qwEqgi7GLl7E2sO8cvbq1QSdJwLxmRNgjbkaemyoItsteDv8nxzFrwFnqErCO+gSU2t5nfGWDnZ15pJlBdhLSwas2Q9QRdyd1RvweKia6GECmw9QrczqpyRvzlFCB5yOHEYnYXlgQr0JEWGFkCWGrMhg2bAyfPiOPjJsjLfZpeeMlq5cPyT/q/JH//zp9+OaOJ6R3GhKUJEPIRWvH7QZ54dtF1Fcdbu+yqkq8PcR9L2hp1n8zOwH4e6zDJm3wPgS5dwjK5Z3bZ0+IhFsgMcdvnpKRJZAzTbh3xQaUKL5YGExAZI0nj2w8/ZZQRRUxHhaFvGx80aVm9Alp2Pjb84L80RxweShkk+KSKLQFY52cktJrxKjDB9hRYpiCf91WjJIrBRbJaKFovFXMICcLvyQOed3R3/ZLN16SMVwAsCVZAO6tzN2U6+ksMCmZt7qWEm9AdeDuezgP1q3UZnzyD+Qyorw+OLlenvlwmJfYrxUGDHib+nDvfZpnmOE2+zQOSFA27CA/LKbgTOWPvYyENnjlzh4k8p95IJlIXinp4uQ+d+RYopR8I9on72IKfFCyJcr37aWDSkJE6n+c7kzw374x8vAuLhMLlPN1iVPOqnHrKnAzBfW5Fsy90yRdKEZ1SNhQb0aHuJopq/VTW3gPsl5MVJW5kR6P9Eg4YPvGzISIP0zLPOxsW5tRx5a5IVDc4e0nz8i918JVEnYxfOhpQNd9Nomo5HqTEREsiWThCHwusH+po8IxQI73B8jAwU+uPfPeR+/hBy9s5PbIxC+Fe/St6MFTCxrQNOyD0qFTCYMbXpllAU7mLgNQz2bKYA5ZSSsqY351C7ftno9gREeyZ97L9cd52E4pGDWkuko8UfIILrA2alzXnMefzZK6H/QhC7sOexAH1LVKougFggpCr+Urq/+Hgh1eLucBBZepMPdf+l0fqizTcAIRcm10EzuUGP1aPn3UModvb/wuG9U8REiDxjn6hvDfGr8TS54fPIVaobCEp3kaWl6QNO+0X8CXBUBe9Ve3wIOfqxfiI2i6zp9kwxheZc7uYAe+sj5GN8gTzvnY/dlIx7S7My2Fk6dH+FQ/u5nDXsf22/V3vy2Neds8ghZ9LM9M1LUNv3G+JI6HDwEPLePqO2GkTkICG6cE/65DQT6B9HxfL5iPHDyIAdwYWyadHp4F/zSUBmyWDcaNjSSA8EWI50o1rbB+lRdgIFjPREayGrU6/dI6AaLZUmvwbq44bPDoisvg0e48wRhBXh0EjIrFdiFDDvSHg4lJdeI3K4+3kip+SwGXO0Oi0nK6HXJx5XEW5bRPYXsYINOHaDR6tSf0uYhrM/4o7px8k24Mg/3BoLek3O9uucUSs/aYXIme4pGNubiSjamA7q5kjNv6qNqAKWhxzI/G3QFhtc59VmyUkBGzbiSKN5tHypMovhT8tM0FNydSeSNDZxdehFmdUuUsW+XAxkB+QIL198P2fhkwS0XJojfk/RbhDP3G9JPRqdPtQ2pN/F7aQyeyi5I8NZa1K0EymRZSQSUCmBW8gYgOe8snxKzkG4Yvl1H9LuTVrgQkV29l16nzYbspxMoWLyc8xdwzSIh37UM/k6n7DTx0ZJSNv5N2ytocOjW7b+VhUXom+omtSkzX3xIRTdiUTk8u8p8FKuirSAo0cn0G2ru0QgIm3OzYC6cPhP+BQTMPND8e1M/+MNbe/l81CTTjDSsHymVwEq0f3OspAkhHnlt/GHcIyVvSangb/9+5xlMSlsdoVfjvKE7Sjbb/D28iP+DqxAF8B1lzemPdglD+Q059Gg3nAwiWKV4So1fw3TnsLlOZ/cBwco6yhyJDtrJqMycZ1pwkC0iIgc6hTnz7QBY2Lm9Z8Gk2QEZNrayiZKKBIXeycHf5uVNtA3ilwRuzzZZtzqiJAhJsB/n/obwlrlAU2z3vH7Bj1WVO4CLEyzWPfeynrSiEUraFCGeQZhChxkOdpwaFJgp87gdFCAs4YaQMVuRqSkZU3zxcGS/N6JJTq7WQguqXG1muhzbyKghnRJM0gkbq8QEA5nAncLbIM1hM1GesFop+uBEsVGIdMMrt6TxG7T1A+9BKDTFTU1qXEtf8ZNTaoKMtWVUGx4DxdT8BsAS1YpTDq43+QLO7z34OsOeM+ncTFTrDHA3dtIr3SkfjP0zTn2JQw0TXWH/jfQ/QFKI80miTlQLUdzjGAm8Dg8f8RWm5qxVPN80Boh7msi9J6KB7RJDc923I9mG96oMWD9CB2KDyqcqTQHtyx+3JZc4/D6N9sJBZh/DS8FJOhXuFxrAlGaTuqWHl3y6ZN+18lwLd25EyXj93U6ScAWDqlCzRcB4vFgbWtLWYLMDMSkP3dxYZTdRclK9lbFRTx7L5YGeC73jcy/4Hpx+dp25bHCnHoesiMAcLRIhEs2//0xYCy3DYKRIU/DILSlDsLa1cDocZ0oCVnTRY1wo1qg9vMgHd0lc5yxLg322LZJJTYJaiaoS0dZCFUQXN2hOpCAotpGBtP5JPsRYKRIvgxvZrQynLZZvyiiqgf4P1jcjPCQF7Oj5QEFsUTbCtDlIsOCuP/Z77c2SJ2AVa8poiOAKXhlpNWSy2Vk4BphxG7zzOiMq+PABkmGfQvr51by1Vccl9zaIN/sDD/y/d8x0UJIwQfR5Dq44MZJ1w+BT2lwZeUG6Rl+LgZdd34aN/wvPm0W/d7nLt+RURWig7w0mo5VsbXdJU+52lqhAaN2Phxpm6wwa7fOYV35Zry1q521zoQN48upAau9P4qIcpU9YUxOhsmkYsl3nkskVCTAkmwPFL8RhmOvOqHa4pdaxKXIM7au028KCxQuHaOi/sc8hEhAMhgPAaVyHNiFgECYp2J3fgGEoYmq6916UtOmbWKaCVm19x6V5cyBw/rqVu4MfkMUc4pvJ2WplZNsQxyhjoSi44mABP0iGY9vbcN4LtBDbjXsj7mmA63sPn0p6UHlW9P108Uv/LU54YsXi9Qvm54fce8jvMTAxPIKTuZzcJ5L/Inv+u3vhZk5/NdRusgzWXIc4OldnhfgmpBZ5EZMrwLKSk8oqP6twao9jJgEO0kLrNI9YQS7JAmPZZllf+0QtiwJYvSXrqGRqV+dJ3KNeKtVnbysq23irBbUOEfwAoVDfH8hzxNHktFzOdrSMpTONbc3UM1DiglOhIMiGnl48YauX8hfrS8qDBOb4A9w+WrXAo+/l4Wh3XXp8/Rd63+u0jH5mum9eVXrjorTTtx53o2BJrwSYwsO7Gz8VgmzDHOzjAtVVTHgA7brSjl8n0bzgCsvnEQe1WuuQEnCu8XgH0buQL3Q9fuoK1Zp4Fd0ALnph4sslAF9SegLeu83rlp3GsOaiwPtCqV/nyXZ8NVVyNHslENJahSMolS/l4BmzJpRIb8TigaSsHcLKn/JWwcN7o0W7sXicJSwVto8dda861yJ8Ab14vN1PJJ7Sa6wM2DKP8LPe5PXYkth05CCeTEvoLp0MQB1oeAXf8U6fJpr5Js3RlF5Bwwm3F+w9XWWwGv3xF0lU8w3CigP2jY20lzvbyvn4wh4mI7c0EHMhgu6xu+9QSyck3cmwgsZWvkEeK6GSzug/a0A0MXUvNVDUo2rmn8Yx9zImpYsRFBCdVkXWSKGMRcvZKcG7RlVCLzeAiX/mJEux4pady3KFIZ7FpcjuPIhCa8YNQ7qsxQh++VeJcasW0OowcZMXtUgs6m0rG6DS/JnLOKELZ8Gs4CCI9EyguCqIWVEZz4CSAtQeTTRHtWisGcjG8H0BigaF1ueACG/zPEFyL1RebSPCbize8vcZmje2LCIUt5WFbDktA1PKM9rV3UWBYbealS6Exh6SXbyEvNk3jnoqEz5s83bQXeuUKvv7cvzNtzQQpwQ+SW6HG+bufUTjNMX0/lIHLxI818u2lsZGAg0A2Ro42QPSkpvTZXf/pujM3X7o3cb6aaMl7RJSmiKl9NGJLsOM8T+jnb0TsLgob6IM1AtCXoTk4uLr9xm8hwG6VMnfe8uq85ntd0R3DwJQqP9oMgHEhTXGCl3YmbEY+irLeIhqateCMIkaqNkNkTXtLArEvba6N8s7cthIPrceEyiyhx4RXpFLqyjAtlTjU9CmE+9BTz/UZJWisRplEzm59bwXiBV6i94DiDVEtvxWDqdyg+TBqEQOYunC3PGTmegHE+mjY3wqNYsEAAUoHSl7/bWqhiSTtMT5CieBdeWX1tywNvHH6Dl6sYqmETGAfVCg4ICGZzRYYD4hHGN3Lx1n8vLBkUKtRM1Grwfg5N87pIXwWrL53Diizaurb+GQL8eP9fJiZSh/Ae5I9rw+iW4HNOsPVRZBT67gySnI9v2HsjnX4J5dIlXthc/b8t0K/bWjz1ScwPmaDkiVNjLs2GgugdS9+Tf88YEVlaXz3geoAjg1u+HNUf3edOSLZ6O9SU+ZZOJxjIWg9ENuE92hLjRvkeqGhyg/gka/0ermkJ4UTSGx7FmD4qmYryCgb2JC9ADmJjR4AiDxS7dGUmeKm6vbu1m4kEOuckRzsJP4OXeEkAtGCKayvNamh/Spnvnk19WgCMYEsoZe5AvYpp3qa+6olSYCtqok0aSpzhPTu0WVt+qQ2+8gGlsdJ6x4tGUErik2AaQJR0iAu1aVZMJkThJhkceEK/+TyYBajgUT6cpcosloRjAwR5YJSea/m9K/a0LSmUy3Rg2f5w+zDSG52490k8dFiEWgViWTs8VbjMk9MszhoZCOYcbagHRxWznJMTNAX/qHwlnQTmTi8nZeOdYKqV2FF9DIuULcM0F7773JJ4dZtanP+oGVIH0thH69Y/Gupm6YQu93esD4JxdY+lokt61ZZ+3ZJ2UA/Hsw4sZQAAAfc7uPMvRC//DSrFFPuyz8iE3ez6bnSLrLonkdiGjjOSNVot99H4sJ8EghxWhUvpQEa9LaWTZy4yXIioMmuMFqhvsVAi3eQT2yK/0TlaguoR9q20hmDi0zAiZSqPKbmQhDY65NxqjI9zSUigiCUibQwMYaXSepwJpQGcbvUpfNj6G8fJzxfpvq+nrT5n7NcjCfPZDkiqm6aMGB//IC6gxIVvUdor3rn26nr5EeS4YZM9Swinvgi4pf5G/RS0YM7QAYTUgxm+3k/tdN6UMa1a+9yER9S3fIn6vhOR4x9rvSdPWRettCuEJLBzcdGViUzzok+lHFP0joKDv0RFmiofuEKqt5xFU+6dKiwEb55CrJ7QGs3iuqZyiatFUBxs2Rdv/JYhPEnnjp5fLrQvEd3N3VUkm/yMiKvHU+iCDyra6VFzzRTQktyOO6rbH4JhkyMmu07DpMYt+sgz1Fse3rmXCTTFn6d/x2AjTJs5ald7qLOUAHAoMdKL4tlF3OqQF7T8WbY2MC4205v3AQBa/vx2CM3FJf4RZSasA81ea9m56z1y9by09SDm1OjGs51FdsRp/aGV3XefAMcCkvTpyZABSs3oTLQiEePTGfBu7M9GdyUpZS5WeqhSwYrMO7U9DiuDuocZFxJESb2Ei0vLMpJUNElFhiJa58l7v1oGd60D/eHICU8pJHpMHFH6MT3mVbzBS/XzLtOrxL1th4/dXz2VZHpP6AAe6kDlhrV7vjvahotrrWHudwkaB9X9iRlb32up8yCHYF3vEkOM07qRwEjX2WO2AkbPhptKEiticP6sdZ4oE3fR/reBLF13IIzxqr05QrKuGOrZ5eXREiIFvEvBC8MoQH+gNwlGyJuQTvnGzZJRAceM0WQYNM2Oq18rFbO6H2GqKiN9bliFYBKravvpriqQ6v305w1MPlsqzfb3ranYzJjBxUnElMM5tQJ8SdLr8Zm+u9Q8Z+fC3s8H8UNj0gDu5KSwCDPadIixjtNEESZpwhtMz9gC42oi+X4QKygciRtIFtD7r1WipUf9BVAsUvYdI4e42geAaBQOi9HuyGWZaCfG/VsT/Geu2x1E5oWfJ0zx1XHuQro5cY+c5MGZE0Tboh3YAKD/jGtMCUjybI9rRV5sxPOdTTLedG0sUIRhJk/8/HXkQEFoYBnJxIfGv9VFfyT8Kc/xZ+rzYwHvOdNPFhZD17R7fXqbXY6qB2L4ri1InxZQJinYliQ/ZvwaEG/0CLmrZL3wZOawYUdcvX/yJ6hzuJTd+Zp08PSVrOxxnjqeMZ9BQyEZORmSzPN9OUcvQzbKOcBg0CdJsomVeBu/GE0Z0ItoAlRdanynJngXNdLHKYJ1uheSg+HteWap3mRdT2W6blCRuAnp+eUpYK/h8aVjYgZsH+3LHZ245I8HffjfvMMdX2mhCjP+OKEeRZFNWhl25D9IVRsW03SpClyzzEsni0pp9eaOxfUmsE7dyY03ktQrbyFilK57+tUveW/6iGwg1MMC2ErogTArtgZFis7oJqge/gJG8sP4wVNUaLln+swgmI4TU/8yOZwVXZDIqtBQPy5fwtvvLqrc3gV3RwMIkVm5ny8ZgXeprW0RHeCsLOeSgPx4Ph/TDYgQi5c44/7xiC/RqcUTZLt+fMf+C5wGc86qqsEw8wFHLNlvXnn7Ih6VUom0udv/jV4a8pofIyLFOfRyX2dUW77m/EZN4Th8Op4Wi5MZWGOPmId4Sa7ZFlSxCI0JMSiWm+Ijdhny8Ej7YSogOfm11+7x1Rvv87RhsgdxV6CxwLKhgeHmfii9Z/a1UJ/kJve1uHhUA5tBlRGyhhBsCdbZTY07Ey43PLC6a7AvTH1NK6Ke//U+u+G1WIxguGafyPbKCNcENsfQW2nLqPFZtI96BTIDnadNki2mWw/Y4eZpvkdSvsk2uo5TUGiYn2WDhRXw8d8nzjz5onBO/5vSQAtgF5Jx6JHfWAgt/ZfSHswTinZmHXTJE99z+1ksbOmg1Fy90TTGEzL1QlPo3lALoADY6/iUQRQm68g+7+WtF6bn+O+L/6y2q0H9NVlZ9ZcJN4sLOjguoKWal7DWTTg7yfcJ6I5W0vWkT9M5al+T6MyhSo1TxC7KgNsnrbT1l8+vTTHbujERZwo3YNA6Ph2UTYMG2ry2LFCXOgT61YaG6UCTewWcJ6HXBMqM5a9S47Muv55dD5WSTeK4dh1U/hX9c3yGXcfigxGJdXvQDbhdUKdQ1F77409q7InSGcif0HS3iu2GybArNfQ2P1dsaZPuIqLZ+xpZvjqpIEwCOJIJM1wrbKGn9CTx6uh2Hrxy5bCvcsh/iGD2ZwQWSfxuOn6kU4bFvcWNTpln+CsB8qe7OyCgB7Q/GjkVaSCO0eBe3LQ7rO1pVzXlux4keF6ZvTgF+mbWmQRfH8/1nhAQtEsIuP5ybe/XleP3wHE93vSoJA3t0MGlLYq9LhHSRMyz6tGp6iqPcj74HLfafODHzMTFj1Se7Hi7wnUbJqdZVKow/i0R5W87equZaq/NwAWWXhm7mzJcW+f8Zdjl75fQXELRPw5D/AFATo38lrxK+FQ/YL0ie6nMUhDtWWYY4TzlagDBj07hPftTsnG0eNEntCJcMJCsLnnvZuXReawyFh+F4Ps7Kil+5aysMr/aC0TfFki6/8eJH7/hC0q6o2TmRqDeEaGWeGV0FWMk5+9i75IH9ukpPcETloPoZEE5jcGdtcHLDpvH98c1Mm8avcSQFTVtxSrtxSsHSqhPCaqF8eB5h3r37T5I8z7gFcTVDapWrtifq3KB7f3tgqf5ToOP2VP2Jg/God8zQbn6bw7dGJsMQFz2grXB6RS41kJRLrDMTQCRYtmcbrGmR31WOWvz6Ejw0s1h9gjrDb8w4gB2L9zPFZEb9dNPdQsjcYW3/nRNlwS9qka1UtpcaYISPP1S0LgOvJPq5QCDjUesqt0f5KIhFjXeRQ9miOVOuD3jnV86+zcgb5EXSFbwA97xIdRC9G9YV2h8Fs0fq4sGN6vdipX5RwQUb+ztHjItAtddodmN1xskz+Zmwt+8Z3xIkVETnKh7y6kCNqoR7tjT5aRyLQJhziWk1TItF0bTCB6vdsnWLlyXpbjM9iFZmMShUTD7KULMXOKgR8N2VoM34mwlHbmu1u8ewTpotgYy5CmO1lyDxZzc+kLWS4TkbIJ5hGuQGe5KfZI5wEIxYgnGQemkECbf7v4zT4YUe5ETz90dC4EatSgjwT6MVcZFHpz1oX/GyJxhHkKDeT+ULGxSg9JaYJw3kD9txAiv3+EBuqhx12g2W015X0jb2OrPu5njnAB83ZC1lrXJ5JKPg4whg1YWU/I5nJo/UX9l+qko2RrhCUiJLcu4Bbrrv2WVFO+4L6G9ARtS2KKg9/Y4kv1uI5liKtVsZ1QNMMmOvn/Dw4qP0N9QvwF/iWGaJOoOBNlSfesVGIlvRmmhfCRHU4jVEPAUKuIKHvd2slV+KpXz3UHhhpHQdw0O+NS9oGe/Qhh6LVdThvWVHYaNbI8xSpKNi2kpmSEpcoR3Fx7t7RvoJ3rZoKHzPjFD4XTVuPZ5rRLY/qmCuADnlvoKrCxuc+fV8ifZIxrLuwsyvg4pnnJ+4Zgi9xy7occCLvcRM1o6P1xzEPf6o+Gl9tleYrJW4hthYn1QNOjGavxp4Xx/GeTa9Y0ipdjy5+FevDhLQNQ3lXClFLUY6HTeXI6yKY0HNuKNvLlSIB67fLNeL8FTTPOkV8c5EAV0y6WRxKwWr+EAxmgA2LzkobmR6l3iW9IyQJEV4Ipej5vtPLm61wOQj8wENyD1dxzvnH27MMWARxzVJbXpVg0gK3tpGxqGhDyu2QlncS5MBr+axThRvvWXR/9X2AduYSpIuzO0Cmj9zhEAWN+xiGA7v7CWEScGU4E0OobTFWvL6ZLTkSaDg960vTlnOncoNzCzwFAoGJz8CPSfpl+WZPB4SDaVyfLg+p7j1qsxI970fgbHJE0EngZfT0QKd4nZaH4WJ9ah8sLJNQPpzSo3NAwu7jMq4ZPqK+eX58O7DcwPuS6wPAqV6zRA1z7b/NM2Zk+NkCpjIJSzBFuE8DPA/9RsUNlOymgFvDHxIm2zVotYyjD3ToSWc4AIS453qMQulrZHqGKWrM8+k835RC5OH74y4yxil4N/TzUeS1+UeUU+VyTjbx2eadx6mspfqqyyMgHwdpgPtEqUMxHXl0IeQJs5bXNWj9LSLcZ/PrDOuEy6Hbeb6DNb8PQfLp+GCGa7WoWNPp6s9BmOHeEFi37fKCDJ9LoXU5jtiRZwgQmC822H5SuVCNX21k9SzDVZMGJuv9wRM8BQ0q37H+c7l00tj8thYfrwJSjFwhbecf9ELPf08nOM6cKuNS6AVu4F6xTSaBgMLbxfS4C+2EIvxwDMjC9oeBysw8RLeDJCqN+Kda7B+rFsfRy9SZ++C+6LXTnHu5LNV0188T90ajgTeq48xtp51hR53sdMgE6PqdbA3HdfCKJyQO+zZpGopF7phOgQPXxgpZk4U0EG/sPYSUNZC9GcmllHaK2+/TiKHkA8KqAjpGSEZnN5qhf3crXtB9nmToYmCoqgwKPDixK8gVF9uZUuzMZj0XLfRnkBU1olnUaBzB/KCm50XCfEsf5cYxSaCoPlCjWn10w1UhBqhD5kRgRxPCR6CeHEjCJAnS1vvxGwL0IOUSODLAFLH6iZwN/pxqfzW5sR05cRwULbCxfZlODNofJh0g5qnDf9mzPOtyWfU80BSdBqnFGJOHs1wHnZ8NkmIg9gyDGOoRu06MTtKuAvowM41invZfpu8J02OnSVizgNOpPLG94e6VQyKUOQmmqE3U+As/NJ7tPncQIA39uD/upljU5DAv/XeEMcNc39/bUzVIaNoRns82Rv6OWelF060x2KH7+dLSJ1HvXKK7cEQT0xSH8qb8X0kBBUidqr12E8tubbQZ8u1MMwErtOMtximJYAWKzMVoZ1Z+Vi30QLkjDMvSlIaIbcHdXaKw0QASNl+PFaupdBXH3Ed2V528SIgXb88phGZNm1/k8e8JBg5HD30eW/kk4QkO7bIcwJt4pX5e9ecf7n4UyDZBv8CJGtnlcNAB+fNN/AjVm6lSyglw+rEs3PqRrB2Bgche62jmRljJwEs0642DKEc8Evg2Svvf8KSDiUCdiE7pJ0ATmxfsijHo8XnnmUV4UFoWY+MnytuUgyA7AR1f/46gO+nMwPXSKrbUFmLXNyjROrACJ7VmgJxxDFymGh5Lxug9QE6XHkuUaHu3x0xnRWE/wOa5K3gmseE3gzJTWAvv/Id3ckFSfFfzFypn4cRBCz1itzC6uHtCG4ccwk8gPMK/yWrYs3aKmHy3AutVjq64S+Vb8COEQEbBwygBDfbx2HDeH61Rr6Ra5p2P+k49F7ioIpaC1rI23CV1lAS0NXJMmH5dgksofI/HuT4ySkbBzgaiTTVXmAT9k4zZ/wPmXRfNT8eD1Vc57t82YflHm4VPqQYbpa8JhccH8t3L0AEl9YlXEdxUpJ4RMVuIygZ4cM4L6rtVApAtMURRblvIFVVYhaK2cBemYb/HjFnGzBEsRF3MYIjtwtlYqOIFHmHsZL3JreHHOKTMqnT8+1MaBs9JBcJ1FOCvhRvGkePGJmXqb1Zb4WfeuYANafkVP5MWRv3qyAngoRxzxPM4qkUU/HDBZdiKMPUf5t2MILlJEpwra/1RdoNmus192qFGyhdcquyNB8lkxObb4l8UNGh4q779MRifzg4Ys3+ttF2dK2IL21ZzvG7u4lebDUqa+AytnzQIUjzIkc8ei7Ky3o6mTQ5La/8D/nmAq+a34SJ/yA3IpLxLMP42el85BnwwqyIKXoqU7sais1dacthgFa4xUl7bwqMyrmCw/ZR+TlIZi1i5r705CTVtY51vAwobfEmyfXBVFYVzj5p7Nw+Cx6jw50Uo/YLIHAsq6Q2hQyTgfMf3SU09dSpaIaE9r8vc5tHT1t9KWcIndbC3oNQE+UTJ7ZOXIZ9TyUIQR86xJnaZiAK85CdfBCVUc6AVRreVZAhZFnqLJqsXBvbdPgM6xoyt6KSoDvlmnIyiyrnXkfvz3P9aXbFo4ynuvOSTaZrUfCSlZm7ACL22Ql2W06kO3JJNN9RK9ymR+qJiXufTA380tl+HIAvCWmC3diU/FZDtKP2DgEpLoWYJ49XnKDuz2XWC3wCZ2eiwq2HtdE3FRU2mpM1bozfAALmVVydQ+e63hEQTGCVYnn1DsaxP1PfZdUMvtzEDp0mIvUzgbd6QZvyipF83PFsrVyTW2CSEvf2Rk/mFmQ4IStXy69t45jCZ5WR/O0JuAm0qQB9rBKOCAb685tdmY0KcMu8uBU19QPeEPUbucvo6kQFUTzUATvZPhPVVAs9C1KRWqaueTm3eunw3e61lfk9pH31m0eyAIWD3rOwZ5DHfod8vcfB7Pr0gSQ3pHrR8+7IE4Jn3C+wklAJCdfgWc6v1hVXjjTGQOH1jiWJ5OOPZJy6CefTKcX6j1vBA12aOaGV03FMe5Iw9jf3Io+gdnR+WrYEf7Krqj3hV7Jog1rQflIcdx4yI1X6BNASisNqt2tONAVxGLHWIw22ijNzjvDLkq79w/EHszlHPeZl5uHO3V7BzyoSGeq+8FWJjK4abKXrVkEBy315mrtAH/N7GsC8EcPyHe4quB6b6GNyuDeLnl6+7vegpKlCPX9zvhRlbT5qK/nSMsMfKMVr8NiaknDJTqf4a3vm9P0VZ9t6jwKm1K99Fhpty2TytGOKb0qCyxtalqXXlJMlXQ703GiX+uvm+h8EDieb8vYfzh8/eHzSf8NGi/RRnX+x+WmLOvwy1oWsqKOq9hcPKV+SPOOjIn/JWAIDe7nPysmca5iZR4N0urjJQCpI/65fC/XUfbo4erXQYJ9fWh/pE/lhUqkUgh8GG9wupuybCBBBLu9xlxgffVmXpfLWBmsxl8b30CvOMNyeThbWYA83mPDxbolb99FoTTSnFcK9GulU/cKK7QFbUXX2jCGMv2BB8xH1S6+4OFm0IxB6J0cQ3+guhyGDYmTxQe9Qh8iji95D6M7C4qDZklVSH8lu+NxufgtMKSJZmrLzFyTjcrXZOUAFTnFIwKuLgFK6GUlq/moRVE1iY5apxfUqHpBDqSINXqztPw7cqTPVcOnzsoBG2+BDYz356/jUk/OTP8nz7vTXd4k+b9ruk8Jxap9EIxdGJkhI45T1D9qfxctf7+D9NxTzx6Kezs2ysAv6Ac7L2vAJKetVD7cVnQ0N5z7iCYUg+oWwJ2yD9fVKLDnDg1sUrDQm1V1inQe5GgxBfVS6R2/WKvA/d7yA7W3px3wqDj4DdgY89egXPyAzBd29oj+9QTY5yXw6LMRA8ewmNV9nor39LK//ufeYXPsvWk6IRB0okIU0/BR5BWp6FMCp8Nqo0c2LgrolsbKYRC0uYUVsjanEg4YJh4gAArXS0MD0ps236jb4kp956MyY2dZ5R4qoPm0bA9Fu6cycw+8hC9/+CytI06aBXD/TXyK6pPc39iC9PyTaHusKEw/vyLxWWSXHxBMJy7PLWeZWdEkJsmPAOwbG9PBI+d0pp8mDbFr9EOOtwpkIQz7/JLSCpL5AwWZiBDUt0Okiue4K3FnSHklXVlfTdhUY5FGWN4+NsYQIU7K2tyqSdtE/WMRo4dew9ldoFYf2QHi+swuSAAiVfFexGDcZYB9K99Wpuf/RBTBHJqRhbPuQFNW9s1doTQMLKKV69DbupjtNw0kIY0EDszihQzcqB+pInu/+knQjctkBScwI2klTAi7X3f35tz3KFVEaVoNWbzggJJUE55V+QqnINPH1eGZp2pcAQGZqen1m2E4NXzpnCyVzHimFkIX1Q7auGZmWRwn5wgYGATbh56fF+nAWfW/PEE1HhZoxvGbybXbf3EHEUxpEddQrES8i+iPw8FX1wbJhuatJTDPtnHIghKYAeTGjqLlkRZAH8aSrChFBeWjobhA9T51Ch61kJ4WA7hPmb3rSGhgNkEkRgzrc/eGOmeb7NBv6m5IveldMsrNSiePzwNi7IvU5AG8kgrAYZi9ARwzKE70zpSxjtDmM6TzOqAUm+xPaf/wjmLYdGwYCYlw9i0MHxmfh7rA7teboVq3TgjToUYpG05Z1Qf5yNgAFKMaow9d4SX08PDp44zwSW0U/m99Spd6dYStaTeduFZ/yaKLaAhHHw+Cj0qUn8/vm1Ncy3JvuMCqYnsTb7FUK4lo50QTr4nkwP0rLuh/i0wYVKBnsh9/V9P0ujC4XEzSwZG9bIRM5cdpL23qALBJfex4XJOwj7Uwpu1wfeCE/stHe3M/iIR5V0GCkhIyy7qZ9xMG/3WTEM/JqskhnLPm2JKgUf9eG+LXebkBYH1Yvx2zwSL0q8xfed3Wkpevu09c5ATYWFK3Lk55n6plm8FM8sH5nhW/NsBfRlPCtvT5BXHT/maur8BIVeg0cn75l4YUKVPafMB8jGgJ3t9amxxOGrjSnD0eEPI1pt4hAeXMzrobPbyngWrmhh1EoNGvzgGGguCz9WFywnzbiCyUuhG16DqCCx63a06r4MJmh8fglAy1jlE8YZWNVT7rD7EOPsh/eP/aweCsKr6C5toP7EHOeQ9dNNbOVlkUqiiIzEvZaaVyuVUQ9GCySqya6qDK+ljVxNF497sTvpcgTgWw6DAUHuJu+g7r6pNze4boxkTcs3Uf7x+1T5Q2PXOJdtLPAnGPXiPtOSGC5fCBTjPlYxNSqweQlTHGI1MCr2azBktKratNVXdjJzQjK5UxDzVTu972ous/jQ7mn0lOTXPUQbRPf0pAF/2xLBXr3s7FIK99dP96wY/pzco3ElDZ2CNk6y7kzMoxZqrlcO5Y3yOHu05J+nS9QCICI/42yfZKhxsPMKbLEv/u91zXKd/QS98G32Yxj7LnsWUtl14QHJu78d8/Ky3eZ4T+GXPTuwmJwSFhgosCfYJ4zx/gGVR2Y3Jt55Hhrl16oWCOuRL/12ftnJnxQkSvHD/+2mSkVsjRc2bPYmIKXsmilzPn6lGNJC4NFKEsa1I6zWLc4mCsZjWO8JlU+xfBCnsF2FNF0e0tONST2q+YMfqToCOGCCUM+7/h2MFHZbHxVmqASxzZ8JOMaPJIjKPmuxd4hHTsqli4i4Ixg7w6wQ7vFVyU4nEGdXHZn/WzqezVwvHsePKyntIWL44VKpn+6eft6TA4XRkSta+QSaIj1NxXcyhpJvMvbWG3U3OZx1ib6zW+M/LxewArFUXBvUo7E4JbdN7ShMaEZLfAi5nRbWUiMdd0FSBWmzpbePDcZgnzNDUDCFuSOq32WntoJXgn+dixL9LNqqAZLrH/dLhjPYjMgzcUbWZ+E5kFrMEcygl+Sv1A+gRVSpSWEezpi2h7MlMIh5tGucrTBoXQcOUfJ0BG9V5LhHVWtL08A7YY+k9dHj8WbWoPuKHOoOgb94uPr2go5NPpc52dgJX3MBl18Tdvw1mgrnPD8w+eHkH/4SRz4MsvgTqNwNoRAGYTYPnNwxePKw91TNjKN56ElwdQLw4w4NFEXnpLnvZUNYZq7tdBxlJf20v8lyZL29hM2asysitQS6m7hcV76MvReIYVia+y20N7Sem+4B3jgThYvClaquv/HjSkmblbKOT+OfkXoYyUipk86oJ2atGbpLiGilEyivjbe31Li8mxqC+QSV6VHyjo451sdYIx27NBCJ9PrR3PaL5f/bPbmhASiQSojOV17b6xsLm2fhQYN9gBPyM/KBu/gymgqeyr1ltMY35ORAaNU09nn62f2KaIQ98W6FcwflYjz3WJexOfx4ra0T2JLQ/NovwXc55Q9WEEVO8oLO5e8YP2gVo+n5OdX6sUZhJoApxIZ5t+RlXW/RX9nkH0jeMlyL563Y/ApvyozA9KyT9na81J9SBc4lS3etKB6oOFCJuS7q1HGneouMga1o03lRkP+xAMkEEQJO3W2NMyyR+DcTFdcDs5iKr1vMOunYKwgmu9dXZJoASMw8f4HUW3ax/Mi1Sh0GxCusqM0A18G1XiLOGd2jGY3xf5Yj6hTAZxPuXXtKCr0APqIcXsN2QvaWt19i9gX1auI2UFduJAapY1TSq6SCKTjO1E8hv2A28uTZKjldHT37qNdSML0HMZRxh1CsocR0ESYCGhFQtJeQ1pKGngNB6OIA4DQ/k19GDs2rjlZoxAB4ayJE8iEJENwuo+AHYWeinOLpfeDMvC3Ifo/B7aGwpbhxyM0ybrIgM6Cg8CLmmP2Xh+idD73EvvXr95U/sPqvY7K58xGy0KPkcsV/t2OISOy/2oR639qV6qvTgphxRQl4oEfMfNPdK3Tb0Xq+sw/IZUy3eKBp15DAbw5qJJAUVsv8tuS6tByrdm31CMcN6L6d7bZzwpTPGxrhBxAvhG1HQIUrPe7KlX73VdTzIh70avWtflvKvdprQbs0h0Ep3XQWfC27jPlvYGi+/v7gAaK95uElAkBcaKzF26npOtrtrhLl+Iu0adqW7J/ED2nXZ4NNm3KttyfAxQAxrjnM3c/0Xi/pv4qWIOC4WajexPztw8BYcytxywD6MKxXpLKzVDpY5dKnUwTsmSydvrEVROwbu2rmk/5HI2yKUEPGFc/kpIH8ut8Gpr75IleCJ3BVC1peZ0Pc+bAIhcayigP4kZESTPfBrZTlmEPQQb6vZUM/bfpRXhHtrm9ayNg8TxCQ0MGNI0lFax61Z/NMiXDIIgsIcMvhN/b92velmI8IqDdlTSr59MKTEM80bIfRW2oRuQPHpAGsm60FgTV7LPAffbTMrVkVQTKMbFrMFoO686SkoAgLoGLgbqIGPa9WFDVqoic5a8t+p0Mjl877nOEAnz0OQJiRyc2uB8j4SCON7vPqWvgCRE+XZItKSv8L0eEebXjN2fXPeUCKeOfIOkIL8V3AhK2jC9kuJ11JwQNo/rnQNUCfbN4XC6SfkrM2Tu18S9yffrYX8OAYox1FR/HeTtPXZxnHn5T1pd0gZ6SdYWp0yPi73myKuoOjXve0cbL7RtI8jZ5f8dCWZc9IM/ox8OHXXx9bsoCdY3VnvdBaq8kaEZIoCR/Yct6HxoUlQyti1tKMbgHXFt4EcvwbsFPUzThoCES9xgtPf7cMIlWKxb6LGH81Lp4J2Mb+FkUot7g55hGdEtJXEL3//G3tMAc9pOuKVpkS4gF1z8C/Es/wMSP9gFkBn05EBhVa6kPXaRIc/+ahMFQrWGMdmEEyBdOUtcPBdtOEwjWVbEu33UyE3k3KSRrvI2oszWuYJ3W68cCjUnOWOMSeLsKAeHfzvpA1U1hCZatGiRJ27m6iwSWcCGcYkUppKx/t4LKa5e9J9aJs0GyM3EUmfQ9SHS+Ztlkw7ue2bGP4pLSQFK8bKXI7oCheWV4v64dchsSI2FQkECURPUMr2LB4g01wgi2F5WNBPlXCPIKTCLowbYnV6BPnPxIxitvTry08KKC92J6FmG/g5bie5cAY6WtlhkiFCNkcscsfETIqW2fAuOHh8d4BVBqZrvj9wenWv20eK+VGYfMB9n7UiKANp1EPxyGT3cT8NqqO6CJegrkqnXVGhjMeTcAp1g0yFaLudE8XiIrjeZIjUNXKdDNvLSmpSLRyjv4p0WvXL7gZ0fk0Oyz4MKNu4V7/mGmoZ6vXFBvH6cHZJuW5ZT/be9nCIhiuN1s8Ok91FWl4xmSDmwf9VPYW0pquC6RY9V5slb9eK+uzyzTX+Vk0d0plhY6rZqu40YXMu4RYHrHaNxL8oszdr3pKIuyOoLo4jOEr5YK/wkK0fObnkYgp8eTLAbeVPqSVtBaWO0vga2biv2CdMsDWN/XRytgPZd5LpbqO8rDiR3ljXu0oZ9rs8lC1sDvkfVxTS3V1cU6pbzQean4o5Fu8Z0B/32w4Ck1MTho7eLuFUyylj1Gol1i6EIfQydElbSfG1/pS8/PMONAJYF09MMsBd3xg7oJT6xJHgkbqwqEHA2ixLkK0JgVSF6MEzlGNe+EHeJGLDnje35ssBgpqhcNyBH7lKYVBxanl591UYQUB0q7XdJvMdWpPodANVDOto30uy1HV12HVISyQIUMb/DRUhgxqb3GEhjuHMOy43IPBNtLVKGmKqUeAwsvtRVa30FIZV9WRJeHsxeQe8wCITHrIHY16zmOLqLnSK+oPQtt/WEkLV1FWdnQmQtrsW506UXE302roIpDwzowwN1vAi/qy8mdS02+U4/W/UxeVeSlDFKjBchX0WxUuDic5HDGMrL3qN3R3Cjt6Uk7vsgoO8sT5Q0G6qux+Ov7s7ETqAd13u8B8d7wPwpI2csh9ZinJqOwWU0/OXyta0/bpZreAYwIk+Il5zR2pzM7s0iYsig1MvdXl0JWvyP0a9YT4s0Vi2ydMMwzwgBvWCv/L+D6yVr5rpYT6vWosOT3TBCoTPWvgIyWC7z+1w3AuKh0XrVPs7aUBgKQIQ2wjWJIvFmmXX+fYyKZGUeVRmT/AYLSKGfMhd5woCI31qEe8SHuTp9CtVGQ6E2juehLj7Fq2p0N70Q3p+KLd30ftJ8sKmy3gPpNXGzNpH1apwafRwtctNc7VVfxRmyq8YksfadXiop1psOIO3Ho1RIrXuX6Y3Di2oQWS+spbzOkjqQfW/BAIJ9PE9cyeoLRpqeOiW8WOjVNSZLIQBvhBQDnJxzd1xTfuQ5S2EhMW6ryJ4uMrG++gl8tP2e0CCGVqUoaXDD5MG8brPxBOrLbwyU2uPRn7eY99z76qLV3gZlgb6+joT/iCXes1kzIq9RXX8GlCfk4GLeCwryLL5EXM6vvfheL+e7hqDO38GA6n1s2mDi2IiNC50aRgmuYkfnebPUCvtksHbamUAugsz4/QEh9UXKmSrsmJR/FbiI/rX7pO2r1yt6X4N7/5On/ysOuJrMQaKr09F19QcXo5T29ta190FIBADtrbEqLruMKtIXYIt8tOQ7tZyqYEyuC2865rTMGiHlDXVDFdrBYlu8hki7SyiTgke8m2dHi6w/nPT9pwWJgX4laY0sFNnerXxRLsxsxB5wH/pmhWC4QoqcmyuUhr8i2YePGq2nDpUhSxpA7pWKVDDbcx5oUIniwxVoSZzxrqfmcoQJeQIVGuXv44wQafXOA/BEzPiUSKTr0W0T+Ow6V93hVIL8bVz21IanFZDrkTLi/w6osUZGh+HkAkfgXVIijn8iKM3vIjl2a6uiKGyoqXXQoWAVuGfgK1sa7V2PtGjjm4Xbag2HIh3daN9fTAsgx5Jj+7KLOrDNcUtD2NTdMCn5Bu7Vi3JxjU6cJ1rQAcOeFIRd3JTBRXcRYc5YaKW3S27QCXinMrmMYqvJxSbfMMTJFQTKVj+73HYrW5VCm36xRJ1uj8j9Nv9yznfUgy6CGgSV+eZDcd59dFdDWu9TkN6v5mL9sF+N3G+CzDALt1jslJj2AME+DPJL1qdl7wIiLeLGci+aaZmuXpLritkwTcyZjfZTYP9noPVYdaFFHLm7MT/tcuB8yo10/zLWYd1sXJs5FdG3Atq8bLpAWokiHCu+b5o2ilM525LYeGuX9ezE5JOEy9NEP+wUTrdEMbPd/DXVgluaCqiTLLqmEe7R2yDsZn4eFd9cp+g+qkek4NF+SbOy1V6DjSQ+APynsfGVqM7ZHT3RPrBAQs5357og1IQ97QUXthcULlkGypZzDqWVDftnqBe9rYxeR3BOvYysvT05xbpi2MXa/oEWsSlBbv3r0qR6T9842UmdS+rFbefKW7bWslhTJBlR3MxnchMqke/u6LXshO2brtL1vpBnsGh4fjWHLGwci8wEf55tsKy/DYSEp2eT/9yu8/VD7YOxNFUh24qXbYlZn2kyc6bMeaJbF9mYzr3iDgZfigbQ65quOjGhqieULawxumWqZc3FGAYVhzl9KCi3nptlNUNOXEBckhwWMCBW0hLwJvz3CcYGZGpjPGJ9IZdZfWMjTU0xgB1aUIlET8e3QKz/SrvDhTQbci+kfLkZShbIQnsBS98ePKbR3bZtDxcrqrlmbmNAqUONltGfAuzbkE42v3dh2DEoI14P8V34hPnnGVQ+LG+0voi9YJwMOY7G7O9osZRNA1qrFFc0fz041zXa7cg21hpwxQsndJCWaJwTZDfNn2bosD7x0TBmhkN0XaDe2rN5O4RVyLIsSCl8CSO4t5SE2oWC7Fl9kXKElhb7zNCtzjlXesOb2oXIH+dT21kZtQnOCkUd32FVXbb4DmjbZbB9qrk1dCPaAja/deavgf44Vw9h0y6Sa28lsi4K6a2qMPkpGCS8NIFaPwOd+ZvUHb3iduKuli/WTUNd54PxFhsC2GkMamx+ng6HugOvXFEXLltCGs6L1xhxS2eiO57lRaESFsWrbo9qDfwrxkSAUri0oUTFcABgwUPyUhejbIjrNAXmscGd7AcllB1OJuxywW+J1OVnqXo1KqL+7UHFS3yCfcCrdhQahCTTLUZAdbI5hNB+sA9PqLYilzBQHit3O2ebz03xBoLizDZBFgQO7K6ARJLL/3SVNNSDRiOV0mpIcudHBMbHzveIUMwU+GyuqU2PoKV9spDy9t2Kzy9EPrh+LtEcZl0MD1AtfKsFSeVBHyQBRFUJS6k0bn0xj93aoGNA6u2aML8gNxmeIP0qlFVkF2hO5KkREdHPl351PqanF4STACm7wcEodZKF8Y/KYqtKehoLd+eqyntqhuuE3j4tEQmMyxR89L6kXrZXfI6XMSfh6Q7J1hhANlLMtQPJQQt5rug+BAM+Q6pFKEJMgdp+K8zTMMksZDqYCVrOFo6iLEfrIIAiANrdQzHveseb61QnC4V+4FKFB2wmMJ3ccgFR5BUXfcxCwc1TgUbB4o3NzIxg+O2i+9n+1lTW4UcUEF9SMX1DJxfqRvV48qAu58E2/kwsN/MdXJ0+/dOcD6YRvMaDVovun4I7d5DMwHHZnHlhnmhLMZUSrOX5f+Qslv74WmoT7UW7hMUoJjwletAuH0vNQmHqgCeEtNamx6mUhJ4Em/blOPQTGT4/WoNGPxC/UxLQ5xgC06ZQqDKU3VC8lr8r3lmuNsnklb02T//TO3O0jwo+tH5GnGd4p6SOryaT8MK4Q2BRNwMkg1+tfK4zBqDgyDYv6QYKDdoLdZo/hmDYxr0bSarSYCWNyc1MMd3V0BEmcE0EXQP98lNEqG75jluYaKwtxg1cP+1TfaIp87192iCsmZJbFmNVj2W6OxWnytCreAExq+q9MINO6OLpU/WPfXVY1NBFxdWxJWgHBtFVxVH9p4rWdYiJou5vtO2q72FyXfN9QmdfyVfAb/LAZTuNOKKhASirDIqq060GLvvmuI7CVoYFXnY+OiZ4J5UfsHuuL0W7XUqaW22J8zQQ7pVnF1wETfZekav/JyG8zYpIJ9i150y+NWRG/xXSoODeDaR+sxAZStyZZ5d4CVt0GPT9FFnlvO0vfDA5dllMaQlUoYBLH22PzpmAjsuJ2B/g2dxvLo7AKlHFf+AUnPFdQjcTkZLcPKT6hJWyfYm1UF3uSGCVo2PWvBuRm0wnT7Z6xLJlQJs00vgyXYbvUl5zArk/KmT8yx133x+A1bpBdSakKs6UKpuinQY9DHqlFSb5/3AiXXvvIfjrYgMqNoRkY6lywsX4RUfSOfrcd7NWZB4bYRuxGF0FwVS+FrLH6tpGzDTiAxH36htxXyMeEhtuSPnebnnCxoZvx+qZ7ZeXgLd0ulcn46VRO1Wt1um9KcjmNM2QsBvofaGSO4SHD5yyqiq8rMLB8ydKTKMJPECOf3i6msKPFLheuk1UMma9DYZyeuBqxrgyewQhiSfceT6YR5OG0ISxReNj5cvBwAYBHTfb3n8QpQ5qiwcVuooHJbLQRgvVZooe8p/ZFN2qtRlEwhZCzxn4OsXF7Ut4xFwvezTSERUpKYNN5TmFGTuNC1AQcv/LYTct6Mz5QcXhlVw5My4UC78eW0FVx8oBEnsMD+fcjpsp4PuJUHtRGtEAl6iUojgSRrwHvy7Ss/IUyiJiGbcMxeiNITJr42ckJKvvC2gQ3elFmIBAwP8u3mwNsRKU4wR7m+tZkPSAqqYZ9pTxHXnP4rqYYOU+DysQCy6G7gF2FTAjiBamu+NiIH4/kEaW3bx+OLkLWnlWQaI5pq6zVeerSNZFc+7lsaE48DPk1of9Jl/IRUHyyXfxxRfBI97TzFsZw7UcNUEoH8KUeVVuwmjaEwVALexZAnaRwej22doH+++LFjBMxEQBOI+3ghgfFq5tUT8TuxzSIfzweZQW+WgI0Bx02TnbwhcsTstzLXb6r8jxUc6y+LplujsxaznZYUHhivje5mRU3owRM9lMH7U8hSIx6ggLz2pkBF0AyfjZJaUZH0i/VcjRZOecLMU/iFTSZGGDKoBVIUPqw2R0pq69cHa3OULnMo7kKF+eUWEZhgJeXfru2I8a+OwWnfVqysACxFUTsVp14ptGfCJh/PYnFtMF1cU/9Q8hq0wfDfuXGpz5y/0qabxYPBWVzsPvzvpX72beSfn99thzTBN1YV7CFZ4m9U/KSgRY7ZQZq1ulVH/wgGRtjODBYFYe3KA7bhtweGLrX+wTPYZRe+/a6F0YkPCLxF843bFj9PQnSspVpxoFeJy+hija9jVXv3IK3M+MUc+DizQBP0x19ykNeFPaVcq2JYIZJ91zV7cVLvS9wdW9pMk2BPIOuA9zhLFFmBV7rzHjHWY48ZSv30aWc631GCFZSqhyAaYRQomAGbVKLLr26XgWhkyYrR3IsZzgPu7W2zav1cBPONdGqhqWjXx3IpFAkXpH5ZNe8ju/JzV5mr2elUxLhTKI6Ruhvo51JTWGgy4Xv/ofkpObB2j7u62tVFKmlTl0DlYiZSaBYGkTe2s7RR4GG47IEdelOVMcF3JzGZj6Xu8yOuEEwUXqX6eLNNjbzuVkBS1qmY+eSLV5PMFa7t05uyjy3NoLDLbvdkHhrKL6WbbX5B+i2I78YlSlC9WOY6MMa5J1pnwkE+uv81+q/81xOyjgHJIkJjkfrWOrx8qO0Z0oGlmgs+RnscyLVeGNyR8pD0mWebMWlK1P8sEpyVlUaruCEL3SJfosXuZpLS7fGNj2d7lJQ7Pac4t5A8GLQRULt4oCbX7RtaKUwVTOhPfmigz8a3qp9LC9dk/pGtzysjB2h4k/sw33PWzts8m/GvjpA4Kn0wIme3eBg5ksLlx4+P0GdRdY1OtcSspOVcW1VtrdyX8PfGja05AOMla7KohKryTzIxbk9zYYezvUM2NuR21u3vf3w9fwvOs/ZMa973vp28pd0AMK6yi/Hmsoj357QT/YrFEzhr8AsfSumNm74BmmLVhxsST7/+awljFVy8Os3K1s3dhrd0KUGA7Nsa1pRvbZdrNWtS39ouuR4JBkqe2+ce0C5DyCvgCpCSYGvsDZAay/G8eE1QnApxYBbp8QoS4MHdbM3lJ/bb77ekPvZHF7m/8IT4WyMm2FG6KZASOHmxNeqdaAY/sgALSMlZyydhFU6c8eLWlgIeHzmElfDzLTLfQouizwEMfYy0DuMCS9IbCnRwdCrLCYdp+1gzPncqYlrG30PKTSoefZb0hYr+DUYeFBio67AdWwAf6VGaXiBlN51wXHFv68Iqew/PdS58XEexGUhgKG5dTkwmmNHzTDgP5+TdGuvbipJr5tll+3M7r32gMSriMsooRqBGTCtS+Xhyp7nDLwze1DzrrT3W9zvOqSXAu7uomeBYzO0eRo5qTNZeQ+z6UJg7ZNAckecNNAGNaqKrK/eml1FQOO8t6M6kGxJKsQuQQzzZ18GVLfB4R1tdqWbYZ4Ff/vDbhmo/KJiOvFsQQap+vkR+r/XyOUB+ygv2sVHr2TzWZ3BIj9acW8D8Kxr2+gLMv+1i4yocz4tnpFZG1AdRKu1R8DCO0OAgukdW8V8wSJOhQ6f1McOREoLPbkn2wsuZtE0420DlXXZ48Il7VNudnTC5DWI0J/VUO1KX27oGGX03/YF3x21kpd6BycAb2NBf1nhUr/PMUuJ36olvj6Y3RQvmGWaXcdEIarBVuFhQp26EqiIKT6Q21JcGGBtw5dLchxRSEmSQqOpoB0N5uEss+9e2HOTNyX0Tm0eHihWchE2OO8hm0fP3ULzUeiSF6h9xVbrwZr8joeIxrT90Yf+aX8uz1oRm0QhA2qFddtNwX+FQhQCct0D00A37LYa2S+EtRBPsDqgfA+RebWLjVRvE8AbqyGmfLTsM21hH2lGCqTiaM9XegSMgWtNKSzsZ2TF28GNlRZSApjZvJ8/SdGMUrHuoIyO4jj95elkIsObf+frUv9lUBV/kf3/COr6x+G15tnKi4s/jTI4519R+09QnMt6JDGK6IAq4VY9dnh8+BylGzCGuJQtQ1Yp8QgFL422w9JprURg/M38YyFrEJFV72d6ni58sG8e+Y3CvWchD90sp9B4H2wLBOI9ffkgOVnPuXlH5/5HrwqEsxYBpHOna+R4MEjtZIj3ydxXRUNQSQqzUS1e5j3EGpOgXWsb0ngSE524L6ugKF57ywo/tag4wEwJ28fPQEO2CVIw+7RqqrnY3t7P/FhWkMff1mc2gRMU0laK5f5EbI2WdErzLfjTpmbsRtSG8NLpX0L+r6nVKNv20W3Dl8RjzErNEnudQOmrU2Z7z++1fV1UXgjrKJrSD0dT/vflSLt7FOGt6Ar0r41+zwaz+OGsGcfyxvBZ20rsMI30TaNoYifOpjtJ4++4XkJsrKy0buFxcTfJjmpIaQT0c8lcSy2+lIFqc/ePML4MZTA4htc6vPAS+8HY53xws+LfAkjylB2UsxeKLuv7ZfofOJsZdCCsOVjNcEA06LZypRYxuHSdixBAAnJogrOj0bBCRrGHskXv3y1bo0f1+zxvQ6wpEdxXiIerG3jB8YERjYwpvI5wIuKU+Wm0E9pGlNcSQzzRlswSwWMgHZAODReL/xL6B8Az+EqjRoavpfxOONUgoItkuNjRY98LdKFHl+/FGf/c/+9bcyMJbEPjZgMX1c+VMuyx6eQPMbquL27q5/Lvik7bJBquUljOcJ/U7K4DBOAv4Otu3cUdNcyh4pOdGDv/9PPI1+Sj3BH5FA0/ZyClR95o/+PLmin7PJV+wBBSFrPqjEI9JbMgGlYlnHykzFA+tDzvk++DIFA/Su4iTahbCrkZGBh8OL4J+2iI5H0TttoDz5VZqMD/D3hs8yl3UQkWce8jh3Ig3h9nQK7xslyemiyPxlFX2mIYKMQn+zXRG0mic4kAI8pmomyqYUu8btPDc3ZTogCNxmckfE7n6rrcQLLdAjwFv1zrKDIPZ0YtsZc419kHhMbBwojWQpuDJByuL4uHyU6AZllVWuCa6xVgp+pWdbbr6lBftfSoTXt5M+8v36vUwQuD7aAr/4Kjq9rkCM5mOykRUHu3m8dRS1rZYWrlDtPv5xIwFZEdVbYpzjzxQ5qzX/6r+3DOT2Xn7yN0kRISe/gK9dRcnZUbweqOZz5JeTdq+0pcN9k5xua5Hm5Pc21DMHD6bWvYjCa1ll8NSWJSkE3pAFIWT1zYFHwY6XlokhTqeP+qjMCGjHfZiS7IowibMAjb8XH5kSJqjb1DTsFlNeYQKtF4poUJcI4D2MobwIwG6FuJpyuT84b6VCoK93PQofHBTNJntOBWPur/tYJ3zqI7Pls+ZFVqmlYsRV6/WDG9DWFA5m1PBVl1btoNXjvgCTgTdfaUNmKhKw5GhUjNxiY9214LeSKanmPuqggnkb71mPGkhGoHK5FfawgTDk2iks2Khy0fJ55nMN4AE8sUZLcxPeqEiD5ZhN6iCAo49Ozru/SXbVWj/WrFtj0Ix6JSSfpshLValBBU7cJzXzf9MMIthpMvI13c0viTyzHRYCRqz8Q+o9joMUYDhX1u4dxmDqkkp8fbBzY008LAlYcDhuqijv5ijOctXGLzvUpb+y0pl1Bv4GnCLZ3vtyeLbGOG35etLbfwaOiUiLDm6Q79nYFVVhYhtUCw3ui4qcY8/zxvHhrNoimVUgBqXPTy9R9iXk3ePpAE4BR8mGaImdExZseY+o2SeXW+1+Uv2UgwYPB87MI/j8Nmj3rTcWs91H0MDEzHC3x+UAjaufBgeXALUVIF4ogQhfZRtN+aT1vLpa1PjbOr4WwzaDTKmgSqBsE5tMqoCId8CQIHakrvm4lV9PyIrXyfEzRM0jRqvLbqF5bX2kyYc8ZCFvfyLRSn3Juv40xgwYbulcZdn/kRbAoivyNErT4xVw+pyduoLSZyQLyOyv2K+8+nUjMSc+Z6kwhS5AH93/RGgkgeysXWaC1Zza8G8H4D6c8v52NTvA0kdenkeqHTuAK9/L5g4nUJJ0+yxvFAdcdy7tzxamlMsKgsKbgnnB7pZKAm8GxhXY0e0LF0TCbfWGTNHr/QNSm0jKNANNca/j6mUNp1LxPt9vTEKbJfikfrsVF36/ZmhmoXtnCVvSifNR0Yk6J3ygy1CZVC06ruiHEeZS8l87dJbi4hlRI9H/cXWCSeCH5Kjjkh6gHcVO+113RHHJRBIavWxJr+RAXkflFeRxXDMyBLlDNUwCUy5xSzN/sXEaBOtF0B+5dbjjdF4beUeKXOJRE/4N64hD2oML2DId4Z2TSZPvTiYLVO2t3FRWzdBgAIzcNl6FBou0LwLB3oGtK6kGW6uxAmC8QaMjT3DEXcUcUCHJbx+VHjTrdRqetqoG5qlzBpuIES04rqpy1J4aFfu/mpCj8TZ/3ksPdA+b+58ePvlJWHEvllkhjQj4aPv+FMVYpUTPUSR8Ny/c529tOnFs8Iujb9DpVVPDa0/7JA1qiZwgbSAf2AM9cCaA5DyoJrhsle032ewWGbZ7pFPV6V9dHvf95kYSuyp6F0J+DefLKvilPchz0pPnSCiqSehCOMG6LSV4XnpoBETh7XnHSg4E9rJ18PLkw1FDq/PhT40rn8QwWbYCqyTt5V4ocQm5CY5mCvDMvnHfG8AVG6hWUney7ik4PchL0uYNU4yCm2vo7AjtUmUNrXxrsVXlk74cDn2Dwnni4KHKdKEK+3kqK7S80EQoCUjh36r+wtkfNPrZU/8vSCT1XS07yRzEJnqXvxxlBYh+05u6mIXLzSO3xIRRXU9umLQIR0bm7eyW4VOmXqYNQsgAuoZLRihtFvgxPmojezpI82WIy6vg85gM88CTnFbjizkVCnOoXJHFFYP9lQsh/l/utLnIVU+oR0ZUFwPShO14tKAVMY2+HytQ+UHOJN6IJd8qhwwNSARmhtzrH66WpVJ0j+crah2woSu8rPIUkopPn+AgqXMons3deoFahDKL+gFGasdSPU41a3OVWHy3whL0xEDgwNnKnCua0z2quhn8p5gvScX2xD9ZWmixX8RR3ltvjnaoaGu3ZtzA4gyfWmqrfO38zl8vSHLwaEVIOdF6o+cyXBuDR0JYJInnPUTJTS8xnCTWFHXy7ZOhvZUFgfZGo9Ivw3p63tZwDluhn1vbiLf1hiwrvm7p42E6Uztu6ULJyY/ReFenvMFoAKwtnqqxQZfITzZjnLUXZHhym15xSlSt9XG0flMliLRVKzcoHOP+zj5MBWFZEenjppaXkRv7LaUcdeXnd3SUk4vUgWuJH2ZIqN8Vot3OAI5TDuXbNRxv7BhSy9yurzO91E6kaCLu5pw5nsfPHTniCUjvBsHnyk+EOPUQxo7sv1QwmMaLxBnXgusNHce+3HettP95mNrbAVkmR4GBOi2eojmxjd/3beguKJD4CHWNBdq9b/NlXSFSlbmYbqH8IMgKzCtAI/YRyqJKRLyD0G/SM24RE3At69ebkE3WPYCSZ6DWi1DZDktKbqOhp3kVs6oagEwJb26JVz6JxEeXvNZTNWDbfjSHQ+541rtfXQTQVmRK3Do1A+NYwmOB1LqxIDHXzrjVSuGY4zt/R0wyiu0tXruwOtlzUld36dKWboieiJDFc2xKlsJZ9oOYC5N6mIRxZ9lU9nOowDJtUNSd29wV4RlPlRvyQQfD9cITNoEpFqSP0q1B1GOZWZ67inhufa/KvTeUnrfMlsjjgZDGrEjgux4XW/pOfPBMqG2gWjIHhpitxFzxOscWDGIZhnQaax64YNoHY1rJYDGHQ3iPMlWUeeiRJU4/p71D2BU0kKZ+IDSegosqYmdcuddTQ5C4dTggHDtXzHiZaxnsBjDvDVz5NsnK4lPAcy3M/7WGASufB8TBbMLfUt3NEF6dOsoq6aQCl5xgewv13IVfOdWlbzT8U/D4FKL4NX8YWxPotUb0jSDnTKRFUIco3T0yGBPH84t72GNFuX2LmYF5EV5IiKecCr8blAWaVYQBMLivoOvD+IxP2ee8f5tIZdQEn8oKePk6xLAbSZu5HxxB3E752XwwU4rRDToRZTfd3/C0qQRtcQpjPdV2dnk/W98IOvoJ+DZHNeGtQa5SKc5volirRJvUrmZ5VxMGisW/1p4xoGQQYQ+93YBX8gbKkunSvuX9FyCAcvjc+HacYS51e7BkLIiKyQ2CamBUbiQeKWk5utYPtt0sai3eplNSMsEhxyIUgxD4kWVGVLUXQN17GDemyTp8k0GcDfInvLlrSwyjThN45HRF4+5ds4A1dhZNaIFAo5UoivbziqL/lcUBvKbMTnOtPvBYkYaaLekxUJ7I6wW3+uk+gfOjBciylhzLPI+YE3fuC9W+zY4vPXswzPykICvtTkDtl2vPoXaveL8ReNXVTnhV3jbZy3cXGGtLFd8BT1nCMIJ4t6Yn2xt2sRY7qbmbdprHUnap+uMAN2U0jWi++Yvw7+XrarrFxIM+mH/mbSVPflxmPFeGquoW/frf20qwRdORpYaCk3Qr/dEsTSYKKMZDkO0Kt6rpfi94B4g9pjN3CyCGdN8m1uvK3Wo1GQeS1CaWPBPIEkTYyHFmZSduVU54e5IWMteqGBCwsbpLGObYwebDSYS06flb20ag8r51zkSxp48CCc0lRwzVZgaLRZ94CjvJbWM5NFBmvht4z6axdsxY5+emfRv6vnBPiOp3pcMqCdHnNE/vL4oEgqQXNuptS/WZNrP89BxrsYzCIYcmyuVyS2cVEq2F03o4GXSzDh5pfKA5KqcAYRn/hCKOeppu8NvpZoQ9/7O4tfYOfdZJgt6ImrBy/WLGPXIxQBti+AwXLW/EGAFoURGDgsyQxyLvRSpixB8pKWx7iVfW3f9FNrIG3h5EqJ0LHtQ6RavbLwfuXcGljHwy2tB/DmNg9faaig10gPJCmnRUqB72ngsqP+S4Kqt4HJnFs5lKCTjWKbBdQjqF4XsRHrU4OpXwganNxNDnHPQoAmppPRHcRNseaHyJweiOgWDdnhhlMkChD+3xJJn79YI7BEpZkwuQC6JMhySjlfSvpds1x6H5p0Lry0Pv3EOLdS2/suz72ODK0BZ/nVkdU+ZIA/bgo0udmQNrRPyzEI4gkmA16OeKhJIEY8bE6klZ5d5SXnHUgrp6qbeytREr1whNWLSr6yMOrP8+TI73la8IYydiOEigZUc4ryB0JB5ZPQ8fOSlqMukcZw3ZY0+/uQWxbqLeZ4fJ+DW68ejPwkqt6eiK5D+AjWAPwc6eMML5HR4MiTahVJfI1KN/KjMRGFXFQ9mybxv0m8qZ1w2nYgPcNqW3ansKBR+0CFqISaLXWPSLHKUjpkcxQsvBuK7oxZ9SbjFxzklLTVlTTBSvMIBSTcw0YXO/3mTgHheoKAhs7jlR2NFjGoCmYjyLAxpFVWa/9L6yev8OV7xqvWuFT4UYAPFvXsbWnLf+YLxX5JBEJq3yRkDJyUADWWG843Lb3IBSropzBht3JyIMfFq6qugrL9fDYkDzWHhR5QRLlzUQAG0x0PORHw3wPpY7JQWZww/HZVnkor+aE8hhjKoLKDbD/qtUGFx0KdrPdGnwt8UrlEFI6IVapD4WX1stNPg6LBqZ/pBMGw130x1a3lLRwL9K6lHQiZPgGYqgh59Qzpbom2hT5pdeRwW5Keq7Jb6O+/tZBkLSpDNgn+Aix5a+om7PcbfuQI7sYD9FVllM/IWKvwmA+5BBJOVocE9SsxGiG4fK1zCpH1VKPpFWAnpV8/8m5Io+jD67GwzRoPOv3/F3l6YC5UQy6uqrRiY+jEGvPyZ017rhQtNbW+bK3S4ZXgqqmt/jmf9K8REUMbOmnnCKOx2WKRKgbKZ6dMpYN512PJzVEckUEG2bpycNHyO8FLZKrBXncAsNggGSj2dBeQy2lWoIktrOte3pAVBuiUt148hBvldH/OPVLLdtHtt7Y1e0P3FFqNsDktsuKGxrbyM5s0l0Lp5UE345SMt6MF7kB0cjKHkZ5rtkblw563/IrFpRjrAMvE6+g6er/3kNktDVoBu0/8RFIUYsExuf1RBeMxhlzriTMz40xH1KbBkyMEgzvfRXG9rYsXoVKDyIcRElNpBU/md5PMN6reA1TbwbGlJ1dhyjYdJhmtieAkwvdUCNSnCUNG0BXaIw98KAkNNrybBqvSM8dlT2rsOGRyrFJjFcAnx5vXvzZcLc9pMkfsP3IdzMymmzy1D4jGeKF0qf8nsJ4NxIRt6LBE7gMX+e4hmxhyzFWWfoQhsFgQBNCB8BsJQKXzvQH0WaUhlYjz8zaMARTjI3JOSAPV+vMF9I6KOzOYcfaQ7u+zjIia9e3tpKpnd6UflxX2M3614rgK+guObqWy6rOTPlvpVai667kxPiE0hKpM/3RO0mgrFcXkqA6UV5bJ+mpnSrZ8mAJA/JExqYHOvpkQzwMG8MQEXdabLT4fT4WF7NOPeCRgVGOZhzW6Eg0C+rhmDetJuo7JnyhvME82GITO29IZxWRmNL2YxlihW9ocGVkPYl0ztRwhSFAGUQCEAwEPLQpM1tWwO9mSyEaXaoQBxgjBFu08WOtpKWcb3VmFNUosICXbgYO9TuFjahIv+PFKq6uF0MVXwUE4sS8n/vQfmhKQrVxDvP2bQSbuwacoTanWeaflhdVULwYg6zT1/fSSwV97wx4raZDCaUqgI3iJo0Dpv4LBpcyoXgKDf3wUKxFyWvQLd8wLeaCSkKBiYKE47VD9A3EImoZgdyKu/xjqhfDAliKpkc3kyp+EsDqTI37sKdKkqOFxg6etL/pnNzwtdL0HoKxUyKxCYcrJWGR45lmaDQiAX2jdueVJJ6Vg5fKVjeG0RggA3jMep/9ZFiwLazpjyWbjuURL9kwy8DA1EyjJiGkN8r747pXpaMR7cPo9qTgmz1d2bGLnqbctGKYU3FyxSbzJbN3amzCQOqyztLAle5WIRNHrUlVj586Zz1vif5ayZWM0dNsdhEtViyexcl9Mw8SR/3f6z36/TKgV/5fj9gGJ08YZ5hFatwBg497PUOgEYpabsNoWnzwBol0Wo+xIRZoW79hcyL9qfnXHHG3ELg5xhTkZrO6eZkBlvce5lzq6qM4AnGbnP/mkHHH6RUnGMnCemTGQhew245n0Z/WeZU0w9ld0iCMc/4pVYxfVyXJwHf6j/2GCVph1swTcHGsopbNcF+tKsOgI2vRgprCxEl8QLkigbhNBUogaDHLho1ECJJXA9LuOeNVOMFEKv48t3bKEvXYJXbFBUEH+NahOOkB6qDwQql+vWZlSJUZKTqpBmjvA2vRwJ21qvhi2z4IEquQsMWAcKG1Ke2v9DtU6Aj8bNEYTqRVKsshgCfdu7045kKpolz1hGkEZX9Z/Qeb/Tz/+6ZPqm4mqPmk9p8hqdpEavKmxL2vWC69BOL+GN26liWjlL2VkHLRmK2Q02yQmWXenmyIcfieRSf+21i/3L4aGCn0LuPlmJYMBzM7DeWVQnkSBmsHtyRxt/2TRmyIHkF3sQsRyRvR+MkMeRD9dLJuiSL3OLDNmP5GsXU3+Ku5ILbBiYES6qjKNOticN9r2n1iO6F1IZWfPepBbRX4yq8dlfC3Kh/YRWuBkqFhkevB+2uvE73lvELwlGDIuyb2cXN6fD6JcxYF8yNiCOrjr5cf9ubfv4rgXD+AQ/SFlFAZcSMskxBqO/mE8G0LFO5UiD7Imq2GS6EdINIsYtpNvuRbDToT8JVj60f75L4y779HzqK74LYibu6jv/dYt6mHmMmIdfmwbvkn+NZbXUHRjCd9/Ijp18T/1KJ3tcaXaSDxovoj92FU0ERqkvjAn7ZGeXzRSvgGO0xpc9jxs5VzEiDL/76fhFAl94xxo5BP7jkUgR832XJfmC+nhkn9Da0ZeNYylk8wPB/MeyoIOSfvy6wX6MhCKgHUMUx8R5ATbTWJQ44JDQggctjZ+FxM8LHnFg8ibkETrz9aboT4LnfIR6J0SuALQra2gI/n2yedEDBCryaCpfUPOIO6MOFLeIM87ZPHJaE/a+aa0V8PfWVuubioiOIfas+Fa9BClhmFJJgOdXM0dhLNbQXuR1NFGpHFd8Qjg/DAnQNn8Bou4LRwiLi0miscpGqUw9MyUihOVd0q0oT5in8YIIbwTkNwk+sPYZuntpm5e1FQ3Fe/glVCDU2yo2lYnE8g0kiOEh5MFPIDkvV0pxBjOsTJ7GsCsWTVlOobbDJgFONll10uwXQh9VQl9p/3es+J56k4kESsFlSmreSEg55gkG3AbZPDecHt41XlEbcOrQ83PwntV9Mn32nPLTIxRSkHdxVaADx3eiecFY6EuH1cckZZ+YaZMZjnZ8V1/plD/qrvu1WRPia5ad4VMIoE/oBPinBdu18UvUR/WabYLmWneTllAXTkAj1G3BxadFP1+rzquSskXTABB/mx2slcog7iUvMxxtdw6eoDWRkVy7g3z5Zcl/Uoe/RK6NW7tQIsylse1XVhN5dwOmgDSS5j3SkxWL++QUMzmpM4TvTpj3Q769U5YdAmVGr2Dg0zRSpDGOZ5mtnj/g/CSHGz4oCWP9GV3iqcL5fTesHaGF99PORWAsov9sC9PfNVdsEGJFgTIWAKpaQJAXQld8bMcJFkH6Z+gW1Ov5CMazGgf7nuOyu7TS0slmWWDS+e0JJi4jiiGMnQ+/iDOyHcExNnw3AjG58g1yUp5R0SDemNhcLGzRYU9VRqKDCMjfFL1ieh4GpGqov4NpoDZ8tnNSTiyvvWL46fthZRdr0R2MUJxGMPMD7iZiVSxHEEdaT6CyLCxNhnISARsW8J7mMrQZv6wi6PV8VczExci/PzXg+MfYDH+bqNE/ZnezmXeM9AMbpxLrnwh7/36n8L6cMF9FT2Mx19/kppjjLAS+bL7cfoncO4z5qIKiHWc/j4y48+d+G/42xmVTMqIcggcBa95wn+Y0aUBS7AN+Q3FDYgk6CrcJZa2fOQ1WrTKlwc412aj2NoIYpLNRZKICLFSaleoyYk0G5ftSmbiegADuos7gdxoBL0wOof6vYZtttOBQClfpjobto61QtSPuUjJev6YKu2do3XlKCYYXdnFlKD7VoVH0LU8k5p0wpPn5sZp7N6q79HH7yhxxCKNnyKJuyRz+b1GAXy7JyfY8DLwPyrYIZzuTO7XPcweJDb6w23icSn0cqA/jefpeBEDereuP44RnXlJvmCnyI5P1NkvIDUCVyyo7ESvLqfH9UTA5g+Q8lhNZQSG7o8rYjDDt1seUQmtOS2Jvd6oKXRmIvJ2gUTUzDi4ug3VDCBhs7xAocPCYofOMrDT0erv4eZhIEHVk8W7InOoGzXjTYqSwRQzP7AKhsHgMqlYNxQFZz4AnKCDAPnMhwaNiDdwpKc5amOcszcm8nKwaa5JfpED1q25dfAynOGLRQke3mihQg6865waeyY4KseRKexqHF6lwBVivxu/Cy969dDS8A8rDB3AlqPVZoaxyaYEEfpd639gfDnyg8jL29FEN2j20116EFiFNJ7+Umf2qm6/DU/EQljKNULNcr0Fpm6PqZl2jBbx03mrqIpuJqZpc8WJwEyKs4P/oGufJ449b1Nv9EiQM1B7f+u9Bm9SRodAulddzwa3X4ySMWBoD10nlUNds39XN346acDh9KsDqYyL0I6d7EEIT4AE4cFwTP1zud0f81yBWmFavo/SW7imEBp15fOehbfIz7v/dnJhykZnlvy16iEOCtgXfXQj17tkuFqzAP6TU+L56nLux+e2ESonwNlZoPcpPheAoPmNpB3OU9Xd875gvWRX3CT5Mqogu7gxBbJuNCSoLd7i/FaO+5x8Lb7DUCTV1600ZLGGMfcDWUKa632t+tITvIuNzVIZDT2noBp+JmE1QFFeLukwIQ7Xs6CUCOA7o3paLRX96GNUypwNPrcsttVLBpoJrsOFU87R/v7fIs/WOuDVrNDIX6C4/HCAuv0AfVXbtmVuHI48vh/uG70sZn+Fq1B7/Dc0e0Rw0TikmbQPufHlze89qg5CM/Dcx0+WMLWqOwfiJCASnlgzUC0pojFMBUoFNFmqDak1P7+BsLMmGDNo9qy7Om1HBYOASPGsNKF7c16roOpqRH305+/FZNSoSWJcG18p12S2Jd7Maa9FqfPtvlL8xq36buvIKfoM40ERfcyCSOOVo2kloKIMcA5ISB5MwFuzwMqXb6JNipdSmfvdpJGYwgpEcMPzoTfCeghZibAz5000NTdps2qVyeMdbut0jPV3TvjecegCrm/9B1z2Fv9wBfUaw+LdcQVbqeikcV9+I7gyxN0PE2RHZ0t0t9pRC8GP0wsQbqXhSE5XVQhu7anSmd2qU7re4uD7S1H2KT5MKUQdf5zyTxQ29PVA6nG5Epg2UyWHuzbXym9QsRPw0cnuwn3GUbXEkVhvsgCDQfxA+cwvLBdg1aLAsYm2PKm81ruP6lXIqXXVBh+rSWHi3/00QdklNdcdxkM4oJPH/0wUulNEl6+oZ4OdmXcoQuMuagM10lUZk7QxGOurLsxhqBME+l22GpQJE3Ow2gwOcePd/73VFk1BUGLfzG4ImwTcDaQhF2HYjK7VG6wL+utAzfqRPX6uvTDt6s7ECI8yNcRxxUCKBz+uhaU/Rk7AOEfYCXDn9h1lrybj6aQO2FKaxPjTZCu8oBJDLHAvBfudDMZH7ys8433TqWam+hckqJ5jTmX2m/AadtGBAglIJtflCXPv7nYNqX+NczGCyv2wnpzhPWU4TJRNK48i32jkWiDITRQVA2EGhrRSKgrykVBPOKcH/BaZ/HkfxYIORPeNBxSSAEj0mBtaA/2KxV6IVA0NFvdyZQDHE/OUMOb4zhOj8RogJnTWi9YbMQjxfou5jvtsEcwjddtEWrDzKTVCLVNTwjuDPvFyHEXElh/28+vrtW84kJFfJzbwWEgDpBLeDpcW1fHhljkGbzHtylz/5ZBHUTNB7z19/Ky8/sd0q4+OpIgZ8PmD66JNcAL/T5Xr+kX2ngUr60gQMdnuWygLpdRqO/RicKLqaM4ztYAF91BbhOGAKD+REd+ULaIu64hNcyzXRKpZc2cBLRVygKE48B11mz7XMrlFuZl1TiGjl3U0HbC0jK0V/rDI/2Cyod+IhF442f66p3g7CZgVNjkfIqeNk6arFD9eL8J+H4cpUZaAsbqf3WN4rbvgTvBelvIvSSEgIpW4Udb9eV22j6e48VB1wXfux5wI1ombGXPBsT4Hu9wgcv4CKXQpWyEsoGNhgiFActgGQPDEvfNuGVYsyUfYuWWVJnk03QPmkqkyZ+Klc+IeKg54ZKgD0kE2sCnJAIP4NjHG48Ek0q2F7HAoDvC1o+dH7a/U9fU3wuFuiqEGdyIw5Va5mxjz/8KTISruiz364LF/9XTGsgEuI1qTmKTwM2D5YBAyQ699XcC+8UIjoBSqCSuEywSw87+lP6E69VwPn8TwJuSwjnwZYa8PqfZfMOjvUkkpy4btQmlOtGow13RNJYtW/sLrOj5gZrz6rLAeSwWOVelaICCHdgZVVVQjW8ptO8+DxGRS6cTBGKJUw4UwRA+xVcHa39ss5/6DeO/UYP6VvWaRLP818W9DKorP2JKSmpkS8jsrD5i5H7cox9LvJoISwKHsDUAqxa3onaprxs6TR2z9zjchqaCti5dd1dIPoKbSNDO+kCCKxcjZnACGY05UxY57sFyarPQkoBLgMH3sREfkt4kxCHar6LQENFNlW2Qh2jfvOJYuyDj26kyayhBNuU3MguyDeA8LMN6XJQfhE+YTKdp1XA7WQIZs0I6DMAWnTOUw7jmh6zaenRMJlFN83IexgT3U2oweSS2nG+FAyM1FgWiSrCv+c2cMYcveEqIRa7u27SD+964Zk+8JUaOPOmT8kLLXdtnZW9KS6iZ/op6tvrZiMUByEMqBTbwhKNTE1mXcHnfkSNYJeD8Gk2wagzgka7f6YPvSZ2LYHgUIsbewzmrzfWI3y6Tw6gNmyUqkVw4eWNxLsVVA5Y1eTJ9XRYjORmVebNlffbHrXycwBldKEtQbtZu7+4iOV2n5ylMC1iLJYe+N6KntwgP5yDrtABgOeR3fpEDOnLenboYAfM8aMHrJKyZxvX0fAMowm0Tf7wkFf7jfVnxaPFfEgk0xqnNIXlDIwQ8bQPfIgfFSyD1iOS4KIMPN6P8CxlsXoR1x1nPNjqyhHgdqNSosrRz4vlAYov2jGQFlctdJOsILVKhbpR5STwQ34o5UG3pyq6Fo9sMgLt42HBvtfEJcxasaZiNvN2zksqKd72hgAQSyUKdQSgAPTis8tieQlc3hfxaI08cIaCNEpSq723SCWN0C/GRitUFZeKGtgZHmInjoshdUbE8uhndejuV2czzhVEz20Zbz2uTPskmh+ZjTbV6yPG7FtQJ4tUOuBP8Ys8hPUTNZjHsb/PD0cFfSWBtRz2/eOZuEQFhp3vDZNkuxvPzJeoZL9zNf6AAsoCujVi0oBYAd4mVvnjZyghswcKI1qOutjoO6Nk/5bIS8C7liztOCZ68P/vsPuEbVtyg+hfCseLuT8gaw7IO1cDJR3maHxbSaTZThgTwDdc+VBOnW9sqQMkp4qKHTNFC6EezwJME0e/9B/f2HG1gm3XPfDY3Xzm1uam6HXWem65U4jS7Rx74Dq7eO3AyJZU0neYoihjmZUK9WYQ4Kg5hE9iXJYbDw99fC77Bkjf/+KsQlcdH4Je2J5QbOpQJchy7E8/sV72+FxF150OW1Ns4UkmZWl3CsA+eGYaopuUUgZ848/Iuj+9KYEwx4CMc7WbM3Vsou4xYfm4WYYzo1uZcnmt07ElMtmz3EENPz7CTpjflFaQiMmAQ6F2jY9LuFPXCiL+7j3oSC2+cZ/4Wkl0fCfX1P5Sb+j5q0lDuOW1I4E8yFtJKmiw68gB8veXG7A/HNfxs9aNJdwbLE0rRzHqTMla2IPr9atVv/AsTdwa0bhfUHcpJXtoAfQf+2RjUiCZYEpQKNLz44/vlBDDxrVCE2NFM+LRaZ/rF3Vk92YKZg/hCgRr5M2Z6yb9i+Y/F0r3OAyPgnCy/q1eLIBtOIqgN14iv5dRCAhL/QMfQ7YFRadPzE6J942xcfwPy9TxGayMrhdVh108dsu0HSdUEdblmJp23KHAbfhbsYwt4aa3rONPeNj1DLOa9ORyphmNx9q5CzzRriRZdtPyfyyfRQDamILlDCURh0xyDSBab1zo94z8E/ajVpbDhsridoJdr1ZlaHhz+pJqmghU0xbVCujiG93mUqa9fFaSiw44KhloesBdvB9vi3dWtWtnW0zmPn0E1a11gb1jp5GKK/NtFns7llTFDEE58vN22WGhV51tUIyz4JGbjx00strweEStGgge4B4jRMXmYBM5hNG/vpqt2YRQo7mgFoJYMt/HB09UNbzFK05QcYRomo/p3Rl34hnGsmWfzyKptYfdpYuC9E/BdjyxQneWrbs9qS5jpr1lBHZhjNRq28haanvKcPAatIbstYiTFLxhI2fQkIlSv1XSYfioK48atgjWRH466XEugRWNfrCXnnkgrWNlqH2Y0gXnD0VDFFM57Tl4PnqoacRit9FoY/HDq2u7KFDxzbJnLq7G6JKn+Kg65tULggsk5ln5GXgFNA8N6//EQFKOGRZtBcxDk45TF2Gh+ONdB0lbTf5QBjSX3vhkoIKJUaRY0Hh0TcKgkJp6dkyM6/bSiMUo3/008tyewYnNmHqivcSo9Q+5fxQ6EPdLGaodggkrO/+eMW34L0l0KJS237H2Y2vyNWp/9iGi2SsIFtn7m5IxKyVNIOXS53jDRkq1r+FqFhiFrVAJ1l8f58CJD7YK5msO9sN4u+1MLAWQk/niGFZQQ/lWJmKJ2ouRA+N3Jno2jLHVomjnniXfQfRGutPDFyBNm+8iSa/4Wj5rgY5cv1ukv7m9jDkuV56ggfNKNBhhV4v/nITC9GYu26CCKHznF550wcUFFg+/MxxU0Zt83w/t2VBDvVPZt2x3aBHJTPMzB6AQ4VCpZ8yW181NIgmXby2f1EtE61ZUBUxxGtuL5SxPtvrPwXCfA44wKW/gUbxuG9Jur99ClgarjtlcsTksbCJxcPxEzYuDuwLaeIGAEsK72fIs30RH/pgqaYF0L3dSqeJIshded+p+A2tBq7JG6TkbVYlXxSRw3D0c/MNlbfqU7wukJh/WSfX9AwlYfGT4OaM3QTRHSxHKIHSFZE9UirXYd5TaXkXAlqdc9kfRad/JVizH+5cN8ABRgK1AcwOZebNyIXkeBb/sUUNBolIwE77X0eyfDNl1fxW8rDFwEAIxAm74GA4ZE/uTZ6xuT1HUwvxuBXLbUY1Ht1lTiFcxp/vA2e9ZKGWuCnEs5l1pt2UyqhLaoyuorYx4Rq3QOUzZoYKkik6Vfn1zuW3o6Ue1yC9sfowUULHtRrUI3oJ6/8da80n7cBR3UgnMZilZAlSJ9cqQPwN4vND8SsKvTPqeJPLGtbF21rESFRpcDVfLBD03k2hsaivYpxXI+vyrPl9UGYJUWUUQlbf8bKKBNPmmXr3Ok1LTshmcAyzVl8685raNSajpwUKKG5Xhep+wZ1qgMLcL318y3xMapzJU8mylpDlmweS1Oh01rZXkmnNROEhJx2nEaavpjaUEGMblolICy0DzqsEd2L4iTpZSutWIN0m525qhXkZJCcae6GY8Qn5apXE2j814ATezG89lKlNJnJ8v4OBwMz9Wt2SQLKISpFMNpUl400JIEyTvvbP7xwN4SC5cxyhaE0cbLg2aBb/jkLpk5S04FMce6Bc3/e/6KiKe9Y7GWq3GyniyVyDQZObg7U63szw/5tzHjpgof6ELeaKgyiobBsNZq74wBtYGNd9fcn9k0aJihr3UGLSAa82NiNM7T2yDzy9pNBbTL6Wlp8EcAJd9l2ESZMNRlFJArF8mXS8tEWh4LtTSih8WLB0XZkrPKm2USsE6cdkW7UqaOfu/QBM1Qy25UlR+RGy0pZSeej2P9MuYD/Awy8Z+WzY7zZHrB0KPUUsVjpl6kh0LgLVWZHCAE5xEcBqPC6xoWZq+xZNcHcNeLzkZYFJiX24mmTlIoj0LutlY9QszTdyRJLMslA6cyGKKMxt0uQV1+1CJcs6BKOI/kMxLVqg6mTeO5rlYO5VMwCNXdIyhJ85k/bKFSh/cJC3UxjngbKbZqEl71SaGdw8H73ZEznUVXrRzfaWBN6vQVztxvGzJ5S5fDLJPW4z4Zb9P7JXO+SYTULqlx6iYo39R/2q18Unni6974sCke/sbdw7u70Bu901fzI0OGOJiKKW5iVVeRxSjZPbwJ+piokoU6sXyixUDoKU60qQVup44bC6YttJi28ndnDYsXHJjnNxECI5/SUXM1RySM/S+T5938y6SuXEYys4fsAc9w4nTpeR703SIYdBs7RVduNHC4OYKBiPCEsR0efdh5I2NJ0oY3jPPRQ/9OAyx1DCcuHuL4ilERUZER7ufFx551K/F7mOWh8+iEfon/8Yh/MapLpr3zHkDR7UomXGDxoW3I+V0sNHgEia/Rq7ONMYPz4mLuEKKMzfmnD5JkJANcWb2ql+gAZ9i9F50UjO0NefJPVUXAqMohUqxSCEM4mP/x1sELPbPK2pAURNhwwll3R7FCmLJocAcmeO9/dofGrTQKQPFzfXj4g8iYehS4bHf5YhGJI3oVzqb6SvGcZdsP20Jt0CKqP+W7ab0LqIoA0/FgG2jcuadIxr9y3hfpjOvvOJ709WM23vd0Z9YQFY+UJxpOzn4OM4T+997WWYv20KjPvzPR5VKb2b2bENFMpHo6jKrUKTkhb3/SeEJVLlEosekXyASUICA4RJMF8hGPvTOphPc0Si7v9gAI9IqYnBphXNIV0O2YGnkLEhOM3GnhvJF2GpxUfN/xYkVF3GUkZV3CTtxTXfZmWW3e3QZ+scJ3lpg9pkSpZbaRmmJ60IYoUlNulAI/dR5CiZZ7Vgf9mQfjjEatzmkOkl8jx35MRUS5Yl5NVUi9dFAn/Qc0l/YrA5YzbHsnT7Z0sswPb5YId0cxXV8fhjJerOiaNRSxGmnMZJzjrwvVhkBP2ypSKP9hGjiR0Bd+md0L2TdHQmM/d81nyJuX9YoJyVzMmv79/3diYrGrVeGtbc7+F21Mfw9mScK35dbXZhrR83jkOgKOjbriFnStNRnXZHSup+wrJUO3WQ4sGpbDs2jPlggq4o6nX95UxgCd9wc3l0GpV8czkwVeSCyj9u+z7fs4CS/lkn1jKiqPi8iFr9PbaAGzNOUADyNcuO+0cI5OEGbQRgddYr7+XBQmIYsR4phw/w2QQTbfYAK+PBbcfkzMzfAcnWrhVnpxKG1m72IqPe3IOJx5eakdX+GfN0QlhIiljwADkXNhLu0h1MCWcSkRA/TY/8gFMdRRsDshx+GbF/eaMGDWLp6EBnAv4woIkbFWOTFjMiqeOTf/q+hBhrE42Y7Zqx/IAxBOxo5FEuf9ntatyBdDu1ZF/crKalfzJAk5FvDvzVuhupzbcbvkCF36+gqUK/0S+Go84u7birH9W276w3QZwh9gLx5KYCrss1v/YrZhlj4cFrXBCRMkQrEHoRVegmPDcM4YGrJPvEFDyFNcTHnHHqzAn+SOesIW8m3cHaHtfgC83Mhb4WMBBxwJgEdu0DKP9gt3xNE/gIm/lE95z2cMA0O4QQUBri47H11IMXg+IvJxAbkEgvdzXPxuC2xYyafQXEaV3d9BYkwK+1SPAO9SG5KROus6tlhSQx52iuzji9B+MsTc806URQDZQFFnJtLb7F4MhnF4D7PXEApyepofIBdFC9qFMM5wQgAPhpDlIsIK1DWfu6cMCDRoQxGY357Q1sDG4u+3bT9R0m2p2HFiY5s4IwSAsCVE/EoyEXnXQ2Nie+MFbk13DBeUvT4CR+QzcpZXzpWWE363kY8ZnTuumuxu8Y4N/djBuyWhStD96BxqmzsWsbhvBH08tarU5CqFkHcKGdmGDXhGywtB9OXJycXO8YWTS0fQN+2Y04HPMFb6Z1dJ8C7MtXRyrVYoOqila2BY6BYnCDWZSs8X0dJbA2IV9JWLdDGhZqH3PkCLiSzN7oYbO1lKejpo/SFqh1rXdDSBCclcSCZ3xrYzgjGtgWFBcXJ339xhEhpQPOZ2/RiGISgHij0AjvEB1Vu5ClnjoyRzSNf4WBY5rXyfRocVI9ek0Gu4KRUbK4qvgB7RDxLz12Vii2rgz/td4zaMuplDuusbR3RXjNj1RYUMa+lyF5iNL2dSTNIPTt6LpppZYMvEhM3oMJpeU2qChua+5qZVQIaBRfByzo1/cRZSUQ9uRYBC7IYrYXskjF656vP9WQat80RQ9h2DNHb4sCmzVv/2j8WX//KWOiwdOG1Xpaw8rV+BdhdAKYRKXRMpTHwJGAXaSvSvT6/rEFsl8cl2Tkq+7BTVR7AHSHYGJZMcpntbDFazEm1mFP0qEJdpJhsYNcU0Pl2GfnfdVFgTgn71weil9EI2x1NHWFRZPKV7CPyr+Ur16F1w/k0/AN/xJDhwH42fLJ1o8jeZ+XEaT6M00Y6+wXE51DThj8FxFKGZ+FtAdUbHhiCeLAfOjwa3z3twSGjiVYNIEMBgpEn2fx0fI/xuiVDG33n15kPtO12hN7xdvont/bj2YQLvH3QlRrL1EEXTlQPiCs1eHYVI51kbIXS5/v1ZhQTfOPdeqmwA/pyHnZkHNdDqDIpTW8J0b+zZEd776Re5p53cZxhfNKLXNG87riwdTqim8xV7nVyLbjZc8kMa/5Ko2qB6JHw/hhw+WTKXm4WMSAdzWBhkWo+T1EcbKUWF7MTRwaDwij3whA5gcl/hOVPBCyRwwIlI/FBU/ErGER3GznUbSJ6dNEtViyF9bS7HrU3pWVOozg5HQWkd/ka2BaZxVIvNZEd1yee5zvYezkd0kkeoNwyvpPveVX2sDHFtR+mrfPMEJckGZaMTDSP0V3BUcbZt8hYbIT+7aLD0zefGwzkmBowzbcqgyL5PWoccuCuPxZ6sPrm2qfIvr6I7pRcbYjtQReZ4wOW3XxeD/+xcbQp3+s0nrZ9YSJE7OWxoQFMfuoFWIzb/k/MCuxV7uhm0rg9kXiCjcx1PMkrKKKSSC323pNTd+lP0Q1TKsubYMrhmA2XsOoTRNt28Nb3Hu8rotWT19NCeLa8/q8hNqUsZeLkZdKzKzbliet8rWHckj38YvFwR+kVo7Ykkq3+9mcmsGdsvMfiVGclE0GiNaro7jUzJVjiV2NcRcmewHc4cC9BdDi/hjqYcFNKSKlo8T/YEJQXBRJ7aUF5nEwLUsC8gJEBzZJhIzUHAOMeWGwe3aP/DO7HaKhfWj9sktkOmP/Pw2fdF4KxHssUkDWC8phJPTNga0pV013ltQleGqoiPjFRA0/NPfs+MNGSkLGIchPB8Lzo+pPmWm505ag473yUa4S/RIc6aI6RHu1AmdrtTvBN4bL/OGj894DOZmX2bne/loiyoLRW1+DOEk3LyK+nE2MjXHg7mCvJfRBI2y2/raXNrew6heGVGXJKtMrEcuXVTeQt+ZZNHzihgY8G+YRM5BykqzEwJVFGc9wDjyMtPoQjdU+czua1YU0ZbtJHmBUDq0yZeQzQUxf74DjIrnisTcHFYGmEvRUr3rc0AT72CIYP4iJlyr7t0ij4D9kVG3NLFbsZt7I6ydu1IzPsVsodQnjcpxznh3r1n4yfeD7ZeL5f+b97GW7wmPzHm4JQJjiCjw2mrmpBQy5+KPW/iQCOAXZGGNXg/Ol69t7XAriHGjmbAC7yrAlA9QnfG7VRMNzcbYfNM8pS+fP6jTR66fzKG4b3Di9bv2ne3yPuANj6rsqivm2fsSlJaa0gJMDa0tzODggjuZHk9VP7SCqMCyzm1B3tCAWcdMeD0kTJKdwBUOVWBlU5m3RBqv6cXFeVU48SUSln59Fj8X+6feP7YEc2EGDr/KwBri+q2UTTrDznubWi9jjv/FZIRJ6k9i2cCtf5GvHvkBdK66Xy+B+LzKg9VejOpl8A640dqjTtqwJ9UUAkDg7G2X18EGAqjwLLKhLrcTRm7SedRyKdliPz56Cs/iyKyVBrhlvO/isjPs7qN6pdXYC6sW7kdEVFaLtzRNZO4OwtuNIO1J6UBom0A5xo8ecR3l8q8MhGxu6I/4bRgC1NbEuxi9dBnL4+1tLgkZQy/khQCXfc8aqtxuubpG+D0ACupMLH73pGZ2/RiMxu5c0tFHwDVCaUFDoCoLzZevkX3HJUIgjm0sJ40AdOmVc0HY7gvIsqPgAfAkjVYJVBKwDTr0boa5yuYZ4tngMOCgYLoOtXME2YpN2842szNuyWVx0+mzKkLVbo2w0yGplYFLDU4MIbUPPMZ0/Xl1bfo37MDcYF0TaBv0kuZCnlu3sEOc13a1QmybsZ2Ehw8dJKXRyO58CwTv7fA6uYkPo6t4RjR16vOnB9IUqOav8+eDPNtL8uf30ph3QNMux20cZOZneJvUTulKeacka+387X7zn2i961sVxW4ugZbhMlU7wZl5mx1ohH9+yGaxPMIPNKzD2vOCL238QJrU7JI3CNnoHq8HroF/nMNOJ368YiIwPBS11+HJItnXASyZkLYLPgQbCjLb6jsWBIyfhkh9+z0wNuaAycPHcAdeM6OgdHQmWEXHdWE+NZtQcQwBvlGvozoYlYMFNsOVeDCWFHyxTO0/Co+7EBGgHENGmJnPLdeeyfbKPL/zusb+y4xP7YOU9MkYz4a6ZC0yCdecCCbEw3ytPZ65z/OzcR5wEerH8d6EslZHpJGnKXBP09BLVFgre5CRFWtTUzprXwxpXgI5Os0IzqwY/FiGk7zWtcSIPe3bffHNhnIw42eJvKpzoxu3MxyCGyTjmNplZQppJYklqpvkAfIUAFt/axPi6u3twzNleKAhLWxZv94CNCXqNVv2aoUI908P8EzeRkNzi0UHxhdnjUY9iwL5/uwfOyFLq/rOpzIYtJbND/LIr+qTRC9bi/81P/vDBj7QDozsHVOKRkLkhzhr/4y4yF5eKDtgFL+ySSo4Pq8c33pT7tTHFSQxgP6a62s7sio3oDYRBxH8xovLgIFdHU75NwhnHn0blED7Gv7DYK0SHb7nt/of5wbYBh/Zut2DyXznXD+UZBHLVXSAjrvFkHygAeXnd6FiJ5VaoL/SG/EaR/OIUUMlucNnh2Dv450so7zLWQ3N0jbKyKoVwNZWarxmYcJgZIpQ03e3vZeQaQ9iZvb9YvuswyvsLsPUdeGzo96kO8Kx2wFdDx5agKeURlhTOtVVFvkit7zS0SH0CDrrAiSlLQdC7oOxytAmDpSZPoy7cj4Nsw2qyHz4IFqQNbA576j2kJW7P8R/QrXDkxfGgJiDTvvDvDfLxsJrqUsiNnRNk1YZOQFt3c9M+AwwrrhUVcD8I2AfxqRLzZvyS76KTK3MUkPqtlSlqbhW3cosVnvaSvEZP07KMk4etRTcUQ4ea1mdYN8MsT6OaPW9zACh00/ZZFr9ihOjO+kYxPi6UNqQnuypDfLuacUQriUl83TIJGDJpMfF3GWyvlV/e0IixMJqIHcaD7I1SpVa0TQe1cwHVk9MorCSFD2WGDAJfNZly3nrqQK4CSgL3eAV2r6G1E+QY/ycVKwoTffMdTK/9FRZj5eNk5s/Uie0x0f40iZIm3yiblCU8FaDtONXk942Me/S8ZxwuOt/Tg4pdKVrm66DDarP6UtIV6yaXa1y8FaNyX3gHVxndRMQy31iGNIQ8IKC39Z2cuhyljqBakYqvmsm/WZWG0XK13/EmG4uO+rC4SFq7PhGD2ysPDbjHpvUun6+F1SxWzHxgvJV8qiLn+ad1EywwvHGMfLoLm/Q3WPHUdWq+1z5khjtsoXoYLqzqWeJZbjz0AG6yhjTEgOyer1RRIMV+F6u9aIwDmUW9515yeoLt1Aten2OVicpDvUi/FyeUgIrJ2PXpB+z4FOx2n1JTVzioh3CM7zroPQdb/sMsCuborFLzHO2uAa9BMviHGTkFmswCOwxCZWj+ahVxMqoQkmink9arZRnTt/ZcIAjziskvNpPXWaWaZe01HNopbRB83YZ+9f0ibmqCFQt//CPWhqeSvwZG0y4RiBQveGns7vXta7AsMpR6IvDRF4YcCiVACdsILt3b57oWVJCeANhUr2L9aiMvxaeue7nLXqLNu20Fncx0m/cIVXTD476qirvzLRcQj5zucEFNnj5zXgVdWpd5On/H9zVicTyMUHnI/aQboAUTHmraWewYaO6vu7no3uy2jeCM70Dba27BbdgliFsKaX/NYJIZ8KKgnOuLiMcM/qfkpjWy6WPDGr1HovJul6FBaWkPo5tjP0xRYB5MvXDYmFupc4lIbnPFzojU0E0vlqZG+7LVQbxlqn9RWQoEil/JDo45A139x+EAZSIFA7IoSs/NPr4knGgEpIurP59id7sRxD8EsDNhKMpK9sjILXgFeFzk/nSFur//kf6eb7/LyDr3GFN1HZtM3QYB8WE/WcFnhxdyw9OOUc87eBmrgnXkzpDxECqYR/LgECO3OFMgvXNaNn4A5XLczeq9XM4ggH3tHsYUQFBV1ukL+zBFGa6DMiP52LJ5+QKElpQCGACWvjYGIsNeVLQOxn9/SY7R7dw0xu0ttSk44Y9EoIMCgzEl8IzfPAeBk1AKt4WidnXFnWA02CvfYIQBksjyT4An/+Axko/zJaeKUpy4iMqC0AdTh9+Ku5ji8TZYQpHiWRDDITCNQwo7zRbT9+mv23RyS2zZehEu0sS76+pjcyygXhpDvl6diTdcsRNC0oKoocptrqFAGu9P0tU0Op0eZjYhbnax87W8iQ7nQdP1a7lVALmIM+VTdxVRe3JeXauqFB6SjNoIIzubImGGP64lEhHxS4YJeuNVT/3AR+gRZkwX2Xv4HwDkyEDnTEDH0V/EziN/8R9Qd4I+ksNdZBo+DzoGN+LQoh44c1l69HOgo3/Lt5q4VY6V9iMKBoQIuKZBGOlIuDloliuuEPmMEl5+wUqB6J6JDDVZpPlWFvmTWI7JBaq11++6VjrefYgyXdhvd6FlwbnF2tHz9ptmeH6ZXZdzI9c+Bt3FUJMjtIIo8FN5qYbF96DwoHV6LP9LmJdPRmnWc+WV7knElCowwOjKISyv4N8fLsFl85EH0zuN2FN/RwOFRw0EmsJ67viRQjivgDcuKCg86lIEKA+4w1ysAuUjLnPhoLZW/MWSrGr+Z8kUSWNVxzHL+a/dyYFXn/Dv+MwB2WThHk6lRIXlFVnKF2IsCJ6zAeld4a2bLzZ8BtKjXQ0IlplY1u/Gtxzwiy7Fjy276rz6dG9X1a7WbkPAA3EFo/jA7oREvKpyq0o7pg4CSNnBUd2CmYF1Nec/V/Rl9P1yc34fnl9g9ObeM2JzVftuyF17ljnJAQXOtlO092ffm9U7f1ue1ZQcSsIAjp5iC8JA08lHskbnuK+01dKtVhKEWXjckpBqMF1T4YapRMIPKtQqklmt6UhrP9FyPTnnbsCljfHx7uNdDqBZ9mdzb4LqdYK0Ew9ltXHsMPFceGYtwtBQrtDhwX12Wtx5Xhd2jNcNUHbjc+I4sY6+pOsYcT9MqdcWBZyhzcB/LEDsbdogwQyFLFuGezTK7QOJdvV6OLJ3LgYzRw/MxUhGWCaFgngijcxzCHGezB25ombweLLkG44w0ifR0PULDIB+j03Kj+7ZeHiH3RYtGcyE9eABz9gHbuVEvfZWCpB9Pq+J2gGqBvoQqdq1t33pegjGaRF2RYnerP1P0swtIlynPO0ZH5wi7oBQ/O0HQ4lQiqeMSRGEue6BSCJ9ZLWhs1eLBpx2Hvn0/ShQy7GdP0iuRR+QoH+quyEdJqtPvHS147jdKw1TmegNQjVkt2FVfRDRG+bC8E29E76fZV1i5hiLoJDWU27zEpfM5vIQP67gGjr0SXeUmH8wFc+gYHxxgNVOiWicDp9NeJsF/8cqjDGR++95MxYXmfxihXesV6GJgoBGB3qXXQR7F6suRZ86d5kzuW/tuikq1DpgNCmSBJwm5zRQRSJOLewIYdw6iZA+tfOI4n5xt4ZH+Qi7RkCLNgScRTAqf1jqvDcNImubf6k0hBO90WhTuxS3KlW2c3Il6CrT/gPFX9/kMPUKq0gP9f71W+zhzNwg0fpFulodQ4MFGpjwfDkbBVRGqAISwBHPlBPoUm3kF2obVbGR7s7akxS4/YUlFYUH+YlqOt7sGH9HBVlYOUa2fVIG75GULqYUzd+hQr9C3PuY+FhR84y330VzFCFZYiZyS4bqjngauM2vLlQhz7DHCK3v2LQXRvTv06BTiINAVdfp7PNpv0uhkQFtuwAcYZnb3e8kBU4CN3PjjLBqtApTZ3zvPyfVzVvW9aFqBWTfsSf2JE/UaGgAMVXEAQOvpQNVj/M4TGXR2OqhTv/9i9R5CPDth3IJV7aD2EK5dzHzf93NC13FdUT6Gm7E46pYIJcahBN3kYI1d1dJQ3iubzLCK4AV9C4ITwr0LrzlG12ecQjnx9uzhFcRTFLYBlPzo+wFeKlwnolwBp/lpHVMt00+dMTGHjuFYUb+W+97CVruF+fz8SYZXXGI3tf8RqXkUZSBvtdXwnA5gvwf04+jWeRaST/evhxhrdmOZYIaPAZG3VCaleMIcewUnnemEVeShvRB8Ny1TVfzWiy858iiMWS/WSMeNHgoj4Py6tqhDEFVIvhiDiw+R+1uJ4LSdxDmgjSMzaYBzRdRdAZTDuzOLPJugXF12mwDQQ9l3yESQ0cX3JENgtElRCnniZ6jmI02gV+CTyINLMlPoQ7jV58WnuN61BgOEM/UeV0DMuZTncFNFEo9olTLhGwIKCNxJRDSKrlS9JC2n/oKQIheqvOQvpozWdYDDUPsV+aoyMh6uMAHxQ6ykd99NPQI79/wBq8029JOuuvhKXg1an/zZ09QuffmeWz93enU760EF9Q56lq05X6lt95gFIeu4R0U+CAb0S5YI41LnH4zswzp8GBZcFAFLXINrzdNVVchSUjhzc5sE5Htz3wguhdVp6l901VMyKEuZV39TI6nrtymaK1TCVQVcTA1p6esqjXOSeoXxorBlnTpF5TiUO1rz9HUQJBvzv7vdUurwOMjlDGMsrmoaPEBsSZGVyGyB2h4AJi8siymsWWxu9RGf3RaSBx50Ln0hoFoAcDjbott8JfNCtqiEQW4deaSk9CRT8UUlaf2IhrCs4zl0/Ooyn4QK88H2KWby2dW6oB3tTk7pnrxK4rFVla+MCax/WeZir22wJsXKqEgy1SskfTcy0i0ftUUWw1cEG2pQlocsUFucvJnoS1xfKUh0H2y+cfxiW50XUNlp74beuRirQkfNdIZ0d/yGGQpbOSk9g863SAe0aJcFGYk07duBCFe0f+/BIAvjkaR0qB6B/jJoCGrihTgXybCHeZNt+LMfceBqkV9ct3+5drmu7zPB4CB67ugDLYIPlULv3nzVuaBoPh4jIIXPxahEBVpOaiJccnIF6ZocEtzZ9ijVQ5jPWUyTaTkWtBYfBbJc0RmjMCujzjbqWDVxIm0ogYTLjIEYDeIS6StgNvY6hQSerZbL7ZehbBoTmB3MMo15+93qHQxVr8Y3ep6Jn+ufxF50s6D1fkeuV1Wu1jwGCWJ/G1tYRlNcZvih7EeCLZEm6B/7TlPNIRFpgHlBkv0RAux6p4DOZQs2HGOSRjk61woCkxDbdqgiF0Ohcu+nVtcjlN5u2LzXiONs2Ue0vJ7e8PZOQiGGAQZEWcUwy3hcQenlDm/OpCu1bC6LHyhW8x8db5Nf7N3qQ69aBMugH+pX6QMB4ay/XP862XDQ/bsVtJrdf8EQBg1V6K2e0dv3TYyU9USnTkgALcZShn2mwzbb9JH2Ir8YXW4OoAkZYcYgJUNdC00WXLbslo1+2TkshW/0DyDjmlEpEef93//rIEWrtikJ2VESmguJC5c6W/tP934xMZIlttjmWj4qNc+yC7snhuNU39xDju3n2yJXeH5Eeo2OQBBs7koN7oqaUtwML1s0S+GsYN21c1+jhdUls2je0aqLHAw6oACh0io0BM1TTBEzLt5/fJRe7yurENfhOVCmpZOpT/tph+KodzhcvhNtBAtpA7pj3tGg4rKRJiDiNNhfZYww5IKpUA+lsLKKaQxc2j67orv4UNcNtP03e1ngOg4Xb9eGlIxC2d9Nj0lqjTKhtajJbBfADf6veju885L7JLQc8XOK2lgDJbLcYgTQd/r5vUrjPqHsJ/WqpoMUJoqBhAFY7EjiWBB02PDvnB8q3sqq0iqkGp9jcUIU/pRD76Lt+XP84zWhiDbvhU4rCLX/pBEVlKet4sN6gsehFGPY9ntBYbr4NuR/I2mnpNlghYoeVFqH1PdFqEZjaeNZTaNgdnv9LMYad13aYQs0RKFRDhyOEMkjiDPhb8g8UD+gJwV/dfo49fCXoMHW/JEZO5cOK/OR5jLBbeO3Tk0mdBNnj7CAKmwj9kwPm5EAbPrzTFrGZW+UiFuL6WEfXyCeHGlD89m1I66aq2AjhVED/WfjwWD8iHAwFAJpduxNobspQMjqAgAt/RXJZD93fMzj//mFGMEz11FYLNo5Kz4PvSCXD7kWbFGqnx45MZ7EGK4/JImFcASSf0BJhwwbpZOXdNO0TSMBxaZ6NESDzVYvf1UNx4pQ6YVTiWCXJdtXPr7vdxUHH7i7HD4TT3MX/uaAtsPUGChG+1pw51EXhOTaa8idHpRFSV7fb+lPKAMHd1bRk0TE7JQ43DXmXZ9/VyvbPj7M1ZBIJpOGNsEqTD4wfrGIEq3n0PSWkRcMWVj3n2uRrWaghpkW1h+P+ALa7lUOalUdpEq68SaQoRzfT3PF05Nc9SsKx11skW1659ca54SNF8J1oWejkhoglB8iAdvfBWn1pcgy57lYUXPmnMlXehfL+HSlOGoI6Pi+tGIMJtJfgPJj21q/hcti1H3CYkMQV6aACEt4EuSmAgE3wcR+bvm4SWBLBE5c0VRJYOemPrkD8+QM7h5hJB6SAG2oeo32+65bUs3EvvfTnK3HJpdROQOybASbWKmIhxkPpnEydywyVvc8scGzNBGEhkHkT9jAG8YrTlaNK4iszwjDjE88pvZA6PGQq9y+SP15NJDYS6wy95oX/mbLFSVB/cc0wL8mdf0goBRQKKSJ0MEm7GyCaKOQv2qMa1TBmDxWYhiJMWI2gSRjiZ4Q7ajMmakVnd5Snm+TMY9ef4xRS4FnCuSwlDmSuXgCTAFOIuPsphfxXej/2OJ2rY2BMxxTERXJhIBaY5PMce0VlCcUFtW5B9nNEqrZhJ2aOA8Q3tEPIf9YdGrjxIhsR1csrRUlZYdqhgHDrYhBe8o4q1SG0Q2dCOmqrX7+TYPZXG/nbyaZmvWwvk+hpa1d5wxIbabxwCRHDvp6H0Wb/xAp7zEeUaE4jBflk3DmxDR7cnGHewxR8P/rQi88pCaOPbidJTULNPRVA7/1rXHfAo6Ut+QHeeUzHz77mcH+jDSm+EZHbkxjknnjCC9iux8jaCQa4rbn4hhgoDeWByL9/tgyMfPWx1feCjlgkX4bqrbU6USFlv8wlVaWlNcmRdlY6idT0+0Lgh7mkOewSHmdDhkwuAJ+gibJKQoODTgpsRNWHU+XTgVCfB2q3F1SuqLN4W+OOSb/70bWaSPf4EwHxyWJ2Pv39f6RWyDGYONlv/gJcFLiHlBWhoECML6Qv/4LxHGDEDtWlPQfGHoEIJOxBROsjm8AUje/NLRmr8YgMcLPqupsE8xBhTtpDQp9tINibTAWxWBKbeIxbAR6Bn8M3hnObFxJZzgJ/KCrJN2eXOePNL1rxZJY+sKYPWRAnFrABAV3skCYnvWbVhCnOeNUfuwnd3p7ByHMjYnoYUwaRJ+O32unbOYTnooJ7EmtzGUlA897MOe+A+IJ85veypfkBE0Bymh+mQr1VHPTkMUdWsDqx9nMHhmgGsQM6+hotK+QC9Mb9svhlIDD1aGcz9409LBZDlr6cfzVVfFxp+STu+XB+W9I3Pu6IvCyDbCBzH7FyjIMJfPSXPexGKf6bc2dYhFnPUX6TUQKiL1Mrz6QuyBy+fRJ/pGgd2hDUXnlwyoYmLmtS/6Bs251HOoW+NVNrJStCiyFdh0rnmU5vnWVfTq7ps0bG62WAaCyDgDZbPCpOEYO3gItSGecRFauHS3mGzA5rGp1kCQaN0gam9uZt1osdG2rgi8+ZtxP5eiSipPNIEC7kqKF//qacQI2OtIXiLBkCGQchAY3Sl01W8llW+Y07/J2gm0GaBvCrENAfVHFY6o2gn8qv+QZnWKzlVogOdXFtT7AmNzGHk8j23ZnB8uBPQYVVLj5L8iuEmQMwgt8I2y3pj/H5J5l2oS1x3tkr/lD8mxP/fnkok1wZ5jnFHlHxsvyBdYRaxE6jn65LHSQHmpoFL+wN94Jhj2CCI5mPgurKf7r06FGWOVSZgxtomAOzaftmeKKRBWSXbhqzzMjCW/waAIC+WkmHdQE0fpGSVMxRqfIfBJ96XL4JE2c2HMCCgXpy8AUR4ZAE21X3TfhK/tdl/n1sP+oBSFj7M5S8mfByjTVc4hwuGgukrDPTGOsGH0eEymoyifFIMZpK3UyjYWw4kViRO+kFwSZ90fVCUBE1SiwHjQAwQZLIYxCvgxuVUoldfRnkTSatOyu9+kOT56tR59OVsn++0gYszPZMLGySkzmzvG5VA3URkW8JsCnR/2bdyq1I0CgAh9fv6f544AOqFtAxegIYP6zkN1VmOiXOPLFKyQngA6vOrkdU3jhPiwcEm+e3xl+YL8jkqJaRhRUKgIlbrhhaYTljW7rdAC0xC+Pr4GQBhsiQHLgM+49nMakpfzltwl6/9KwcvZ8vleqzwgQQpIxksR9kRpdfRZ4gOcqQZ+oui1l5NKYX6Ev82t8+RuWpg7g7qtwSs++l5zKixDpxupF0NNRKELwa17FBWedgcfaPAQ7nLwjwYXjniwObwr3JP3/3JDv7JhFieWIHOYeHqnioqR7V/D5JFffN6Eh5dEWMc3RtkcVqLRdVEB7v3me8ZuTwg/K6j1IuE8TdzQIRKtEapbME2F7dwxFrgGgWqXSsD3TIjyIxxCQshyHZUPCykgZOQQK9UTPhAqEkdACbJ8OS5BINoN1WfGeYge64QeVBKEjcJqteRktxvFYa7JABZgoKqg3bGwMj2LFrNO1MUgxXQMUnvRMbzFQy1eNHBkeybpCGPwRVxKIiZs/B9DR/X8F97103s2buU/P4iQSvTlVD5x9szISF0ft0D41ULlB+fkkRfTj0WpfElB2NKy/L/cjP9THuQPYrWZCmWxzxE7f90s+Dx4+2ONXiA5GVbOsQ3vsp+reqcGR+npW5shyBWBl9u7WKN9f5o0vrKJ3VF9bmZq1HsmVXJdE7cQ9saMW2f/IuGsVhTMZXWX6y45L7EWeljNP4vJO1/vg2jdVsYmJskeKyVv/OFi2bFtCjvUyTZ+UQk6oI4U3o5V1RcEZv8AsyM62vdDqYl8cybDQJXSbe2GlxdoXpEkOD4udijQ2FG5RNXSItKau7LolB/3vMgxOsEZx+UJNMsluxgDIGntozv3BBYP3JZvjnAWVLL51BuCXeMt2Kff8VmaWPFC9DhAiTv/Bdzyx4uaJzTasrDKiwzge9Ue35P1UjUT1n8tND3/7O2VF9nHtwOiEw8WAm3uyJBbvLObYP4kBwaXKG3rwv5CbdwARw2Dh+/m4WegHqpYhwjj87Mdz73CCTVdlhsV80kfNLdX10azolVXVjjjtlLcbNMWDly7QwenwA9gsNulJV+q3ufl8C+65i0QFlBMVogn4KiWy+I0XLFdlHC+B5MYQg+ZS+y2b2BvMIaaVmuFbcpiEUN/0tjGzBhcyziugHbOoqtAQU6Os8F/xcZzulTh/p9rrVQIJkZTuuiyaIhJc5yIWvSCw7auKvnrXPs8acwY2Y8WsXtm5GVx2oubOMk+1HRF+xQNgfQQ6rea1jX6GrcXhfC85DYOPzfruTgDRVpvrzG/mtUGjeRfU3gqbvOqXby5VhROODJNPOUaUT/nrcCO3KQCUceYkcgJyq6nZfXul8+VMfGwqnbe6P5+Jqq07xEjGMFNmwi/F0T4KrQoK7oy3h1tEjVgUBGyGkYdPlLmy2wDIyRmNoMFp3E2wUpkk6PKGc/h5FHEtW3fyhBt3p41hrqtiX/DFiliXVkhoqd0aRUAyIkqKfhHZMiiS9FXX8mD5/HkTo7TAzYHErb0ZJfq2yxXOggIiGsF9tR9gHDXqnEu/v5FTfp5a0rQsG4y8m/q0g82YRHvsgw5lFOl16AD76iAfK1f+lrwF/N2nNyOR2bBUv7gDkuu0YBGFvdT+hvpv8LYdhr0iYe0rYYvNxIKQsSlJWd2myOEWyVfCcVvBAcCYSUlxqPK2HgyqmMYZMrTAHmN0IWzBWtDwnzY+pzmGdINY34MMfLFamOWGcYukna3IJIbntrmxfAkv3gpdljsmRHQrvwGgPJLNeLX3KpuH5ZlZ3vNOiZVq2xOgByb0u6TfoBisUBXu6ApczdeiPtns6BCzmUf/QLUBVaUqFrxeTUKjyy+bWh+TAHxIy+kiKmfJFR+YlNy6PS8EdGsW8WQKHeLiIysSbPgqciH8nc1m7PKhYOHaNrmEo6gxtgD4aMd91A2LYjJetN++MsuhYvf98BZEtyL8Xn/wKH92EiaLrZza6SUqi4ea5ozCbWjRSjmmvKSNmu8eZK1qD1DwifOMZSX52xBRkLVsj7TXRWkwPLglBybbGfQbMOxs00LYl1nAJjzzw+58t/A0k+rlZwbFvmsXNpbeRmNu0V/GVc89tnZuZCEfOM6oKU6fh9RdZSVYWWYFtnLs0rNEgPBBM+Cp2R67up1gpwhi0HhaffEj+UDl4ezb0QDn7+v1terJ5z8QfvLwVfLgpEeqP19IWJFBq26N6OJjjXdpPdJatYuGO8EDnY0wuGWoa5eR4zVt21VKi8fPtQS46SAO37/uqBtQ4+uilez4beARWyXIArPzWTwMARiM1bIuFliXibgu2asXQegPqMwNOpCjofMNhSdgczpo4YgFdIZORO46LkXOaYFO7Fd8rz02phVXM6QccvXHxw/SkDDHo0mVVf3Fbl6NWoY4VnIknFx7ngkoWYfJKGJZcdCLeLdFjQmDwJ1DbeYTEXNBJETlqHD9w9/UUDDFFZUfkyCxCyws3ttHLmkWEUDZVRSSpmNUQlXakr9FzTt/+hkdid6CZyahBkrHz4daC/opQ+iAEXZXgxuuqPJEK8DZkMesQIfann0iiNCFTqWR+sLVI7aljQ9qWP2GozdJxjvXp5MqQIKdOsJAsKuraF0mfF4L66GdwXTC1bV5aFL485I6/LmkX6MFapjA23aJxzkmXPVPovXILZzByrNsryFeqlv8ik5ao2SOJDiQLBBYzvTlp1eNs63iFXbK87XGVbb2APe1t1a1nE4KkUtnYICvYsr2VOYg3ewqIS5s+PDpqJNYed8/Kw5oOIRGx7i0hknMbGNcyMnunEG+XS2zGtgtG+AzM5QjBco5Xsi+HDrLqX5UQmhBrILoT/0JElzTaE1GlYNuuGxSqcj/E6OA4x6YFnpZ7KBAm+qnxHnBA2QrX05uKZq2oPLAKyWghZSI69EDetklilUEYRC8AQNrmHwjVm7tNp+trc1eAvSKYQmHrq4aOHYU8dBu9/O2vBPIaNMdiV9UsMjJo5cDzIBaANg8MMIJNSzZVu6/hfdYDRuep96J7DKoAnlMjrxfnPnBL9F8Ygvl5c5vH1mTGpKXvmP3gmczsYuC1z6iwX7j/64DMhgHlap9bAQ+5W0OUu7izeHbuudgxubr7+T7nSMrkLfi1xZXfdXzXlZjzdAVa7C3MYZxgOlct/ymcXkrPycttp2IHs5WWAMeJm6+J9FD58dGciz4Ni3d/6z7/4s9oBYnTb+SqEocnwJ5zbhPfgqRo4FmrFQmHnqvlrnFFi+KkiXIY2EtGvCuN50lsqpYfo/hyKKzlnvIgZ1OxoWPsED85NlGLvlFYDGOXUFBjKtX4p4PtISwoNjYKTW7p5zZnkVumzDGhS9F+x2PIkE11KA6HqsZBWaW2++fx9pS2ua/V+s2hooAfUsf5jQqHO0X71nG58axtXw7yX4df+LJqlN9xAFk0snQbMB5MGG2X8MuCFcx011h8DsCsa+KtVB2CYj1Vne1qKmYS93NxfD4ddmu9tFELKNgFaQnXW/KaClzPeC76qe74gfbgg7dc9IUZvrNCvezpB74qObfczBIuM+mBenqIQxeCZZ0/4zdIojFF7pOGDSYIDtlU9EdXYUxLd2IV8JtQ3fp2jrurhX/MZ3I4zlvvK7ZXjKmtgG22lswrtu3OE8Cff/RWWi0OFbjwzmT3rmLnLujonUariVoKjgcQoCVZNKdkAMDxUYheAoWC516xGAXFrDy7nIMC1+bXXft4GiNPgN3pjG/x/i+ui13Z3Omf8uPJwLT9Fx2ap2jqMGJtx9dMi+Q1himaL6gq5Om9bOUSC6uPBtEH4CHGF4O6qaShjoe0TC34h05W7t7HCvy/mnEK/qk4i1PD2mJ/Hjj9oplZR2ReKo7VCFA+XYUYawbnY+1zSzYAkwaKQ+qBQHG1Gi3s7jQU+9INmmLfi+Us9rbQrRGQ9tTZjlIIlr74U12cagIjTyhmEPwtU3WbYqT11pAhjn4ATnG3GfEPiwQROlGaedIt3B7vkDlbNGV6z/dt3Oa3ngooOK5/x1oCrJMqGm7QD4irMNooQmQwry/Yo6X2vUA3Dkcyhlks++Rh186JJ/4Z0xf3Z8z+IFMH4Ety1hLR+IfaXAlGyv8hOxyELHtLh+RxCHOG2SLHsXL3osbWfjB5c25XHJvph1M5/+bCSKUkx9mTzr0lEaxszQhugxRoUg2lM8ZHSECO/iqiSrkerPF2sNYdJqoUJCsYei/y43e1wSAZktYBFDk0LrNj9Td+FmXgAwMLsnjAo8rJkogtEh0++Ys/UEH9+R3LQG+b+mh9gApKwNw54oAQUtp7wF5GloXkBqmTdi8APHA4D3Q6oj10J2ngETSWItaGNmgZD28dmv/nP5Yx/gjyp2BqfgB2M2zeW3yDJ3NQypwB+807CZpPin3rvuN+VkVzUWtkl6OeSH350VVXLR6L/ceskndczW7R0zbPU28mpLucR5MAiFCqR11voTOi48jCw2elOvnnLrZhL/en00Cee/Zvls5C+vImEM1nD+FoUdfFgxKhu7RZzwUj++MTFW68kTdKsR1ylOpOkQQ1FecMSmwFa3N30HbuHKz+iivvAF39ErWrRV1iHKQixr8d5I3llYWskg5RdRI9g9z38KmgeLLJQyfHRO9CJ88EzkxwBXEqTQAnQndVh5ofAlS01DRk7z4s6Jfo6gW5WTYhdQORoFtMZsjjUUKpnVlvvN3YIGoIYtZ5MyFgD6O1Q2z2eY2AW8zrTnBNsUBjpKKIYLxAM028UZ17gM1dFJVQPi4+dxRPTCCcOmUwAn+wjhcdpGhTTP1QrYfIzNNEPEtPz87YG5TYCYX8WYZGZWCrKrqZ/0t0ax+sTDaJSpOMFSSSnYNh7lknqWPcLIZp9Oi9OSfjs/tXVwMpSVzcJd5+8jfKNmKPdd/cKuLbQu4aFVDAtEdSUsbBspoB1n2fcV9NiwzB43fn62MXSfm4UJ7T4U1DU6cIKpnrnJ6Adb8ZgoyaIIQfsxF0eDIWTihDiwsaYw+DdHmx1qlLwrwxhwst9sGjlotpCH5OQYxahRzqN7ec2n4o50t8bSZowSeu1wecfBckDv3/Vl//HPYF1QiQSH73X8yOIHjL+yZqQK0y7tbG12jXipoq+fmWIoce/6tbNqS8boy3Wlba6Ue2Tl8naryb8vYcFTQnnUhyhOnI8MWp7q9J+2T8TYDb2mmNwcqIoeQ3KTj9ID+Sxc/JR+0om2oY3pfILZSKz/uasldlHCTVJPw8PkLNyeDPiTRUf3QzYau8w1PC7meQCCfeDyhig7RqwqxOMKnr9ZxOS5W9Q/3k8xYr7FZ4SRDwXT47P2HklPQwP10S2k8O65UfS+JHebuYHBUWKE1XJm+j4+PGW2wwAyy2ivmYXzVflI/ad93wkzosagCpWPmzH4epT9LDmVhLiw574tZmYbymEW95eA8ZMwuK+vd28pxaCDTrNPZJ1ACqUckVs4MMcuL/hsAKJ0uj96J3wB57f9bQPuMKGW6u8MqgeX/2hIn2VTA3H3EdG8vXEnW5kkSpskgKtxE53haSLbwf31JEdg05YCky6dp0MJzpbjVRIhcSruSu25Ez7Exd/WR4oSU9Au279eEUiC3Q0sAk3S7rDFhrwT+rZkpzMeqIL6242BVrWkNoFjKRcQdbwWh/DSUYTDS2O1GtI1jp2BE2PxXXtcQUAQ/gB0IOC+V9wWWNb8qLXEuZhYa0U7IlYC5P51cmaTwip30tKZekQP+9qe2ENW4QbhUAGlmPRxmDBakUmatoFy92Zgo/hUjKhEYx9wufxycCQvVDwdBV+zcotXb+mDHQfUqB2eZbHZpIsWal9d2usgo2710QQlbDg0MtI76jhmKCNROBuGWWvS/NrzTAqJwFZOK3wdxK6xPU6d/uMduFv86STh5gApvONdO0xALSiTAAuMHki3GJv6ifNo31oYNIlZsPgnKK5gX98YIQyfpq/d6Q3mR/k7Oyc9wc1+/ljIl1n77t3/fawy1uNa5o1u33Q6PfFWOBb3443zUm/PJyhq3M0y0MYYKkefdjBYEx3lY7Ynj/DXuFfP8HCsDNWJu/3dqU4x4bwdCs0Hpnndx/cutUUZzSOjfKD93ggDAtvh6/OJPndGZLdlM9a/0RR9gBQLuh44JVQeUy5lFYX0gXbLrWXGyFaEguP4XByOUS2Lgt9ZBNaBVYMRxjliw0ZSrhDz5WEuDB8Qd0Es2N66zsRRN8Z/54FBHM/7R779j2cqS0I0C9dQvw/4Vaswn2c1nol8AQ95YRNKfs5aT/+P4rqPr4bm4GF0z4TmwAEh/bCcDlEfD0A2AfXdgT1SqvkgH2IDVZfsdQ9+HItJyGaqiUGRMMsdVxePI9+HLDWVZauAC+U/UZ0aBRTNmt3YYHsLEfkXoAyM41ZRCSe6EFBs6/4Y4s7KQPlgffMc9hnOqPh+91kgblbYrQMkzbKfHLAk4kfvX71p3HdEDQh+wBEyPbvNEB2ojq5SwqjxB0DCTOnm2mjCMirFpYHVoqy3us9FW4Zn0RufgrDOmvH1JAzPvPHIwYX1yethRSdLWTClrawtQSGovduJeTQ0dKoOZOFRN9OD6ZnVxD1RsJY7kUs2y9zZbxFtQIoBk+bHupDem5qDoND3qwAnN5MJOHrQ7J2Zlz6NK/hvil2onqesvLdowawCKtjOOsHI+iioxKH4MkR4ct5Q8TVgs3FOaJgw3vz/3PQ8AVkGOt5R8fzCSInw17uskxnTn+ZNJGo/xTz8yMAJbEPD8KpznsvHJzlmAhEC308+1xxDGkbBDGTbppsyEZhiAFm7ZXbvWYEiVxzZYL5hd6RF7k+2ostt28xc9Tz/nkKEIHoM65/b61WLFDSIWEPoMrFUtUzoV47kptvK09kPp4dMWdKSyRzxBrmj6CuizwdJtYfiEFwoaK6Sm3s0B/taIJjaeU0+BjthjPdrgocEv9MCzInpaeG/XNpTXrb/lQguAW5OpJg1bF9DbyZlyB+7tXcMAIVNYQCwVnx7QwEwkcnhgUuqRhN1De9x6PE8Csr2kxmWiFk1oESbtJ3db5Q7S0AR+JUM8rH4fFt4CIXBKXUOkG5GOewyzDxutZeKC/AqJwaflThq00Zg7A9YorAnfqrcLcorl/Z0MebB7x36tm3DqG0cB793Sg4HqMWaJIvFqEV5Vbt/NPBkGKPvadFuGrw5RYMcwg0Gx8eoHyNHdvgPj1WWfQfZ6VmBxnZmdpq0vuFlm9Gom0ojEoFhxV5W6Q8NICB9gyOt6n8992ukBIPUj8LXfngH83PrcDOvlXVG46M8OWTdnrzk+3jrGFSuQnsjrymov0lSnGeQVWvn5tf/vbFsqEEVNCvkHxT9y5km6aReyp/TuL8x8GT96w1439JujqCnChq1ok56ywc+8welV7emitIpf4ozqHDBdgrxs3jbjGx0oiuNOsu8IisSOO9QnPol/7ZgOgbZaDft4gaJv+i0SsHpXVjFDje3YwB3prSXM8W/PHhmuP472pZDSh+oax3O4rHbdzA0aOfEmbywXDzYNiuFVRebP3+ZALt7wy53txjQWbt9GITq3mzre1N0KKOIhj3TQypLRCsfNF3Kjj5QmiNvd5wxbIujNGTV6vIXHJ70F+WbJfs8gQ7LF67tJyhsb67K+jpvNqzaN4gA3XHY3Lfcm/jeHWxZ+uw3/KL+TzJ1VNUAYlztBHn2IdMclHhmm/LPDA9rvLYGUx7XsasWBemk8GWmdJjJ+JiuxbFUwItcIbM1Y4RGfrkhkJVd4UyOV4l1q1BY4MWFJ05i91BI/ncUOFPtJ5NzYNhksvlE9v77ZePTlim3AT7d4pa07WD9n9WwVe9jvPX1Ja0OXKAmVDPdYMqfhdH5N6aDaIOR6UvHTsduqoB1HX0qsrGm16G1zWj4pOKH5860A7v55QofgxKEjVp364pgr6AsZRiDbNtkG66YN01+7lRfgTj9xwXYH6Qpj54qqxLoTbuWvoborX7+mXNmcgGcZjU7noouJRGGFBGwVzMtRBiPfadp2FQK64BHS7i1MPHWOqtv5/CufiwYyRqOt2P4DT/PUc4ZhjkvoBA5a+mGzFGA06nvkFexJbVnrZJelTcMKfcHQhNOeBC+wkFOPzuef7FTW1nu0mVlPp6bAzm7eSujxMPWCGqwy52rRQXDIqsI9VyyvReNpogFoCcWYlbbaAnvAT3Mt2f45qzp2btQP9N6P/tbd3neDl6gPkPi+323T/26A5VaqSloK9owYfPhvQhM/Jl+6MtB16456Chnd+Xl6yYX7VDqjP/1Chf8zzflqv9hevQOKmWdCCkiTkykibGpfP8g59Io9nco6/m+PMTsTX2RYubRt5ULIU2ERsVdIjrDoNHyXW6Y1CNZvFquY/EfUJMQfBmZVwOoUHZ518xIW00kl1HdyDypYbkuOe0nZfZMtVrroWRrxmUYOJTo4yx89Mx3qaV8Lp+8H0y6VjXXm0nI5QHuNRevkY91Iu76sg3Yy7B6/MejpvNZ0pn1JCWvDTOvQhPtQZEoU9m6/Uj6WeDT7GpBuqzyelvfmtBZTAXY9Q7lnXSxhjngWb1i3HWIWCcGsVe4LZzWr/o1GHmI+fusCyhnJI+3hHYUgB1d3gwgfbmK5HLI9NcxC9AbPiQzdh8dYVJ/E9qWlofGm+sq5cGr/puYxiCHi1GRtkhh/WzuHQikrVoC6e1xGhYq0kKHcI/KqpxYBEoIX6sWKLrjRio8WSKn7BXe0jMOw599d/7P+EYTEEAyKoG0SJh4eZwGUqJn9J2+eA6j7XpDp+OSQKnLP/ue7iKeaRPYoA1SIKzVZby+Zz5BY8HyF/WPIUg5uGFtaTYC/1Xo4ZIH9b+CBeTuRNW8UFl7eavDB3W7GOGAS00gnH9WRewT5/luH1wkmL1wy5F6lKNdkTNLWACycHtyJf8nLLkz04pD/7k2VpbKC3dryXl6Q7wNQXsPdDvGxQsR79kvgr+HEz4e1GomBgV7v6HsuflooknZmSANfka9tpRYYfqOU0RhoyIslVEZ8gECQIIoQ/wyYkGdM5JOx+H4PPZcBzOoDyaN6bLkd7P2GAOY7oJybcNLYD2btvTs9kP4XEQHfyJLxCnlcxg5q/+/CXncyffaq/EumyhR9jjHnnr9sbq4Zc7igeJ7DL+IW7OpZHweIEbHh7mMiW+Futax9sRSorrGLqkBO2vLwhNdTq79WYS1exZHP4SS5JF79bbbvKNldVe0VmjILDnCz486OU7rA36GpBxEceVb1nbXZDFwHbWb45tTNPy+vpB3ELFkCGD5vJaBw5sUnSGkr2iUTF1p0Jth0+P3CL4XBIi2x115PGqQirZ4W2pD0LZZJOp1FoJPHiMIr6TM5hv+k7riluD29aStwiRs3opVLBJvwK5ybzQO1rz6bF0Vlb/IsJWASTQNuoM1mLcz4nUSaKUHKyD2wDX2rs5eW+GU8NT4Jvoj4zw87oBBbAUvXRa57rtKuIQvnGpaqP0LASsg4ERifuKOHJMF/ATc+1bbohpgxqrC/wABFlatvBcoRnizKDrnf5sxurgVtYXIvfPprY9w+5uApMiC60q7UxPPQ90svyGL2ITfdF5LcuBo2jsQ4bo8Amr6NxETpTmR+sAlG78TiVp2ajEg6x1H4gzczcaVxgToV4tNXVtp2XJHH+HNRbS1gbuN5lDbg3M/+dIBNM2gjjAhrfkOZupXcs5IcKxDfVGS0xkLdK4Q7W/lWZRUzoM7C+1GEptznz1F4ObYgwrHmI8CS38PgGdWv0yieQDJT6UEgLgNStBVrilNVLJ6U8AyjiROIh8l9cMKk4jIcvgWBJdx+T5iS3LAStEaUhB6qTl3yBmUg9PtHUXvWjXZKQmDWSMMu81rS46+klUwA1G5rqN2CijGvurzotQSsvSAna7r93H+5bSn4DA1iSaSjkqv2z32kXPJHTteMYUFsXAasstp60Im2yYlZI23rNPxmPKckDUNdqrbfMshOgE0pAngRW/CGxU7b2kTs5lY3mw/2ECDf2rkutscUivyhLzXYOuxZe38ZJ1yVVLDCIhpyT6zGZ+zF48jcaGQBS5fBAVReGIAdgAKi6sPpx9iDtn+Lp4D6dVnMFN+jP+nDHdsAWX26Napfh0sPPCh6Ngknka3suUnTyyO0wO1rQSafSVjoG4NvpTxKj3WeUSMBFBB5/+KB52geP0hPmKEScTidCjIjOeUARhcsjLwrJ3rUNDKe7JCxob8CuKodtcxpN9I0gfqMrNYBzpLabn5AGxZDSbgQKN+l4JTZWQLFE868dQIa1NtszbMvUaQyYQxN2MQzB44Ans5+k8Fs+oEbq5ihAqcYORok6vblhs4EUEJPu+ysfPsCql+MgK161j417Xc/ZAXRp30Os9BFf4Fm4WmByIll4ASKTA3jzj2p5qs1GP+Fpe2BCjebzm8kebQwMlDPurndZ0BYxfwJY+HWoIK8EKiO/0328v2UO37tggrKsJkZAlRgdN8G1yT4hkyQevc3mYOoRN3ZWrKl8DXrfa8GYn1wlh4mDDipL9HihFuZINu3wDSJbEPBzYn64FRXSCCr1ncDCI400yhFjpqatJtXgH61MBgbEtlAN2tOr9pyNHOAly5MEyO71Z9SfXyugJVkTuDdYVM+q5ar/dwPsJxL3IyA5xXSqSatUh2vPgfWiu5e0hrFFqRcHvE0VFG21Ajcol5mqhcG8YqVBKxK3EfdaQhEde568WJFrKt26W29Su6jc0L1l5Gas6aWpSbF+H7bfIB60YbLHBEIWrRwjJv1oysvH8BgDXx/QYMihUisPfvNEs6Qo6nseqDsIUH2ETRNzpjDDY50YiMpilBrwUcR12cLgDSxQligXJwVAdfLv5lzKr8EhlyRpT/Q4sAiXqiyd5INZVRMxURa74CGvLQAIg6lDQ+Q7Jz4DqhkcScI92s2RZVJnfzgSSMTzopznfS/LQCqo94ZUTK2jVwJg/cfG/VyNBOIJhoPXml2LAU2leS9txbRrwW4vKav3kb9VbaBL0GBrOecyfH547562asf/kCpmu+LZdKHHrJ71VcftR/JJVReSgPFINxpySxlzo8rH7BbKdCgQts6x/tXl9bs0YrQWxeD2EsIjIbs096D+aDf8V4Q8QeZFa3IWqvH9Lsc9nKNNkXJZvvaceFERhMFfvCL3/tkKiDQHzKyY7ZKD0quTlnmIq5wHuH9hC+GcpSywROu92d1M1xsODGhz6VpBR/x7KtdlGgu2Jl4ZkwtGZUOSN4YAgIhupW2f4N9BH8vKLjT4FfZqzkhl1OLWHuIEUd9lo6eWqWqT/SPn/af8losySz9xBHUco3kN9gqQ91px5SSTkZMWp8+z1K2wMSDi2byPnhSZ2gWLD3J6dQYssU/jp7B/flUTDd7HVE4P0YM5j7FS/UhrpxdBBqfiXbANc65WaEHAZ/53ke4hEl2mcvaao77jDD2QvqTZZL9xlFV0HFeO+umXkEDPEvH46WN/PR7wfj7SJbFfnpj+H7CE9Xx7j9bqfdhC0H094BCTvdOW+n+Y4+MrlXZ87p0Q5e4qhFq/DLSFhSayRxVjykTgbiY5R9vY4Oe8TLCJBQ2SNrtE5JMrRB+JmEz/V3hmZX638VG/dRORvEv5Jwb2p8plbZgPOd8OmMmXGFFVJh16z2zZTlqQn0cGvbQIlfVWhL6WFl+MmdPIAbI8N4g94TGmSpL7vHbnbK9NrkrC1Q3Qde+5m1ZEkmjbJpY2lmu54WYpySHv4//RdHYZlU0n750VJ5/QfydTD/OI6GlbXQETBKCpegiiQsryDZiIVsUsaoC7GD3EttLCvN0qo8tUsnXPxOfgIKVorQ0u6Lju1u656cM7iNUX5lBTVqBtISxwiTstmovzRnkQ6eucIaLQKyHr/0M2pbhFTaedpttmvTm8MON8vuhOjYwMqENn1OjfuHFBGo+ywsZ0HwbQHb3XTXs+rGzDABf9Wqn766CizkE/ec1fYHqP+F8lD/1Pok5L20e+HldZuSDxlqNPvOAk8OrueyialgblN+6ZuqV/0ABoBAe7TRwvaDXXj6QQ0rW+Wroujj8CQ65kuoUuYtAV79gQ5QcjhKHXS8AB0mbRIfd9E93UeDVg4g9Sc3uYhiLGy0CP9n24S73ie8RyDx6oHS9uV38RBew7KyFY9AdadbThmFhdWU/P1YQpXrW9cK0in7Q23y0gpqc6wLyMLkSmKpyRZ6Xw2A2yE4pPzehPMZeIN7ygrGfgbmyrcH55GY7ECwCaRcq7DGSXzpKEndDHtHq3RL9HQWmXvGRqPTMlnv37Um2/oKbR3lmOLgdThT6ZnYz44//rebWql/+D8AEb4WpJBOtvMqIrPKvt0Iwf8ShNIlDiHsMT2rPok8k0EOtNoQM0tnE5PayzvIeqvjah8w2ZBlJb+ykU8788miv1c/4UCgeDfYT1Tjh4aaK1tdyjXfXQ7aXWquQ8WYvBhUqgNaWYUXe71IiBWT7Isn5i5U/fifrSB1qyypCJdi4vu0BDIRiRQsmid5fPiqLi36eBeBc+aBvvo5cXCvoAHNTYyYK2u7AIPWKzkEMWZ5Vi4+ez/3BoO9UXvHPUV14lq81BKHNSXSaxEe0EHn1AtnWfUu6z1R2ryVOwxkM/O7IPiLKlvFMALPBOF9ovP8G0R9uOk8wUM8Q25gMwPI0kOeYXf/byj2HIm4PfzSbHe6H1A6p5MwgEJaYn12hKxAHA9vDoTbSWhbvJ2hA3yzbho+5LMz9vDX//t8qFj0qaBFBDC2fmbWarDgyEK8eVClw6bKDPBS6DrXYjUN0QtaIOBeNWQOKQ5l7Z+lGrNaeAfsqMZHgmC3Noe307agMF/4cbHa5UuANDz0OFRD1yVWJCSrRfsw9z0wJON+5EcomHVY8TJGY7VjSBw+8KSOYo8QuOjQE3ulyDbhFNggwBlbN4gL+Uy8SrZPBcCwk4Si4t5sVzM47Ijhu4KGpmz/z2DpsHBpeCzlvxqbUOHzgVFcjDhiYZ4o+P8kkJIRjyqa+v3zAT5PieZIG3cKHcVP4/OB7xnL5hA5XyOwre1EOdbpQzY2WHa8UZpCsFdDCIGnU1ic5XFGZeoJetA9IjRW0L2QEuq5XEP3cCGh1eVyYHNJQ8eZXtqvb2fUAiG6xuTbnUxHWVCmVtJZtc87L3Y2euK/NdRc2J9AKfty62my6TD//GUMm0Q0MDCGTnlTQJ7ZlzEV02AnFCZ9jfjyW02Nko30/XgI7Km7PFf+lW4H7CWq7gY6Ga1AsbKa0/rXJbqL6miEo2iU0QCW923TAhi+jHgaexngJ+QJiMMov/wQ2FgPXZwfcLPXQmpahKj4wenhbttMhnsj4iawdT+V6xnmaoSf61CLKBpHp3HarVH6nPHPbGcbVm3DBDDMJ/ryy8G4O+nv3V+mVUwhK0pjzcg8cGjJiD8n9+3zFBgD0PLWOZFZOkUEEZnimEGbE15fKvbcxypG2IlvV4sM7nlcrJSpgUe2v1oV0koBEL7cu9GmJknLWTWZa6XKSoIeTrQHGn4ql2AnnsxOML5oBWcx0GYF96MelTbaO+WpJnE6vq4lvikaEBJ+i/XQNZpW9/FLLp0fWDr4ziZRoURinqCnkBLZk4qz9y5khMDoc+qad7hx8Jn2lzu2pliEBd+uUe6HLuq0AphXIS0f0nFnTwQZ7tRbPrDL26RFOfhrtetKdccRRTViw83nZ0YfKgUTJsMnMNAbq47l/ieuwPfCJkaaWjfyRIh1WXDvm6gbXGj7gYBbeQ7jDPcEF6xWJuVSHtvpReigrBqfjr3akAEFurEZci1wpc7GgI92yx3AAYMbiLiojEDfAipaaF7zLL4//a7jxNQE6ZRpwfwM40GOtY+bizxA7ehcQX88GaS7GDTEdRrw/2tnDgCL7OJLI7WlBoLcJLCncXKEowiBxms1yO8ZPARbsqcIHgpKjUosTbrt1rPUOfsX1ky9knQs9siVpQOdNp6fXXOoUVkKsZg99rQK+zKUG88QFR6Qy6d5Jskb1/qWjHjL4VEs9JjA12lwdDIv6iqaqUYhnMLWAnOQo+yr767KYAGIdaEedRr2+M+K7LFOFdGuRItZEUJpsu+RzvJZhBT1zhBDEG/Hr8TT/H9ck0iVsQiStZKi3z/3rjfreZWwBSAXIoIXJeBuEkDAPVhpie1ZCnmEaES4Xoe1D/AuRfz2Jd8sohXLHLCdu61EEYnMdKhLbofyowPe6vNEnSIJrHdoCa+oqVv+cQjfIIeJQHH92OwITeDRtHvDOylUGkP6ePHy00TXKbjD4LVTVimrdV0UqEIyEyMPmsCmmrtNZ453qGOsgZU+PHJzJX/NAy2vnoYrEUz4RqHnBJM0m2sZVrAYZtTrJ0wv54+t87P/2BA4d4rcYr/x0TbUbFNEf55UZV+LuDDU5cjRR8e31qSIRxEjtKlNymMrtr1rG2y0aKRGPSVNkGdDLRTDpv6QKdsFJO8XsrmDlbzf501jx6JHDPOmrXjbefSV0BI9WoOLjaXHXCqhd3V7BX5KidlaV5n7nMOTh8/UBN5X2sKcHeQptna1zJAMZ1suGMKfXrVrNZ3PBKxYDSpef8OKTTGo2Yy6C4IUVotGLZfPku1NAIcVrBYN0WkihfQE5Xvq0VLRhjEZEhVUBaCpTxgn1LJkQBTjshBoT9cNPhvrT/dpE7+6ChxvD5pIuSYa3Zq2GWF+8HkY3xSK1GMUaIS/np2+MVMdQFqXzeAQnlfHWFgm/OXvLdxtB2NXbsQpwAacj+Es7OAknxuxe3NOtfl+aFRbaHxEE/xGj6KNdxX2dxT92HXXqvzEEnfqEivXbkKynY/rWY1Ltx1Dhe0eHd+9jn3kSF40iF37lIGcKWPz+mDTFpZOvIheM+GeEwRYX1K16Hcgu0waMUPfafwNLGGjEx/7qe1x+H0jOuijq2ep8M85u7c5H4vS4JrTpW+MTgTsKVZaidwu2LPihYN4B6RB1ZTJ9SlxcGf5rsIs70MHzfG/J87N5C9eRGYr6Ybc7LNcAAbCvLwg6n83sGZmKshliEzRrYoWUSKfkX+a0qqQ9Pycx4x9e6hp1sFgwZ87aSmmvzPk1ZBIOZWrk9drHrPq8BZk87qmj9dbe4USP8oxbP1ZE6Fi8ClQrUkeK+RjEDDhgV8bkD1rd3ffm6d9hHEJVpvNZuTlFPD/GhMl8ZzDshIIOt7Z1WBTyDEH7lBmSa2xWC8ug5qnIcQgoUkp6Az/orC8QKm4PVG1I5jUTgCZW8jdW8UDZPUx92Zvj/6A6817sw1RDNPgPpPFmXUfQlltuk735UgB5tT9hMIdmE9T1ZMABHy4WVDy689RBHuiQiCylZ+zdc6keirRXAH2VRyMpl57L0MyZQWPdrJP0CYYSsjMj5N0YxtvZULyA+F/Lyxd+hL5vHdktwkPcFAMYMXDdMY7U/i2g1Nnim5MDqRyzKX9vSwoKsZuidSwEO1VsYOIOe8wwPnR/iKh3lq8YSyh6YyMYf1UhFoIhBTgYRq4TvdoO8jrBfakcy2bPG8mrL1D47anXOg6T0h7QDTVbQYlX0ZhflP4dwnuI5Ew5DgXIiX0toVljEaKgLua2PwXCNyAJIrBtpJLXbskWAb6dQuZ4lgSX74T3Q3SXr/CLPpK638yK/k/9PmNr3m1k+2GjKddh7E9SnNviuBIL1n4JXHclKUgQsV8+zYZTcMlHcwQQt7wbhL/mwSds3Hp6hpBzh/jRr/tL8ihgrkXGyneEQA03TNXRSh1nJk/1la8EfGDdXzWYwTx5rgv08yOZma2UUCJc7aKskOnEB6yfxCfvPQcjqM5wOkCokEJU93GJIca44sAQBP6sG297E6k3olKHRGfLCdrq2Bz97tF65CtXyWvxokFJn3r8+6PqjaCmiFr/PcQq35qe3TNvWAy3DzVjKsUotqCsc+6Qm+jM8gmUXrrYQKFgq/2LiVqZ7y20rfjOxyXxjVCylcW6tk6+ZEdTdmP311CnRsLCZB3mpE+A8uh49JFicZWxdqhMueoFyNPNZ/9qpCk7fOIJe7JjWDY/bf4RonezbGHDeRtGnZN9rKijopld4DmZ8FRh9WxhlDGHz71RlR+ssUUxgS3lbihK9pY0khYhtY0z2j2sUzUPEwh9iuhiJo1b/ueXFnKqbD0hBBfsRihP/RtQ23H9uRLJWXuUnP4NzWtWhAMjwdXDBT2TM3opOams4e/d31ZO533cXOKw+inuWAwyNMWeflcxxRCozbrpwysQCsP0k+RiNUHHKGLwmlKx23WNzebsmlUlNqFHJgthy8EAB/evAG01/GL4lwsIhxF91dRpPv9GP+NPfsxPrGUzdgQwMeq272ZcpWpOy3ZGMrUfxLee3J7N9tDfvhgeGyKVP6Lp1jgQfD6hV2jNT9UFfMn1gWeE2ipNv7YMMId05t6VZCALmiwcAuVOOLtwShXEJ/fowIZozsJtCoj+obw3Pl5L5pp6G9VulMOJ44X8QJ/QTkz5STxlmtUJVg4ymRg3E7lwe4wsqJwy0JJUm0esEBr1Dh1jV/NeZTmCrEUB3bfVp1gulUSXnG4C5H80R+WjK2c0c+0sMpknP5I0at0HBjw0j+acIIzKWZr82zXhMHDbw7Lhgn3yuBVWwtFy+f7/LkPR9gJQYwcCmzg9a5k94DE2CuwPrII3DjA8uvAgvFUs4IM/XGOJlF91ZQxZ225UEEIglrwb1+Y2n4AavG3UYkx/8zPI4f3up6RIyTxgiyLh/RKS3YEuDYN9PLN4ae5TYynJAqVxj5bkXHlRwvsC5JfUqWsO6a5ZlnzLElEdHFw5iqzgb0+2BCxClQxvKPg4CbxwjM4g1KNwlt95VZ3YF1MbozLNt7/MMIQEm6NLTfdFtgdnEHxlIIEO0qhGeyz7Oor646JrQsiQ0cH7Or4z9b/ApxY2lx5uLs8mUX6D2nTcX6d02eFbg7BqwDky5Owhtk4XxHz46Z+1zsTMlEzbjaujiUyMDdL4NaYWZkypohYnMP3lcPKyQ/uxycwz8ihBsJoE3C1LcLrKwBIOP5jAxppy/kYI7cewbg0Fn6qWq16BzFxqeGgOc0cst5PpSG2bUByxQAyct0deMsoS8HF4FTgkyu1vyYU3TSp1CnFAAu1QM9iz1pbVONcQq5XSoMHsl0ToFajciRePHBA/Kj1IYj9FinYFElQHD9rt7KaHWEnVi0DEMCyGwcmkpvz8habQA8YNAyGOUX+l+eIyPCTmcE0Adj6WtkVbqhyTkkjoKr/5+VGQHwNHOztRz29ESXAVPnMniL/Q8pUfcwFKcuIwbFu+W0NCo7ypCO+0rd6nqnTmbOVwOcXye3bzk4qL148IL5FopglAMnvyjh5OmpTTVKZu8oWp/f29a9PlOtUKxqaqylG6W8MgvMgz81xN+tDYSNYnyRgXJsFLOl9qUEqanOoUPk8+GKgsxfds8n7K3qhoRMHfVjs05xEpzl2+iSquP6R0bX00AHda3LWgOIDet47CL0BuPRfiTh6QzfC+RJ0AnJA3YLuH/HsCKshyua/8cTXBJxkACpF2CoOC/sdjHl/qdqO/RIxObmfkggMwdnE4Ues6Kg8FpsiBsXnilTT6SdMUwrR1vGZwvpLbYRNG8bsRgA9QfaebYaAMV6NaA/3iier/accGGmZsB3pFTVeuNCRo+rETxwptI89QussKCxyH5XvY2cdcFkI+EdClnV1pyCaH0cFxup8cVWOjdvbWD88WLA1CXm7ykZayPJ/14WKzLD5Qubw71xE7ai+LwcDeq9Z6KedBQ/VYSChZpHxiE1GHeRPm4vRnkEMLGbjLLUnFlKKPOX7aA+ZpSEo8egxSfhAh5+EeHVN5b78F/okA7s//0c6JDNm9HshXxbYwwzEiRRUi2SgeHvRy8dwXtBBGuzDoQPuDJc2KTg54fXmOoEjorIW2X99TJ2amjUk4sOGpHLxSpsi4B0ml5CuK7zigjrr+/2ThCOBy2PjbKmOVD9fDyd0M+zrjREGaBGBHkDEZzk+7ZL9/Q84d02RjChJnAPcM8XDhfgGLKeQpRp6K7LgC9w/VwlZ4ezeLo/E2MdFMnSMN74sApI4drXO0RbpmQJceypOxHeGMicF/LYuuCmk22CXlqBkmcZe7W4ZES8Koyjz6Bv+9MDZdyG6FElrh4l5mHdPZtHMLYHCVQECsVrCGdIOVNfvgcKXEzSJe1iNnNRhnVwdveQVdzNIHj2XqYVGBx18nlX/3f+YtcUh7C6iFtwbiBMwJxJ6l6VsMIgW7BiX6/tDueHRnjpQSWgwEgKRP/usULeCDteuKPNffDzJrRgc6kbXG+z8ne1ZG0aTmWloVRsFzTzBPV/ONBiL8gTVZ3FP746BncGlxC3kXsVOAFimkffuJ45FITInN2C1IE7W0uUUjZn326842KDHyj3EEUh47dSsZFyJVvde6c1ceibkjFli57axmLRv2s+QlnCcyvjL1gVYtMZZvYtilg4mGznDlEszV6UABzMjU0fsSnZk92VSUreDiySvKv+d6Ltu9ool2yTmnG66/tahoovWXuFbaTZFyy+BvcrQsc9xMn5K1qh2Rk8BOXWO4bea0RvkluHp+z1Yogu6udvgSGWyrUhFKdOhZEDzLTZ1319L1FeInjJ9KjeMNWtpenkoYp89FBu21hxedBD6/lyeFOrjLvAYkBSGJEKtrzlmypFrcNnaVTe4HNU0q9w6yFdK1GwRp3iUDoqwt0nbXwzGtxr1KQQsix3liiVhqioFd/SzQIGCo/zSteey8D/qAV6gvR+hbVgjqQyWIN2oDUVwGc+OBwBhnhHqvv4zIG/SXfj8CyhzAmYerfNeDAbZEWkIU09xnf7pEvzcQqEtwjC48ZaDfuQ9MPxIXsPbr/tKvE1iSx3OYhySGZjl2ZplmpQ+FEyl8mKRlmeruB/pVCaHc782R0rZB65rdbpe3L5yJD4QyHqhW7M0Z/kWjkT5vslpiBRNumvKaG8rgdnkVumFUJPP/s/FRNbkUx0lEU6a2zuTYBLt7OY9o6J+UgpYNiA6ll/t76WW8Q/A2U/vpHlXloPOy+Og+rD2dALbxxvADrYZCz17lDNKQnkVV898Ex0BNSrvkgGWXlWL5EgRxIKSMlsss3T65w7aZ3qA66tVVriQ2q1/h3zJZKcb3y7P/xDsVCD/fGC8Y+oXSAIq17f2M+IMQAHSIbsZB/KPssCbbz30r4u/ou/CRjcOMbaoj4N6NrX+SgpZacyeVO3TCO9dCwXB4GDzY5NtAaf1k6ToAswQzloG4ktPOWq9GxxqUKZeC5ia2jPn3SDfyw+5Kr+oaNn77b06V1idRekUb2M1+NFlCiPack7SDxuKcBc9FkszOo+ClSH3IiHo0HKy8s6IGPmm+2fhXu9oHLJ8d6f36bWWHP/u+YAFYoIhoJ/tBjoJK0urSyJwNFeHHXS0bxFCIP49a/MCFI+tPbIH8XiBVu/JQh1S8r6rsiyZ2SYReuwci70lPEOYWkiDDJS1FhuN5R48N6Lz3W9DqIYL8C42KuhVKPz67dsR0xbL8kaYVsjPhLP8KXpk7KErVRkjF/KqDj49O2ip20QAnA1IUTmb9YXu1AWqxZ7l8HHa83hrh7rUIEaAhBmbUCTOMM77pyXiBaUcKappxEKobEjjG+nHHpp2ttaL8keCUMfSYX+YwbzP+uZODiG7nS8nbXH1uxMFbYaP8+7q20gSmyngbzL0xyaDzTzxJ7D1fT10C0NfMUE9OExrb4buuYC+4gbf2TquEK69Qe5tUMX4PWsx6n1bav1rK/XQNSkhCDZ3yuT5n1m5tFDOd9Y9CafyBP77O/qS5HZJe/WNKLIkQa2pcKejXr0rMIT+HbKMXs2mqv1va8QvTh08CRKeu7HB+AHyFO5mWSH/y7YEYNOmzjaUVcEHEWh4LR1aQ9Rr2CtzIDRZdJxycZZBD6RN0010ZIurkWm5Ro4lqN8hCHubz3SUAEetDt+pH3HRN0B2u0yBh/pr1AqKSrbTVSsiqWbO0kF01zp7WelwAyq3L7BbnpjXVj+hMp+SE8K9aUoLn28GVqNbUeKY5KdYuKKDQAEbz8ZFJFVX2EWE84ddIzkJq2WXtihR4f0KmfRpQNGvVYAUVf+RRC5vCEz2sZz2rvjjC6jFvyAdFMGk4tYjpkPkziNMhaGt/1AR2884mQRScRaLB0HRGqqNaR6Vn0icLT0OOPyGXLKIaDWZfxp+O4vocX8+QstCKnoMzeM1Pgrmkir9CkgrF4mIIlq6GDVPOhmPYkSvtLxRNfnP8RQKedWbd+oAb55UVsXfcMwneTSXQZ2rWKNevGgb3WygvXddunYG9BHWqgDrwyN2LqTHJqC2M4i/ESVp1gXU6GFht8LcCW2wjNa0irxz/jBwX2RSxD0a75uvlvApR4i4ueaHxV14vGvXibJYaJ4pgYdldZX+uHX/VxRCKuTF7UV+qIK4v0XDLa3khnKI6YJ8Mk8R8sfV9F30akWHD61L7BxNxnGAEkf+EEqB1IVRevVE1JuguampdOLURiWWeGUd9272b8vircFBStQ27HfKoeKQ/ow0Zxz5CaskYf75cZk3EiiyEGiHpg70hwUpwryhRf8N4a5OTr4MaI56mkjSFzKB1jrs7UQHJEXASgowLvn1OgP5Up2FEHASE8+lx7Ib3dPg2s0G1IsYZAfE8+wjMyRJZuYQgmp/UpbeaoIV65NJ4t/ThrkJNeMrTnwV0A6yMm3299EoP7hhgZwBzqfr6OEqmVg1ZuhbK82yMK81XtFnU1QRPEhDEkaWGz8zghsDFUYzn6MlKbjgExehPbQKFm0UqelAW3G4Z5GhUGZ5DO5Eba5ykug1Q/ATHcmzVjHOncZl10SbUpEk59ZFxJCriSWcgbj4cqAlr9gssRIopX5IqgDIauiWICDpJvA9vh1qz3GVmQmoq0CyJY7VuCwKSuJEIUUUgZFvaBqO7KCudCxWy0WPhY92LR1bj7opxMQxWOOauxHJv5PVTLCAYyNJUyohropojsj+e6T3P6ozWYioaDhQk78sjHC2BHJGi2A/SMl4rhDDEFQyw1AkZ0jNxXI2X49tfMRYFa8jMvN9l3S17RuvnY4xTqr66DgtlN3qwQk8ptYyi9lXTOckMlsiQjBPs45J/B5jS3lSXLmUnhUurnZBdQQgtihXyU3D1dVx7oi1kW0D1D1tI5WleVVFof5arCZT9TO9jSiRiJY3Di3amVWTBurrTTVO9XO/t077yI4+/ZrUVqt/5IcQhYO1e0AuC6lBOPMYQA3tUG3Vzi620Kx4zBhnQCFtdBZIsvV7xcciZhhs4q+X126KD1UmhHmFQaMvvGACvtf6t1pRGjKgOAZnxk5v1/dHlY6pfabFqBsFKycqmxG5mp7F/VOEIwi0DnwYIDbk5QGCODhF7pHNfCXq2H/UcHnsWX82nbHewIEAQRTmzkTxXPg+I75OETqzBdTLicivuNQ36hlusxfNImxBy+MP/SMwbxLC6+A7hBvIfz/1/0npuPviBLuSdwWBmVsynYgSSiZ1YUbsdAKP2LOK2Sh5OtO7KOhLJwzRzMRSIPbF8bmNC7dZ7yAt+KRLnsWd4uriamYQlthMXuXHWOPSjzNM58rTI9icGPi9JUEznrvbu4qxHwTo84XBQGqCRI//O4l+zkwfZ6ouG1qVy0MRPqa/teZP1zMzqO3u6QON0AfEgX7GY7swOm4tpe7CDLqHKbSpsQVy0mVPZ54iI4oXpkT6T8iC6IklvH3USFSK63Wd4nZSzE/1pBSz2aIJTctMmJ5QNennqKKpweXrjTHhQc5rHwvBwwb4D/IrnZ7sKL0P+opqT1Gm33WvPFs5e9ppP8ycTlNMlQW2xt9GGKhV4rhLnHSeVpS3yIyabfJHj5Of4AVomg2Tr5s/q4rikDSSAXrtz/s7Up8pyfsx8qGTTggPjTB6FrTeraHEIhGDiscZ2aNrjx3DkpYQm9Kjd4vH5uRiY9qdsgKzspoOcWyAvqOHVuSv8cB/21wB7Lu51pzmwaM6hJ8RAEgEMoz4y+9+aYEPqTQ4moILq1HTsGZceM4nSG3+nvCjlVYXcDXtt0nPGOvs5Q7GjLScUFeXfZoKvqsF9iYtEvslweZIiOWJy436dwJMrJCvYntlwvjfR07/aU4gp3iNoJABgqfa6gGHuoVMZJRAweFJ6BTpT+ASeTSkc6To7aiqCNwU+0Keq/9q0idlFaZTIenN5gqYExIg/jBYRhJNRH+kPfYTrY00Y2ukmDbZb/286ZCsBC2Tl1Px0qxNAc3/XhsfX0fgg9UoNkVmpKNqukURK4wTv2Mr80aeEvpdtAqaJO+I3shaGT6iH3vA5ba8H+rABP5fTsm3BdCOAZ+hSAvRxMwjiqNi4o6r+GdyYOBuXJBvjdC652BPzYR+oZ4SDbdemuDjqf3ihrRb+LsAHO1N1Tjxzeetd5Gncz+x5YrYMz1wnGOUcH96I9597QLy8YjVQiv+OcmZBJBFmX+PqsotbflyqWqPXjChSrnBW0548goxAQITCUGk4dR5ueCIH5mn4VyQX/nk9CDv52rGAZMvgnTeJB8U5+B7aUMxqqivk7PH1+2o07AWi1BGuLSx8wkL/4lc8t1aIelWtPm7YjIzkf3vXOCISAkLzqwduwf4YjlCWlVGC4ibRrrBvKETudPg7APMylbu5UbM4uBRzZZNVzpzwpxX9rKx9ZVo4kLpadhDReSsU55d+t48qcHfYyeMkfnopJB8oeT9dSsRFOrtsEkTVl20F6GsFv7zeoMN0B1trDqWSgdmA9ME3DP+GQ6fnUFVgjXGKF0Gu99FscsuhUhx9whii8S6u+YLXvEjXUMyiCnHxI5YbO5B1emQx9+Ey35pwFJaZ2eUsUTizpPfnMTi3zkFDw0qItJHWxmdK5UftLPuJm5if6oCCJJUUUvFEoj7q4D57iX5CKUbs7gwP0m3zDKRdp4wnmPKKYQJmJZaY0WlZCZZEQxMCX9X95IQOflSfK0Jq+XmgIDaSpPSmP1oRFIXVPEZ7+6lBWjRo69x5SU4qohOt34Sq+w5gwILv9xQ9CdPbgRcbWT1lWdH9FI3Oz4Idz0bfhtPMKQMU4sPZy4vCp0vVvL/Wv6ITrsp2p/3AlpDJylNMx5AFTh08izOQ1HT6aWnglzDiCmZEpGwlYGYxCxvJeb/E3WpuUmc3rKzdvqc51XfNNm108Vzy7mO5MIp9DCbUCe1Bie15DgTzm/ygYgFgHVVYgOyYFpaQtGm/ls8l4l1IrAskgobV3Y/RGQArtt4vJ0nE2uUJ4LZEZNBrQ80DJvL5oY+/1mtcPg0Wx5soQkuVoJpGfgbOnQNhzd+rxl1lFDTfsVoi+R5sTGHG9YvUYNPahPmr3w+7Yi9b6PPUkzFLcEbdqmWu2C64faQ7UVO6SQtxARN61TS0UtCc0GSA731uFr3QJ8iiFQZp6UMZjuuy42OIXtyVPt/1wVx5eJawIJy2bLAxTc/xaBvYRsPYjBZ85gR4EzpuMUqhwmRQQyxZ3JBY8j99l0JiNsaDypeAxY69UQrbYudwA/4mGEFyRl9UQgvQO8iDq433e4OfK5AWg/hUwJppkeL7Oh4q15OZM5MeY2l222a9G9ABwCKWFRrIS9tSMM+113iGhLrrcIH2AoXe9K2sCQwoGf14gNMf5X2nu4h3xmk3f3ZLSZfl0vk8WnwKfVGbsSGWXRV1Om54VOQ03QWNAo1lKlAMWQVDf4fIi+N6BkUvqaY/Fq7WtONxjCwTuCihYzJkLzwc9iAIMdOVrYXXk7xbu80/N/crMuP8wsQ2hXZeCxUZPdPeKZEtJzQvwlQ0ubIJW8dX85knYEZwkfnM9rDsRjomHEGGMgSqG829ri+q6VVlzKVFkJOMUE9HgNHqnvw1tgC0+E4vp8cXtmfYglxZ62vAjTRaFAdTHb5tN72iCEW7uyCbps8W1Ec4YcBh8Ob2auCiLjFhgDjrCSetGPMbEIsH+aAGBq6LgfpJKtYiZHnSTex66booLfsUctnRYOlfxC8Zl6CdwcUGtrCmJvyM/X2Zfxp+CPxY6Av2jZP6yzaDn/HR/RT28f7i8EgDW9efJobfO3hvGrVO/SKwkeQGhecDErNJGRq82MxQfy8psQfSoym0CGyjhI2EeM9YF+2blGu89B3RDnXiykPTDb2vbTzLOvHZwUjHHbeOIQXe30LxIxDw05ZgoJCQ1dzUWuwoPbi4POwDTSov6yw/H0vfdfCDqFkpR0hWhFwlAVFlibPmAGGWQXb0OBJEj79Q0LLTNpfH0/ea/dOgp1DKu/yb52bOGrGk/mPgPDnB8Yfe9nf+korm1XpV+8xYft5b+wFzTK0i8Yz6fOHJVKX6dbM51iWxi3Cp7UE1NB5uhhrYqJxvDAHqZWeSj39JD/eB2AffgXTIlziH46Sezj/JTQAyYNAnia8Yi1Dpf0Fnc27PYfYoEucEgzIAguIX8R6W31SA5M7ZUwh8V4tAcJ8UjAytXmHydVL+qvTc24fTOUirdNAbH9mHoIeihsOgbYBqUNEgRnIN8KW68B6zFrGAfyx+XmRX9/M9I4aY0bVBIO6W9jOl+NTdwBx/oTookwINbGPBvMAjxWVpFdSqmX80rNOfxSZXfqsAc0cvrphZA9TBwxW0Yc24aHbKh2yajOkyvYJwCujf7Aa63DXP6fJlDdOU2gxmp2IOrcja59IWLqfslO2Ltlr86JtGwihYFCxqakmopPzS+1Hg1e3TeY2gzraRCtp/6ReadNjFojXGKbjUQWFSvMcOreJA5/PTx6dXjyLs0n83PVXVzxlvS+ggH886bmTP3C+IGIH25twZog3a0YkgGawteeSpP9Hgw/dkU3imcw4EydYzjLhXF+zs1pkNkr741Jekd1OkyBDg9apfGr09KV+gTqy2qRMg7IQk5jAVNvmtKoa0uI94MBpvQ8Teup/GWRCqUO5UTelRgQYzeY5SU3ZjUW44d6XtQThaTf0Az/7MqHdBtZ9gWqtuXwrVJMC9P+LUv+1uH+VqLpqvD9eD+37RBsJ7cSFQadKyt3RizGeiquKbsBerc1UQN+GO5zExfpQyjBxlBWGI6agds6K4FlHOG1OwbZbw3P/H0fegEA3eTXh/dXDqzE5NabcwtJWt3GbyXyvVoRNvxi+pkB+k7EXbrPM4GBpn/4EtwiQmi01/SDrzUAr1O8r7WyFPSivrDQUCmB1xKm6P8EVb4kmVbOfKnQXpplq+of03ZhsUAksOoCCtz579M+UHUqrU75fctE24Q23FdREnz3VkuXTMAYt1I0dN/qLy62gkehzk8/kjLG2zfccfgPvajpTZQtbaUZnjKcb0HqjEfGYYNgoJGcv62paKKh4OZUw+Cq3uJ+3fLRLSHEcolPM2T680ABxeWZoaUyld/hwwtY4c902hOwaQP9r2msfcFxzkZFUtmOvNrZERSq8/CfGjmWq3xSPbibq0ZExwuggn6tE1/qWPhiD7+pfyb1GcQRoFaySZmntQLvO+OlonBP9dtgAuxLsiX7x9bnIxeipig1442t/OnrhlXWGGlQkAujdnbmlTABFQd4Wlff2x/Q0JIAdOMc0z1PUNWBpwxTEUuyrHZsfmMFundrvEetHGRS/CIFRHww2ScborhiRYUdw+pw05Ha7LIozYr0tbK3KzDzGvHcBgGn3A06tfk8Icx7HCkBPTWKg8L8GiEB+F9RwLb1FsqOqEirCU4wYXjsxAuloVvFUnNyuHyFo3qSHJTgGZc0RkjIUnFC7PAssd/tZA5+6RFUwBi8jlIqqtvwWGzPs14LhlW3Cq8w1zU03WXUB6NsZGUfI9Lcbnhm38/1IjWRDhTogWaXJdKQWx3DPGzEs+l57bdVhLS4EpE4owzdnf+SzFpCHs/Hn/KViaYkVp4fo9lS3iXEF/W853AFW2lZsoZpmUpVjrii3Q2hoNswI3FQ320HQUol0pRNkaoyttOhecepInxpTUK9iy/D7gOOxHQabBbSWDU+wdskFASbR4F9PnfXtOnRw4Qyz/iri21Z0UCxv0kdjkqz8P5On46+kcMvQLYb37N5n3dGKDOWjS39WDlGqeu/ilK8tFxgpC5af8OWl6RzUA6YdCOwkVs/j8WwwlHAsNFddeeJHxT0yrcguB5xx0v/Z2lElxew5RQV/Q3Ehuk5IG8h/Lm7Z8CB0YMzsrNI2YVwEmnpRul3IPYVWf6Xu9N5E58ljmrnP677rcgK0nkxSZd87GlEPX3GQRlduffbqOSIauKCX5UO5oTcQkDUoYGTG5W+4OsrFS09JdjFUl0yMuO7ijglNDnHZdFjB4u8aCZOycm20nuP41lAS0Bn+JO+kznJPlhCVqpDk7XG2Hq8VDHcLX3IZ79kgpLWPpK2okAe2UnFyrCCHZtxsd0VOvRNMkbQliuG6PDcRt6TU/gZQMV2ddkC1Cah4AxDplVf5tk0j/jVOstmCZcY01mBenDFonbqVb7Uxz3AVuq6xaQ9dYcRuquEMEYdtpUPaJaA9kc4XHzgzDB/5sCPADSLbsMq+nMBtqYsBU5u0OjptT41EVtELCr/bH/AmbB5M62ILyvhszOLhEtalc82T0ZQ15V7Jjug2ADfVlN2tnTzjmhV3EVM4Mu1Jlk2K82/41VTtWD28C2SnMTSAhBxszeAtclfTPaf5KfsZDn0//hpLerkK0GYBfRiFrH2hqFkO52AwM26BVuBvn7/n94nboZWPT+rZpH8/uRK+acvttGMgPdRWi3fkHsjl6ZEFiadCIvmrRiqn5M/NaZkPncAcXAyXtHxsmltWoNFvkgAwhhc6bMQI09XPmWEYw74tggmX63BjuLvpAFjqYsqykWkQJW1dMyb3rInm5/v25v0sPnEB/cjwzLhcY6QscPxqAwd2GXa5n9VWpJMdFtk5hZ2SZWULPNYOBP9CRuw49Jzw/CgBDBDacKxHeq9WYZq/WsIkaK6OcubgFJaGH7WjTByVP10BRo84+F27thbGecX4DxJdZNIRDCriQbRwAPaASrYRABDMpfW7flEW3f7EwefRMoYCKAKNd7OHnNByfdlDFQAAUCztzGv08jZxMEkwiJCXlui3TZA776Xxk0TUJttDcmcfG8kB6RtE6NPpZyhncbFIEiOxG2BXM1URzslscq6VwMbozqDs2iQ2L13ujrKCi1CSeqGMKXqYnRTMLwBmwQxtW+kzGlsU5pQXLHzbI+hAU7TG6cM9DrMt2SiJkkFPEDpVJWons8xJmUII7HHRRgkfjdKuu7UY6N2ZBSbgZspD9B+EfhjwWS5WoGLfPzF8Gpp81RQbSuKmJc5r8msbf8KGmjLJcBewQ1yddl0uVBa4Eu2pUciWooK2FXR82Oi84Mn1rdu//TzhivM2uGuR3i/SLErgz//SIxWh9pPyHQC0z/PYt/gz3Uy5xcvap7BjlyTK7XiEiufQGZR7QcgfTKbYusKVms0TeyBQ0Azxc8mSLYuKAyttIsYyTqqa8chL4tdoVois1v9vIwK5l3zuwFAHMlFWl74IcjGZvsuAz71myCxXh8i51iLlDxKjDH2Chu8dJiEWtcsd3wLgtomNCEkLVdOrcDnhPcOCz6668pqT6W47hE5Ryv2KSDwJEW5uzReGv1efIVESfU6MDXSNmt9+UGGvq9YTD0VpUO18ZQ/i+MUq+WtGaZkc76zntvUwRmuaYziUF+Rxp8/jYNW1eb3BQ+VCGRNyP59Bmbw9Mu/n+dx8CgfF3NqNJNb+dm4OoAmpsPnuqPqF94ds3zwQbaGMo060a6bDcZn6bkpH+/TsBcqhhO4FQzXTqgG2w2eLF+ezJISIvkDem24xtaa7cYpg45zeklAzJ08Cdu3OcDDBFpXKoUR+DUFs2Cyu2umL4BSWgJ4DqgVRJRdr3X1cWsmTyBlXmQvLzFE8XZiStdmeGltnaxY4TNOVZUhsthfylVbv+VUyy6ZA8yOzlB1WBXSxCWS2PiPsmrxRwknkK49t1UvTYtkJla65xN6w+cjG8WSosi2vRIl5jaxRd7LhWT16mgPAi9HdLcztCIVBI1hEvPPvD0htl+WmhfPTLzVVQOZIr6r8rXTgUe2mvKMlOSOBQhbZzkEQeMYmG1zNbtmdUzBG8B/5eOp/UgfC9QXv2PIGZLr9EuZZ3O8iuAgqKVXpjY2sXyJ/FmamDafl00YvyRoF4eUVfuHg/316uJz0Kemq1dA5t9srEiyYAk/SG8jrHs/g2Ap1DtHEcLKhTvm9x+tztW2OmTTkqGXAF3SXU3iGWaHUyPDLVHuEKoxLXJvSEmoGIEjoMWFvySx8JbrzRcJZebu9gaSiUA8YhwcaX0Cpak3j8FgOc6ugNOwQ/3fTPs9Tx6ql8cvoh4oFABIirBzKZZIg0tFBALVQ6wpbfXuXYFJvQUGhqTZNIa++bg+LmqXbBl8fKHqJ/gtfIScV9oe3TUO1a3ohIOkAKO9Cj7MXnKXRKaXHRmba8ijJwKM1MWFwemMs7RXC329nwN71l2fy8b6WJIhbvcDO7f4CdKmSLi4ejeMBcr9RstjqXv3CN/tmIVXsA8ApaTyF0Ur1L8sF5zs+ekMPO+3UKAa8OfDmkHDHOSK+gmQ6Q7c1V2TjCb45os0vPn2z3EATx0YBykaigqvLLCbHeh1GtKFSTtDCNDgQXbbcMJJQ6EzQQGDjD4TP6LOru2O1jXYKX2bE2iV5UYUdZ1Xhf6AWx1ZVbAl3CN7HoBInCwqeUaG4q2wtMIGrdoaTAgOy13Ry23mnX+IXZLSQCnnzmIok05GfVrLJeK8QCxAk1kMvzIeApCtUUYuohogh+oU8/FXs+Hwi1I6BXh9pSNkf19sDrjaieonQOeF8Pz7SfHqqFMXBMEekU0TFftewCXAanyeF/EC1MxtRdaAnNugLCWJgsLQw1v9rkusMI9mW8eCuH5nKWTHCunSc9WGMx5qzeQOuD26IYczlnvimKsZ8WlIvfHGZ8c5inMDSrUtdrknBpLHqhhF+L/34uGXnWbb7NbgqSUY0a2Bso7pciWDi16iH3YYWJh74+ZUhxlHKjsak8EeUNqUQthxKFuk48UpwXNZ7AyqiBBj37KC2xbOlAWFNstpHEw7Pzi/QZWs2Fw4YpqMXAPscR+gYV3dM48mYaVn8LtGMD+up2G9Jt2lGrk0CyjG4QSVEpkPSQQB/TwuDKS9CnVnrBCthMW8EkOa6u8PYknBeeL9xre/rwxyPX/x9Dvz9VOcDmmk8DB2HmcaLNVMYyTXx69WrvKhj7KK9+cAr4L+tfNrXq1Pt30kiotk1rt3vxSlZYoP8EGYPoMZukIY4R7txT4TtdbmoupLyjCwIB+40Va1sm1lhx9znofoeugS7w37NrTEroHbme/AbB8AZ5OwC0gSpWIGFQkuixO/0fbccCZHfVAio9rGp8AzWxlR9HPKu4iSr1FQqivaLou6MX5ucrmcSuyEH6d+cRE8QkrBl9srPQZsgl9+0dqxGOS3U0knAY0GEFZWDvz1m+7r8s2FFzv7meYNtyctT4wnkDcmbBvMKeTLVViFrdPrXB2mlnnCR4nd+BsAvpTnvA4DOr3K3is0bk8QLo0brq8y4TAPuBJqJ5hebrJZNEtEruCLHM9RvI9YRcuLYBN1zErivj95R6Z9NQuSnFDbDfjri6vZ9kYJqtwrTyJ+8ss00FMngcSkNb/1EcVHnKXJRBc89b7FfogDphnRHEQNGqSV6mlJLITMw7E4zlrAeeRxbFDGsO7FXaYtKAOyAsKHC99/iiF61G2jVSo5LurqnkLWsXS9o0TPHGnW+s2mLQHOQA0o/nGxcDt18bUGaUlJpU8h1aWy5htczfL7QAce3yYLwni9v5aXsV+3hZuYhmIviH+FqUNvI6tWnOF1K8exE263MUZ9TuPPKai5gwZyvuu9zvLvNhJFKyEWaMJzdim0uGA5h/gx9458FYjpQvlEsZx5I/4CiP2IouV7l38WY1x/VREU/9WCB/Wuv6tFuH0MarQSyfpVBRqi6T0asm0+9HJrZBO9caKkOKeSHi4BrABGRbIQe4uuLSpN/8Nflr3gFezjNUzKPSZpA9HRb3YTr+0GUhKnRLfeelMUh8rd2srSyyjEjbjk3a/hQUkyGbzwfMdj3LJMG497YHHHKJQV0fLs9lzH5Oi+a+q80NNMs1JtePsj1yfHR63ywx2J71w0RJu3B/bM3pHOuAAP7HFy50IvCxbZvXIOyy5hb5mff+42xCScV0fNhQOHr2uBGEEXK8vb2par183yyiATbUvthSm1zUKTEQ4w64CaJ3val7PPR9sOmw/YbTRv8ff0GTH+f/NyxVtXRd6kbrq/fM6ATCFQt1dUWoBwqz1VwGQCHf2Aqty61GDfNG/0WQSOzRio5K945OTBXQAGw62pmsAVGSAS1HTPsmFMzcHO6R9qYw8w7ti24T6A9WOj3YDuEbW25vjHkMUv0f+QhfGSgwYNO2YXUdaXKBK+ehxwWdzLl0Bu950wG2nwfWUw9GLVfxGB9ERGkXBfAH6qR2ccT9UHN2/hUeMLbo8FvBIolORZRCF+PwtgABVNot4T7ZH1ywxQlV/OBao+caJ404u1ZNZq6TF/CSsO3aKXITObA+b+jm99HaCNs8g7zAf+ZNPevVnFIGAiukQSDGbGo4BgSyYy2Tbv1ZHU5X+DlTrGgTKIa7T8oWZx7CYL9fPPEDn9qRBBJF1G8hKOqMB0L7aiB9Ijq7qomY44MJ/9Gw/YKfL8OtyCkIwmYW+AQmauq+y+6vjkDEqXa6yUhU00hobVifnSQCD9dQMTZVryjtGdZdhVr16Xa2n7wCE8mIJMwmtq5DUpoX9ea4EwzSvKyGdb0VpoNv8A3HxOmpoGXwJ8/Ykiy1EgJbrm5hMG1ZbzOdZK/txzuDKf3Wvv4KlK9te/UxNqnWqGnnZplIWSSXVOM503tLTNxpYEfLnyf5ZZFDXpvWzo0GDil+f/6zjKB68BRWa4+B7wmYFuZBq0rxGqN3QD2etSIsjecwdap5XdRygOpIv9yFo8cdnmXJmxVV7W4r/EuvW75gSvmZSnZA4ljIPGfqt6o96PIKIyw+ILXJAQRkXQJvLsJOX55Iv5qUV3vGOhWj1q6ZKFHwhJMa/J9lBuI/wYzyvjOtdrT8Vn5SCEOy4B41hfU2dxpUKwz03fwGY3EX2NqV3COFSQsOKhFRxasu2jlvlZCNFVoxXKDMOT+7OpFW9YzVVVIMutw+3v25iGLTY9A5cGf9wtE4zxsI9twXjLZXWcTubBoEoaasgiN8mqbHQofpH3psHSqmW/l/pLDGPcXqaxa7lVG0Xn6FT87sDwWKt3Wo1ggG1rexOE6NTAWRGSL5XIWsuNwcMacqOsVkZxkNuT+rl6XKft8cByHpy04PkFFrxOexUCYkQFJfXQHJ25UZLPa2L86T7LfCvrFRlJuNUFtFY+PUOq9yQL8RWiwpEbjVSMsXCblZ9flM1XXoLfOh+IKItsD+WOoFUbV8yCCGZqb1mmCKAjrf3Y4JMpx2OjzuFWLuLpQwI5S3Fijfsmp5nvh27coWuKuhsAsUc4TvUsWqztkdCP//EEC546nKDiuknl07VdRW8fmApMpRy+Qe1tnrIfNveosuTPp7U6DO4FB4vn9mnY+ye4EuxYwRMWxnc5t2D5FFa6Df9B1OFiG6k+IN4MAp/lxqHfPBYdO1guO/fVLCQG2Z5lR69ItZZl6hrDLoQwtFtbYmPekhHNlgMbyOqaudZYn++1p/e9dcTZ3v5GZGkJflL5zlrnaayOyS5B2S7tLwASeu33WEPOtz5RuzHX3vbaKIbHV7AI/z0ooQfVgzoN5JAjdIqzB8NF86db20T1ItYXpE9/WekHnT6i5hnTS6EAr0o7FjXgOfxaR/wG2sJsOAgRqb1xs4SV8ysgOOHZd3kjOfRy9v6AZgBm5bfIKI5gBky3hSEnMMunUXNXpze0H0zwq2uLSeUW979No4slA+S7cLouCRcSrC5Vvoaw7Thwsw6mjOvxdOKfGpAqicYd8XJtnR2re6/2LiXBWkQLaIp78qyGI9q9tQUr8DaM4btRj+FRhLH/D5SbEDoWy1nTJ4HwRiZ42OwPlnPKLM7TzaLo1XkYqs6en6qVPU0+AAqqQjD7/HV/a/prVff3lVvkq88aAHjK3++TCjhAMxqZk3vCKkztvAl0Y+ciX84Eyd5j3mYf5Kjw28HBj9B1efH8dh5i2ntXAPvn69+UcE0A4qiCsMtrhjSbDc1ZxV7XHTUyqdtGlwLzK1klXNlviCDdUv53SJtDNrw0PV+1Nvt2kWydDUSAjHfFYFYJvNGtAfs6a/YVNEOa9W92wzmU7wh9kSUwkBX4MPPPArsNTyr4sPdqcM1kO0PwEEKEddTnzz71KgCCe4phjPVCQNnO4AeQW6XJ5/aX2s9nLEf32MeBqq6RDn5TX9AT9Lzcf2ZKp9Ic0eytl7L0RpQUuhibPn/Rjhj8mnGpkzCNzMSjF7zLChLlZOa6PhR1QeMAn/vQoTz7b+LRsXFVcWkAuIr9WepDoj1r3JiuZuYa/mkvwzM4mvu+Ki9RtzmaFr7aSXAKxOWnepxzgZPgzJlWm40LYLBxEt/o7BbK0EPJ8SXMpXuqXCE9qpr9lyNQMSqXpuVdTE59E6jiXG84lpoPUWo4cY4eUjXZ56MkK9e/0X4bkPvj+hEkxVrIAu6XJlkGgfw30yW42YTK4w4zsaMgOkehZeWTEl0vVXJdZUBHA/3evs2RF7Ju1P6SMfqmauVo2ZAG67ySDFysx578/jgJ18a9doGc5Bx7Oe5+lXuFhXteIp1DUujemr+D/XgejYQ4XrTY3G8ocv9UQK5vVEvvhZAgRi2RIWaLC4ECIEZo5+ZyoDRbB6ot4fV9D28nkzv6C2+xor5GsDqVtcNigtYOLYqgyfrJZlQUuCQLBBvS14xpjxRiHroxOlBs+m/dVMhhMa2Bxx7KMpaV2XtqUW99rE/4WOG4qSpXGvLu1Xygc4e//38U9SO1H75O6jEnbvCM3H+RCOjN8LD6NnDQig9ea8lilZv+vYRzSrBdatv/BCAT3/qq1DYv8gvXI2iPqvfmErHqAJ+6/lOqjN1eG1YS/Rb0rLdu7Eg5Yo4QFHZR5CfexShOOel3ljGuf8Z6k2NcQKAWO5eRKoSvQyhCCQwfm3cRo2Gul7FiURJNAOQTSqgyUon5bm35nJrFpuWfQlM/we+f4QJaWqEUUPFYf/sMxGpgJ4J2R5IYHZlfYXub5TNMl6YDPo4iBTw/si0uVCJXqFpYVAYdkh4UcOd4fCI9x3kXfT+kwr7D9L+GeDuqMSegpPXfXFVOysyAzfv/kVBioM5QOglYMYug3oPx5G9EI0tmAJr93T02VnW5c6d+cngZfwHVJ6jqmzMInG6+VrdJSzJuDrl9AEg5hV7V20TuY4gtLZxmMwptMz9IgrE0z+BMoe9fGl6lD3svCk1o0FR6ypHFCsled2LOZqguKnEI84CZkLkifyUoG+ATtR82Z6OumzZ5JLbPtTWZ1CDEp1USiAowC0Pw8g3jq2heCgfP65MjHCBAztPcripfayoOnnwRbPEEBi3Bh/2u3a0mqtukkrYgBiepXKE0nkNTGJyVjbeAwlPftbuqHp5CN5I7MMv2i8IsmjK4AYocU/gz0XeQQJFW8PUYZEyWs114Y6uy+8HxKl+bwNeP6+D+/+DYsZtapEsrxgnck4TdYo1RZb0E3gcaM3xzpRo8zDG1PdLfvS2JnAGxvEsCPvfwmh1Jk3ihjYusNZr98wRsxEtfHfjYytznF5qng8tCBlWDJcv5rdrrBqeKy6JTHR/nzWgYYmfI+W1RKcjN/O9MGP/8fVqOETB4aFl0bgHYFrtAG93CcVkSYEY6GauGIV+C8ajlQCuGhKPZYkSYavWbW/NhuGnr4Fqi2oaqK8DeNi2GRTgg5sJkcJCUfPAHvupOb49G6XxNJpwq5XNhgLdgMdW07v+yUiZfyghPD2RgxRfaIRqby1QJ4rsP9MpSvKVuhd5nIJQrjQ1nmm5fQjruNYDNnXBgur7mQLlvOTJ7D0KKijKbwmxP0YZZJ8m2TvYGrqCJHcg/dkaqyiolFde3tyei7RjCjrWxgghck+yyvCJercPRHWuvenkFHVKVgBqF3NqG7CPBpmanREjkWsrwidb+Wbg6E+r4fx9admYTfwsRWYoq5s3PGrmjuzUCXBFvtOfNwRM5VVfFiClDxLrNfrQsKlrOPDH1w+RmRUmghHAbN0hqHESVS3IFW84aHuQNjxCswZeCWnr23nE4/6k8N+LHoGLDWj/kllbq0zg4jFlyziKPqLoJGv/JYcfJiSe4hqhuNC20TIz5xeSQqso3eBvhFm4onEy/ShkCuyttvjGi2BmGPjQd23ZSde4zmmANLJ6gSjYc7ligADYlD0zIyv7W+psp67G93o7njYRFYP9TCTmcQ+vg1uizCQampugDugTC6wdzPse4WQGuckCGJNCTxJYlhH0HTTeguPWynlcbbxE13980rdLnbGs3l5EDFEsTHghO0wHhD7oWNTX9iE6x9iPcteuCy9yZRIo4+lN/q540IastACGK16fBZtOWVy4BJZtFjdc4tlt71Fp7ysxNJoKyLh91R3GCTHsrtbHRoT9AFZuTbt5ob3v91px9Qx9dqspzMEqCjuwhxpn2mP5RmCiK0wSpB21NBK8ETYnHU0winWKYXYAv1AHbfGUEKNrm6c3a+AD4Axy6R/pTMu9NzilD7YuSqHIVpAVe0PQ4t65KYQWqSaDcT99NJ6t4b6BMEQsCdjVp3FTdd3BnOEO2Xq5m+gjC90bElue7ybQh4Dn76BPTNW5lapafY0z1mEKbqS/HKT6lFOryFcVeyT3vlnFRgIoFVbDg4TYCIkZOqG4VaBLZl+ZYzMwA9tYZhxfujWIaIE8p3e3Uag9forON/s9BJZAA/H7FsAuYp+Ceave4Z0FRnBy/hzw5tg7pAPEw/De4iDiq6cCZDEeyFK2UbDE9vObNOGROZeT94Oob8hewPfZid8C616YXCSJC+HiZME5aG0w8l0YhyHkXLio0i6hZcqmLbiMKU2VkVNkf6Fq6PY+W1eyiUG4XVP3H2fzNgw9SNDL1Kzis39uUL9H7mm4G83/HkN0OYyR95Oykn09lE+YvkGQo24nKfBfeQIYSRW7QpQxP3qF5uEb8apMyxB98xQ0qZvnwkaYaA4TeFlYG9dVBJS5CmsX9Dq3Czq44M7R/P7T+uQ/3/SpVgELwg70N58JpVdvi5quj9GzcQCbGcrrrMf5LJHT4r9hKnqxmz1P7ZFHffd7O//Pa2jvDL+WzSFtONlwhuGGLfpSaLlHtK4vujkBBqD2GFUo1LNT0SXcjYV1mbBQk6QtqkuspHGRxv1CsS+ADiURLtwznHbGpq+0cUnTB/TmW6W/6oSmFoekQXYXsLYbXh5o+IhjPSoYHlRpqujZf9YSJCfAxMhUWCrDG/KCrIywoXXX4RzQhiRyVa1dfDti7u2MGk4c4s0dAeZkhvWJRdHkO73SsZtT/kovOTKjhsd2f2MF3QU/XJlAIyCxfYq11pokLaGZ3NpAROtsPmSCqScYOVBh3/iJm5NYkd/HNxrvMlBKg4Aa7KIKSWmQihZfR5zTv98KWVCOsy6dA7lRYr8kxxnbwvhHHTUEkr2L2sn1ZUuRJf6SngOgVAxqARBBVWSxqinkWIo/uBGkaQd8plt+PrEdfgJIdxC6vpLkea78lS595ftstKm1DE4Re8XP0JWOsZpGFjcN1BA7bsZaIpBicpSeHa3MIEV7DRl0NMZTXzb2s9+mFVKvFmiyV5atY/mN8tVyyAEGBrMJjPLBGT96Yl8c1mBSV05W+71m68xOFWj8vHrnAdVRaFukyt9jIkzTV1zO1TV25hq26Lxg4sqZsHVpab/4LcGSO/kyTkhMjzzW2a1vTlbxTH+IWPhFv+oTSnacDzV9IBMn6JVJo6Et8wuy7KpbdrMRa/2ccjLzN+pKcVP44MxDhNyRYfZCseikYb4DFEk/JYHtaX13HoQX1RzUPheNvf209OOrINcRpcfpfPjp5RmaYkgnaAwwQQzKqMmLSnVivnQ3zcay2uYezR/dOKVbk+YB6XN/E6B/pcvntMM5L+77GCyJs4y/5gQ2ubZXR5L5RSvDcyH2xYd4ajsP+RDptFsxQWLsVMkXMtSZTuyTzczws37IHOvne9WAbWOMlELvRQiEnctRWvAPSICGiiRXPY2OBuNpip9n/9FJvbpeu6eZqDPj7jtsFLvhjBIUzOi4evU5JBcvMTuNjhpGcnQdj6mcJw8Gd6o8NpCYcoo4pLY30Bq54RFkwNTbibiburolSWwLovQM5RUopRy+LnX2MGgKErzNUFqE0y1V6tSFxax/jS4HpR0zgKu8xVtposRWOAPgaCKTkLLFKYyFDo1PjrC5ejEt6K35jjkjf7vXUs/dWL/N65w2c+Pidzd/icg9M5ZoxzeUQNuhv0xqETCIXW0UDLmFS8Tx/beKgmMDSY9EQ1hE+h3nkBSltk8KWbrKzC54MbAaGlRqe3IJldVReunMyTVU1wuaZ6QPA3LOJLvA+/MpBYIZyfzKzeyixaK4o3XRnpHtjLslMlH/qeOza0nhH4qiraG/F65POe04bzNn4hd1ttLfQsEt0b006z6qMITNhg+dFEkNyiNnAmJp9BW5rw3LZo5SCwT5XoigXSG2aEwopM+K58HYjvkYdybIa2A9nl6banE6LXeD9VUq1Yo9PHA0UYQb0CQR/hGKF8xzBypHDZYovaZzbt7+5bhuTQGfkO6zwmfbAOaBI70uCxiJZrTdSiXnErB2xlAJWHqjXQCanFTJmqmntkz8woB7Yj8Ty3IxM0r5wGgxcoCKKvW/qN4IvYVXrb3QxgsyZ+cAYDdv+yo5IsqqNYpq5c3WsbpXNzCux6y2Z+PMDmftKqgRDmkSyd8YAvrYCbugMExIDMpmB2LuPjQ+zj4ae0SUdtfTUc8GU5YSym2Nec6csnZRkXfh0Xw9FLkB0S1oTIoMpo245/c/DXW8xxB9QcKuTj2KZtSVfo1R/oNgzgHDDyaPPqon/rie+4lddzPzsl0GCl1F9p0SqURSojtpSyOCxQqDsr49M2iquzpqkCtq2xL1WYshO1FYKu+ikYfL//zRUsx4Suye8OebghZ2so5jbK9PB0YIVB+3blznBMtkkBxStefcWz9wcrO0uSvhHNg2lZoA669KEZaRenjHCTmmIdgeuZuawUdZwEQFEw19R3jpPWyaszVEbOSo8J5/n4M2PbAVVsGykKFsVJb3gTpk2MjdT6mR+Ua432DBBClMU1fstVigTBwI7VlbIJE6w4IxK4dIOuVNH7DHMs1Ai+E/ItPYqgU1HoIVd7dQnhGbHw5vkjw8ru/rbiEigjAG//O0sr/CCxtAZ8i/qRYIAjCRop2V1CcJgPYQiYtNs02W0UfmY2Zd5l6aP3TSFvI8M6BgIRgQQWLjOruQlrKMBRVikMEgvC491+E5yjllUKOuVY6sjcG3BlEFU8eljI27NjwH5pJFOkcKGsstl91peRZq2mrxyExulxRXPExYolh0tiA+MjyXrME11j0JT0BQKJyWi3O1HZVWmeKVvyBf7M0EdByx5JImyRVbRMCEddk86h5T/zmemV3S777EVxFbVacS37tU3hUARzrNjL7/fszh3ctdCh/fiXkC8YfHC7+vO4h87a1r/W6bqZmVa8XC1LdjKmEiDyQA00cI0vhSGdSsgv/Rez8t5aQuMaKFtri9jCSDfcK2zSPWp7/18JLGFH4WP6hjWyP2xYB1npnWSoTFPebhgwtSfE9QXWSCFcO0KK+t3ZedtBnD5ed3t8Gq2m99PHU/D30NULSGPN3Yof9iMjSXELoOQmV52jU0xJXq0PIW0PjOmqh6UUi6P9r/cruuk9V3k9Ma5Zng45Jea7NG+sQrCLZr0GitNaxN89NznxiSD/1BT0TdF0AOvAVQ+KhMPwqwuKbUAIkfQiWxTcv2BSQ6EUEmyBrnIwS21ncmB74m99em9Kp4qMY0Bty1sTtnIkpBTa2pGOxOVbp7tI1OkcyCN2o8Fy42JeVRowmGK3O6nt6z8gdYG/tlrYOSSUlQe8f8DbYw43m/z8qxQXg2oN0WclSs2QnX2DTjeDXWaZOuHrkMWfWCwoyit0LyWLUkiRnr5ezuyVkPK4ECN3euz1hjZwfDzLDBADcwfGpNDT//YF5N34gsUg+HoXRSbG9bTd1xcwasTs6ZjL67QmqKXG4lAolyP6y5IH2l5D4o8s2/8FHOygmoHGH2fmfrBLF0f/54e13HHbshRO22fARVZJbG3I5eTSFd74RVnAjMWRmnJCHuVZcluGdoM2ijq/aEBN72nzlvqzF3FM2sgmfIZCTMG1Ih+pb+iclXk/xOr+j/Q1aKRIa0dc/nPcFyWMOYxyzTenpJtYRk4tsp6oTaSRZmCG1Se4DXVo3sx3GqMX42idCMnCPh+3WYBxQh5G2aMzm7zYK3BdkiZj2FRVL04/nC1tKjlI7jhEY25rKinbiW+E89GU61ZxnMMEEybRijX4AIhvoGikYKKRbNVUWpAhl9IxRgCtKK0C+7IamQJhEvuvXOuWkq5/dszm9bIJ2whWe/dHNeuvM7KFTYyfUeSYC8vIGG5y51Z+N8CS9qYGcUrsHSEaCHHYb2d9A0Q2pbuxxD2yrefPpk7CTR8YQdDAB8sB+Bc186pCyzvD1AZzAp8t8N1rjIpkhyhuW326gyLCBMkw5BFUWqygDCgihW5lHeN/HKr74iEzAUfKSxMKr3xebGngh1V0KPp0J7Ouvhpejp78OBizI1imb0ljBOV16uXTqWkZl6Xb/i09v7y4FSapp2H1KigskDtqYUyv+NIqTtZ8G4nDxY9G9TyUEzIBPpEJbom1UZ4z7C3RPaWg93fAhKYp0gZqb0uWMM0ydCsxSU7UA+fhwUkeZEGxUOf22A7ySwSGiX0IDzUDPLyex49t3UFU/+34dFVUP1vlmLyIZwlnwoxfHo9IAfTnErqZJ5dk8s1iStrBR/lrK5lMHp0/EBuzwNpCG6fKFZVwYox9qdyPePXjfe+QG8+HgrWXMnJ/AwgdTLWEd4WbaDJ2ntQtsfoVM/dS+WY5AKdo0HNRPCleUHKGrQJoslI4p1VW+URcT1Jpril/ynC8X4Iz39SuGYj1Za4zH1kVyRMuCmBQWglww2i/Ba3SpCyp1ksiFfCGI/xO5cQ1owBElyxMgvhDcwoWlL12B8XIpvmOVqX6lwfCr2QcNTN4UqUx93tKDseURfhNGIAcMT+Yg35wG3A/nFZJdfrvV5/GCpaRibG+gawXRmA45rNEKFv/Wik124/aLSjaypVL8t+bhGrNAhQ9YJQWGPGK9vhKpfAzduB+QjHHCgoY6XMe6nZzyHHieBIOLmabhR86nIRbthj4foIToPnKN3FK1bDg60RCTZ4bWDH+strlAhhnQNQNQ0I/00L66cef3Vxqro9NPAzLF7wR2BaK6ZnGZmFO8504HR3HibB7VXfuOlTYo80A0VYqR7ZtbF/kvPJUPj7pJhXO/Dri+2mUKsPYYPzdEPtxMDfM29ufyocZYuiTAHR8dXLv11RtHjvMR/AdQItEp3usqUyrel3o5//Y2szvtL7YqO0NnoRbeWAiQeM7i/ZmUh3xPL5uQa8CyDEsoNREAycUFjXMQNZBZqa0vyXVaHeaZ7P0YauQOmJDrRGU3ANAJ0WqKW8xnMBJcHtWC4S2yU4WUIoHofjcrTcDtAHucd1P5R8mJGKwGuWl0uI6LWVmPNrWocnFaijNj/Bu/IQKWj9ZXk/bTbzMTr0Xek6XSj0H8oQt+80CkhYiKBuknbIGsQha4fIenRAUS8pVpyzZ8iUYuWy+iQnRWYd0ESUlj6O5fN2VClgKnL5egqDZcDzFNwve7kiOEWqIH8mrplc1pOxh65wbckhCn7z1KrjzCD39DN06+kuwmXfAted+cfi7OovCVjMdHUvMo5+5pZ1YbZYsvh+uwU00DHcdKchXeqZXLQd1fu/nRCzJW7JCHAH0ezsqo4vW9dBb/jfOEIUekOm85XPMCiVF9f0yOFCYwON6VAA1fBW1glOFW+FOaIMFc72wwwKyAyjPk1ZOnsCa8TFd9z2rQ2fd54Z1+YS1zUvG0YL9cZESmmP4kk1Mi6FMrjSQ9X/gqrYsXkn0jyYcjWkRvJm/wO7TKh5FuuUjy6+gWoQkke5SxpJisjC6mJB2dA5AbCqy87IAZMjq93Ne6anW4aqCeX8WPenjN2WUlmKj6g5Wf5UJko+O6/r8eNzTDGTVF6OAXBlQsdnH+u9wWJmM8YrH7Z/YsAiCfUWrYNwJEj4C8H6wewBDQjFV171UVx7VZ3HO1HKeV4HHJZIzmIIQQjjSO2Mp7GYlTdxcJxHLXIrgnx3pBdLiWDmb5kvYuNO02Pd+VuuRP81S2Ss5PHmst3IRjAY6VJYlW1Cu97JTQHcT0rN//YpQI9gwW7xhEWR5mIvMr70gSdyC3Bgxoni3iyEUyr3gGHQgtkTHMpOiE4PFfyVUBWPG2HB3F348Zh0TaJnRxuBYnpdEkU9yeBbWE9RIsIh8t4B+rUvZ8v1VW5+pG8O+JhqbR8PEmQe2YlrFejdSTmAlN73wWTa8yUnb5CmVf3c17YK746lkNpB9gSuzCGReXUT4m6W1qV8ohBk1Z57X73t5vUCTddF6cZadLO/zH17/KD4pW/66vlpZfJN97zT8JMRdBSgKTQoEH3uoJwTG4OirsHt7bcwijL70mkM90N8g4LpJmZ/Zo/xvhFZ9+gslyc+/SAFmuXqrxYFRFsW3lF7GY2PcQQDC/YqzgeRSCXGRngWxr9R/6lHiqfMprchrO+DoYHkeqx1IzoZh+jLl0/pcbDiwt3VkXniUfK1GrtB7sN6kTm7m0bhH+86c7M0nSULni/pkIOMhmm1PtzB5WE5D8E1xtkxGdu3+jcWOZYFDFZRIMdRd/c6PspNfWashiR1fqFvldt11H4yRizVeBhlJ1A9emYg/+TtdnWkohynxS0JeBUWvXT0/a2nBxR3dYY6nnBrxJd8Kdkm37dRF7X82+ZCq/Rc0OLEKaau7h2G6Y0L2zCA1VEiX8HNcBNgvZ843Z80wiYkkz6FPMV6fVZ4fdygzH+NF2fRMntvuN3WxnJv943Qc5LlLCzKx6JrkUC0o8tHRMQPiL1D7oAzJ9crOfzA/yT+grHJTVi6AMci7mLqxFVT/rpMtAEdZ5Ov8j4RTkZ7pXDKDlyCFdFliDOLdynJoQbGU4GkCWc9+BXgzP8TbE0e3d9W6Eig1AF1ewmnXKHORnwgDGuMTPCwKPTrADNcEp4iCNN2pHvR7Gpn0T2FSOFrJKwEeZDBvrMZfJaFpWKlv/YCXqU0NPQk/ip+sOIwb7P/4PGtDy02RM4V4jC2OfjPznVJpLuWZUOK5ALBEs2fuI6eb/nMd0TQMzywV/icXyTWyyjEGr96+xfVaWJ8EpMImtgjbz+5n7gKMizLTFuKCL5V0w7toCV3pQkVW24Legln0n359i1rv5cDjELfSQHlzSVZolqsQ39wzdTUHhcsvrS2y/g1GGM9xHCh4CKlI7ncclhI8zFug16zHgNU/tKKyrh9DMQuCOgvJXGc9++1aGqotuQqLDsTxnHkb2GbnJxpKFF+j/e0F/nmI1JQGJZq7qXL6QxUyGwHvHG1hyKv/F7uugG5gcDkr62SoSEKh/2l2QkjRtu6guDj+bJVHPww5J6UW2hmkZbMXNFesYzrnDu7TTGowceOLv7+ZTHeRBDagphFyY7DsJ9EbcNjNFMW/+K5K7Yu7D0NT/vcID3TlpuJgIsiRGEOai7mZqHoWepOS0FUFXL4EuVSHKzdATMvkgh/8ELXh2UPoUw8nhRqdYaxRGEhN6MnIGBj//pH63RSA86wbvlUO63Qu2NXyR8AWdRlAYccjeGQmCRGHuDLALP4OcI8YkYsLIa2dqPVb3cjTlMOeNpKnsv0fFZk/4or1z1coFWLhz6tA2+DHWyyF8nWnxxy+IJ3SYKamWPaoVxP2Mo3cm9MHe1fDOXR5ZitvAIA+8kWgbIk8KIUkSlWy9hl6KB2npljss8YLg8YUf2SfcTKNrDkvbo8kq153aTUYcqxnXoiW8nWu2X6+XmhMc1i6mAyc3ZuicehL8aLcYNhiYfxz9Sn/W3ktvJyixLsz7GY/z2WE30VpnJEQKqMN5IfrRN0dNxhyE/DZ/V58OloFDxbnx7qhipfb9ZrNlpuV71VBL9TNmwcug3czm2vnRc9FgK6inmLV+0VVrulMc6VJ+7JPeGmG/TmFz0cWEjSPTURuaCYY+Hgz7IHq22bMjmZ8cyMd9X/sdsCesb9UEzX3Fp5zP0nqhFSo8DAjwbVYCC2xxc6kJp88VUSfwaMXZ28tQ0xi6ePEsu9WUixhIl7FylgUu0BXuNCIhr3KZJ0RgL6jVcZASFlyTABTHavEiNLweSaPtxtxgnpFGCzgujE0sEhpIqJOkB39O/SEszxoV0x7w1x62TFkOcZnFEbO5E+tFo/GjUHqfVtb7q3+jFGPK+eDDXZsJIvnuTjZXEtbkOZFVI5E9Jdly5NUxxH2NrcjeUT/sYdglg0/9UQdQgLA6P6jAOAZpmopaXtkrt9UlI0jrKZ1lf0oeWuXoYAQJXjQADXjZOIx8Ayad5c0x3qJhYxuhuWm4/59oK+xmG+pohuiUg1FrGeGld+xIemJ3UgTbJCSc9+VnRRj6DmwQm+AXh/AN1szj6n+g2fSG5ALjGvBGwvCBQwvccXrIKFVaZ3C0M2Q5v83jmeRs00fB0zfngD6Z8pGpIrD0vmKoLOAY6n1YGX654hDt+xaxsWJLHTPthhFnCWTECyH6LpaxpH9k4W7WP+vABgj+A3Smfzw6M24Vriv2tFgWAUfqMFvmzCXjTmwHN9RbHlIHzdSK8mFrwP2GG+yiIkbR3eyLaQ/JGctY1BvYx84wmsudmwl/G+HB1zYUGGn6g0nHhC14/GLFDEqS8XFZJVvKK5ezXWx3deB1cgV+PcxK6lHpUpSH41+wdc2evpMg+IV36cr0TCQ7u+wwexsnExaXM4/UybOlCk8xubwbBafHiAUHMeABtryHznfxoaaZwmEl+0NBlZI1J7wW1e3WOJ2OhJM8iBpc3Crf/JqGtDTNs5N0qchI2YfDz9Txe+WWYidwDFU9t0SZbtTZeaQUqdekGdqndXrM6jW9lHU9Tby6w9+a0yX0NcCKlacppR1hk57sodTt+96CIQ/yHN2dF7ayaNykUKYqTmDQR53x0c3u0GACqingGZnP0+PgMQUC1FB6IvS4SoUVq+KjCiNH4rzyr14vGAzwgch5LiQYYqgo4fmxJDfgfjHvBCCeYHr4VHzd+KiGNVfJ0K8j+uFHFZxOQ4Pk00MumyVXoM5wcrPpQlmAqxf6nv2ts/GpuRYF3W92x+o85PDtg9mPvou9PY+U35FOCkfJxPfh7qNPYKGFZH8PSs0iPpHZBMmzxIUCcAti9LkutNOdoowaSG9jk8TndDvJ0bpoH67eZn4t+qrFVHthj1KJcsioXzmaIjZ5PlAlRXPOkPOSOmtI9one114ec3eSdQrVWcdiRBnRFkIw+olGntXW/jrt07w7U+3aBy7JnfheU3gGL0cME92CNwu5Pl2K5iJhp8PRp4QMit8N94gqrxDq4SJVJJk8HS2tN3KYLohZsuG3huckCKHjGck29j3pHwetFELwISOGRdNCtfeSozr5/POvdwj38BkgNzhB7SLVNrn9ddFo99n52fkqEpP/hu5U0zehd3tmcFfPI4XXp+iuhYK1wWGjSuh1O5JH2YVPBj0cU3TmZB4ywkz+MvcoNGdpGz3T1CokTIq9xSmXU8I/e47GVctpbuUCSx6tNp9o1xDtBolXAo7cDfb7s8T0RJrCGtkUbCk9tTihf78C1mo7EvMlUxMH90E5TbvHimv8bPkJ6vaow7xpx8H856AkasstAID/YTwZTZqlfqwbDDtst9DdFzN49Zw7Riu87UCHFEfZG/s4Zl1J9sTJKGylJgp5ZYrB0fFEyaQr/FeTEdllijvExval2pDpqVUJUTBrYgaZw3CR758jGKwhgf/OdiUWKxMloTIQ7rAxPk105EVxKZTLrkkHCAlMXspqW+B4Y+sN+QmLzVLwOqebouRFi1MkXIF/VLZ+xZAec1/E6Ar0mJ9Bk7os40c5Neg85KqZs3kDTrIcCaZYjOUkM99gGrH5aRR5rMuoFicbgXrCN2GxU/li/SHXy1bVuZX3hymmFIgoOJtwCuKUtgLBuUBl3xH04Q8GDQzcuEvqUqKtiliDIj18XS0+oGh1xtkBrNoNcXsUVmJ+K48yDAThJCx0MdsfUDVFmMo7W5Kfg0vE46Q1o2Ho06AZrH/YpBi8cSWL7D543KtRiKpXJ+EfmqtpOPQZaJ0cYO1onBAl+XiXXfVJu4YnXFEqv9zTRmaxGMEjBFs1SBBXUq9GpKtXvPmF1WIZ9LVqkiv5mDY9ATABYLro7MgtN7G9Uv0MDgpfjfaHrge8fHyewvAOLiKWURApuKzq72Pa3CDe370CqEoA62RH0F2XeDgote3bOwYSZ4bAfppXP+Fe7QaCz+HOV/0jtY3kHoHb/o9cpIfpXrh3WBWzFZstCJHpyohwdL/v5vxm6qReQjWtDfAwlI6WY+d4H40wsESlmSVJilvD6zz2kDTkXkP9sjKWKASWRfyAgP+a8heq/L3ylYiOyVtvBbnT6CNF+e25TWYADoKDt4pTte8UaRP44f48OS9bsaZRt63pdKBqjQvXckXzM/gOgNvOIQYGqBw+WDrizKwBO9efr2p5CPgBBdWcbtlZeSECbGehScoelBZB8Vjkj4/mbrLAhjbebxYm4ItTeaKr4pC4KnmCrkOULFMpzD+ze1PAwlDyDvHNfhK71UezulTzJu7rKNZFztbV7OQcO1Jd7ReOw/o06b1CIXf4Dt45EY1Qrb8KW06jfXGsjrZvZyEb4/C3pC6PSLO4zpJpDHVZrIo62YyFBWFpEyDOWbzdxBxJ35fuIvL0zJVfGtQtUvureojBSgh/hbHsUef89S2xJ4IK8PAjt6eOZoGfB46nowxNrFQSIaD+9y6Eq1Mcllshd6vncAOYgMytukXjxedaqfoQjBWZmcvCVsfFs3SRctb3ADM2jS2hX5O1uj+Op4WZraGq0IhOAG89/V9W/XhVNjhANxJKzaUbtpZgS3z+jH7pQIAISnb37nbKvETUCUUezhv3M1c1UOZP5NaPkAjhalzPQ1ysv8PhwZHbB9QL2QQwpSWmUWs3E1sz5d0EFMfT0LXqSvtOqCCApTC3vdYgYDjSqRFmYteXP4DNkSNhs3BZDyCJV68B1iXuUX94J8LEQ89wkP3gdC33X9RiPNBEflG5vORD+h1pK7iTQdJYFGVxkpXYMhN8bUAz1lqlNauT7whQclVugjz5LoVZaH27DJUsYMoUfVPRjP5Tw+NVeaWuvvigDVXy3AA7GGJrN7PGTSk960msmL/cSopMc+n6kum30ZvTe3Nd5qVtxjktpfJ5sXpJpTiJqrirB9xmAaqMNh89rXZDZ+DNu+/JXfyBEbEP7h1j38pNWIhS8ViNGUNQ26TG/1rEpO1fVkO9AHM32lJ620gRejIXkEkB7zJrreCV++1RCDnmHoCfT9dQDaY45ptRa8xWQEtvMft0NUF/abCvjJQv5LHgXb+TKzBcnqxmNNOoOw1Tin7NHyHrUtjyMe4Mcxsz+U0f1GU4ed6ZqxyWq2iouuM1Sybl71FsDMFuFAdMqKa9DJ+E0gU936mmwfFIXMcXX5HlL+cSaicunn4oNXz1E9mZSDtn1sWTfYWWC9nzJAjz1Cx/vNnaO1P90yg+yJbG6C6lB5pUE2UUJWAzcPLONafcUnysauUe19cxc+OxcB00Vo5Op6k/ugDhrLwBDtc2lVO6WdbmtkuF4mm2lpJxo0QMdP20Hxkl3xhH97ADM0Xr1GHThUvphn/3sVk9so93oo18ag6Nls3mcQQjhtzIlIoUSjd1QwumelTvMEdwsfBV+kYUmXU/5S8Be38zuFuwOn6bwTKP0YEalOq/e7VMyE/UlGwpuVvN8pJki7HUm/HweZimExmvphbHqR1kxlrBhOMhwfBGpKQj3u5YsE97s3wQg/D18cUDxJ31ZXtLHsSdyHIZRtoCoke42X66DfmxkBsqycqBQosW9VX6COfikf7jXqVl2pKW211KFwy8kgMsjk5A9WLiqaYXTXe+d4BbW/tqSumOaAWao/Pht0C9pd1i4sFM4tcQQE/xasN2dtwPfVYlEab8NkqmO+0Ccrev8lH/kFcO5dkaOg+d0Wcuw1mP6xjvYNAl6dtkP7d3J1w6Qo4MsxYPTtOheJu/tzAmWhUFthbw3GaVyieHZJyOplYI/qTc3H/rnmO4ZzS8nzxMDc62a/jmuWyioCvbaD104ZU/X3i7kkFeGVNu6/EacwaaF2rRQUvALmSqNUuRW3oEkAtX0/a7795I2Li0Kf6vvDBqmy4caVzu96w6vklxSFb7mgKNETnNzjTrihdkslyUyN7Hh9QLY3HS3Bwqpcsi77LHJ/f4YbYa96NmdxrmVRMMIB6kzJ3CBfdBG9XbntCKqSt9oXzxWtcy944Zr5xR0lMVhhQw6fWN8dT7ZWC090IAJHT7PBQ3hptRgZedtidQTnoQ07vaaytK/HzdD2mV4znUuRlWz/KyM1+21tp/08bZ9zwUf9EW4E93u60Q0SII27kLbt4+I2svL0uV7kFOWh8fmoYzJAwwqLwrSh8PhL1W4UMoWUAwOpFLzMHw0YSXhNvmaVjc9mvm1EUujaiNZr35+LmRaD2QWG1cW7NLt4CRtRWVHB0oCcfcwDMhD00Cpw2459oraoDxyPDnJxtceQyMJ17hbByBw3mTT77R93+PjuVfwgvsiocX/u4SfKVgAIUfjvQY+uDyNZw+XKrOzIRkQ5IhXyzmGus2pAjlWSCcuUQ1hyGgpFIPKA0vGj028VqZ59X5C/EnCbJZpgb0mWtGkfAdKSUGbpE24a6D5/AU7JM2Dl3gwTIQTpHr1I/NDU8/yDNtNhz/BVfCyMSQROHqGTrmVaMbfefHSXIzxganjaykmeVc754mvQmyfBRreA/3uZO1neQGapmMvgoJ2beizdOqcp9piXKDcIvSWZybLery921sw44r+F+WaD5H2XK2YtXRyEKiOXqAJzJzn9nJbsKRuhUTIXWg2hXKp1SRFH+8ZbTP9zsB5FrGY1xLshpgSbzQYeKKYP2qocKBnvHIZflBCyKtW7phXD0MsBLK0K3ZG+8XYGkq8oOVWGPJorgchgDmCI8rejOW4TwW7nsEWxGn1wmoWhENMxAbRma1JsqYjPrQSvUoFoxJFuWGtcM2W80UjR5xgBeG8YCWRyGwPtIlH4eb0u8HWtVQBKZqMVkgk/Ij5e1njFJOHLO1IiYet6OTB98ClOMZsmOhYY+0jfIPZm9UjdFS3Eext9fz6fYQIAbFwrktZaJUfPGKBCP6yTfPMF+N24ZmJRGXM2fnci5ZVpovLfAorJtgJnk/zLQ6TycTBzPcCnw2SWZigtTR2egwjExY6LSAlfX6L6txzpxgUrQq5LpM6zDP2Mu/tQ41N2I6FzlEtttH6o7hq+y3zUlTCrFL6vXVYZNWhBY4PAdSVEWXuU/UtPnrCo5QWdQgPiCTf3ALAdZz8LgiXCsp1RVjZVS1CC+kad7zyz0ky4A9pYHS7VmuBFUh8kNoXeqHrWX8s7NuBVnzy9pAbf+9+upQTTm1fNG1Wd2tDhD8m7+kYAerLWS/BRKg3aEXfpsEDfRiZsT3/vj6GyOHGvYmnFQivg1hSJw4tGyf1RIbJ0ROC/Y95i6+RyjF5nDB/4B5GBzdvapBHGziHRp7s7uQ6dSnTAjmmWB+MevIYJ9q9ooNXujj3w2QeXB3Spd2WIsXWBa7DrBrxwTsJad71JWRuRMfZUA/ipr6gmP++NGUWuseVBcMkx4MpZJf2iaZWfoo6HathfrP4loKLzRVa05TBo5XTpKO2Neuv41OniIUkA+vAVXCit3mOBbW26vtw5n5Zqr+6iy8PXn0U+AozNhLVgTO6KlS+kmSgPzgqv7Jccrl9cAQRKpvZZ4dawRmChr6M/FGLIiB04nUEl09mH9sB5iFPAg4za3GVg+8R6IW1rHqgzFteGj9qQc8AtX/ige12EXxMgrpq+XDoYDILnE7PNz7azSelsuq+rFRP3jxHrfW2DXW5kL1Epgfriqg1/tpMQCIPt3+NRKVMheEvXtnWvENDU5gnBrcdtxL0HX+8AM8JIx2lwTuMSqk/FJNoB1NKdDD6lItSEXTfzhywc5dqwAuZXzKuY/MHCaH+sDajnmlThQcT00x19GCOQiXWTfP4iXeXg7fXJp1wsZDfH6fHTFdfjDJ8opjF+5Ffz90vDiWmKo3bWO0IhzO2yfd5uL2NpDGclr/o5y1eYC4J6DezwMMOIP4Vm006XX1vthQDBOCf3DScfyOQuMeVN1wD8KS6hN2eQHMppFCG4eGMJSd/YmkFH7fdJueMXQTp46WGQTywlnk3Qr3ZBvHQkOkTFw7NqmJBXGPNbQ3UJS4Glfzy5jO/CtoCZwqRE82/v5r5i3kntqNISh4RFETsPErgHUu0FiZneLcxYey+sgzCl9wZaCEXAknwUIZJtT3VfU8oN9U3hfZlc4jXPRfttxdn0h7C/UDXsx7zZpaDGKhlwimlSf6ep/tS/0ZLzbPLQp8OneMvtJ74nPEra5eA6PGhsyBxwJqXYl9TUL3FerleEdv8aj+0vFVzWt6XsuNaL9xs2/bH8WTQIZKd7LIOZbtsrfIFd1F00lhs2NNrp4iJHKDX1GEFSdWT8tN2em61Ato/Mlag/2qFKW6jb5q6Lfgcs50l0QyXH2XhTO7vAvZJSs2xuwB06Ak80za0es2e5MdpF2S0bR3qYMv+aUEcErTlwMasgNjTS3gTJgwmYO7YD8LVHOh4VFEupsBlBjKZu66Y7NCdI5lJbaO4zfKamOSoEvhOv1bVlz8/n1qGpkWbSzdU5NPw3BwI3i6RQ8upHpvH9F4v3gmssYSmGw6ZeezMUz+q6HGxTlMj1ImyYbf6sje9MwdFGlPuVaXDA0f1227/qqnJZJBSyX/ZMSMHw0MoZ8yl58UcddXAD1YnVQdGoSvzOj74V6ZnsRi54z6TTkPs333P3qDPGepBTM19HABGSjvtKEZtHkyBzlAIcrjWSJ+XuE/jvDRTXVrTfjXSIMk6FYxHVNA29NxZS8idsqXbRsbNLc7VRd+1PvsWHvn6V5E1FZMZzX8jwxR1iOIYMvF1rtQTMcjxGtQgBwxZu7DVcFBSrUWWjVyzAYhdcJLVAx6V7Ntejk0+Nf/nn1WKfqiBO60Sk3lBuqnk84x4oeUYZe8Y1/u6UJpgpobvcYrdVL9rBDFsypy7kVj4WP0hECg0x+ItS40GPfoVu5ppjmE/kjwqjq2BOYoCCsTEolBByYOPDNZEbMOaw/XjaPKyFa0Rvswupcbvl0fRe7hLVtPGUT+tI8Ts6eu66fyK1dUA0DqeXTQhTa3A70Ofgo+Bz4ms4seUMifhbwGy3w9NEbAJwpm4bouSKhEeMWtCCYXvRsEXGUkhZUchg4JBIVPrwqNlruku8k1YDAb1Qg4WPopQ3ZL+YrcHER+XGPcaKx01LcxU5peUihHDjgI+xSf0DUueXKsnGxastc3tSrRlR7rBdWw00bH6yusBnE6pyEztxRkFmX4DihXcjfqRpIR/NvWDFH4s5qvA6TVnHs81DGwebqBx8kRyWfq6ew5fqL7xtgwpfzK2WSN/fyyNOG3OzCcNoVC+tocrFd4Horip3ah0J8g3Re0vBVRaF0bImKXiuLdgHtcT3Ao8MMP5UjqFI6F/3W0qWWXmSkAWkBYGZHlbZ5QQ6wKHSvBo/XoYSjcpra0b2DX/Ldhh+zH9D5jYXpu8545xCGLYBZzYQSgMDS/vmSlKAIKM8lLmBxfim45TUIdSGou3Da2cxBiGzHZnrPNvpw4OUUHZSOmTzmtVGJ43CX1Q3+P2BsrGs9jaz5PcaFdmbSi46dBPfw15t3H763UxLPV4dJaX5X7Df81oXd3zEadxs2wPgp3ldvrpxbM+aRN01cgU1dwrGAiQI5Sj7GYY8bqiLZhX3UUzQPjcTXq7gKGOamHy29NJFzpnfhmxF1VciwkTO1gMNq7t1a5cLOdgIsOKdfKTJ2/lkB23HbbO+LyMybBi4Ni8vwaXNLLlAdgSIkD7nWgDCNnwl8f/igKA/DNsNdWpqtpdyGFaXjtwjlv2Rja3Qd5VfszK0niozzB6N/GYJ9cSYiYyKFJtxLsxHWTDPmW3vVbEC61V+1M8TExahHg14sTSImZ8FnMktjtPL+JzaslcWR7jMT9wbchssTtypUh3F1cPra87KRWIkwj4X4+PsFEuZfveEEAFVFpUHq+zf0nSpn9CB5lkqVC4njThN3zYA9YDPz92FuiSExyf3I0z6jEGihkw+VcVN5W2Zp/2uyUUj9fk6WL1rXleGSoIhURCHGgmUWuHDtmmZOQYRCfjratH2JqReCK1G9Owk1kthU0/d9BVsa2BCmI5HWwB+pvp6o2Rl7X9mp6YYdg+rTBjFanXO+0CRLFQ5ad/eKzRM5GVkxset1io2oUPOo14TB+3jAsha1ltCH9FkPzzc1kEE2eR6c5+QC45+VF0Wu/zc8U6atW0fhFW4Bih8ZBF7DEmIZcbl2qhIW9MBuwEFazU4ToSCttflaBqa2yQRVvGtfLEQc/y68ASlkp9KUr3kn6V+uCAL++zI2reTwqBuyAW2nG+QP+x9BvOdARup6lATjoASPVQPmwcy1EjXnT0EID933mMSxF6mPed/QSqA11aKJ3hDr0hY9CaMeJHCeBOSyxlFAQbeQtduzK6eVanhP6NzKaMksFWS9HoHKaWpNdyA+gVv4wzfyEx2B3jqsc2M4ApSjfZo7Gh9iJFKI1Ycs4g0+mbk091BOC7e+gAKcrNaXfpSU8SmXN+4Bn/kJsBLUtWA35G3WwZcvK2fmMpDA05JnSZgy10w+SCKZo+ccxUDU5JduvCvK73Ri7F7tACxoqkcnp9fX2pFME63Rec60btZi15uycxvnYWLu8u+cJU7TBoFM94QvFcWeNTYJOpFgrNsGCDEq5UM7+uNckJRMlRBG2qKDXq+jQRxoDevICD1rqm9wBd+QSdjmnIXRYnAlhNjyr22rhsfSScR/Kcm8EJQ69wX1eYp5ZGaNKeTBw2oBR3V8N5arljmYTd2mBqjoWrNUst1xxlfnU4iw1akyaQHgkJXmm86PXalm6ptXLOiFd2a0yMl6mWHVh5vm1KpaP/KVgZmD57RJQ3FXFW/EDw4M/7pUB0HxM7Kg86ESNnBqYZQudIUbHje1NHxFKCsF/bmiTjesUAnPeJLFtHxNTHlL3nuGEqf10Zm3xBz/M5tzAKKmTprcEv/Z0yA2JiN77dEL27wL7qT+Tm+2jOrnURkNQGymbqpHwDQ3TCvsVbGH5knOk04M89Xpenrf9YZzkLvA4ZJ4GBg45gOgQqBrPZRjJmnnN46W3UWypptjVEzYGuF/uNDuRXzl23TFDNiG/PNz7GH/2MWLRwOYpnGu7jSiGHPqZg/2+goVaH7l9G84sjF6mQuJNAB/XEOBstG9AJ8Izhp34mJ3eFod0u9ke5vuW2m94Q/xJ7BRiOJv8lrei0MHzEk3CLAG8q1N5jYXuQtOLXVliJTVsF7wAwkG15yrXIEf6bTVT7aZyo7e7vuX2IQlfBvz4u0FO4Oi11HozMiT/587pBq89Yot+Y9AFhBGqOXBvYqO1egv8Y+aBYI2ZrrWfVf6KSgs3VCO05lGsK56hUUVkvw7aWuUsZ8EyXsDiKNI3zYvcOhCM/McIKR5amJv4jW9/L7ohFATXbJD86VmiTIUEBT0FLslqGnKTscOQknTo92802oaPjIml3Kwy+Q9xjVcME32x5SG8VMiJazvAKOTBBL6ywMgySWsWLU0sYzKWU36a3fajtPZVFG3aWQpqTEmy7wUYg7EMvafRCs3tS1pI6kS3rUoTRBLk14CynClllmAG3gLO+UsbKD+WeP1VZPzWyqE9+58cfsPcC59G8Od4iuNwSDK1n4yw0oWwDOcsvGovGf8tagxCmu1k+VNakxeXgKv7EaQ6GXyWJ5nHxv9jSUM3fPziPmlUkDaACt19NmtLLpB+mYE7TjoBSMuxNISo8R5ls3KjvWJ48SUthHRH2iWSrd90wnm6+jVG9E80ooD01OPlcU0DA99AwCID+8Isx0hmNIcirC9s1h3QNMLrecNi2i02SKW6fToxes81pmwA4ooM89jTtij1i6/UDlGMii/mFOv2unV5GoRnwzYvTV0V+WUPdgW8CAQomcjn/rAU4RVtAZRDKOocm+oQl/4I5E6goX5aSfwyuDrxhTknjNLYeopyMXgLUU5qxTDqOrTQx+tI52agjn6lHahT7szcNHx1MM4Cr6V31yPNfA1k/zyqSxJRHuDqYONcXJMz02BOLNb+S9eg9ie1JzobGwmUg9inP98tbcgFDS6ybSWO7Hk8lNNIwT/g50hUHyQ3T51v2Me1KA4G063onE/NDz/oDDNgIHCD01kKpr7P1UF0W5ITR7rnx5XHBE8XQs8QS2zhEK/UBGgjvuEIcaMXzHXFmDK2Ae5WJSqYc5rC767znO4Sdn3GoDOK/uLwKz4mguuQEJ9o1fErA+yj/RtTuIip+TjdgorcI7HDU+/p7PfaktET/6kiU3nisnuCsrN3IJn+SRbW9E0ToI1o2bX6XH26mczESQLBhBaeHRwVmpVMKgGWrsXEoD55BX6J8bWegHyqRvaSg/xKCAwQVZ/ILajXP4QWZdAWblSWZdsu+uqcUJTPpzZEKHx45Qe4xdX9+frxkNp6beoMDQdI/31iwaskKm+Wg0sKFPHvTftponutYLi0+tRRV2jzMZZEAc1oabWcxyuaDZI123+m+3bPHCaw1QTLqmo9wmGPfY6aIk6KX3SYXPeETuIKD6AllueCpqM732yF2KLCGfyFnt4H0TQlvz87lkdcz2rQFXv17NidpFhinTNUOAavx4d5HcpO9dlFils4d+3isiNPTmtK6zat+DTEPL1MsIHUO2N5Nf4xgGxNSn/X0AyvjinRd8LPsmUUrlPK6KP8bSvdz9koFo3Si6a+ToSAvZWxBdmi2yzxtQDSz7bG1BpecOfcwOcYS3t313JLmoCZ0fN1Be1kSfO5conaSMJ+NrjA/2z0TwCcO0hEwUEpv2tUQIJJaN0WashD/QD7KmBgJJfvosvrlYPZ13/fzLnYRjaJixjPmCSMeF+OvG69Yu3ZeGHoVoGVQDZNrTURFVfkspS3YTQlb0xFAEVm4ZiHZuU+tYsceDRKj4MazkImVnKd+3IXliI7x81qFrE0Figec7kmFKTVoelIXZy8Nb1PROh38gyMpHOsOEzJSPftnIgn6B4og8FEwtynGWskDVmqfk8tXNAJKqUn2PyWsCWB0Qj1Vr1QJnUk9eHtmO6NVGspWLnOURN5ljEsU/Tw0WA80LtIKYOXElCJhNHoUmmoAkTuPEHw29wcwGGx5ZRAfrPzZZoTQp26jIsB7ekNOXpP1eTJ6u2n1v3SyZaVI048SNScnri+iKLckTzgiC8aMRFgJheB/UGnCU6VY6LkQ5FgpGkIAMT0T48+VtEVfCplF+jBoZtaoL36FBHOza7GUCmomGXaxwCpLOJ8k+ZtS62qgCQdEFVQmWXShPR/5OTgGBNd/d2XNT5Se+6soClky+s+ppwINYDkNcM3QkL1aHUWSA4Snn2nuEZzjOt3lBqMI/Un/Odo/OyiZGlKWisWqvDr0FzXPK2PdW7q5p8n/J7LePb880m13Nw73mt+R9fw9MYmhZxsznfoahZQRCB/xtc9x9FT9fdnl7B6QC5hNGnA4EuBVOGctPkghs8IWJjDU0aumbrE4Q3egkX257cN/WpBbYtReRSVzsRgZKLzjjG0I5RT6CPgJj0NcUh7DOGexTaUcpTrlajrcENyGA9Z10XC+wwp7Zdib3xaRyHXbe+t3OKy4x63mEQqQddcoU9BLNA94i7uFdDNpVhXvoHXwIThNdxpiZzUjAaSGgklSLCwxHCWAdA1OiQcQR2Ts3IK+qv1yCDP/pEwDcdtuQEcN8L4VZKqje809eVE0qQK0L/mLEc2GGEXRGRClalKPi4EKyBkCth2ld3qJ9RVsutD9QZFReC+qIj/+PSdd2N7iCqSQHl1eUyiG9shAHVSXflReE1wavrPwVxQ3hI8g/cjnwBMcnzeW8jOjz3bhhqAipk0G8WzfEedq7CN6UswGGD6QNu1XO80wA/DauramG68JgKJxWgzBJhP3zA2YQwbVbcYXzIRcf/5al7B6XmHVH7HBMUEf3BD3vU32brCIv4LfwwUUpP6OAolWlrEXnyk7X6Ai3OjwCN0EvCCAKpI/HJvDOPq/pFE8zx7x4AukodmivjLzl7A19PTf5zjyZsOsManJCV4QX9mPIeUqeCmmozgbIZfRjLCuIwivEuRmN2MAtPyL4hLWR+fKuGs9fF8JQS9AcUlQy5Crc+IEKJWtMDtQXGS3mDT1JVMKNjy0Pz653WN63U6JmiURWB6pZckWU71UISoFYwJB6sekuqGIRJNBdYRghKwkM7q+AEvrVC6IaYPpcWvzpZMTuFYwiyg54JFw+67m0ib7B0AoxMXskmO3C3C1tumpMU33vTd71OWWUXF37QKKOpquxssClk+4vOze3RTziBuy9NvvqRY0G8eWzBxx6yQS7sOOZHgE85Utoz5BL6oo4V2vBzPOW4jaKCT7Rb1gEkd6zDhKQdATlP0csMscbtQc9SG4ikfGuuFYrS8NbDUBEX7U96sJL0mdd/7Yv65Jvqbef65pz1uudOdNSqDJ91clRsKXk10FYf97iHO5a2XGC+Ya4ZS6oVEwopDjW1+v5vczaxKoWrpl9Jt0Hy00g0+xbLRvy9q+kuveiUOacxkwuFY3F8IqUyblfFqBEQ9Oz8X9gmULcJcwR7tdQkMebaHc2UoeX7e3uZwU7y9nhOFbQOdyOZJRgMvHvzovy4/3+ZwTRPZmiwzqY5Z4MiI29pC77jLN0XWt5V9bK+3fni52ADM7fFGDwM4UmEIMo0fFRq4x9LlTb78+rKrE35k/fyv2/CDrBaOkcWKLUJdbyliEUSTUnQ3x5vyiOR9mSJ7BmZY1tdkToA834fcLtAg7NqN60unQkxBIbIYJnZaySLDJoGZJRN3RgMNaDCVlRCuXNiOXwh5LNeV4j4rYoG/uyMt8CSJz2ra3o58G8kspYZKLLeCkYZTxv12OiKb6xqLpobJO8UNGGFI3PakVxPCgFtdwn7YLRGZMS9R8BHrRT68z+FB0CgaSUnL0g7XrkIDRfYB2MqepYF05rVnDLHNk3PkfjbOFzhyUqXHZqvtRTbAr5vkvg+uN9xAIq8+kNsCDn4pNZ0E7vITJXqMSSBFMXjS3GvOt7UZwYH8nzPKEOk1bCo62bv7dyOv4A9KrfMfXeqINWyie+clBn5qthZXPFF7z3U4kN25OACu+2BleMp4oJI4b/hJYbFYoPFXeUE5itNPean592L8qruNdHwwjjhjeRlnRKxuUWicgnBGPIM36XVDvnWru6tpdnnQ+JuX4JffWp3Yv1/owTQfdBuB2nHp+Ug2+PgoBN947S3cBcXTlrTQN7Bz/c9N1XAf2vwCB1yBGl3PeVf/aI8MWOgLHrPWh03Qb0PahduT459xzTQ7jNmmAHwXyMmI7+20Nwoj5JS2YGL9zvLaXgnYqfBjRb+64CF45DIinMX6yHeHysp7dIwfaQs2gTaVSPAnceeHLsoH+pHaWZoM5savQaBlYBeBRwNmHGH8xLwKcnDtHOayyPBmRgIDYizcAlVezay4J2mABF5neyjNC8qv6SkNu6VU2VACP1SSRv3OLbJnlV9P1whAHXcF/uy/ydylOTXNqjbSuQE8Iw5M70vqCOQ+FBuGNsYdLPX0T9BWsfGs4qbhxRMpGm1li9paZLTDfGWbUV0lsjqybjd7bybHLta08BCUP02PmX66722q6AuqHHTSFmjQsA9L8KjxPNzH9k6erpFUAjHf2xYAmsGkw2Q3KPKxwK38XoSe9GLuaSffrQi+ziVW1nPqzMSwfyxyziQXQv86zdcHvbdPVdaleGNoXUVB5AQFboBei5wtzV8tQjqr6cxrrBtfP2weohcNjp4H0Xi381FVJ0ZGxyTy6lGdDDsSmVOxyEBD6c/dgXbgV3qdJYcZXRwk6V5YLSNCuJPSHtIbcBMbHNr9/4J4Wdiu632i3bFoOlQBh2F+whACQHJ2CwTR2vhxPcp0V/kCOhtlFUyT6ZzfZcA2bPb2w00bD4Mv1jxEFuqkXCjY7UwJHvUiyEV//yTX1EtOQiVr8v2nXvxMrTYBzhGplzsi5S9I3XDnH3urmUUD8iC5plV7q2XqiRpOaNHNeDc2qIAq0JdFckpKoEHv5Xw4VgzqmwcAlxDEBRCRP9YBpAiS6YaqmrRnkDGgygMYH51JIIXVAempSWm3UPgrYZhcv0MzFbV3O3rykh1bQpCaB7qQyMoAeUT2KoyJJP6L8T3XGI+gXKz3dyJ4tQYKo7LJRmjtSaDJmEouB3J1pU36DUCO8FgOPQ6ENcCNf2PZ/KkCOGqHOJOeV+i7oAJgbKkgaJ6QoimVc1NtqQIIreQWjG2tkdQZbmcNRO1A5cY6+Hh+uo93OGekToW1D/TweJ1G95QgOxhFKjtE9uJreRkisf811O5imsz1ein6rJ177G3h18lH6LtSouobx2oKO6OOD55Aisq2TsjEBYLO0OEulG1vxs0RTOokYQLklDHoOmM89/Kcxf46w9qE2h9k7COjJzXyYkGyLdDkVr1U7Ilx08Mb60hrLb+jOMjSQ5xzer0qq0MyeD5i5ntU6qjTkgxgFct230T3o6BVXWx/XJI+TMzVjVh/NhbpyZyzpqNLegEyQqGWzEsxAqoh1GkxJtcPz03JzyHCS9Wgh3JamIf3MmVTHgPAH8YJdJ0hH/Ba6dy6HiDCBa8ZCCACkoz5FSSQGYRxLr+46/fWlceP8/jaXFLzRfEgr8/NN7UDunt6J1KYngudCZRH/5dLPA9QgfJ1wVPBma10uQhIlnph9aDam4MD4+CObhijf9p3AOSkjyvO5jdrGMXKKSkoSM7RJU3wGDWZGGeUZAUdk86MVelMBbe9HfXNz80Aja+/G+7co+6i7J7u7HOy+UXxSkpUQnS/m65aDtXSb/umXe+uRLf6kMV7/90lTaBUGobnCMBBZPDDA78uRZX1f7YtrVC97q2es9YeNqDEU+rmhy4/3atBfUMEsWCmPY7Z6pb7Ff3bQEsIuzdhQ7qpi+zpLYXULNszb2e0BIF5jBFhFL0lYxoKrVx0k3CKFAQIu8OKjKUae7PZiCZELJKO11mdAlTYOF2e7qmRVZMACip5RRq571Zs3sdp3m0lAsONNEmoXCZjVfu+7xqKzt59VeR6Xg9TBPBykwFTIEj7zSvoOXuAupUKb2UbiJ3MyQOnyVb7FMQduOCKHJXBuQq7KIGQYV04hkF7iWPkhAN4EJGtqoYcVwjZtXSoSF663pI9Yqr3u9hAwcA9CB0lLLSTRWfDFgVgKpNIXEd4Frj94pPch15qk1TDi4eERBib6FyL9DQ+skMAsbbnjxCm1Vvwsn4s9iGuZcu+jmLo/onU1ydG+w34EsYzAng4A/mp27uI91ZA98TWrblhk0xG0TrTvYLAtmDLZGNiKEMoJSpme588XjXiaS62IuwYAZZw6wRKWI6+X9Nv90+E2q0c84aXfx4mgBohtOUB8115zt47Wul5loNuwUmNuGwQjB/fMqqxDRJhGjPJJIHUAJ/OSo1u2ryFhomR1Ri3FE8e12X4O0NcKUzFYeCcXEoaKTsyDvMfx/ugPXvq7hz98L0WwiNnrqR9qUCvAeRr0mJQjmwLM7oL7XL9OM4lcBFPIcL+SJrL1+DrgXA7Y6V1ARcNXrXZEGllEgB47keui1IUOkNiK8bQWnXD85L0ksw/1hR0UorMiiu5g6nrhqzWLUsWqr8JKOm8uUEE+8TBeidIjG6t+XQ8ipOkEyZZabzV2414GBs+PhrTgEG1/yMt+P/0DwpBXZVS4hVobSgq706NC/8wP1O4wI4gVeL7xMAP6RStHgoKQptqVtGiKWhqMxjMHITezXB8THku3m+KTumPBLfpK57u4iG2YlWyXjTLnyb6cpoKXnpmN7U2inKMAMW9FkhDN3OFN2DPRgoDk8Eau81pSEG9Ljdhp+S7aAUJyeCmhZatjDenTXXu49Xro8ZYVz1HdihJ6DV/VUNINkkLUAYUJNGwS1Q/EUWT79GngoUZfqTeb0MKVk5LGswBLoY28bE992ldpev8gKw21wcgGvPZUxi38wfoCdNh2CqSgoHAKci6rGzRT4v0dk1CXf706zRP7iyknYHxZc/lhz0Y1IW0v+g9dz4+1xwiAeCqVdDIm+xB7sZFIYkHtiwV6hX/l3AmNQIM5lYtld0LSWvscXIhCuFvlGCTbXhv6c+eTvhEPQWO4pY5PjloKNkzBFx//vMFSPptW6pWSVH+jqmurw6s/bOCCWkw3iHaIVI1RVyv7UQXsQg/KGYmdMPDvQa+cxDXg3Z29DWy4AmaRm91BvYgX8elmO9DLtzK3BHhtPHcucA7iwMyzVL+87tSMzYWZH05YBc3JpdtYqxe+yFIE8+bFPLNmTFEqfmEgm9YX1/TPtkECnxIe7irFSDgI8mXzHdcafTB99z5RB/BjqxGLWcaOjGsES2dMJpSDqs5jrptR5ySL+jaGdIlTy3ouMDUH0E7XjLBwi7GoF/DrSAKvJJ9FOHa94vdOcCB2DuSrUgy0NCWOIpJ7a+zg7O/N9+IjOoL8A2IkpuRKwZE91uTi+QjeWWQgMXnkWxMl7q5+rt7ime+P4ZtDGRY1fhnsgkxhlwPxUuf7noxwxMraDgxmJF8RhECE2gbPRLv2yKuFc680dS6dRKfXZ5x6MiZNQsvQ2DaO+nvb9EK8WiYig0H4Uh5YzrwTlBpF+e88nl8kNrP+mxxF00elwY8w5XIABYGXwP9IufxYTdTMjyoFhGiPNVA91Oeq3mhqd7zV9QoDHXDoDAN1ZsAtfDh20q8t04EH6fbd2Uw0QeQgwtuh0RmkmyH3fZg+cEVMICGU7Vp4OHj5Dsss72WyZxjfB1mZjwh1J+5y09zmoUnWpsAlx9xPnelFnXl28+9RShjFAw4dC7JIcyuqrq+X1N/jySCh9hhLEJ/5hnZB6tZpcD1LRFXqHWLVgrRb3CldDo7gPB5v4M+4cS7dUZEUgCBuJkey8rHzsMAEdVmFgGD5rhu/nsna8v8Yt6hTezbuqbpawkBxxGsaRuWhD3KDYOIyy85EaTFNcDbIKnvtkjp9vCCUFnPJKePfpV/hWaWv5pzdQSLEfNReb6B6We07PjtlU65Tpbvsja7yZBq/2yASlE/dlEdjqhRYbQJeNRFrznSJipQp0hvwEQTMk1j6iwIj6xcgnHnTC4Lxi4d7AQuMqa6hisUkmqHSPqLl7uRRAdEETB0wdkKM8NQe9SXvpHfFj2sPbh7g+5bKYVNv17i0lr+MSVpCu7kLn6Kq4WQVj64N1FAAqaOsBOL9kVFZieSGdsZ2h4eluSa+OHQg3zFsBv+/1arGb0Fou8gUbwtLZOEcx0GaE3hMKgVr14I+rllh7nDMFlcf24+i4lnni7IWd7/rPZ0mcOqt4HkwKE6iCkDI7Hk/Pk31QKjUCm9r9eCEHnFE/9ftwWgo2qW5WGQ2VUd4ZlTxMoCnun3zfHJgsdiRuxbPlOdLZOnpQ+nSq8XcXIki9xgGXHSb4fgYKiBwq629T1qc+ImUBijUiBeqrfVHyCH6G+CxeoTFBt88SKB2nezGH1bMcKjy3QIRl5614vj2Qm8UASamA1+41n/TIgSQV+hmmOyAH9m9zrNgcNC5vy/FkBBlCi40Cp32wUBGvGlYGtmkwU5hR2iOUBn/+cdGx1GVIc9q01Sy875G/ou2py0VdIP80uj5zWGXur/YKId46xlDH6cB83luZmZrSPxcf/h1zRgxjO6wlypFEdIlSc1dqCY5hb8npNybXquz1SqA7BsYszlPjfSHDUODZwfGzInsdz0+g+zom0cmQiA2KU80z2vV5+BaI0sCyO8AGEy1yZHVtTxxE6F0ImCC8y6HpebgUcEus4jE9CGp/C5wmqV3v34JLUBgif48FQlIRP82rZmHsQfrWBR92i9zms5VEDlp1WDW3pRZrUv0ssM/T5fIKYwk3QeZQK/Xkz0zuhrE6e8aAwpE7ZF3cG7FrROa+axNDClEXB8KsZDb6ML5VCyuSUgjYx2CHmgTIwP79lxEvgZFjFeQEFN7dXHonqy3S9M5LBNb15TF0xIhqA4jDGgU2EypXgjFTdQLuT1QNItSgAy3yC2ntmsPuQTaibHnHG1R2AmxaCuMHGAPGCzISZBkk6hq1T2dYt3XtjP5cftMofvoaDzR9kK4plw/FXHuS6a/+EUUK5i3t1tHN1Ho8ygBk2YCJ0xP0OiK6QXqWJm1FK+8DsfHHIkcSnFwkNfKVESN+OrkhqgF/hml7Dsk8OS95JhKhF5l6bP3WGTMOMFbGK+u+FKNCo/ZtAQ3xK7jksJZZvs21fFSTiqqN9br3Via/AQABIreCSFBxPzU9nGHGZm6c3SB3LKAEPz6scg1VpccIYlgOknjI5arzfZq2K+rsza91w5l41zReLq2ghab2aGQvn243T1MXa0k9HDUXHKroTWHKaIECRQCpXRA1dmzKtGjXAiId1yWHpegmaNcxaM9HSbTIyxixcPRAi3qaeVBB70N+jt9rUFzZobTH36g6pZiw8RuH699xFB/iGmAj4/T+qX9CUa1QTVtVTWFb6LZSkAi/SURJEWhJ2vBl1dGe0qCqDeel9aC5DNrB7FOzbYav/i4J6+dAH1GrJCH4MCQFwUOx/JkaTbr2/QurCYVnXPAWKceC15jGFsZuxPPsg9J9Z7riRvH6AM3t9hUavfcAr4eB4S2bqwLcpih/rQRC8zFujHzBVxPH4UQ75yD1VhpuKVMry+jLRPp3wG0H6CcqG8HBcoVX92wMSF55xjY5txsgQqfLykgtKKl8uzCkEnmTk3op44bTDjgTUoCyKXWkhCdU5h/ynjWB51M3mm62yzwlS5eRphiC7iC3T9O0v00pc2gHp/AhtFfjF6qmD4OEZOywoV6xKWeWzWHkwxwA1ONmoDB1SVNYCBab8IrDnHL3k2Vwb9PbP1a5wQ7XWEj0M2twBX669MP0vOsUCx0WNjZzx/byMVohwtWXCvqhBpfZo9EacZT2XSZM0YgwBNA9K+RROREFIhFapJeSFwT5CzmGaxD21XfWp2LbZNHu/zvVvlTqxLUb2KUUHT9SgITV/IiakqZ7gSESFlRz5m80Q9Gtxn30Zp7bo7XHL2DFwZJLuxMPozaduKxDc00i/tKl2rOIs/Xgoon7xfwuaVWaHY4BLvrvmzE08ZBGVkO8aT8f1i+A4AP7hrMCPzuuREMH8NJnqJHk3oORrWejwFUhz64/ZKTtXoKQ71as8zXKLCAWH4WwJaPqRyIShdxV0c8OPJe8CW3vgoyWzrIO/5aF6ocxCv5p5XXY2bRjDHF1/JBHULbGsecUY6tKCceIzmSHsBynsoXVM/qmibqfwKAq0LJGW0cCZvagBhgXGk6ev0o2dL+HmVH+ehaAI1gj2jg80Pr3Ycy8G42+WHvme27bbWS333AZWookwlIXvsPG0RxU1KOwaQAHnyZlR8SEl9gywzrIJcJ+f2JzJDlYv5WIqgdMvOCvthhXFH+Gyzj/mDLCbkcc+6bfFAgdTt2T4pUGJlCvhJSXwlhTybJSTSABHeMhw5iE1FYR1pv/W5b2ixbhJFTYJ9ziCpy3BwbmzYh1Wrk2tDCxE3gdoLMAhUViyGb7h3+xTkvM/0Bvjc25WPXPz7JUxK6YiQrm4HEKvNdwICaJMfS7j5AC9LslQQCk1HvVqgRAtjV5HudrXnFKVqDPJS+xlCD5YC2eIN5ELAkOkS/CcD14DozXYFAD/46fjT+yFV62FQis4Izkcu2T64KxgaiR8oNri6j/EeMPbPXYya2wskA8XQJZDeE0i63upTmARQSEWgn81RECujDQ2Um45/rNBhIxiHGmNqZqStC7TOuSgRMiTCnqcod933LV/QApFxl3bM02nSYU4tF5gonLntZBbr6XBJjOzxZ7bsN0WppJ3yEV+p4bh2GYbkfpxdHJBFmEywXxuoyl8SbuGO+ymjS9kkum/r5uIpVKUFFTjP2Na/btU4mJ7dWbkix9kq8mkxQm8wQWW3v0+8xivyuHy7eVPgKX1W2shbFyuIOG3y4/5VJUACyiImYcMYLVXfLytrtP+T7AQ8FYY6AqcULGydfmEb6CGpEJR8s5KV+Mst2cE0hZbGZJbfivORvOdwLGx8DQE8GTg8++aCUJKgi8kpRT+KGEnTp46GfPByKi7DLWBKz+au1SC9NZitNZW4hOW9gI9XdhJEwP0Zc2cMHtlbMEeI4rJc50wivkd2ADSIA+zs9R9LhmJXvG1e9LOGa72BwP+lO0KopBFgVhz2zwt1RSkfCkahkSGEJ3asOms45DjQGAA5WobQgiz0nBf8OZTPP7Ej4FEAZSgU+qNeYPhahrq0laWNP3R1EpNWbejyKXMdghke060YJYQafjqDWfXgKwYoQOdNDAbe2THC2ogsZ850KHA/69+HlCrVtmE2jg+pV7P0LrV8m2SK/vrvy1d8dBuZvEG8MnAKD0TW/KtI9/q/8d2PldlAyrwHceM1KjEMgjiQvl5A5qGOhYR0jptuVC0riGol/q7P5AymNGz3EPrdgrdku3gL050P1PWFqzSrAxIZlbe7bOBXZqJf/0gZULfmhsZsPTtOgNt5pJZ6G04zX/aQNfxO8gWkK5hYRPO5ZA9/Sxyq8mk2NfQ4iwtnV0RY+dCUs2y6lcPpTf6vdA1y6e1OqdBpLimbEAK7A0RAKUp+XjRTqinDkI9Ecw90ZJWNU2Fq+D/bu8Q5zzRmVTpTcs8mrrlzqD2CE0b4I0uBh/pkTTQa58T3JJaVWm2VnIz9UToJ4g8xIIEQvx0gTdixljIm3a/4XN+6Pnc8eQdCDkDIwrIZPZozmT4o1Ex3g7egaFOCbYrAPtgzXbg+y9ClfY412JJZgNhWcIe5IxcyWB+D+GlyD91xGPPXNMOxV/3V+FBEAaYIwGl7rmod4VWv3qrOdoPF8Km5/aPSJDyffR0175G8a4y87qb9BY4tWBFBSC2TCA0PKVtrkp6Ybn2oSkRgmFTyMKW0iXTtaNFGRaxSn+x3vnmaM5N8EtUzD9WR5nx26teF9WV7ka0Lqe6NaYMUrAig80kW90T2T9SxBnA7gFDHW2GasKySdN4QOKBHJd8DnsAzJaK57G+3zD9ajJLjYsTVEh0W8HxFV66OHAuwooS+Vk4xiZwG+SqNWAhutq8pk6g+1lkrHJQCpShv8jl4iHMBbE24G5XX2X7GOFLwCsgpACWgCuiuR5D5l+SO72voM3kx9kTZGSPvxba+EBP6QmmpZBA2ciYcxV2mPiTTJTMb1bN6xHrfn1P3/Hvdd9+EzYmnp+jmq12eeMqtEBKlS4CXRn2lmombUk4PD5Qc+jtAk08xB/tBpOXHPJR+ZPb/GVQ1aJbLUhTuYrYEIWDGEOoKUiUKtlLnvFDBHnPEfCLbVAaS6uBauyVC2umG5HDm6VwKFNXzUmZBquuFxjNp17/RPAyvLULJ659f4pNch4NLzjnWt2PgvTUZeK/L0BcIsBbxh8+N3HmaT+eN+nrh5YzP6wXzoRZx3NpmQzSvi7h1Y7vXjhDZJe750iYSz9U+ab5P9sHPgRmV64hdRflpldHTlXP1WMbXDzXr5xppHmvE2+xPSCsdsHu2KJVr63H6bF1k2AUrJlr7YmnPUFg3tCIeZR4RscHWBJsSrsrgPg+tAkoM96cxgOPB1VYsBpwzi84baSBOcUXWKqqeGdgziNIiCDt3s5mf//ZunPP6VSkOKxPamu/MultbtZtH+4Bm5rv+MHYEk72G8fmaF21OUJlGOXi1YZcWBYr4fF/es52IaC4dZM1uvDcDU2RcvfXywPUkebhj/FOS1XwCiOuC7Eoj9Tsjeu36OyQzh20xXQNl/OF7MtMj9Wx4xNCKZMb2CAg9xtpIWDsB9CwVIIjdB8HkxftqGy0FlGOd1lPjMwD0FNmpI2J0ThUGwatexe4tQqrtZ8G01KMRinMFYlcrX/43eD12uw5IMclr+Y0VxTWmbiQ9kFCjh2dH85kgkxvXm3436pX72M4596cC+PI/GFT8hi+DvPoWl2KoPmETAOv7OAL+u6CgOdwsiAS4N1EeY/yHoX1i3d1b1p4uKvtmAc7zyDVVbKUZPN0NwK5+xxFYEBz4kr00KOno1g4iTD784K7+SLnKjoMez3h0e17T7xcoXDRXtIODwu3floyszDhn6tj6fJJiVAZe/6d/vJtxur7smVS5iJVVaCEEjBPc5EedaBr97MOHb/W2dQm+iD8l0iK5+q5tXCY2qkmU9N1FjBKr432HgtlWO+MIjDkEzC+OYOuzNJFKR4ccBWnpKBKcOtvc4FL1QX+voLOLIKg9fry+zAcPYKFCXY2zNixeixZOCn4Vs5HNSu2rZfT8x/P2pU4nEIlp6TU64NDOVK29G6PAXfQjA1O1WLIK5Dl1mClrWaU5BRAuFUg/uq8QcHN32SKfeSBZpXEAKIhFTcCpwue1kpjHYshrihKH1ohgFDUeHGwN7in2JULnceDP0eCfhqt27YrHgh7S8XyP8a8R94QtoImbC+lqKqN3xJjehejsttN4PRQ7I3iqu3itqFXVDLk6E3WktdE12i1pOM6NU63MA4BgWhQSZpXarClxDuX1AjJ1+kZuqid0rPdQ4wFqtYeCU1Y+BUENeEk5Aizye/KPIAv/q5vPuS6BYEFPDoTyzPpPZkijE60kZBh+18g+4tSkpZ8vXU78Nl3ByQsHxDud5tOJmUz10F2xo7DBgB6vqrMW6VIWbnYWMKG5rIq5L8/Rv/cE+i03F2DQ/fGYUKMtAKp6apU4qnrHUzbevycINvUOz1Zkma8IUJMCt1JthaE0Z7zOaDjjbxeviCzGajIGOGd3fozJdZ8lFSCxs003iXzFGsI0V/CQ9PwtsJ0FydZDjD5Fi7Sj0k5CgKMlC4o0lIORvqpKFE8PaUGh2xZS9a6p1PQBZ/7Zpu+a35pfGeC94kuwMCYRDJwLxbdyVA529qgOnUy6t5XVELN7cw31HA9r7CpKFjz6DnDynQzi+e5moxfl+A9R9IOIFhCfoKXuam1phVyxtCQybNDWb3E22v0bvsWNMwRhH8ZOSgDH0kkH886v2SHc7CP6Zqn1EzaGeweU3vzaKlOeNxRwzwt+gA7QKgcXgzFI3Fa7qIMoMUya6Vm/+jvIkO2MUjO9s/I6ib2d+DB5sjIFhqo5qZe6B5K5iA1vGA6Oxv0pZu4sj2wrodSOME5uny+OQSZQPVf6SVkisdr9IntCIcXbrB4mfilt4mITrH/Q/tmco4QyXGrvshoV70rdoW90QGm62DP3HxxhgpQyjB1Y/Te8gqNMRyKUD63GfbdfLhCgOoNwqzlezPB2MWPNuUxMv57krtdEAPAOa7BWONknUN3Ur0BuW1uuEFA7ba8yh8+03/jtpVyebr1yg8RgkEqNgw4WmczsV0qdI2ezyyNky1m1PNlMluLK7+ko1Lu1R383kQ1CG4TmjWQtsT/IAoG+U0y5nSduF1e1CzwQgwr0A0giHOc7PhIlGsk4fpBZxmA+Tv0QEfzY6bkqFYXpO7XA88SSnXG1zAerrNNQVwwSsQJwOZHYFqrY/kOLXE3BTecNjIpkDHsqkzRNdGg/ggY6zPIzTalj1p+0ZdXVwY+S5+IjUOs0EZrzEbNMiVlryDnKvj8NLbkrk70bdgW+hcIYG4v5+D6SAlcpNQJVuP4Y7V/6zjsf5NLCy5rShi5A2/XrBrQeqEWeOHn3PMklUNAYpTRQWASNkXhET4fz34hNMvqd58ShbQYto15z4xfl9PGuYrPOJXFColVLOKG7gv4n+v+PE3Opz1lFuMYyEzOiXOVROYoLTghU39f6DPl+4iWzgp6mS/wJ1RNy64KsykgHxDF5+D3edeR2UGGnncwwI+Pwx6JJaXRYxjQKnxOuahJAMUchJEZTqeKKXM14mRzcpE7odmHZzcc4pNw2FK8gRYWcchHwIu4uLX3zWIJrnWQDYERbwbs2bCNELfXiRfANAF5DH8CYv7JhZTUnK4H7gK2IwsgaU5pUfL1H1a8GAuXwnzo0WQJfA4GFF5dQ02CoGiVm3utnOKZHEvYUdtDvp3ChqLPeRYtLWewxQv+7GaiA7QQd7kx8xTkDLARbFwCla+ERxH96O5ysWxqE619VWAOnnwh/COwF5cqo+KBdJ8jb7dtBeAMViz89HPDPX8VtuC0cSsq/KEbTwG1wzTnyfyWIMW75wpW6utO3a/xIpuWMew0JWfnSWygv8yk18nqIi+/7TX52JArafsGZw6iLQ419guZUvCReRihCzjm6c3sRIqdWWJxgL5b82FJwO0Zc1hAt5a/c9vdYxH+4YwGzqBPLppNPjVl1eXFz6MqjdNp8KzytZWuztGVe9j1xadU0HGFTDKaogrYxHM9JngIqUP8P4EcJQB3Dugyhe75Lyu55Tb/LmRLSrmXe97y3kNPqBqK1SHzNCwhY6MM5qjaROeMH7kP5GZdbOAGWqsZHYXPuGOUnAwG/3KJgE7/DhVqHITJOvBa7fs92Sup992kpzaWhPSBj8ZaSSTevsx5qMkmwc78kefUASkOt+1AEH2MXjtOuuYh/Cyf4/VZF8nI8tZpbUd6m1kacP6HZrtYEXv23s6sqdD8GExWznImpCJ3e2JLJ2r7HUmuHyBQhBLiRGnXhvdwqaWe3EAkSKDKSb3su66DWFjdO800zixbqzC2sMfU0PTq2/4AA5hD5eFbryTAWxrGmGBW7kDNS0qJcvvMls79NJ3DVEEEQeC0TFoQ6wZGzq1aors+1LwokUtOxKU4eEd7+OLvr4ZnQe55yt5+kXrMlTdJexj8RU37JfMr6rpQQabStbbYgRlKzV9+uwBVaI/rRtsG58p8U4p3xMA+Gl7yOFsTdbHoaEdlFnAP7c2tIFd6hn807w0fL4CcCkKln/UvgLmVFnZSOLNBTT6JLarV6z3PMMowsRhMSSlqyJF/oLj44+eNK+IAAdpwvUvK2uSyn6vWQbUkmK3Q7gof5nte8eSaBnFqXR1QhXDQYTqP6gHGS1ndz/5oxWJBe6pueCFnfyvuVXdMSrS/qPWF3XlyPtV6We5jeaoy1I3jZACcd14yRfmCGizuGkMjpJ6vvp7bo1TxAIa14lUls2lK7EdnWxSoKWBN17mz1TV0Gi5AkjBy/KnB1A8c6M3RjnjWN3adg4jSHPA8wEUfVICYOLOyZSwEGlN8xJ9I4rqRxWIF12m/Mo/cj8MDsQe1bhtiW9vhEQXoUzIjP5s6iaCCe3ToKFzadY2zG2/Tdbur69UGrNtqt3paMX8nfS5Z9iNF6MZ+RB0NAYWv8qeuEuqsTN1nsaI4RNnC5QzCTzLb+m2EkI9ySbiVG3FEWUr9Vb+SXyEQZ/RNzxEP72mZ5XX35/fkYp7hkbsHSEku5rpXAJcFQkGzWtIN8LuMplUH4+NMg8SD3O62r2MMDV0FlK30fARJY1x2YDxxYbF/4QBT0j3mg9PRmS+I0gcB9yP3KVaQ7NYM+ciHtvoKRIlXvtnZlUui/aqYA2rSGSlTsTRpwOEb5Y5oFgj1pIRUdzQxKfPwOeF60Aat4hESp0gDfdaK6FDys8xb7W3wm62Z4cW8BjYeD90hLrPZb67zyIwdgkOt6M733xd61ESuQvweTGjtAHeMjnxkTKrgk7yMjiDKcPt2oTEyrXmRx+9bk3VLS75G7L16JXdkk/759ExW50jKVn9pjxCtwaYuW6y9YOBfslKBz5fpHFw5/p9+43C3hduYEjC6c/oX3QqD4kr7R3sHE8JSSW8RWWQLnO4DsPwE87rW3pIQUnwvb7gWbwhdqzoI0GgVt/BbIfqAA4/tIbGANWT9sTRgPEyY3a5NERqVfrLeVih76HJ0WAeskYLo2PKYUqCMmi/8OqjdUlY44+zUyUi3EaNZo/+ZYNYyh0SIDlyuoG3JhSYsExzT8jyAmKC9lA4gArW3DRhgZwHycyMYg0UqlO5lHFDxSqhdUuAlq9tTth7LYugCOzIxkRyt96bk4zhf0pPMvtlpcAOZnOVuh4+B3WpKCwM/kuvQT5mzQ8cFZDnYlzGh9x907XZgjcfPoN60hhStjTkDidi7p/Escfzp8aJR+AG3XRKtMwm43sywXg90p+/YiznfKC+m7cxWf9liIKtK0xLSl6OKd2MwFQ/2iZiOvTBn8v6/sDCEBYJels740GSV8DrxeNs3HVT3B3AEts5nGbNeWnj5Zh+d1RZGFZRUL4fjKk5j0/apRzHwraW4V2MXtctnE2Fh7grIJG+ZhqS8c21SgZag4OpibQUlomFepyfTj4vI8XAlXAxlViK2uC7Y7pdslwg4cHdJZe2ahwcntqbm/Q7GjCeR3gjReZ+6m5W35G5i4z5PylQB6tx1R+mP4LCSznL3ysonZvd1Rb1kcHzCcWp1Ey8FQY3mpHbJ5oynnQZ5WYD18S2CbAyNR03uPDkPZ2t7hx61GEomChfS2kHwAdBRsUEUU0CN+e/1aBqWrf6G+MNAdDzCqDEjII827czMV94BhdnW8/k8j7xFdST7fqaOykVtFeHGyAoM8BSrjNHhtmDgtd+8vXu7dHEB7O3C82UfRLczWziK1duutbY8LRhPOM+0GC6lp8La7lErUAZjVjqo/dCocpCyBs5l5aDfiEksiNJin1uCA1eXwHtW/MtUHaIFtESI7LdcTFtplJ3plM9ikacuK95Um9H6bfIP03vULRYVLF2sYqS8+OEA35z0qfQtebu0dLl+OhjhGXaLQVJ3PQr6JnBBsuyx+ly+RAQUFroNHqF5Flmi4SrHxxjIwJH6oWT7vA8q8PBGeFPrxvspuEaKSii44wANSJwYtSsclLjI9xILDuvig1bBfEwHa03GN1yNReOpJuh7CSF03xW+fSJgWC+8yZ9VwKfYnchLxmIrE4raF3zv4aSoaNLiaPyiK3QuagqSH7fgPoD6vRDFEG08+OvyqR0pQMcX8+cS1AICC1UNS2fAp3r5kIThtTqLurr9Lwno+OnZimtJ/nskof5EKbRaikFueCZmZTU7NGXuyucwaH146hgYXShYKL2H3lQIi6VXHrBj+5J6BE1EonJyIlA6kEvBkGPnrnu69bNc/fPTQpwA6aWWmIAF8qvoMHKuaHBSm5qBw1y5O6fapeOYCtg6Sr4oTfdDn90leGEf0Jawmvaekx7fk5mZC/CsZKkC+Y2/uSh2kfozzSs8VvsuJnXYmuppx/utkBCbHLKxEkiU7FxX3NjtEgp7KAD9NW78PiPh0tj7MNYxOIRu/tOF4gZT2tgtH5sKTNWIsCMJitaoR9P8ZTcQ2IWLVntLLWVSQqNXOKrX5kTBwaBwsfRzQpRqvV+KrUXp0wtSLqOAVAtwrcIYHNki1/Sivpzf7z/JWLrrurmFhjWGgpWfVr61KeqqgAFlqT4m+7eY7SHkbvr+obCkmW8z6d0LXtRDQZ3qMJKUVIolLLf6jsIk3J+UqImZfh9YXQgugDHKZ+/QDFTMvrsAF8mkA7IoZPzK8xSJ4H+SfDWv5IGJJK6ewGeWl1BTb43DZ5oRftbJASsMRd5jWg8K9jQaDDK2QX3Z2G6o+TfpT1hqqPuqGAMKmnW5I5vG8wfGbAgIveIaZk7gVoxnrkLpMmsCpRPaaElgGlEyuuqDBBDHfYj3av4ZThUEGQ83hUHapwWSStY/tBOEzngWXkZ/HewP6hOe/43OvEBOenTkOLEzgIvnsPVnihl0GwfRKDBEXjwI7Bx2icpm3Mvi8pMwSeuCM/Czm7+ALbuGIFxmsX96FYTffdwiM7QHy4q9gKJwNLkAS39e4tZ9Nb88OD4jl7oESNbb8OFwRWec2ZwqGJzc9XwYDg7NmPKIhTyzNFl9VWPtumaErfW+i1zbtjlToVzKJcePalEzJmsWxkcDPZdF+0WQB5CzelGUDkTEA0crDoiEmi1bwksJDePvHHFJE2HkEfyp8R6kdMqIwqQJxV8G5mkUWW/wP5RHMVrAtVSEH9vzRb64NUhjS9uxAUazx/c+nNx5C378TRHjZWgNsyxxiBg72WJNJIUvzDnGFzfjHyOYYYw88ZU9hQfHDWmDc1r+AAGDu30gtFGdh0mWX71Nq2odOG9BBCkNpmwAHewTGaBj51xdN308Q76nKW9bjNdF1M1+CryA4UscqfUXJfL4XBD/1dIqJ9QzAJV4VgazZcEiHHsC8Vsnvg+Nc5+oYb8lDaGvaApItmKXjk+W3q4bi2EFDClHFqSl8GZ2TcYmJ9yTgMXtBJyDcgI7kmjzWtYbQn/kFGBVxs/9p/oGX8emfs1i+hiHoaTKEidFPVmANeOBmd22ZSFlW2Xu7rk0vnI+OaAoE9wV+WVH4EoKfF+ZaTMXcEVAT3enbdiCP/WuRGDGk0pYHs/18WEiDLZ8bdicnl03cWRHc+PTB7m0LiNOjaBc82CAdUwcw+Wv1biEywmArb+LRClZME86ngoyP+83uwtyME+yNazQMFlKbdyoG0ul8GLgB278aPhMp0q1jhrxAPxYa9Awij4wsj17+560K9ELzLJDqLfJX4y0+yS7/xhSDBriG1AsnurW4h9NmZ6miA8/8KwkGR32moi19PBOqm+dFtbqGPJPXMQqpPBNiVDGZ9fQ9o3EAJLBaNmDwsRIrAc30zzoQhLbYDCr7JG1l2vh+nSq4Nta4CXnovjB0Pxqdvi4BfS9grzg/E3RoFzUs6+RTHbrYLe4rKPQf9KstFUCZGS47ofh1lHGa0ukT8BrsW4bdF6tM/3JG81rR7/Ij7DfQzf8axgh0w9+rWqP2SxQOvT9uM9FigCNi5Rr8avBoGdjiSOju47VB3jwpMYm2ps78Kl8i7bhtT+7IyYuIUQm+ySqNtYethZUalz6fdVoPhEkKpAmQtAwhuRGMmXKJC0S8wkqIBJhXc41dfB/V904+lAJ7ghYoOvg/NFPpmRGSLeYkkNPpTBfDnAyrEIASaC2o7N+PJXB6c8CAZkuJ5Hy026SzKNbJ9RBt0fvv9CJ/k2pUPyo3lzuLGdkV1mItwd3tt7a8kZYoBvLTcAVyFv1PmToj47I1rPn4jfv0p8VKgHGRzeaAPDFb4pdwo0KcvMJk/0WHztLi05fMYmYJoJrWcgACJo2tZgnmGz+ypj9xfARxVlkdbktUmslV/oGm6JaPhQcZsiHCF8IX6KrWiEaVSOhCysOnq5O99OTiSVRCvHQF3q0C0RITRgZsRsxuiIoeAzPkpNnep3h3iCvKccS7Xlk2dIZm/YFSARsPcf+Omz26MNkEs5MNlRLPNnQ3HBxcPZXCtLCKV360/f16q9/qiSHD84mk8qyvcDUo5St/y388B6ApAaG5y04kufSUuCP5GVSFkGjjbpJh7CHqlejIAKGhJ4j+kJHeKQ9H1LvDjN8uvA7+G7Td9P9jaWN+02G8gp/WhKNWhTWKV65sWJNYuyaGV/VqmFrsn0AneVknyt6Q1zE4dd2IGipnEX+QJ8mVgGPf8yk1bfGYOzq+Cdio3qXbUuwqHG8pmScPfnBKhu0PrETNDbRnVNaeX96SvloI1eADg5DCPkJNqigovKbOdgVX5U8DOa7ESCA2EibwCCacmSzayRNy6DWiJdHoW7eugJe7wBzu6a4tDYI7rZ3kPSOzfZGerwooU1OYTl0gPZPDcgWTbPVTPtNsfJ94nw2RQpAVLsvEPGfnwEk/nWkgf++YgholG8Wt6BC1pQdLeqidwhcnQUdDd+UU2TBEqI3308thm3ZymkcDnm+lfO7xracwO5Ma9dif2IHzKZaAt0dJIkWL+k10griI4Tk/UN2w/08277fjSbWVCem5RKOBcom7pFuh7j532vOu2Q7rNBtb6OUlJNSLbA+XvHRBxF9wqayW+VuMeUrlQ5yfGTOj/ZU2xKsuGbef45NO+TGKO/MN7L6Nuh94brPS/r58xmRLS4jIMZy0LQIYQHFEQmD5O66Nu2YJxcZx5gdTwQrd/l83rZbLJZegwHHhH4gK1vRv0bpXCksey7ql7t29Bs+Vh7xH7Qkyv2z0cGc0Ye+WS3RYgLvuZEx020FXKUukJ53GejwjzFN1Gpt3mHhPTf2FIZ9AuF4bQAxBoeQnjTxECAndnKCN0yi57yPMWTI54x/vsBE2ILHuusMrwBsz7qwEo62HTRTH4wcUwUFkK8iUZvtyc4JeUlL6eUclwzGMOp2fb4RlnbcBZrvpg0ZVTdwW7whpiLImA7Exn7IcXwb9bLtkzot870zzgj33V4mnvmcQNTcZutnQ+gWhttjuMvy+lIdB/klXMKUs7lWfeIqpPvhL7hpvtNWi4+Lq4m5XqUcfDniEmlr0DNHEQNkjYfKLbSTkGis7LPDYccgXxUuw9O6U63+2nZ1OrhyVMa1aqVXfG6DJzn20GGMhw4QXNVIZotxWfyFWU3gvbBR20t0huPohXEPyDNbbEVAkzHengt6dpgtnr3CrIWLTrONmfrnd8PC7Yw8iVRaYJGB6QFQBBCVmQFedNrehjH+gsPi1Pv44jbflhJSrv6lfC8EKnD7n3ENtGSwH0gEophCBUwHO+mFVK/JHNWHrFTr4CMEJDVXeA8mWq0dF23lkA8ljjW4Ovx06QiKNkQBxIDiXUhO9zqIR0j47fEm/22B21EkfFzsqEQQQyyqA10LnmyCU0sqHB7u5hlwiU3JKxrkLATVtmXwMR++wzBkFde8zp/wBRVhT+6/0mGdorvR7xucS6ZIY/KPOs4QbDE+opxp5V9i3EepzEC2P4KltnGCRwt35RKodFIwAPbC090/9xp5/vN7vW1tWEAJkTjMTi8/vlbeyW1PsZswnqdSfgU4VXtcJjGoyy0DYFVLsy0Uakt1ZgIgT2Z54T7u+v2mcDEU/GHXnw/JjA019fiUdnIVWB4TKl7Wg3K5ZSrXPPXBWFbDU47d+N4PoeTiIV6VIZTU43dmF1pNu+c9sWHWAcVHshyROfuERC1sc6w+O6/xuhrhkKrBBmRx8D+5ySYJJnFhW4GM7mHtudC5eYYUhOuUH2E/aefS7ha7M50QJ8x5LeZX1vhWV1ab7Bl7TnMif+ZgBJqv6s+inQePH4R5DHaGSaLUuYzfYUjiKbAZCgvTEx5qlc1keRFu9PLc8v0h8Eh2ACI0B35dlUSOmbo7xw9LaU3kBlafVPak3wmveSVIwOtiK9VHcvRXWj8jQjKuY71hlhBYHuKDU++cOq1Ka71zWYsGoJTGMYGKHs5/SqYFzg2Mwg9f1dokYLEDesgWBMs3qo8RLR1WqAPKUDHBf748/LmjSBxyDpYxeoDNaFiSRoFsXI1sqm9Go26mV8MN8ZGLGklo46kcwhqPg1ojP//p7Myln4Pjf+jmD07UYA6NqNp+LdTfIB52V9bW3nSnLbdr3hqDK/BzVuhQTEvYwwrUE3sRYK7a7400iTmFUdcfW4XpXgpv3y0BolOy1mJHPzRk9rNvy8suIAmTxSE3MaXldzza0JEnJClE8mY3tg7pgzyVdGxXsMj4m3bTIS/+xDjpIaXrjlMPira4qnGvKGpknkK+oaBEL/JVAcvlPWP4qPPALnrGsmDrD8Aue7duosFvqDAcfE789L3HswIty391Y3pkM46lImMYfD37nlsJSl0WuHgaEh+/tsqb/Xp4E/PBQW6dE8d+pV+KoNoMlawg0QV+ICCbngFOyS1T2ju2PPloL/UmFPf+znXckM73qy03SYXCyeSYgp877Xq3NzgntJrC8ziqqX6QUfGYJExpmk+gtgXOvRXuhVy3PPCd4Yjn/v5P1WV5cx8mQhErRmeY8UEzIFPPCOOyzeSog9q8825YUdr+I0f72cFFSi+xfZU+tBWqdvLs8WPfXoIMNI5pd5xZOXhgRJsodj9/X+P0auMy7m7/Lrk6gqgxSpdckm7OTHLwJwMGfKwi3wAGr4jYmcAllQKH9gJ5Tn2/sxLngCWCAWuZ6CXifFLp65pLdb7fmsXeA+YYepjhoW+WUsJTsSbSaDyavzJHjvE2OzFI9TL5vLgPHU///0/3vLguO+SLvBXhd9xAqVq/3DfvNtNniVHVcP16SiViNtCf+4r14xmAkng6r6kq/NnbbWY2NvIB55FXnsdO4lWNDiFa0mM+8C0picWqU2kCD11FiJqJE4o7cnpjw3/Ta5EP3bsg3+N/JiW0xswXFxEFHq5GX+qnkn4/Y1oHhuvw3TAbTThFhdp46FdTwMtdhD90/dkNJJj7hGdFnp8wMhamBTAq7QahdBMcsfpvKQv8/UFDhSNGOSLKABL1CgkuGc5EOHjZ6S4Jv23wZzvWBtI0iHzxTPDq4gC6gOOb/UC6dlL695ZxsjHK+0s1JEpRpZrEHcZZZUEYoquP5Zp3n9LLQSkDDGCiVVwSDAFWypGfWW3iDzXPj7lr10RyFNnsNdWPyy9BBOSmbrgZMoSlAw8mwETmj6W29GBXu9q4sNq92TgqsRv6iylbj9I601gmC7Vvyj6h+3HkLl9eUSCse17TpAchbeAptx9lMEOKmUycV0fWHFcTaSLMvEttX4CCpk1C9XIN+nd4AcJLVsCqoDtDYJBR8HjW4NekzWTr3LwPt55OCXu9DkRDpjciXN/bz61EmbommRjhpsIi5+flfaVa8x+qabcqvcoW2p+mYscGsUPGfF2HtCp7qipfUPvYVQZdLryQWVaniF0Zn4q/cIxeUcvLtzCEhKWJJqUF1Kwfy/HWHZkYm74K+0NfG88p5JTy+I5T8bzxMB+hG6whCWhn8TJ4yFmT8ODtIYi1e4OltiDADKabVWdZRx36HpIPlOL8OjqXtEee/KWMOdgBrK/+/N5p253k+Ns5mAnYTb/uoPmnHz6DzDqTww/pkD8qq3zdFsB6HpjnWebIjG4WT+YncCX3FqqdY/uh3J3GMdClIfbuy3NlWnvfakIj+EW2L1rEW80NExgaxEv4z0qRDdlpAl5haKfdiVNAoGfFMLVVO81aGY5miEFXKJ6vPzRqLYuGOpisvemosdeP5HFVdkwTwVFKf6Xe90e12upqmTXrJGK4BEf/rQJVndp2bfgZPc/nK7urrReBl4OXZ5KLEvlmIRPBii1ZDFkrUN3cAAVCO3EYChnNj5AkMk6wB8C7Uv4UTOpxIQr3RyPEzm/VtIAvUE9WPvCm2RoWdmnxke73ufXvdmG69J9lTfAhaXgvzE+QRCtdxb5DRwtKHkDOlHXLw0AqK5QLNFzf7TQMDiA+MRlbowq24OG2obooPUteSFXoN01t7TEp3gHvQ5PhC2lGC+Z4epf3bUyADmQ9UMu25ywV6h/SpG5lNl8g8kIweXVl688v9DEJmXg1lurxhOsCAgCfYSPl8KwZidUWNtwibBUMbV340O+LZ95Cx5AL/OmU4orWhoiz/IRAQKxb8259DCHdIzBbXagCXJkjegEBZ1fh6pdbJNdMkcgu6qxjq0Ku+VzuKrMx8OCmWbyDT/UI8KNaZ1GOt2AePfF5IOgEB4JQ5JJIVpw9g0GSZCilSd9r5H8vC+WFj+tk8edT8qt6Fu4lVQDV56rHPrg7FqZakOwqBjEXkvqxdRWUwjoI8IS4qVkPv0GCiMXDOm6OfNwZGOlgHIazTU+f48rAwlHT6Y3BHTNtXzng7GliqlUH13LuMOCZ0R8s9IYWRHfWyPDxTygAvbv/ExDu/HF5N3PrIgiW9Jmw/0tmtWot4AMH/m5c4V8fhL0MTbOb4GlHkDKpY3EZ1rYf6la7zCh+6T/xtLitMYLtcr/vbz6ZrdVRU6IAN+cPEdL0Na+J2Xg3Yd5xM2/gx4Iip50xI1EKoyN59e7TISKQSCunNS2WsxzyCvaS40ktPMjk+wEcQXhUgrSerseGW4xL9zzAU7gFmEF5xYauroHarasQNa5vCzgdgyelUnmYaK2QX+6ekjArvEKII+Tfor2xbwOwOCGMjN/FJmXVTVzygBE19YbmsseaDiL1rOa4U/wk0cTCJT64jn6/EWLDYiODqdWw7FFuc0Bw9T3QIYS8Jj7keEkUbBiQtfQfsbZ/n7PorU+0D3wY9dD02jHug+ywQ4cOqavz3j6HwYeok3PPQYLEdBK/kP17RyMT1qwfzLpHFpxT8wz21W1rHMvSdWjiJxGqHLNYjzPGqGsFY7S+nAzT5Q4I/Ai7fB5PxBGFUJxyBnz4r+zBuDLsgz0JLFOBZii+hegVF1B4wAkh58mlpfcff+MRuN/hZsKWUwV9AfoNcroosOft3BZ/FCRcgq5zJda6pN+4WaTx3IPumpNQC3C0wcwjx19eUZaoVTYJVzRSzLewUn30B82zXledpy2BaOofjFn9QKG+sP3JYVNwTDrjQwvOHnXuTq+tlM4RDszaDeNgcHaWNO3Mtdfl09BKrMfL+6Ghu419k9Ps5F/L5FEFvJA1HYzgX4/20gR3k/+wtj++5l2a/ij3y3iY7B6UivJXRpVFKLwmqlL2jgQrhA7n4TTpJp4WTzuWxy4Q161q7ALfQtTKzP8WRpDHyy9O2C1P6t0a++FZafk/Bt599tlsFYHps6z5WrSJNKzSmFVvr2Q3lV2MYS5QVrbW6zDkp+/2JmpdsUPY/TlWOZfLEMmpJo/e20fLuCTgRphHW3pmjyyDacfkbIfFtbpF71bEcqnR6AU6i47CUVEPNysn1/LKCm0HheTjtvLUAjYvpdWSOvkJbwZRWGwXdsPgWQPSOVORyL+vfPRLwgvNt4Rb9ieMPZ0+A0Xb04hkGvGHGHqOV2Vv8KsygQfZSz8IAcQZDC5CYcGmn+LMBadO2sgcyym9/jSB20vJjY8SuAiYGyfX0Cz9w7pitCxZavT5Lwc/NXr1761AfZqVElT2jbYasJHaXK/F3Ss70QMMYNT9QLzvF18Bz/PcZKoSLwnxSyQmzJcftYqAy8WJYj+1wBnG9rJb7poqCNqscixDQ3xoNzreTAdws/ojsfoa60puEEBGk4H4cWfMoDGuuR0rfG3MSM7EDO1uvElFOH8+Sk1TEodSaXyJfmuSTozZAiaTKKUsW0e1VRp6QVhXJf6RJdTDOYaKWzzrvdcFiM2AB3OS1Et0d6aL5Y1Gjel+nA+Oc1ei5lia8tAYVobTxO7bQjoGPi6BxFHJyig+BenfOHHvvwbFmL54Tx7SxOMnCMkG5BWf6iP2E089y5mpM1WSIQ2paLD1k5kpJq+m1p/yzSOlz22xxSzRS61qh9Ag0J8xM9YnIlgmrn9vTlfl9xxdaCvK60TUrl1azzaBBXvvyQXgih4mWiwq2QOrRmJE3LaMt0EfXk9PSpUQklzkBJxOM67jQk3aj3H7Wi6y0IZrwEEQMNhBVXV2CNrHW+exMSWAj+o1e4bTGnK/hVfAhkTpRS/43gFqJ4OVMXGuSIIMznvsN+H0b2XDhzTFBUf6NlQdXwO0xCb3fy/nGPbrBGwlUmILgKedzdiOqvCvgNEFALlG+yZgrdX74A9nmwgj4yjrx+fG5/yHj4SZe79Raca/pkdiUzajR05ssGPHeFmi9p2XO/D1V52LPQi6L2IVwUTiTKS1X6K9xm9i/z6Xo+66P+raHx7hgBfRH5K/vY6SkKhHzgGgtqvwF9vm6gzxwDRXBzTlcTdblGewNONc573GBoXGowFRsDIx0JfaqCICzxvS6OsXDPEJXMOqRAW/8pASnWq3rDBQvDOQE+qBxjD5mZ75Ql1LWsaoqF3YVjlHAQYqW/HH6ZA5cF+8Mh6pKuUCY9MAcumhrRz2AwjjTwFqYZFTYchRGCGg0m0GMah/drAOC6b9ElteB5N7wrq1SXkfpE8t4RLcb14V69R0+a6HWydqfLop077hJcyDYSEAMY5QVjjP22+H+3Wi1NU0bmjytAgGyd3rE3Y3/QORFx3FbevTffNCln+0y+ode2sHugB9sJxivbgcKxFkqnJ+v+x+H5i+YRIEcq0z712LCdwNFDY6V3JphPm03UMh66bC9ptfy2lZrH40d2GYe4Vrxs0dfZICT+jWU1VNYsdzizGjrRkMY2GiEfQC2mtYwYLg1mdSZdc9BIfAdGFEy17faqbA91/z8S9OFW1hRdWujqvL4CGjl3gK112xm7yzF7dLHF1TfOS7ZL1OKU/fg/XAmQEcr9tdojn8qQtitLziaQhgQ8dGF1WHEEuaQ5IC9W21AZgW7oPuyczhoW/ty81MJzfSPYU7/xoDHOJjxo0qnRR7tV76TQrjKlUDXBQ1Vs8Ohuymg3R1sRWdcx/n7FnpniqRM+Orvaa8H6KjBg7cwMvS0cDQUSjErWkaB+ZrmVvd7REDQc5IX2ExaUyJ2o0cLBC11EWCRULSrfMXx2QYogCyWTkmS4cWtJjogmNkaEOA835JzawbWoDHF26bz5lsGXThTQV7awwPMHxpBwx+VEJ2JfkkGSo5SD/AdFZMt55T6oE9D4GXezhmkPHbM/7C5wDzRiXaqIuylYv5x/t2RAjbnQIWdMnzl2eYm87ICyxZgPW7X4F2zqKg0JUklQwRHvLW4RKn/SFYtj3SXTnJC67C+p4QEGkfttuDItMy0+pgfrsbPvxi8vpEOSrHh9bumppEo/JVrAzJIdkTxryGTuXqX3d2z25S0yJZrtVDdGH7ljEFh6U6Jth1FqLFt903Bp3PywyWhgRRrW2X+uoOZROklngElyCaqUDWgU0Krnda6ZEy4ygx0EbeyZW4VDDmicASxJ+ze5OvV6552rLFD+XdAUQB57ECR2CP24wbraGponbUhwl+grEDx7GQ3DzGbMlWUb+8B7jzKOlqqy1/teJqIojTrvtxtb7wAdIbMMcFSIS0so/W6W1Kej5mH+rGjTB3gGing/OoWGmb0Ez6E+tn8zvKEy7quEFjCE6jyFcpWf0NxJyf/h0tBAAAj2KwFF/tBrJTvKhbi+AD4uXjO5DTUAgfy/c84Nu+SrL2NaHyaIuIN+eErVlZHSjswOA62xKaxMaaLOYo/uApkT3IMhNTnrE/gseWaveg+PAX4brrEbg41mOq/0L+TWVwK8LdoqoGIEUsTlRlrOp9KuRHudopm9fQ3wwz2ikDGponoqZ2yJ5p4N1hDOlfq31P3xxvOAMDrecqZkAlrytu7ZqsAtTx3SY+RCuK50+Lm0npFEzqM4DKo3SBAoKLmwyZVl+I4U1qJDHDIsBvuWygjVaVkJ5D1+MATJlGZoAK65sw1pcAvQzzFjCon3LX4KSUYQZjI039edKCbcZqRDsAjKk/iE9BlnYPEb2sREQY5ieQdab6GW7ZjTkWT/kzaTEd8y0rLWMHwp7ojl6xM55hbq/wO03QwRXo5F1chgwvLohxvOSukdFt9FWb5GGsBtGr4M8NucAm04+yXJbAjADk41w60bdd4vouFE8xLxnWL7G3cd0zgDiwJDtzZKeDorEYwD7B1oIqzUbtYUIgWychZGcrnkRwM6/ijNgOp56TvxHkQVaxR0k5X8SFia8FlI2yabfN+Th0dry90Kdw+KnY2EJyp9DNOoqzQv+h1vY8YcFrwGi8zr2AfVEq9jmJ7xNhi63+jiCzoUg3Gb/844WOit7VJrU7eB/8iYyYdQIjTZoUBhDvHraMDO50GqZFC510NOa6ri+D6isTCiwzA7IpXCp65jwUz1RL8GVyZ2tqHUH9dZSYE/+aqqYcNFt+5Ft8rCDg7bBjQnmFk1RRwniZts80wUYLfC39D7SL9jztnRNrDwuhAjpFZCJqN0FeCs+dYO0tje9MFko8mKtZSwuNxfZ6halmxj0R06piVs1UZlWxIWcLkQRbKMs9bKGZLf9MrD4E7mROXkNLgzerp/Tf0hwOXYqGBEATI3Xs5D9wHVKukpAgJM7RfsXnzNjePDbkKG5FAy2l8SHntRPCfBMeZKFl6KJ8tRpJ7qDkS2t908g/8QKkxidmnfcyyXm0k5Wg+VzP3sL9IE1IYjG+qFQJ8sbaWmfuN4gSd5YMwEgeDNa26BqPRyvQOqFiYUr9lXLvxrBYrNidTJs+MFTt7nyv9g2bMI/f0/QpAML1YdSuTVeVDGXejXRLjPOv4cKk5Mioav+Np/2pEAmCtQUbfisboW9NRx+ZfrC3dqWedl6G+Dpp1c6Ygbjul09aHL4APJcRmYtcam3Mx1/fVyMkucl0Fd2ME4CKp01iCiPQ6f3vuhIHfgJeiKn0ZS3oZXQCzAvo4Ge1dBT9+AljHDB0ttMUUxrxM3YQi834aSe/IGCI2MlGGgirSefqkFqAAceKCH+L7lHAaIWqblzN0WKFBAzOhhMlLEB9wE8S13nK5D4Qq0iitv7hFgYQXMd6PYVQXosetvpzCU2skV9VqTrHXtjrrL9InUr8wkzEUWdhkGJJQv1RLqrUJEBJ4UAFgYLlIbjMh+LkUQmiiV2GC+t2dVy3K1VZSIv4TwTH6Gu2it+gQGM3UbNRPYat0/RPqDavvtbCUhsGpjN6CXR+JUdQ7T/920LTfbKnRFTbRWrqtCYu5WvBdLutQlo6BdgOIAbxpYPMzElQgzejdXt61cAhFpm5V/L8LUt+M4kvGGJ+RO7IPFMD3UXA7HOyMyx85p7YmY2S/OMjfsKbZyRQu4/TWP9xBTA3L9EU4rtqADLGmHBrHBzwkvkgZx5LSuuaT3hS/EfRTfwD13Bq2RwbRxox+169F0ARGvesDTq1crDbAx1F76Dtj7PHGr7rR1MHOBLfgzGL5tHMhVUJi1a9hWuVpcopxiT2xBpYAqRkEz1ILPG8AGPcB0Dt+ukQf5GTEoUQ+UHvakgFQEPJAqgIeA3rdek3bn/Q9Etx2huQfHeSYU44cnAx0uNxLojCWwgr3CMawkj8VMRlCMQqr4GJKP1zBLIeSpZOW0PkPqMBoQsFWrnKgwJvd27Mi7r1emiliP227eDSutV2tGUifyCIb/lRIzk3KlS6UNFu5zzZ4AnhQaCTHIouQikPLvnL/eLCfTdhQD/JbTrhidhp1sRFsBYifN2bSwt1D+8uqt/P77Puq+I0mpjDtu2kbBDXK4fzbDfmOqFSg57KJntyWrAHtDlWl67/Q3Gi5ELKzHspUIIf7WmPPZOY2RFzzF51cMLcGYNWgrjF4/0mHAoZKjDWJmty01GubC+V/dXMrPY6XxgFB1+S80ksxvMLiLCk+n5Ft7ift2hfYfnZp3Pdw9ipNMt4qVPq1f/rLRNBinXkwWi+ljiut1IoVLISRbiY59fUQZHcSlwOhfOTSEFOXO2I8GrP1sa1OkJoXSUfu4tUTtQH7l6aQjB+XjKdqvTuEoMh7n+VPfP0XJCXwfk+z1vAp6PX7Oo9H36Ey4cn8AFhFnsvKk+H95blzLZvFRfKMp6dU/LVkgPq8kgfJLLFSz6RmHvO8yXoVrcLvoiNrbnQm2vPGP15wdr5Vp/vm1Ymlc1oSJItr2piB2aicxzk+UkqIwVh99Fu2uBp9bSrEy353/mWdVw3sGCW0TEOGsAz2jzssmnLnFWhLZWPmuOiW2Kk6WlEl7r0NFYJXLRRJq4/pYr70ddcM7nCvj3op5pbuwdWCB1b9Fkq8SMT54yVWe9Csy+1S0wT5pQR+9FYSFvfuLYCu7us815kOhpg3kMmIp6anPDOFMv3Z8JTmUEfc2nRJc3w6XXVUvEqRfi8PxeCGjuSnR55JDGOqoJMXcQ/VM6QHc02Dp2EfuEHOERFfaCjXmjauwjJm7eFQRLqgzZIfBhClmjmpt0KuD0xZwAanbiVbIgYoBBRPZurhggzHhn03iELgrWQ5Tl74fQPMqslifAaeIIZ4kAtEwFDwx/vcbHHecmuGLVlvzdb87RNmxYUoT2Dmfb2G8EBPbw+wDiPc9YhcPfP2EnS3612vIO7/vf7DZxPRqBKmYVeVfbuFxWy1k4qcjSe92ZsE59NCF/9k5auvu09olzrC/Bsh2Wot5P8NqtYmWZ5He8V86IrCBn+5cfgmuIa9o7CQI79G6N3qJlcB/WxGe/cB5QNpLSNHd4felGAso+A6pCs3gY3xLOk9vSkH7RHfxm+uIwfHSwTb5PhcMt8vzgxtaXwPlGJj9UR6Fp32Na6kYfhzMUDpu8lX9hsGqQnnIrNHzdhwSV40UFI5/Fcs1Uj/jP5w5zqZNeS2n18JTvBcY2uQkimJSpreCFbYN15WOkMIXrQGisHktRGHwauTGwNL4KBIW1F0xFy+pbIhDGg8QpGkRBFSWDOgysGHRp3b0+eTqfVXHgO4AVvUZP+pstDyIZDXpGU+1mlPpcwcmDsm2jKPYt3HxblZTVTh9AroJZiACoCEsj1l+b+8eaTgCy/UIJmORddeozceC2stl1EVfs/CFi59s11X2pz5Iyn1OzpIDg/VVmlzsU4NnZWqzJGi559jmLJAhTr2hLcjjjqMOIRnoWxNTxizpbnoi9B94VkHI5uWZw0t69gonbPOlW8u73iLM6ha/WDTz8tU18B2+rOtZLX3lt1/HYic5U8WKLzkiVlG5Y/+s9nBmoRCjDuUEzPwlGAH9BDJ4D5UdKy8V1Hutln/dc/m4I2XIsjnBLNp9rvmABKxf9l3XI4hHN0kc21+p0nO7Qzry5xSiUROZe0JgyRhM0pkQxmPOyg+dmoARzrUomt0DoA3782taxKpUkVz+l4EJXMSn/gFjgbkznhRso2a0lQZexcDlGUEjGpbpmUsb6LKIXfY+UFDEs25N1LFIq9I5eqXDAXLRd75ZQ2lZpZhVLgr8HMkOELJG2Yj9HE43PHfhY9alvHet9kZCsEUoh/TBFO97Uu7nSiJBpCWybJFP3RVS2sZL+8YYhfiE+A5+rNgZk+Xrq9SYBxYT8iBIEUqfpby/ZjUPFBNEbl/YnPDIs5EtcE4e5gburTpvuod5dqnM1+Y/P/VS0jCy6ff1hNE1DrNTYAwnYohbqxuGFG8GA8Vw54rNaIc9SGr6QXVJpqE3TcfU5Ij30vJEIVE206x00vaofcj7CLHzIqWiwGJ5Ljlpnt9fORCTxyqN48FtELmJ0wsCH1I+IzA5jY9B+PNS2AoAouQ5QW4NFKOocqGVIeWj0MnXArkpzGvF/ewMNnKH0wnvB1Tym7VkKYbIwtZF7E+e/1lEFpjRit4xn2A2yGWnYH5iBwjCyNJNFM0XRfE9SNGvfc6AotEOU8tNUv3DDg2N6zikhnCIsAr2S3V13JIeUG19xsX1ZEBEnFxgEb12GpOOaaXYY7ZDnYguAMA8+SuNPrwBpzsOgK68o3nSEEtNtfgSoxVOH6xEp8EbbPBVFi1oITcVtDE1p81VZOwvaybm09EA2epiXTtAemd7UTGSSAiuu8JXiaWb3vxzfygQcCqZKj2noqzHcaCcwdRJ1SdwUmzUp63nub3cJy71akRfwZ8qsjzONDAF2/nHYpc9wzbZZH4HUpbIvRlsgn6+Tz/3JKfsMxLznYQGvTo1QCKQy8rb6kDaWqZ+iVz+SG+Zwi9bHkQgbhjKQJVSOPNn1vo29lcRvJfE3UmGLBk+4ITrUHqY5upcCGsPLF/eU1G5gtIj+g4tlqxHUQE5f2z42en3aTnTR2qmyERa1ly941h825VJDVXGygVLfhhXVkcmhcHfg/657d8Yk5JPu7r7EpuHhj/BLOzOIUQo/cvIA9B4xeyXqvcGgIRHfOOwP17Nps4er9P+PBcGlqevcAFfDJinX525orrhGNn/Dh0gZ1mwyvJXrxNesCouPNfBrd77ySJL0MSFrQEqP1lhCp48HNHfSBgza5go9jEe1NsVEwS1BC3bn06EomxSV/WfYuh8Gq+QL7oGgfFdNnpm4FzNhLdX8YfIZH1b2fSd0DE2OiYGaPT42n2XVdqoByd6WOCn8yLHS05VPREEtbtaTzZLk5fhPXEeuEVmWP6sJ3gHjkxky78u11IRBUIP8NM4FuptuKb3wFjsnjcH0R+QmZ4YrlBUGZHwX/CUb+HgfalKHk7UKJDVWAgtvEr3LuyKcizaK5cH0TtcdDLIQqnt6Q1axKf7vUrDmRLjnsSZlOLzkKpyLScEni+ALKQsixJ4HjZI2x4uIbh7QgbvnZODNYrO7wuWtFKrUyqXqyoMW8AyaehhTW/hJ7DtH9L7vGtBOz6bTTXUVRHSV8vAP89Ift/j0wUxK92IMfr9Z90/p8hwhN3WBkv69xBI05bK13xBaIZhNRF1qzwma7tOubdcLzhqt2g8WvBMmOSuMigtHoGB2fxyAPyiW30znTZ/er9NIyBzMsCyzZ9DAQ52+V1uAWzIHvu7qk4y485eHZDbnaWd2s0ADaVHyVL8vDOhgq5bkXUOBeB+g8j0HZWWLdxyzLA32MxY/7Zv8LicXIwjPaDj+lGXbvobK98/gGTMpmxlUcV5UjH36WbaPdm01E3z8uZI3UzpB3LPau9bm79QZYEl6mZkTfsagR4v31OWaGaEGrDOBq35YrSZYNlcfHWmhwi3FgqcQ5NPydV8aGJmsjxyr/l3R0YN7SZhk0gzf+TWZE04E/o8m2VvYSg1/5oU+NkaEqjz3jbfHiEJKDQEOqBIeIZviKKE66KPzlASg6Mf0Q/Kps+IjbmJeNEEBq3DApCc6vHX1yZceVebTTTPM7ANSeT9GQe1wXhkWn+BTyZ/8kqnbTqP0U6rgGoW7QMJ5GmHNOvdITUckbi8pCfxO9zmQLJRS/oIb19gHF9hLhIgKcPjEa541vX65qaSfBp0HJ06dzlXe3+w1/BhK185Oww//YavIq4w6nEtUhrsJksK9zQxNEBEs5jtwrOP31d2hwbVMbi/2TjXPq65OV6N/cshkzgiIpXGNIbmrcyNuhgS95Ege9ITISMWQGIKNMQ13sIWwCHDQ1CnW16JqgX/6yKa8htlyOW+D0NfIC3lZCBpS6ctk3eNirfcuH+LCthQpUYG3L/h46u8JvWULQ+67tf/1yKZh5qLf6HNmvRsnCHs1OVGp4lO73763Lr7Y6SCZXJTMyqD7eFidU+t/V+bjmfX+A7+vwCBb98/pX2bZFYtpHAmZIqyWZLDK/ZCdl3k8s86bP63vqoFzF0Pbo5fo/IZxhgzUcJphfDEvdrMyUps9Cjh+uoN73IbtqB8f9mYQoKkTyIkuk/lDR/niw4ohdxqYp2OOoA505lZ6BfJJTz69BG52xGgVtbz0uidd7iYfA5kMxRTTKQslOkBqQMd7EQ5ifJdrh2kl/peqWNlgaIGZF3xHgeZXfUHDDT4jkNYat2ylcoJRWIkTb9Y28rKRMytxFZBkwXIRin56kVNIWC+UNRU6kYGlKvEii4U1rX/bFkNh9NCEBmZOtWZY58tAuQgezz3X28yMoG6shjl4y8BBKxHkN8wUZWw7JsVxT4gHG4zcoFlln3t7hAvYLq9ueeIp2qoVo0kQJsPdbgB2Vt7C67zVh0kB4s5Msxk5yo7LIwCAdl8gbmvxjhD8dIyTzXdjI1KEbSwrGyd+ZeXEfZL/dkYCVmLrzHtp3P6ZlDPdZNflaJkgvBCwmNY8JFjS74w7KU4XDgnsOpruJ/d+94sghMJrEuWCcx9l10x+qYT+IeqXfs2TlhotKD3X+Rd9jGNW5PFolOoMvPRPHW8fo5n1HWWHJ8T4olFlauQpagH2xMWfZjq8fd5swd/jE4dK/kJeLWyeHtGnukqgEKkZOmJUjyiIU4VqepXPsHVlf7qELdPoz/a+UqyRHB2Wr4Pnkvdb1eARJm6V9Wu1IF5+IELojNI98Yyue3GL2mbL8jfIXNl4ltpUsVppjdQ3rTN6Rt+A3tIyrhaQ7hB0gsuiJTV4U6e9UgND0p7dOmCjOQudoCXZ6W2XGGjxxs//w3M1BaCsNf3o5YewVsR1snhYe9ftQVgQIExouKvLQaarRVeL/XBhR54940nt09gSJWfdNV0ugYxeLZzFwgyB4VeeJSBnrR+w6jr0UKKCJQFz3d67B0tM3uDVnrfnR1d0tOWGaYDgyrHW0qp9DVMMhMXVk75WND9YpzLK31ZMW2rpk95gT/VDioDjL5BMxAyjTTLZ66nnLyciaNRJJ7E3t9jspN7X7vmM0aHUiU2py1QXKK+HfwaG4EXAla7w4CeAKCHuHIYPV8t6lno9tIsccG7JRdJyZIzXvFArz+Cir3m7Y8a3x7tAGdWjS661Xow3QpUFOc0rWNzRVo4IQkf+w2EtIVRkzV0joxLL+X19/XELViOfpYIgdixw6R+kq4kuyjqOlY3Vlweee6pp9NFSgahvJdSYzSSQhQy0V9rKpgQCR7BPkPBKAyr3EOuT/3o79yiiKJc8u5EDSJN8cOBzDzjBtuKzU1tcGC2siS4h5+YGvALc9Bkk4dCpVyjgfSdhGbeJR35rk6BNOsksadAzhjfGzkwOvoXqvfz+CSHndh1h6K+iQ1E3OoNxiYQMpOVLaWr1bZ0wECnq44fFhdpo40KB86VGeCQtFaNrQzhCJ0646xPuXUXm3wjCH+mF/lIGEdQGZuUn4JwLQ1mpRCyKUQw6RUjCuB0mHE5I8KhCg62VHxn50JDDw3Sa9xODzjKioJExbdQSLX7+ZiZDjugQiB7PNyfUr5vZg/TiAhQRe08PCJPH2WEcxKGm0/pfRyb9FP6G8W3yBFRIOOa7nNP+UF5Ar8askg+mVuCDO5Wiy1VmlaoACG0eIPmii+7T2Zfj4iO+pJZJ8jvbb6inkdnKluVCrafJmt6OvkjCtS4k1rppTDm3D/wv7Ri39Ds5IIXgeaEMCdwNeV+8RGI7E0Z0Z6KPsvOJwETDUNuyxUk1CUDZnkOyOS+VMcDPlUnvCFqTft6awtaAq5x/FXUTGGGhNwn+6dyigclE3UtRjWGX0l5iXb4zYbQ/zMO6jlf6s21A4p0IFBDPGY/uJxbXcr9N+saqn77A4igfwBaO9MQdnatywSKpk5viAwWotBES5lcwyBMszicoMjYWmX3eF7VMuj7363vy3xE/5lv3d8PMHgGmvl2K1EYjaXRAPeBH7ucAlHNjeoI+LfOnMRO2PbYyj2vu7cp74c2JKpCEYBcL1kveQ0Vro8uoEa5UVIQdoe/qRqVn62PXYSK585rE89ejhmZIY5KOFKB+RTwYjoPI9f6v4hcElncttrz7par0Rq32H5NkUEjEe/8dk/ySTTM3BflBqfi9O+jpSxYGK/WqtiTcpNq01leeYRla/XvU/jR9Uw+0TvpCPY14Ykv+vaWNpkr9uPmgSoUT0T5L+iUZof5h3F29oudkNzEfCqmK76TIS/YNS8TXjbG5yXheKA0bkKmLFgQl2X+aQ1eHtypgekXszucGYyebav0nEDlAXbD3hstyZF7PCm8yMLePjt4l3OxBN1mK++HK+Brf0ef1UEXGy7ycNv3g4j8aNbul6UQUWLTdRuCbmH6mxRmCZdPobMToXECYPyM0wSZBbza+KZ9Ws8cIfh84k1k2nz4KfqKb6fw4E3xJPpFRs/7JwnFlo8nyjzf3RLVx8sPwqt5bt74+4f45VEPIh+3KI61289u9vHJpc5N234WcRVhf2OZlFqKyJUlyh2sG3vu8m8EGfZjpkMnB5BDzCl7FRCV0jRNt5sa68Chv/PERibhwGTaSc7sqt9MxjpDgHWkW/OJqvjtYwLI/0I907cNDVVIkbLeOSj7K/SgBQQRAHlfgXCvkgCjZMUYxtzwizufRRUPOxYrBRBpdMoLzGcMuNAgv7z01y1Pr8f6Wq/8i7XXkuRRxTtOUcI1fidwHGcIqFh6YXcCGTCzCDK9SIBbx0bBHhTgDizwg+yr8Llq/E3zvMInaC5gr6neHZXrscyZTU6TgSu+hfIaG2yd8k24XG6I1qmDXBELAs1/3tONKCgivM279ls7WMrWlXmKqH6ULqiHB6EmZxJ86hWX2jz2gJlDezbVZyP9wa7CDbBBtRuUAmYPF2Tr0WZzKVhzim2KhGS6VQnixzfVa0m3lBNd3n+ReTNJFn9TD59iSPGKoz74KgFq2iVF0LooQsAOqmySqWFEOPVQ3EMqCgtLdbCRAyU62P1M0uyi/aYk14/20Pu+ZaOlXAWql1BtfcWHU1m9ljYGuJiW4H+2XBnylNjxaL3f3Sfo3nqm3m48BVWt9oCt7GCE656qyjfIJOvquCMLsdjntixdWVBDgK0Sx1FWPznl4L5n/xFWvTCbla7YDVihH6Kb1a0A9oAjncam7Ob4yiFpDmNv0bKj26k9z+Hzf68QzU+VjImFjsbOMnJ9HHQ/7C72Xfq6ekZSh6+cphbndLmgtuTjllun9g5yReLUh1TX+Jh4/xneD8IZ7/STsqWgn9yipjXdE1na0E5fUKd61z7hnCkIglXSx8Dl6Q8EqyjDpxRJE+O/18RHllCldPHmLmodlh/srFFnkAG7R/LJJiicXenZ28fYS0viNK7UK4IdtgE6B6Ck21vWG2W/5XLhxAnLu6p8viRT4tDaqPaanN/Owb2A0l6IdFWF9OX4uIVwpKx8vfLkG293SARhcnNdOgq7Ufjr1/I1t+CEz5oCdupgQRpkEohU9pgFxTcumTX/LzkxSGMONuXLfGq78IBAZ9Ifsg3SGoxAwC4PvS13UgFctAB7dGWlyTxEi+orrBJZL04EqNCV2eNlcK1RMA4EgJUxIdGZzJ+LAfWiEx+Qb67a9UPlkP7UlrTx1v6B58g8XFHAZ/PgIIXmD3gGT71tJD3Dq08q7xFeWgXftm9otsagCTp+9XP2mkNg6TCoZpoevYtBmiFVZJK8dvo46yEABw1t03BnphRvfKyDxtdOTpPBFhmaOmgXCYOKVaefNnfhsSc1GO++ob3QDzTxoyAHBc0RktnqsEKxeMdbi3qm8wJe8291B7QoNzre2ihHGzg4uYkeP3b0E2RLZFfQpm+7JNRGCjnEdnAA8pWPbfwz3vv6AdWmH1643C/O/qYY8c7TZhZyfBiouJo89OgmtoBj7IGUYrWmRtoobgWEkuIBFgdvp2jf2VMEmw3zgYlhPwG4WfSJBEfEJvHDH+dNMpV5CLghk17FroOhWsr6/T8XSWACcLnfZb6xDfY8JI40djqyrMuzCTWc3xfdf/fGt7kY2NoP+Nc7PIiatYWa98rI8EiE/GADQXPq37PkAr+PU5CSNAPozJ/4PuH9UbBCUfNAxH75OhIIxuJDEbUFeDCblRxKOmPdSklpeOl+YsPG51Ysz1JSH5gaK1EhN3xMRifStuiAaoFLGIHsT8EM4KVf0/IUIwk1zACleEndR5+2bmlOoDRJSUgSW36gOUy9PWwXCBrBOSOUpgyTM8bQZmzJwcBIOXDmJ229I5uDEsF5jflYuvcWXDdlDlQND11fZDBLbVnYTDJ5eFx4ovK3MSW0sQcgO1AVAYivEch8smJjRO4Ivg9uJadTpjWAOixA3CAenHaZOxRCzU5Buf9gDBC9EI0SodpR7CnkzbIG/sWsrOVskYH/tMWNaOi5iNlLs4oiRmlcrKu+UZQ58d3EbdflKTNbCo76HOO1vpy2o/d8qugMoa1R41tr55VJ/aQOPLj6hJ9+srVUHBNMs05bKcvPmceKKAUJjdDjxTfvUxlo08BvWVcCZvPdE5wQDBM3a3+QjCGS+o9wakvAfsCgS2J0wC1jndw3Iwvf643QRNy5srfVL98vAKp0BWTjUa70jiC+x2+hN2ofg1vgP2SiwPgSf9pxwR34KcgWdcGATqsXF28vj4fhuFH3SRqwPTfhlenRtBNWIzNDg9fl6/mS4dPxJqpv5uVdv1PduE" title="Mekko Graphics Chart">
            <a:extLst>
              <a:ext uri="{FF2B5EF4-FFF2-40B4-BE49-F238E27FC236}">
                <a16:creationId xmlns:a16="http://schemas.microsoft.com/office/drawing/2014/main" id="{A605997F-98D6-8716-5033-4F4A59857BDC}"/>
              </a:ext>
            </a:extLst>
          </p:cNvPr>
          <p:cNvSpPr>
            <a:spLocks noChangeAspect="1"/>
          </p:cNvSpPr>
          <p:nvPr>
            <p:custDataLst>
              <p:tags r:id="rId9"/>
            </p:custDataLst>
          </p:nvPr>
        </p:nvSpPr>
        <p:spPr bwMode="gray">
          <a:xfrm>
            <a:off x="332229" y="1285912"/>
            <a:ext cx="8228111" cy="2622940"/>
          </a:xfrm>
          <a:prstGeom prst="rect">
            <a:avLst/>
          </a:prstGeom>
          <a:blipFill>
            <a:blip r:embed="rId20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40C2012-5075-F4D4-7EE1-2F557EB08106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8250635" y="1657893"/>
            <a:ext cx="3609135" cy="382195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080BEC5-2561-2204-163B-7D38A2C1EA39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8463975" y="1694056"/>
            <a:ext cx="680024" cy="326678"/>
          </a:xfrm>
          <a:prstGeom prst="rect">
            <a:avLst/>
          </a:prstGeom>
        </p:spPr>
      </p:pic>
      <p:pic>
        <p:nvPicPr>
          <p:cNvPr id="29" name="Picture 18" descr="Rose Paving Merges with Atlantic Southern Paving and ...">
            <a:extLst>
              <a:ext uri="{FF2B5EF4-FFF2-40B4-BE49-F238E27FC236}">
                <a16:creationId xmlns:a16="http://schemas.microsoft.com/office/drawing/2014/main" id="{93283590-86FF-9295-7FCE-8230BE91EF8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88" t="27030" r="19071" b="29133"/>
          <a:stretch/>
        </p:blipFill>
        <p:spPr bwMode="auto">
          <a:xfrm>
            <a:off x="8525280" y="2076296"/>
            <a:ext cx="630841" cy="244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3" name="UniqueVisitorsTable">
            <a:extLst>
              <a:ext uri="{FF2B5EF4-FFF2-40B4-BE49-F238E27FC236}">
                <a16:creationId xmlns:a16="http://schemas.microsoft.com/office/drawing/2014/main" id="{F41C6954-334D-C757-8025-28E775BA996D}"/>
              </a:ext>
            </a:extLst>
          </p:cNvPr>
          <p:cNvGraphicFramePr>
            <a:graphicFrameLocks noGrp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952235582"/>
              </p:ext>
            </p:extLst>
          </p:nvPr>
        </p:nvGraphicFramePr>
        <p:xfrm>
          <a:off x="8207583" y="3828054"/>
          <a:ext cx="3609134" cy="1316102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0549">
                  <a:extLst>
                    <a:ext uri="{9D8B030D-6E8A-4147-A177-3AD203B41FA5}">
                      <a16:colId xmlns:a16="http://schemas.microsoft.com/office/drawing/2014/main" val="3897694433"/>
                    </a:ext>
                  </a:extLst>
                </a:gridCol>
                <a:gridCol w="1356491">
                  <a:extLst>
                    <a:ext uri="{9D8B030D-6E8A-4147-A177-3AD203B41FA5}">
                      <a16:colId xmlns:a16="http://schemas.microsoft.com/office/drawing/2014/main" val="2729753460"/>
                    </a:ext>
                  </a:extLst>
                </a:gridCol>
                <a:gridCol w="1152094">
                  <a:extLst>
                    <a:ext uri="{9D8B030D-6E8A-4147-A177-3AD203B41FA5}">
                      <a16:colId xmlns:a16="http://schemas.microsoft.com/office/drawing/2014/main" val="829964771"/>
                    </a:ext>
                  </a:extLst>
                </a:gridCol>
              </a:tblGrid>
              <a:tr h="557294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000" b="1" kern="120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Brand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000">
                          <a:solidFill>
                            <a:srgbClr val="C00000"/>
                          </a:solidFill>
                        </a:rPr>
                        <a:t>Avg CPC LT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000">
                          <a:solidFill>
                            <a:srgbClr val="C00000"/>
                          </a:solidFill>
                        </a:rPr>
                        <a:t>Change Yo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14307374"/>
                  </a:ext>
                </a:extLst>
              </a:tr>
              <a:tr h="379404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>
                          <a:solidFill>
                            <a:srgbClr val="C00000"/>
                          </a:solidFill>
                          <a:latin typeface="+mj-lt"/>
                        </a:rPr>
                        <a:t>4.6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>
                          <a:solidFill>
                            <a:schemeClr val="tx1"/>
                          </a:solidFill>
                          <a:latin typeface="+mj-lt"/>
                        </a:rPr>
                        <a:t>6%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0825124"/>
                  </a:ext>
                </a:extLst>
              </a:tr>
              <a:tr h="379404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>
                          <a:solidFill>
                            <a:srgbClr val="C00000"/>
                          </a:solidFill>
                          <a:latin typeface="+mj-lt"/>
                        </a:rPr>
                        <a:t>6.0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>
                          <a:solidFill>
                            <a:schemeClr val="tx1"/>
                          </a:solidFill>
                          <a:latin typeface="+mj-lt"/>
                        </a:rPr>
                        <a:t>1%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5808991"/>
                  </a:ext>
                </a:extLst>
              </a:tr>
            </a:tbl>
          </a:graphicData>
        </a:graphic>
      </p:graphicFrame>
      <p:sp>
        <p:nvSpPr>
          <p:cNvPr id="64" name="btfpCallout283655">
            <a:extLst>
              <a:ext uri="{FF2B5EF4-FFF2-40B4-BE49-F238E27FC236}">
                <a16:creationId xmlns:a16="http://schemas.microsoft.com/office/drawing/2014/main" id="{D9A8F9A9-6F86-2F0A-490E-6D707A3B50ED}"/>
              </a:ext>
            </a:extLst>
          </p:cNvPr>
          <p:cNvSpPr/>
          <p:nvPr/>
        </p:nvSpPr>
        <p:spPr bwMode="gray">
          <a:xfrm>
            <a:off x="8560340" y="2467421"/>
            <a:ext cx="2421985" cy="380638"/>
          </a:xfrm>
          <a:prstGeom prst="wedgeRectCallout">
            <a:avLst>
              <a:gd name="adj1" fmla="val -73333"/>
              <a:gd name="adj2" fmla="val -40097"/>
            </a:avLst>
          </a:prstGeom>
          <a:solidFill>
            <a:srgbClr val="FFFFFF"/>
          </a:solidFill>
          <a:ln w="19050">
            <a:solidFill>
              <a:srgbClr val="5C5C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GB" sz="1000">
                <a:solidFill>
                  <a:srgbClr val="5C5C5C"/>
                </a:solidFill>
              </a:rPr>
              <a:t>Only US Pavement and Rose Paving have invested in Paid Search in the LTM</a:t>
            </a:r>
          </a:p>
        </p:txBody>
      </p:sp>
      <p:pic>
        <p:nvPicPr>
          <p:cNvPr id="66" name="Picture 65">
            <a:extLst>
              <a:ext uri="{FF2B5EF4-FFF2-40B4-BE49-F238E27FC236}">
                <a16:creationId xmlns:a16="http://schemas.microsoft.com/office/drawing/2014/main" id="{15B0CDAD-B231-E9D9-FEAC-D2C8DC2B4054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8463975" y="4412495"/>
            <a:ext cx="680024" cy="326678"/>
          </a:xfrm>
          <a:prstGeom prst="rect">
            <a:avLst/>
          </a:prstGeom>
        </p:spPr>
      </p:pic>
      <p:pic>
        <p:nvPicPr>
          <p:cNvPr id="67" name="Picture 18" descr="Rose Paving Merges with Atlantic Southern Paving and ...">
            <a:extLst>
              <a:ext uri="{FF2B5EF4-FFF2-40B4-BE49-F238E27FC236}">
                <a16:creationId xmlns:a16="http://schemas.microsoft.com/office/drawing/2014/main" id="{A9BEF636-A7A1-0341-E95C-2463C447128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88" t="27030" r="19071" b="29133"/>
          <a:stretch/>
        </p:blipFill>
        <p:spPr bwMode="auto">
          <a:xfrm>
            <a:off x="8525280" y="4842360"/>
            <a:ext cx="630841" cy="244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7" name="Rectangle 76">
            <a:extLst>
              <a:ext uri="{FF2B5EF4-FFF2-40B4-BE49-F238E27FC236}">
                <a16:creationId xmlns:a16="http://schemas.microsoft.com/office/drawing/2014/main" id="{CAAB945A-D878-5EE5-8E59-857EDC3804D9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8250636" y="4373101"/>
            <a:ext cx="3566082" cy="382195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9" name="btfpCallout283655">
            <a:extLst>
              <a:ext uri="{FF2B5EF4-FFF2-40B4-BE49-F238E27FC236}">
                <a16:creationId xmlns:a16="http://schemas.microsoft.com/office/drawing/2014/main" id="{9C8292C0-5924-C755-FE56-5BE2BD8C2517}"/>
              </a:ext>
            </a:extLst>
          </p:cNvPr>
          <p:cNvSpPr/>
          <p:nvPr/>
        </p:nvSpPr>
        <p:spPr bwMode="gray">
          <a:xfrm>
            <a:off x="8560340" y="2467505"/>
            <a:ext cx="2623475" cy="380638"/>
          </a:xfrm>
          <a:prstGeom prst="wedgeRectCallout">
            <a:avLst>
              <a:gd name="adj1" fmla="val -74906"/>
              <a:gd name="adj2" fmla="val 105041"/>
            </a:avLst>
          </a:prstGeom>
          <a:solidFill>
            <a:srgbClr val="FFFFFF"/>
          </a:solidFill>
          <a:ln w="19050">
            <a:solidFill>
              <a:srgbClr val="5C5C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GB" sz="1000">
                <a:solidFill>
                  <a:srgbClr val="5C5C5C"/>
                </a:solidFill>
              </a:rPr>
              <a:t>Only US Pavement and Rose Paving have invested in Paid Search over the LTM</a:t>
            </a:r>
          </a:p>
        </p:txBody>
      </p:sp>
      <p:pic>
        <p:nvPicPr>
          <p:cNvPr id="91" name="Picture 90">
            <a:extLst>
              <a:ext uri="{FF2B5EF4-FFF2-40B4-BE49-F238E27FC236}">
                <a16:creationId xmlns:a16="http://schemas.microsoft.com/office/drawing/2014/main" id="{F7923DF2-02F3-6674-451A-74ED0A63A728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38" y="946635"/>
            <a:ext cx="252287" cy="25157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1836DC3-89DF-9FF1-89DB-767CC536EF4C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 rot="16200000">
            <a:off x="6184396" y="1452547"/>
            <a:ext cx="1538653" cy="2255988"/>
          </a:xfrm>
          <a:prstGeom prst="rect">
            <a:avLst/>
          </a:prstGeom>
          <a:noFill/>
          <a:ln w="1905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610FA3D-B49C-CC52-33EA-8B8ABC3B542C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 rot="16200000">
            <a:off x="6149004" y="3890817"/>
            <a:ext cx="1538653" cy="2255988"/>
          </a:xfrm>
          <a:prstGeom prst="rect">
            <a:avLst/>
          </a:prstGeom>
          <a:noFill/>
          <a:ln w="1905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6881783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btfpColumnIndicatorGroup2">
            <a:extLst>
              <a:ext uri="{FF2B5EF4-FFF2-40B4-BE49-F238E27FC236}">
                <a16:creationId xmlns:a16="http://schemas.microsoft.com/office/drawing/2014/main" id="{C04128CF-A221-30D9-1201-1996D826BC6A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9" name="btfpColumnGapBlocker261287">
              <a:extLst>
                <a:ext uri="{FF2B5EF4-FFF2-40B4-BE49-F238E27FC236}">
                  <a16:creationId xmlns:a16="http://schemas.microsoft.com/office/drawing/2014/main" id="{55B291CC-E73B-FD3D-2EB7-787FE8BEBEA1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7" name="btfpColumnGapBlocker179930">
              <a:extLst>
                <a:ext uri="{FF2B5EF4-FFF2-40B4-BE49-F238E27FC236}">
                  <a16:creationId xmlns:a16="http://schemas.microsoft.com/office/drawing/2014/main" id="{CB053755-3836-EF54-FE4C-265164E7CC79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999702">
              <a:extLst>
                <a:ext uri="{FF2B5EF4-FFF2-40B4-BE49-F238E27FC236}">
                  <a16:creationId xmlns:a16="http://schemas.microsoft.com/office/drawing/2014/main" id="{7BA605C5-2BB8-E31A-D20A-7D3029A65303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888188">
              <a:extLst>
                <a:ext uri="{FF2B5EF4-FFF2-40B4-BE49-F238E27FC236}">
                  <a16:creationId xmlns:a16="http://schemas.microsoft.com/office/drawing/2014/main" id="{9FA2DA01-7DAC-09D1-8B83-6DA3C98AFA4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btfpColumnIndicatorGroup1">
            <a:extLst>
              <a:ext uri="{FF2B5EF4-FFF2-40B4-BE49-F238E27FC236}">
                <a16:creationId xmlns:a16="http://schemas.microsoft.com/office/drawing/2014/main" id="{FE552D91-7190-6F69-1A47-5A2D46A574C5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8" name="btfpColumnGapBlocker799158">
              <a:extLst>
                <a:ext uri="{FF2B5EF4-FFF2-40B4-BE49-F238E27FC236}">
                  <a16:creationId xmlns:a16="http://schemas.microsoft.com/office/drawing/2014/main" id="{018CDA00-9214-E534-7ED0-219D15E8BD51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6" name="btfpColumnGapBlocker981614">
              <a:extLst>
                <a:ext uri="{FF2B5EF4-FFF2-40B4-BE49-F238E27FC236}">
                  <a16:creationId xmlns:a16="http://schemas.microsoft.com/office/drawing/2014/main" id="{34F31972-3F15-C074-FF89-2EAFF86C40DC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" name="btfpColumnIndicator380905">
              <a:extLst>
                <a:ext uri="{FF2B5EF4-FFF2-40B4-BE49-F238E27FC236}">
                  <a16:creationId xmlns:a16="http://schemas.microsoft.com/office/drawing/2014/main" id="{E938F704-AED9-125F-5A67-01FEA70B2F7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" name="btfpColumnIndicator174650">
              <a:extLst>
                <a:ext uri="{FF2B5EF4-FFF2-40B4-BE49-F238E27FC236}">
                  <a16:creationId xmlns:a16="http://schemas.microsoft.com/office/drawing/2014/main" id="{3A54F990-3F7A-8E54-9B5E-3EB6F95E8D6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18375329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9" name="think-cell data - do not delete" hidden="1">
            <a:extLst>
              <a:ext uri="{FF2B5EF4-FFF2-40B4-BE49-F238E27FC236}">
                <a16:creationId xmlns:a16="http://schemas.microsoft.com/office/drawing/2014/main" id="{FD846FD7-2549-1B41-006B-3766DC828BF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270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84" imgH="486" progId="TCLayout.ActiveDocument.1">
                  <p:embed/>
                </p:oleObj>
              </mc:Choice>
              <mc:Fallback>
                <p:oleObj name="think-cell Slide" r:id="rId11" imgW="484" imgH="486" progId="TCLayout.ActiveDocument.1">
                  <p:embed/>
                  <p:pic>
                    <p:nvPicPr>
                      <p:cNvPr id="8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846FD7-2549-1B41-006B-3766DC828B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tfpBulletedList690727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dJY2OMwf8mgoXWrd8S3Dpr8K8e5QDX9l/GOurOelpINCJLA3EC4Lci7vMC6fiShJ1UHdlzzodfzXVhfa9I7ytsrjD+/2btqII2dIPK169d0wBauGKuuo1FwH74ousM1/+mSexsoEEwB8qOkY1QOkYEldBoxJnoj4rOu7Of6bunPCyOzWHy6CzOlPKHzRMVJYAvmcLkUUUTX7n8j5wKbFI+N95sMXpEcgJcax4gq0cf5ERwycnqbvJdVH+6MPqUmAD64mLs9/gXl6bdSy+7E+WlgRfjIZLOKEudtTcBvbk5AQir878ZGFtUv4pf4y5fJVvF6uA9dTqdeRlPJ/R4228s1cQPwIPDPD82BgdF2ePcIP5kjy/mfPOR8VrZ050/+FYzMC5BvKDUzB2TqjmHLdB8vKGN4Ibr8o5cbQtnJnpjNzV2/pLq/NVO/FuHHAaE8CbEc7ItxAdcdwdX0z01eiT4TGxGfVESuKuvbbJt4U3IiD/J5VJ5L7NMyOD6iID/4cneGbXYwU60Y1M83RmJvVHFrRaX2xEk5WOoMo/R+mfrlw5yJNvFSmL2BGuQKhWDrZBO5rEiAsEH0ijvrUAmvSNRXRYX08D59cQHECQDiIWlHdRKzUzyhm0PHmiPRqrrILrKe6T0prdB8UVPATgwVuBR0H5DOcnA5hLPfe6syS60wEvZnWX5cOw3bR394ZH3k48mvrefwOP5mwflcepx71SAp4EsekccRwuuEO52crnozimZw7rwi6YpS4bFnhh+Hi+vtDxQffDm6yy1l9OLaqp3r5ftBI0bkAlkPMmRv/rDaBhH3qmigN/WxM4kWhuYMyyTsMg5KOU1VAe2BT1nBAHctOgw8naV0uOldFJX2wr8TxgMMQ4RyAlqhBEIv17P1b1huz6mLyRRwiqaAc26fnTdgFKzK9CRE7VvdYn0IL25097aJKufYFOpToluYOlGeel3AchZ8EUAFoP39Hk3SU4jmJr2QHgO1MtKd8wPf1mm9Uazvg/+twkDBmhfcqzo2K0+S2tNyn9Vpc/Xy2NYdIsqKO9FJ41BAn6LSmSzbRE2xc50LfYwGwoTXerofd46FjugrDsB/wiK+cCeua00cDLorclZKNUBC2eKZQtToFeQWIit1STBtRmzqjI/WC/silKVfcUqZZe28uFpyFHn7t3KD9o/cvnrwMtWDsx3ef953vQ7Yu0rLOQN4IMlb5yV0mYwZ+QxD7wNKr0n+Z6J6SZg1heG8wOs0oj/VYv6EcUlIfdvicPoVM+/960pKatsTQFR5igFvXYV4J75+lIEsrmLBBJVy1rpXYbunbOva41EFGC6kinsvvcUqBmddt0pwYN1Dwt9unNNC+U8D3+X0Cpvl94NhyzXW1ucxG6r7nHf3seBH1+LcX/6JTvKTrM5k1Y9mCC7GxGKONxx473aZW3VF5MXjnvQwmWeGNVQPd7JrtcNYXJnZjxvOdoJt08O8BidkdKwzOCXLn1ABk0m76VTKn2a0DGxzpD4KJOqkit68cwGaGh2KqR3nmJ+m5ijlr0+Mt/HXiUyu+iVdVKBHAgzxasmnUXgJicgmPrwCCyoo662YZHMU/DwtuJoa59gPKUU4S2yBAoJZRwlcWeUu4huXj8xZYX6zcVOzfRiHw9/FkwNpiEX9lV3CFMU+3BmxJx5YlSd1/XuBgBuKOksb4vhOvZHGmrbjEgQoTqBFMwLZgpxvtegYr5lkH9T0DxpfFzoeRAGOUAKVZq02cqTLrV7MqCXqYlwQnYS+mrKET9q77uNtIEMlkjmVaFGvs5yXBK16LV0RCLVg/fR64LSGMJSE+PH0ZiDi50j+OPQerUYOp/dWqfBXa1+b9E4RYHiMqEkC5/JLfYl6e5AWWi30J43DjG9IiM5C/NlFl+l9EKnGNmQqbo8KzTemdrPblBzHzlkwE63qm4p/bXWCsbBPArPXUgKJ6wpr+Qn5A0c08r1UE9Q1fVanMDh9GVmJx7vwFef1ZKytXz5mgt24riVRkDO77CHJo24xakF+Kz1p3Ts73KHCxAWkyg4kfcQrCiHFJ8u8KdWgo+2pi/PrOFl2NqtTbc5DHEHeqGpYegtnukTdhmvEokxZ4+f6Zs1Ju5gim2ZMTdAJp9jvjjGjSN6HlXRVpqIlTPhyIV4GE311UJndgaDa6MWz9Ucf39TB5M0SMwoschQY+2U07yzdt+OsYmXVZyhzEz7ciFfuhOaQmNV6fDeo7DEKvnkWFUA/ERwLgIt4bzkTesqT02iN7v8wwSpAEr2uLv+Jej11o9s+WuGzgAkymWZJkpa5sqedJWoOG5N0Fimwz5jbANXZu2F9mPoo1vD2Qt+xvOklfhzZ3BRF/zOLxomSbCl99F5libEWc/RZmKXOIhbn6vxDau9fOPCvlMSxZxzpdBp2CMWlwqv0M0AU/Azt841/TCRONDAM2wK93M3BXt3dwVGLEC4KIyZtu1MW4be8Q2wcuFVkTlc2k0ZbTWUAMKNa99G5akgvivyuZAl3oBDwtPl75uGc51eOp3mtpeW/LVwsBSYE8pFCiDxqhIi5M/1SNtj2NVlQBVAFxddnPFDZk23Jg3kY1K6f/EENGGChqKsdOfsXqim7sPj3Go13UWs9/dnrsuyl08uag9qMUi4Ekl5rF1Gad8SO+xntv+GWN6CjX13NP7eddKzF7uFHo1ljGbYQVdgblF427N+XZYFjEg6Bnwr9zN9l2UBltbiixWYyIF7yu4QSt+AEmtwYqJMSjjYn5ig7rQRldfgbl2Acrtc6cameAFsVwhvtlyMTN/yu8W/nNSuHTmJA67e0aS7o13xZ5JkvRC601+5iitzNP5lKXeb3/fEa31LDpNUpUXbTMWhcNdUh/bnfYNfrYN6rPRIGgdn9nqUJciyQnjdqBmfnWwDRsIr/GhcCBILjvlE6qpQ2KBRYGh8mkKDLvEiLP9Tw6G2gRHeWJgqexg5shwjT0UFQqY1hYhEBoJ6VyHm9sOz1Z3X2nQvuF/Al+vrxPM/hIEWU3oNn/LrVDRO92Re3v2mtGDdhX2Ja0sYZG1ssH0HEAgnAvUyLGShE3uH3t5PbTliF69VGI5km7PWSxVG4iRLBOt4uub0w7yjnQK+2jAfXmk0vR8qGnsqdJHsl44NKzw7T8wogo+FV/+WEYCSNFVljTHjFfgJFkb1QV+MS1P6P0zpU3otsvPthT6R/m3QjjwpnJNF7bDskqNGO5HI3sM/zFQHFpmOvBuLc9epl3Ket5HJ9t8sTT4T6CjFbTbMvQSeP/KVBAkvbWabi99UDHanxuIXj6ZuxATfeJEfDquR29FjUJNIW9OIJ9iYdRFD1UKlu79nmaoVBSPeM9AiEbKHr2pyVUTLmzoi2Wh8JHPAX51AilFXcvpmqU76Rw2HfPViNufwCwTe5jmI3tdC9cbS2sWRS5yBFk016u+tKc9qccrJMX+dUUMTqDezw+vvZkwkG8U4A0jyt/yAAxC0n4SM+tOqmYW9jdFubaFl66sWMSgYlqo0kZj4xAKOuaFLkMvsc/oCLurKaAgLNFCvc1KsinTd5tM/lTNdjiD1PemBLH5dn0V9x4aO+hyDktEQWuR2tURLgSfJXEbsqZztflQJSJcMFfqUeM+hVooXcrue1XxBTxakmsd2m57XdlXJsK4G5wfl7tnaWjwsdJJIfXuCLktqwWNlm4nC16G5U8ynRMamW0jLgAjlfdCMGGvm1pmhMq7zMGshinPqDz25Rg+xR+KJxhG6kt487TG7OOuwCHgTnlN67lAqPO8H596KdyWwnekG0DeIhoaPJwdH0fDa/uFcVyacJyYMwqfVOQiOMfRsm9O/S7poueouzgBp5vyjOjOOkTaAM0VOY5AznGu3DPcr1aHOqYLBZ48yoRxeeRJxAfRTGSyW+PhewxBrwxBihnJVRJG+CRbXEJUSkwqY45av3rYgX+8nN2K0zW/JX5I9UXtcTYDSiGYgNrazPQZO9uzgNhMGVlTtn8zF5zxqz8/E4Uf7woWhg1TcR2QGuN0nXaLI97KdlFSJ/P7LKm4j48sqIdDULW6gq2YWIGkZjSE7V67SVGOrT3VNEiipDXqQDS9F8oi/aQl0yYpaB8sGQVYqLzwEDUg2MkgToQEb9dRAvd/Fs4BRg0IoG99VAslbsorVPF3WIvWG4SL8atfFdpjJLfnHs/xeqcyVd/N2cKW2ijNH12qdVJcJhxq75KWvnOsDPePg97hc+OFjUZnM7w0O+9CD9z50QI/xaO/lpNRrRENeDwJphs+8shuByy3pbAbavsJOWLAUHhtmOxoSt+lYibEE2q/b+NAq+59KXYf9QJg+PcJsdL8XnuqiRwZcWSXeDMbKJBfj5vShHs791ezUY1M0Fjr4vV8cbMKxx2k6Xm0ekX79rc9g+uclaeg04zZEwsmQSguLETgnBqDPx8Ti5R4n31uSVn585zUgwqkx3lNF5vxAfmUWoRWprgc3TBH0cnz5oHlmCd/pbTnj7DM5p+r8cxos70K7lMXTGMnEqJdzfKwOIO8Ma5Z0+3oi/zxbFUjBrWcXBxT98D4Ouuhvkyn87RSrHPCaDLlhne+6jW6erRsqtyRhfcBVdnW4uyIna31svaNNMfdvw6PHmKNs0wsUmAcvdZ3VGI3n0tx83DDNqdVbs4GGh6r7U4OYy8RdU0qCkPFORWvAPnl5Qf2u7Ahfxgbe8PU2s9bgdQeKfYI7jKUWr/6KiA3igoM44axI/0rL9mn4wS8Ee1s6aEXVx84aCsGVcwcjJ/V0rAqXzX1b2Q0MwHZ63UsPG+c++kKqQ367qGGtjZAfbmt5oZzJtHuPnnc9sS+oWe39rH+hVzJAblh1kYVqJJst+FW4QzTpB5siyLRBhcZKMcHPfBOx1cmKbZ6FtgZMfZtPAYe7U1QdtZ2TS3Pj96uBgcVS8YssrG7RQfB1WgfaswdB2Bux0nlHKld1Vq+C92Z51rY+QnaVBqeZjQekeibg/T+dk0e/mfAZBsIJOJ3MHdi1OL90RdrzGzGzYFRgEgrDwD5Rhm7cO0hcH1VnUJtOH6hnOTixJu2Ogodw4ijFWN3iPAVNYmgnHBLJpLuoHXZWpuwB+7GYuECmOzsOVXKPQAb4A9DW/5kHjKqEb3U8ju8zdzTzYl8mLIcc6+C/0JpK1sN50QrtJ6gl723QrpPBS462H2gzs797xktsVte+fp+WBoX7YEu/ZbG1NDqjj6VEVp5hFCHiPgpn0ZnxpYGW7olE8DFtfN1x0vuQv14SFtiDQJG3hvn5npN0THKkAcUkDrJYARDpssWnwasIaoG/VXaAAKeUU89w7ycptPC0BDr/7xAFxZXRHmO9lAWhEnxYlyqMS9n88snWYRqu18PZUbqF9vm0p3FnEmjeKD/qb61GTE219ZqrWf0ZxPlXSyeE0NUSxhpL9jCTaqxjpjGxJ7ihq5gmKPqYCwhHDONXOtLoR/qVVqBtobcM6FFimdSmYk9o5q998Q2zRfgmdh8H1M/aV0KhUMbOLO5f16mrY+OPllCYTQCfGE+O3bTacNsJ9pA4um8YeVziGUgNnscFtYKKSZItbT52T7FRd4lbe9/Qnqvatq5Aylbn59WJolJCNyrHCuC/jEjNBL+crK4K77+OqCF+LauWgTZN+LuAtdJPE525y3tAWlwOPZTdQd7AtLJ+o3XxNIH66BXQHVmy5d7qYQul+fIHVlJtagX3VTNa7zhjTpnIb9v7OjgArDLW9ksbef7VreL3bOEfRHOd+LPTQKpjOTc2mzbkPOpXJni+lBI0QE/dT/5Edso27zF0LZyhd2gfCLcM8tEMFC6Z8oB+tLNLqDOW5rN4sk7j6/5+zmWN7gpcRQTxCEAB9QHNmbZgBBxGhW20ZCdWGUG4P7/pJOfoUnQ0XJBb+fNyU86G3QJ+V2OIwieBaX1oklYdETSoxJBSLLobLH3w1VuNU8hbfKwlr78RSXV06HwYaqZdT8XIHEtSSTg+ubE8GYsOGFYg8lfLDWfNwGH4JEhTsqN3MOODQyN83Sd9/VtBS38bwC8S6J6tHVqPfcydHxl0UDc7JWU+mf0zayhQry76zWe2qeePrkZdl3FltB9RtyEmvdi1lKdBVloIjOVy8vm6Z7BwxWBFOmzvXH4iPnWrgxH65Qc0mOe7C83VuOEn4+ZKKuz71iKEUYtSukDLhW6z9xlA9zzBscRYaJORM6ololiTMeknfL3I9eKmP1W4KJ6sALsYa0f95XpGL4wFv6nQVaikUf4GOFu1jXHCapzHaAmH0EIBdzfM/59U7ruI/THpOh5BQy3L0gJYE0scM2c7enPm6k+dYW/XMGCuSt6AcVv4XiK3GRLtlLEOEDnrSM2wa8PvEoUFpmB8z8dllyM6kPUsHqR3AoJJE5Lk+YW3tvtmf2pYMzFzhoPplR5PJGwTk/gBVGvpRKyM9nkXTlXw2vDju9/T/3WQcA2Pm1hi9E6bGWcDKff+jwYYx6EfcTadwZoftiCEpfdmFipyuWmX9pva4U996Z9jqIRfuh8KbTRCILu4wVqxwBTgKP+f2/BjgrJ4NZjiurGc2V7xagw4uIQFHubgbrvewP5JO5JZ6phEzS2zE9yEWaSecspfsJel3BS4ghUpeDl7lee8jD8wvjZfuynwtiFaQOTakq9eCl6TAi88KHHTGsdnOZ6s9jEYnGeivf1nwmSQYXjvhiC6zTpRfejj46pk7kWhMj6165X9DJI+GevcwmM4/rBWe/+8asqBe6QGmI81vt3uSZ0s/N3psOOuZf9qU6KLPvCnaaRxMvABYYM8Nbhh/XuJsEvDjFguwhfVWiKoOb3ba96jmR8Ndj2yiYzMPV5nUcw+LJhb/dWunrAn8gONuH9xDehrn4vHM+t8BFGGs88QlwzUWyB++06ZckmOeb4mr+av9qVm/KAOpJKtKMDmS8/VO3JczuwTg2/CMsbDP5WipXdyrqe6r139OtF2sxDzPDd1E95NT35Jc8pfH4aXVd0sdTCACSwJBBncnQfX0Bw/61CI0Wqxno3TBrepYOYHh6zpdCaaCLKE0orNHfCDfl8W7d/Ik4AYaEPMvYzGpoyEN14imT32xS78qbj7/MfV1RzbuK4NbtUmaaK2+0LC1wRsNhypw2SnDJzgC4FFGCZ4AX884fMBEZyOd0TmjLcyuup31ZRD2VSSCSIZZ4o9v9ZFQOTlF4zsaLK+enPDz9Jegeks4WUzHOu/wrC2H40OwG+GlnjF+kzPud7seBLDGwODg5nTBs/YbtbCPCfTxEd0temw40nJ0CeHG2IYYt6p3hv1PuDgs7KDTRa0Ku/myQZE1hoT9nhwGT8LCzyQPe5Blt7jhsD+fFv7A+WwRVNfWrnnV9qjzGzxv3wKe5SkbMiJWWXLq3KwEpvJBnvDemGs+me8d/vFYZ065Vt1P0BwIYJ0TasCzyUujUd8YWodkwqnlEdAQG2ML9Hft3XxVNwNf25Bet+yqvMBXRHmtC7vsgZJtQbnytcPiAtEd80saNPLGoMzSwoceZDryYcPlB3rFr5ytWvohYxxZJPF7bd3h+WCm285AoU/vKx9QyzpBDI4Ll2spAJktx22TlpK0eS65vLpVOzrklbQcvBZ7Su+Wrj59v709MBL6Pb5JD5CdmEPo7btGGOUVJCwy4VeYwRMxKPNIT8aQX2MQy0gx0oYV92uAvrUmD0stof2kcN/IC/EjUIH+o3kwmjyALdaEpTo46lBwIFZ1zshqs+qtEfVAkXCBo1TkCOUAEDHDTLKJhLrEnKecGAQfr7+rAqb5Fa63LS/+iHu7+UXUJ6ynJkW3sp1UeJ4zTSaTCaAy0FL6Z/Vv64fJ1xTwr3O2pYOHA9B30zzXeBa+9aTVAWB8c6iaOZDizBPtNBUloWlYGZUtLtSzoGj91HZvrp4MBSz7mYlfLTWNXk5kZMFjdPMZimMY8VN1LjmEtqrMeG0hWptoU3FxH1Dh4LYleNj9hOj/GJjzrVEphiAMp6Et0OxSUOdTaqQMI4e7LPM3kSc1NZkI+liMYJovuLeGf72M90iU2Df0Hu5P05ouvpDqVQ9EUSB9ZIPV7ycBgRYI090YxZgMaUdH7pJlihJmA3DwhSNEXnIjd+CW4CsCrv/22XVdcvMJh7D7EKtczUduw3U/iIhRVJ5PfGN6nsU4JwL3wpJUERj3CRpJ+YJGrClJsd3uM8ge6pDvsG0KFEft5nbJjTzHWxHayJOLSyLgqIwvVuqPZ8mJeAFXBlGEP5zhtXbTQy+rTZ8lIVf34mF+ovNO2QTtiBQmLhcNJCnnp4MT9xJNjaULlm7KkYpqtT0vXuM1N/bznBYvAyMDOsZ/ruvwmyd4H6kT6LSymPg84QxSWqg9ediD6qimS2RHtXeTbDM5TpooR5a/mlVH1WIiySImNiCuH61pR5+LBbxPs7gq9DTsWiGRrVniH+WRYMQb3fx/v9nUq4Yb5jblH/dw1vPBerqO69UOCTujSACzkcUgrGguNlLQPOvDZobNbE+cfFQOHni9flyiPB5vnM9+/6Ok3nIqLr+FfnnkcVyQz2eMBN644GxZuv830JWHmvzhxse0OPtK1OubTFXixisB5iews5+ZYmlzEt2KLiAjgEAkqmy/yi5eRgPdr8FBXBfPBHHxREkicHgs6u8fD6BDoQbQjAJCditRhAzIwHw6EjbqUF5/EBwWv43gzr4l2p0QDSGukugbmYW612nbvVh18ZtWb30HsmokiC3kl+vji72ijRXuYEZljsC1oD9ermQHvrzTa6iPr46aykxfFY8KKs33DyYCmpLywBYvf92li8DjJG+3/50aCbMQJODUwQfPn/V3ekBvVa00anl27cJxjslsT8Af3RfFdd5oeh6D7x8fEPLOzLFBcGnZx7w5re9vDFcjAL0i3ToS4Y6CdiWp4LWjHMUo/Ru7hSRQV5YJOrw36zwyujQy5A42Vz1ZxMCKi0T/80EfJZ8dkNMB/VZbHswRdqLUuc45xARWnoE5Inxl7ABuF1XaBwgbC3XXNKDLN4BC5cTse8y+0aXEgz572aZL/tm7PGg2BOcdQpo6HTWPbkyobGgSymSq5UFZlfxlREzZH5deGfjuo04DfviRmHSsNQTnE2Vknwlz4k0V5klm6S7ihdIK9qasL4fy+rrB8fYVqaQZuFEGwp9t1Wc88vdrtanli2iufphmG37dHqDRkggyUn87dmMkMlXrnCPnYDWMd2vPGaf6v+QJ++8dKYK9B6wBmrm0WMLB0U3fH8zLkTU9YkR94IgBfNiqh7T106p7ceUh8saa3FosPYK6toYRpEiMteanLg9EqK8/GgJJONH8wptYknL/6SBUB/GEifMlbjUHZ+Mre6J6oFe0heu4O9q0GVSKopyiZ7OlR4qDgW9C++R+z9CNZGLZOV7RjZtOqW5b811oXZ9ajcEpXy2SJ/x5SvBA4MuJoW8YQSQW65E7P5UN5F/wm8JnQbWZEehxLC03fDICNDKQCeRK4dm+FIKhnydgbRZcjc14Z9Jihyo3i0lHaSTtKsVm7S241dFvi3S/nWvHdnEVqUBK7INIaatGnJ6MUTBgWAS/2PXxk6PMsdheMNEaw/xDEEOyEjSXL92QRPzZvmJRj10J7rfeUSGY3P0tuYx+jFJ+e7brin45HCT1WccxTGEDUWf+HhrkePYLyiEZvAk0OFUAAl7Wzseex5aLcubn2+sBZAxK8PBHthC8bLh1aLT9JhlpKF94BmRI6jLu9xcsexCBBIuNPAI8C94FqzHH1QyKTTD3qQlvKfynt/eAMNCPw7+vIMgVi8aEa98pT0JxF+qCmqaxiM2RDWYDsyy2cYUPq5LxBIavlqNPJt+j79Ct3R3dPlBlzhLiMNVoolUW7MBlU8EFSQvu52rhzytmjLFN0rawExXkdUIlha+2NP1IE/oe1qbOpuw0/XYv9xZvnxLMgl8ug3klgeZ9qmUP2AMWAoaEQx5+YtPNPxX3MXeSSpTxfTyoh0Bpi1fEw+Xj96GkH+ibJuI7eVSkbN+xogq20JmRCZYfQv3wU87DZkABrZw+iF7oDXeih2Qw1zYVo2CyfzJ55Ku165G1VrQv8a9i5dhUsb8+wAIMjomOieggqPtFAGKISIQP2WO2Eas9tl/pOM4vk463ZEBXLL2Y71Ddyhgq2+cycaViTWXSWI/MYlRjr+poLEAsMaCKXDmm4JLiiFn/3ZmTpIE1V1euySqTCi9XzT4D08j1hFGT4gJ0FZfI+H2D8AAh32e+8/uhWLA4ls67vaSarXi7+Z9B77/52pyBN74BknbEY9uk4MniqaWuI98WMkhvw6YPRQOhrAt+0qvOAtJ5qp0Fv6WqUK/hSJo+5T6LVBM+4SFJ+9mSyew4bDCDHPQIGlG7LvOgq/tzEyNrSUrnqUipHWZVm7NsSDalYfvoS116njywqf92EcX9ZmtKK0pr8PltRl/2ZSeTTp5OYe7NVo/DSdBneAUx72rzisajtWTVzNpENVsjdtyEPpD9FeM6IBYVne5eUqxbNRj7vj68zjAW3I0TLyVxf/uQyv0zFjsEMoRyCpaLUvOB1ca6xfA2xpuLfYAR6OiJkfsMqd+MD7Z26B2Z6hkYiodTMJQd8uUQwd+4vlSyMxmA1qyhcWaRB+v224s9iIxW2N7VxkRdi0mgRVh2O/CWnqJbtHMKdiGzLVfHkv+52wOdGWU65ujxjLGOhlr/aBBSIJMAzLT9zNUHd/+sjIJUqV14Duuz83fQtTkw95yFjKl2YqxMhUn/vN0eWnHCZYh1olTXSe5CvESZf8FHX9OeFXe5iFsEGkJQnCFHY6msMJ2SW/vKi9GLxBEdvuCeRqpxMjoEL9y3/5ej3p2DM7d6ZujKOrsNmqYmMzm/8GF3O1aIDbSt5eBmy2Wz3cvig7gW5bmds/kxaUad27EDlhn51lXUS+rVAA5mEy+l5skEbFMRo5Zwu1kr92TpagZW2uTo3vNR+f818/aFUlWNByk0w9T4oYLyGo2v2bdaQuWry6H5I/X+WAEK+H7F498YzXbzIoihRUoF2INnKkqrDdYx6Ao/zciZxYtMkRsTWeD1/8nPOyxOUJ+z4/3MSVm78dvAROAb0bmuEcHM7tGUD0C0QTqt7Nq/kQN8GrZlgHhzEcKBX1mS6cDmxzdFpJ2gplyxOjqJcOWhkGiSki2rqBBQYZARPT0En8lFPuiviRRxpZ6k/omHSUxOdu6xulQw+oYh65/8/DWia7gYNbmMJ9qdS1ybrjXOaSiDeV7AkWo8WUBF0eu6JSZl2QzkuSAuqCF4XVPDCDQSYh34VHwxjP5W4Wcpb/vPLvMdcbC7Q+5rqAGL55TF97Ff6+l/OnfN0V1PCH0BMAJe/qpjgdQffXqdyrPgZzZVS8WkVZd8xVMuoZttfh8DkbjFzmWWniLtfxg1qaFEoW9Nf3RgUtOvGqOW/8O+jFAqITOH/HZc1RfOQJPKH434KB4n0vPy+nopVihNmRvNHSXjW9eGh3oujW6VRIudFUauOn9grvg7a36oHYN1ojAWi+2Hd1vqIhaIcCLo67IsrGgBc0O/f0dw3H1HkUOStVkwH2Y8BjKDO/QG/ZgGUJnToXfgE+ijrCChdHQvwiv+DTLDzXUiw7daqNUFSHj22JjfThzzOjRsCzALSMxlg63cg/QhD5GFtKddvgjmcKaPBwQiW9Z5UoYvLfGtMip5Qcni8DgoGjvTstbrjcEUV1s+kZ9KxiJJ5wb9Rn14F0D/sR5Yon08EPkflSrHiBQuJWHGBfAkLMVGuWzaptUFOYeBf5iIjjwjgsugQbXWEALHb/2U2v5+x2nlFea9lq0pZu/OEID8PIykNmDJe0pOvJxwLKlve0D3UjXdVfZ0yZxybXNfSW+bbyfXaEkh5CIMXCrS+lC/yKWqDM69IhznHYsfa4vJ/R+sJezyBt1IEF2HRpbW7HA08Y8rnFQ+AU1hkIVbnJuVRcK3zuNHElMpbhr2N/UAL8GT+yepd5i2IZTYC7iqsxs+EAFNns9R7heK0gpXvyYlOM3IABtYUR08DfqaFyptkutnfAMS6nqT43SYI44+G6RU7aMVW4a5PcSzW+66vElSIskVttS0EYfKHMaLP0B5OdnvGrzobye7MLerHL4P1AEi+miXk3sR4Liq75D6FNNs87okSbgI/xZNJXEoZwNlXN/eX9txZT5PuGJTpc+f+d539aefT80hdr6vo5JeFtkR4lStTeavos63kq8FaV/xs/+wsJ+u1xOHL7tetCqJrRcpE2uHF/BgTqb0yBFdGXV1FNAxO/5p4e7j1XgSfDvrlD1ySCFHhNTbSnGrqnjHQQR3qHcKqqku9u0FkkAPYJzBCMpktBfU7s59eS5mioQUw5D48u6rDKtIB1jP/MX8mraQOcbU4p7X6aoMD8qnB7IjeQH/2LtXgD5M9EkcNV1BVz1fWouT8aRGKf1zMG0z4YfqYuf4XxB9MpLc+d9JMTNGfNSiKUCge+UJ2Llm5/JoMvF5/GoqvgaktlQJRO2EGhMiWaR78xBfY3rMo2ldpqvvzwFq5FbchHufI5xIhzPpa3+A/XhjatuoNDNAn5hEzzk8B846u2y09DxIl9vMtp2wQ2Yx07zuoYjydNym1C4QrMCJtXEHPDooY7Sq/jhHWWEme3VwSDfYSxwT3jNfVrkl5eeLuzEdAtrbkxvUCNajg98v4SlMxbIoEoryusMa8uDM8ZR5Y/xx14ogzW5oihTXZQoVcKYEmdwtQpRtDoOtDSopkeqsr0LttjRcHHOfQOdWNGAiGMAHKF77Jb4t6T/DwOuCEBkNQBwmDLm6VY41vzDH+/7ry9HTpKr58JHTUJf4iMywnhDy7icA08+P/oU9QnlpElvb9grK58N8gLCl4sqhSwJhhYqo6c9mtO6UJ8Rs2eMhpT1jJEjqqHjwm7QRp/gsQf1lsbQJnzwoqpvF6aa2kG/RmFw+VH50ngtazk7yGg6zOUZkt9FL3bL+UCyAsl/l9Uf4RFg6ZHvYB2/GKAFoUFV+o/SZ5UUnefF6f9I8PBx+Ct/wxBZsl5TJQ6OmlhDnQvUYT3VVKILBy+J+3NjYAmqR91IqmNfsCzq2bcT+aWGw/8jlVGN/RQNODWRFMUBfjMvoxyYJ1LkXcF0ZjsgVDXtozFWtEOQJYH50HUtcrOIjB7gJ3QX0OGYYi6o8sAc0DbGZUvKoSO9d+Ou/oBhX/DbV5hzsegdod+L3O1loK3ut8MKVAVvW++9YIIQlgdNCeMcit55QmujEprZ+GO1DNDyCsLhb6u+fzE2CJXoYHpjjLpsUdZgpvqzDC11umLiOknIRphtpmftdvJX4byzEdwsWoKg6k+xjm822zN2hfmTYmiDT8pIeUBULjB2edBmOVzLQbLRmydC4MsVnwt8JhmAK5bkjw1IlaJgEyf5Ir6NP43+rG8yGaC5EwY3/dBL1Fgk0fQUDzgLrFxXjpzMWFHmRkXHck+F3arEJocgy2CXLc5qsCTactvill7PUO2Lwn1+Yx07Jy9Xp1/HvtHtWyzOpcubyudckKLXGjUvpGRANslhlJB2p3j35+eB072hp2QR1m3EoOfkEssX8Ewtxf9uOFzdGKb56sU9+/vaZ6UGXJon17VWPqqwK4q1ws5BYEow3tgKKFbCtESSzRJFekTQuFiI1mF1sdkmjzr+OzGvOr0cmYVPDe9fLFNGLfNKlaK/VQ4a5H15GwWVSDF7iTojtTfmauAjRzFWUljEMQj/DPcitlYdGLTFx7Ettps6ljYi/WyFWVh+EouVHmnRXra+KL0xulMSKzxefX1aPHK4jg5Zz+vttLMkMH6G1mzh51Txp1Bx8l1MH3oZGNVtftEo4hLxPHZWumx+LYzBbq/hM8ONIbQxdIBifkv5tL2tsv6IWy03ER5XUYgi0jDBPGX8hfGrDuVd8YNIh6SRQTxNbcDs1N5rhpq6HGx0Ux+P0GXrDM23LZjicZb3Mj2lze9/T4VW0Bwna3mwkgO06/HImy2Iff+WXnH3/6xMk9IG7njJYdZjTqjsoptIFVoV01NUzFmc6jJOP3dqZibZ2cn2I9afAqDQWQPFPPuO4xYbcwMJTfFOfpPiG9EJH3fzRaVPg7fdk5litM7cTFxDCCY1HxtdH29uCLJCbclveL/aBLRbXbqgOz3FNytGF4m3xKcGxLs1DKT2S8U+wiRzzTTmZ1+SziLShGL8Nxynqj+XAKKSvXEB9VauTgTG4OMGGz4PgH8/1haVPE4VVVaOOpBmpS8LjoKk02IUZ5G1cGwUAZIM14ENVJ8X3DGW+VffbmU5cvFefEKFSPNJBHt4QbnMdMfJb//GIv4FeRQOLHpCcYOsD787UjYURpRDhYuzZPLH41Zgx9LRYOAbzH42UCXOMlnOizCsTuQniwwCUfuBByvq3b0zxO136xRvH0yVMbnGycSeguF2mDRMeS1C28a1YT1xawfvf3r/BYlMMBqdAVgBnybGBkQ++XecZW9e3koWRppRTvpAvJFBAoTDZ6eWk7L6hJuOkwnEjNuOUw5tKz4+rbb09Oi2/+zeIBQQK/TKfQRFrdojoofpDfE89bIsw4MRwLxN/YMZ3cla+om/EBxuAVof29hAoq4BkZuc4F8B/sNXrG6xjr2Hmy54gJmQ7T/YwzxbKMbSR/DofiSyXJSeyKwqhh1yu9v0RoXvY/9bvuRjVNjx7kRfvBZkivplkMZ8QF8uPF9cuUf8K7oq0T5XeqwqI6+ZJGkzoGAtxuURFu2DBH6Uyg58qwQpS/jMlzE1ZCg4gxURlPtWjG2WYMEzl8hDoIZ78ueJl8ixD4W+e/StWvjBBJ3nCXq45C3RB6zPqwnL61D2AfGQSlJbIGphBD1B6Bt2xwmnjJret/jWytUng0i4mosqxnPHUaWaCoCyU84xrZxMau33UZ49OdLCk29yLzPMqG/nP9LnZ45H4vY1dbRWN64eY75x8a6MjtOmRFy7CWKoy/VYgCwBiwTlhWCD7FIx/uKyVLemwkSclxWOL7dfWhEJjQM2LC9U42GcaZJsUUifyQBnzWOrKpNj5tZrHdIyvVMi6zLR6PgwQVy+wnaVahhlsXI2d7C1/i57duPbBHdpzkWjFzKV61PJaqiyWJFfNSPU3ZHGkJ3XEhVFMIEMfoLOgdcopruYDslsV61Se6D2emjwv3NjVJvoCMrvN+WAHcCoYWJsCCPNFvNB2Bj3U6ysHMeLdW44sD8KEwhWSJC39L1An4o2EnxhT0y527R/4U7zWOsW4HAE7i6X6oC+cl5ar/R/B69n2ormzp4udtT4JAijWKXfEwxN1dAvoTmlfEEkSiBw1Ym8o5Rs8MG8fLqBZXySSMBjApK6xaAD5Hp46LEiI5m9HK3+5Avj7txUWgIYjW62YdaC4rEWWth2PvNo2H8aCzfSMh1u5Vl9UcXTLYJzKHtxIUIvgOL+E/ZaPLzkqxSJDAi+y1Wvfbd3IKvPzUXJwFdjR3SdZR3060xllKsgsGDeEATXkrasr7Fzl+OuQXsIYUsWUyOJrgeBkDTxbgN9/CNzsah415agv9DvvMPsbI6Ukx4J7PJScfYWxJSe2EONqdxDvvPUpYv4zTxqjlQUCzhASPj8vt8pY7ocIoocPpzIFtmVounUWrALAb3c9F1BbO7xIzM5Rgjw8BduJB+A3XhVviIaPkAefyUXAUSgFSeahtznpWy8KTv2QRnPgdXkzaYLA+dsKgzgstdcDG6s0Qr2T746kbWblzQGyxHnviFAaqBCdRfl+0A5x1c3wy72VnvtavDSc1UqM0yXSUdteOHcs0MF2gZXKalGNtG0DAmf2+nRkPcEaWT6R+7U3vg6W1LuEVB06NxYzlGrNNrYnCIMAfuGYb4Cqmia6CXvd0r2b/by8/v2csIBKjbzPqlfCQiHDRBXtvYN/3YawiLEgvSrlkcAjnFX0X0VxR9ySzIYksIh/z/wto4Xwm60fSxKJo1EaT+b9gkzvGIXLOiRi0Ejixwx7Kw7E7nPWBVvxEnYlVRk0MrlSB3UCeA/n93neQ2Jqpwabs3Esh+Uk/PsEysqDmbhoHNP9FpV8fOiyayHG7I1ldWKC7pA0OfTvJfcbt5P6cWwRaYwUWpsNa8zZZzTDY2FhIjYFypqK4k0KZXzoFMAu8XXa8FZUODEJxAtGZWFP92kB/3AJdj9OJRqLBng1gu9vuyXhyWOFkXPh8F5ahvJOY3d5OcyP67e3rNxhxJApt3Htnn1oF3ZFelGvfBb1d5bVTY0zjv6Qij3m+bahoWPp9p4jeX8PZMXgS17TniFm86vmCK2bDga+BRHN9rwfG4VG2ntr6RYxCBSxPJnn9sQoaqGM9OjzysWUF+OmQesMEgy9cHe7c7T16Rmpqt6jt9m4ZLimtdc2nwYUOvbsIOxuR1/zArKk9FCzq41O6yWMpRvJHFMbP7wQ916UUPRQm+QxXZpFWEuZHJarWiDDUKyuCyrdhdYBdLmBSN1Od1ZwcfSpf/FcS26luBP6gWaFLgBeiSy5dBnP81bP13uh5c4iJFb6Z9JXe8MKj4CqsIFt9T9RVqjfzBCJ4yUSaR3UH3qwRZi/e+Ek5x/cQXP21PAnsU8eAoejXoY/PmBMMA7BMTavOrF/l//HXK+oHkAt4aVxmxGGYBW5faueDTdZMgPIK1h5SDXrSHt6z0EQ6YrRC/QLF/5D52hG3O7epgHpuhH5TPYhguQuhDkHess4ThnabNQmMd8DDiejjsI8PBb4A7OVItQJQeMneYHDV/68z0nNlMklsaHJ4xgBh32T+FI24K1yo/OMc7yOWERG9Uaa7bF92Ih90i/RtUVfzu5g8QxVGp8WrixXBoqX3R2BU1yxmNcQyNHMDYgtZNvpYltxz8FO61gT59SW4qxNxKxLjPMDBOTnZRc6cuIxnaZJc+CJ9N0voQaJHsypYiUFo+gNkRr7srMQFeLuAhlUklrGgKb6GsexAwskCM2yRYHeE7+4OHbVZkJW19SsBtd8jeAy98oU+j8qvEf7+tIksBvYKZzdeZjg+h/p+jQxet3W7Nr7dIyjUBjX1SLWg1rWuNOWKhHGEzNvRDd0Uxbpvoh/3ZTiIJo/jn+3eI77NiyYmQTJSucZ1aBIHP//QzCpO3vuBQhU7gZLJccfFZXw+dmKlSy400z6+2RTtAH8x9VJ6zAv7QsTHNqsCtqvjyGeZYTyp5ipkJX92Q294cnyz2uN3XGe42441OnHo3k13aao3YQDdovhjzSE6QwCwb9cDTjffG8NCtIijiTXT4ZjqZPCDbP6ip3xANEZvXuzJ4FleMkKkBlorMgicbPyuDdRgjwXFPocuPTRDWYr2wt8FI4su3u2AVsiVEVbPNEwS99zszc344/50gxrMj5sLXAYA7DjI739mgcXQa/WFthZ6EkUe8LvYNdy/MwhZWunYiqANU0p9/LPnoYzVt+clY6GfKdAf5yZl3vra92M14NmQIXvEtvySyoPLQVmRyOw10/LDtjbl/vif3l0/eFEv32jlydWAL8qcv3GgMhHjd+kx8cYMsqfys5fxwIAr/Rn5PEQ+WEHmS+W3Hf0FXxEnpxlRr5uyDLQ32QiAu7XDawNP4erK96J/PwrtStELYKaF3iPWYVg6DW6EzQt0PJX3aBrT36vAtJuEVPJkIKp7pbr5DpMsnBaxZr0RaNQJxEJ8O8bHfepw7SeeBjtkUdOemkSsi5BtVf3EYTaa9QeeNYnfEhmk3dxD02GeaWacBzw4nlvNYnqm3k/MpXgn7TwQ9eR4iccDkXr1WtZBTtXYR6QKf9BXhsISKgYkMHYRlfilaAa5NomJpl972JhZvx/lwVYt11mCDYrzar4nbK527uBfDHzbRvOOXy3Y1QFTKQXqdR62Tz4qGJ76oWVjdC0zxI3aalPSUc+IyFoZRymKnHqTKWVrjDMushAZpB1guuXkVMoknwY5pdWPgTsKuOfiBcVmD8lh+8MhslgcI1tEAMvpc++JKLewnIlXr4e3F6KXNR5M4m3Kt1zcUV+aggVbF/jwjlLTHBqvmEMFfxIt1Iw5tfJKDSi4EJAcTDNV4gB3IsqHw3qawMjBk7WBHWCJYIW+PUbLBvgOO3UlZ9MqRUmy/RwqJHU5ULAYX8Wxsg5jYqZvmbbehvW+kdGI89sadWrvkvupGZ/i/dqvmu1N081LYkQK6GneWXuwgOsFEtSnAJap6tWmkSl6bUcOyeSRpj2oL+mgaqhJIILElwcfCUYudk5XC4P1x/nUJipskAdgG/MAxZt5PSpoIXvVHTRhkRBmZ78/WyGTcC4itHate5+g7VXARQlPGUtwGbRepjz3cn3rPofxpi1ufTmOyMUeZ19HdFrSj48LOP542YJdiDKrO6R0JRwCwzoPX6cWQLW0bgIPCbOKOFs+lS/es8hg7dOm1KFExScdBQ2iEKAOUFl0WrDg2cUxguXqRLgaMbQSjzodlNvwNVQymQixpmz1dVZINMjOUkCa+SesQzDQjLjO8nE01zEAAU4DR8aWyQkcpoxuP00RYY1BwZvIV456kEnTzahDnyn7Q7Bbd+IEl8f7yQJihvfuXK6AfGATtfnTthC7Nz7xuSJxo1l7IeEkZy+8id/QSrnYjgRtyZlBj++4nSXwq/tR+pkPY9cIjus7cDcyaVy/4cU9Z2FXPLgjH5VLyZ46ce615UDfY0KwIWsxaB0VehcXQ6VFjhcRTVu+4xHknJfkFdLMY6cIvHqezXgwsZVv0AHlpOvT2u9roFG3P71Xc70w+F57ED1bdYurDxSEd0hAmwj46+KSO9OBo52fBhCy/YcXj/P2xQLnyWzqx6Z4zYhP1t1GoZjs2lpqtVB69D7Lg6GTMfDx065E5jCA6vg9pqqwCilVII2Cb5+ot5v7NnCf+jVeP1FRYnY7NF9k17twNoYq94ZUAglcNijSgCckvBTHJMwUjfdvg9cq/xt1eSxCyTOBXxpmKPXkl5rVu+Rn2gTj03SbR89D/Sx4qOaFPDrMCs1DhOMfbeWhVifUX0UwbKnGhb0YRE0x+v/8eYCfd5yTzGfR4ed0V3525Jw/yoEyqmUQ3mJXHGLm6ax57sqFEfWyoYDb068dI8a2SW07ZhNTd0I7okfxUucl8Xb3c6LhUWqZMY0CLOS/KVz7gpvxz1FLfl9qPSsE/CmgRx6eDO2/ssv87XLTqyua51FHb/13RuGM9Z8iqp1d9UhZ+lUB+kf7sW/7sdGZiSpFWGUrTBLWHm7+M4WDis1iFILJLzJ2dX0eBWvnf2soajvLCN3IZEVqdPHJpgcfW53GZmlkyjkXGd/HfrwWfYs58ecYxxAZPK5GRGdsgaC3+7YSvi1j4tvMB1VmhwPTHsT2xGq0bKvDF6OF8bJvL42zvnnKQFL2bU2OK9itHw9ja36LayVAOtY3ShLdVd7RRySzYyeuzlCcMin3MUxknWaJSLOU/ITEhSubnTUnwmNWZmL+Q+0LAcD+h96EdQB8TEa7jyIeCJAo2TwVoKekAnjW3u8YS9OHvDWO/NRj23N/gQlcnkThb+emuwRMMelaKnjxVDJSdDSS8ucsT8sZDzxUmkst6KA0aNOnz9b5LYwqPdDSJdhkKsWbXL4AUQqlviFi35qeIS9E3hBgDioizg1znDxADg2+exeSM/AzLu9aCyOY5mrzfAsF+T7ejGEIou1ed1BxPF6AmK20tDNEF0zLdwXOcv8rzYZyXRAsE3HGA+i+rdVR02sdrRwj3tB+d+arI7KpeWyOvl1pCfo93RoQ2rSzfVzkx9MTaUfXIib53QkSrkAYjoWGQY0WjRTPn2eoLgfU0MFTQqV6A9HTFSt1zFee/1mfNxgttJZThqtOm68GwmFuBOiP9/pB4B/28YEjgk3dXBGFAO7mI0yFPH7Dn4A5bHkV0PJfhAJPR/gej/K2wFY1l5LuQLWYXu6DcXEHIlww0VwsGTmbEQKuAR00jfjmlIwwerhB83rU6m6fIDA/zmGyAt6ul0xZBoLP8+1WbGIHVk/Y0Lx7mACoh7kI6FnL7TlyidcfnHP/r5si1VaM5XFzjrgzobvWwsKux3oXAR83SrQnbH8DlVeBeOMhjcD+fXcqzjqe09XKE364qfNgQjCgyecypXNXiYjRPgMcBM9d+tc/mFeXqU3sx9pwtIqCxt9JBhs4F3cGhp0+Di8XpKnJvcKfdFLHG8+LcBqND46mAhBQTn1aHZW/qrzHkVT3DVQkJx96rwH6X7yLUbTPVtY/zszziqg7ZxFMz+5sTdcySmBitqTQCEi66nvwj+MHed5aUhJ/Tqz64rVfEVVc3fxF/d9aPmTuuXFlHXoMcpTM2E4xjNUKa3J6fPa6lvXKcFYwaKq76JUMvkWet4gltEw2Gx75ljxJE/pikwPX4NWU1PJgeU41X42tbVVVhOm1Y9erDIXs26HUYHHnqEIWoI9J4VNJNUd2Y+Klr60gDcHva64p23JCCnFgYopx3tSLFhwpxGYFBXepKUnM+x29Td9CMO+M1ma+6/wVV0jld70WdWIOtcJ+HpYvAana/qPb3/+NBgAf5Cwrq2b+E4ADgucT6F2N3ZwX7fuirIapFBgyFVZol3gwC3q6EOeGwHqotB94jXmvOS5ts6xStCQaC9HmGNGC++GYFbY6/C8PmUFhApruR4e//sOIJBeUiLNe6TbrnSyK/y3HaeHylmtYJCvFz4KlbHkMjXbnQMyQSh6ORWNNXxRywKRllNJjgnmP/weltch6DHpI7aPNdKsknc3bmXZjxRWy7qtg5LeIlfK9JuXwtMtVfyH5YjbkWNB7bwb0MHGFJyd/Ag0FoO52N7W/V6PETaKTUvsZ1K94GYSjI+wFKOeWQ5Y9fzZRRizN2QhPxcve3bsvkr7rvCP548WW+Ld2+m5nAvUaoBMOuCurGycMIupHWuV9XX41EHnwf5Q94CL7U5PXk+Q7BvvBZm1uRN9vbD3S4UnanUVn10GeBSmsjCc2bc9AGHKU0gmf6igA8rR7O/Em41mZBd4KWNGd9TYV0lIbC3bt00HmIRfmjMWEGMGnNgJB+qv8AoV33J2xyUlKHhzGnzh89A7KJA6uWmMESZT810DIXT1VV9B9U6UDH78bAYnEIhXCR09Udzvu73VzK3cn/KQunEbMe0sQhjm+R0VpNcFy2Dp8LCOjH9BEE+rVzadT9HF7ams5J7p0CvV2NYfB428k/S1k6uxWqKWVYXR4SpXf7H7ivTD1MuGEFMxTAiepAZL9T9zKB6GrQw6jD8ihW4IffXWzDnOW8EVAlXUalAzTFTwZ4MAxf0WZz4ftNQT6X1NyCBu67ElFdecwf9NodrnZA8/Z37ylGSU6d5bHeGuyJerW7mtEcBbUYVo692J6RLXcp3joazRnxBJw8KOz8KAXwbFavd5RFDrz8MCE9sN+h+vjgDyKWTrw/scGNBTaBrN7MSPcFihP+jNfnwmUAl6xbsxBM0vDwrSnj0dKy/xSMpRW6L3NlrUI5tm9/Q68x/XIBGGoB9iN8EAsvVkJ8aWLreKVBK4OErFIx0axxm0fdz3EC4gNnGbYCFz3LBPht/9KBiXQ9gRFr8AOOtoNct60C2o+KPHdxtlYa0FaPxshffB+QSzTyIhv7at3Ts/GxGPPwuu+YyVvcjmPiLOqcmhWV1IexNK6tW/II5YeIv0hBVNqP/DjTig6vyARGYcwSLMP/KP9wZ7yfSpKCb1ZNr4kFvGN20FByAi5Z3LA+r6YJb9vO6I4+XtMk34NXOuDu79p14lK9GTZpJULo3GtnzOf8EbxQe5XkOKDhsTKanaHRt7mUTEyiO/9bNX1mmuewUxtMUwWarkFi9MjOgCea6E+sCEwc0zTXPf9LrgOjqegye37OHN6eUg73vUPtLyO90kcVvx8+gPsXN843d/mvSuIv6d6OOMKdydhbt1wJw76ajotb/RI4QLfiKmqqNXXPsuZ+5VhZPOYL3tHG5nBpSgVZvM0veD4AUuAWPj5ki8El6Ob5rckH8qJjVV8KNdgvKNPK/bEFq1+/HMNIJFRz98sx+ofBGrQbQ2sCxPnbwly+q2BgRcnewcLnl+BCpmpTYvjeSrOq5S0OhM2WXVeUlDZVHsuTCiCifK5ImVBUp2gtUezObkIVG108Lc0xmFmupf88Y+GLPnFxmSayJyyFdU4wYT1JZXuuTh+56ObWAj9BQfBwmcTUsJb9azd109ynAT2jNNnkySn3h9QjxOwrEEasnDgfBhjW2ad3uUP1KZYwdnf67RVq17UfsDwy40zpDJccS30OvQFeQ4HHcuQR/lMxNOTtYaAIVcWoQVDzZbaEyRslw7XM49OPeUrdWqwUsazh7+PO61ML5hGSOB+mzR5e1TeLKy+L1K3kgNvS+Og53awPfOCGaog7LqTVzA3omOalXAeYa0nC3HQ2beATM8L9kZAODNIYvSLCVDoSjRXba3XmsU5YXw98ZHLlrAfI/2DRPDFZjz9OTXpIaeFUtRsEJFs8rTPMpEHPORse0BYJ39tFZxYipGkq/HZyIKqI0wW6oMchgGTenHSvPjclvcBRH9oWSZTF8NRw/7yrjP1Ah+IvmaQDxqlFQlXWTKmd4n3c21gHHzcT22o7XHaeI5dxyaRjKxjzALD1SD8WCKe1oPCfxc1QYslH8xQgox6hTLih6DKV+4/8Cv13VcsEkkbPzoX9LZ4T9XMtvjta40YUqYlCgtWYE1f/mSRkyz4KJsv/qPYTyPoNIeXW0Px1EwCeR3AGJ8fDCa8FtIT7vz8PbGVpIxbhtjArfruL+fGpbxz+Pqepfj4oZfwQAyvWBiiAj1VYUT7tpwU100HgXZvUTt2hU+ZOhzKFhV3SaxDGgC2Lklt3LSlSV83iFR7Mqn7PpYAPdNyqIhEZcN487ENyV9/3+GC4+I4e7imJC9WNpqUb/CcK3EvwkTbG2MVBt2TbckkApAbF4RiduXLL7VfJhZsLcNAb67jPjP+yph43Pt8v9E/Ir8QS/CDFwqI2fRYF9ETef7oZp15eAND/6qf+KsiwXZL7jBWwI2SLyp6C4jbqf2EFcINo5FVNKU6gSa+lw0oZvYWFv3Qx/X1gi7DNeMZpjgVED9p/eAqN/XFLKkkLOAAETbFEVy57bbV3mT/b1xz+3SA6qht3S0kJdP8ugVwQywmkSKf7A8KL9UzUPa1511GUzeR9O8hrZL4kySvFeWTRWkLBSkS/j7ftXwSFY/ud2Mm5v9UnDmw7H/PWB+CKees7eWQl5xVCtbkriq3cjPrtEvFtlavc+R2e2XQgvZYUbx2JmXQA5OgYGb+qOpfelU9vu+PNoNj9hD3Iae04flrCWM4mfCp5J7sYLOLYrlIlmHJkWEqVPAP42sE5wtHbJ3SYx1So07TjPQ3MVMyuBNebD0CvMlAxS6sUVcQvvUlLDaQ/XH7fdM4ObA2XoB/xvCvf1DNSwstmyOP2GYeTg44v5ZzJKcb+TfAPsFgZlW964/aIpt/bM6vNhc9/HMCE//j1UPiRqx1zR7thNHJCUuy+/PdW+m52S/zgqbh7rFjZFjjs/aabzni1oxHpy5DLU7y/oJZRBEj5KoIPecEhCAKhcfpxakAVf2YpIwE+iTxjnRF4qpFyxjxWnmTc80764bdlxctruHV7uKYS5muHnKSBKPniUGOQseMD6cpvRnea1hkKKEspI04p5A7mUrd5zzbUjFJ7Ev3AGwESMPqdI8iXfr201l3WmSksszro1EgxoahszLDIjks9vSo3Tj3t7L0s7pY9dF4yE45jG/ZS40dpr5YD77/x2CyTHpE6EATUrU65otWAcOcF9gljhW4XV30pmfLXUY4gi8bjYvWLTFJ1b35UITI5gQiYqVOjfuPVKS5ggumecfhvBQoafjJ2s9ZTAMMJ6NTn8g8VWmw5cTK3VbPiF0UHwqZhDHkFv4yV7ywiVjqTP4Ro8vHl5xVmjdE0TbRQHH+0QEqgC2Ge7EnSGCDj6J2r1bFBCuhD1TIrT6n6QblHJ+WSJncUX4TlI/PUcOMV2+e1SAfJHgSQ7JfZukzyUspK/Br1lx/TZqndAAHLG1CZYNow4SniVlChNt7XvDQx8l7PPO+EVat8Ukh3qW80HJ2/k1jAZCHHV0dK0Hm4aT3I1M/lFS4+RF4Boqbf/uF8F7NLHGqVCMUQ5DjsyKeR612Uu/gmM/PFgPuZmsRywbx5rqBoVC3bzCxOMZj9wvNqCvNmnrfqTxk9B0CUJUf56DBP16ld/O6Yl+NILNpPtFSx8WXHFnxRgRnWp4YGPbz9pTPpgCYDn3cdE52LZYW6Li+I8ofpMi9TbYrTmdnVh7wW6fLb4BeTlrPUimZRUcDt12ndtQKlRLQO9mYX5vsXQrQsGuV1BrHAyji5h/Q+JyIbRcBLtnj9fu7qI8K3R60Zl/oEdaq1803rJ2Ie8gmvHT0D54Sej8jXjFvcnowSztVw/Dczce5Hu9IdxzN0JrK76IChnWd55SD83Vg747IpCSO14KT9ahbW2ojtXYgCUUX9Q2it7nVGFHL1HBjDH3x7uOh+5M51CvJi1NGWlFA5p3s96V3C1NsB/6L+sj1iEqiCnKaWf7Yh5wfqgcohZbtAa6N8yok8K/wLggYISD16OpE0DymT6U4/L1yBzNMnaX072jf3hMbzUoXB40ncp2+t+vGDAtwaOcB+n8HTxlKug4ItDuiVGxxqbI3A8vYAxUIl63pXuoAXnOzMz0JiaDOcqpQdVcwOHztH9aPjShNojTRzkAdMWOGrcgH3mU/WySvRSPtDoPtbxfqvuglET6rCuz7xTkIa10tUoCAHu/oHAks4a/VConXVvqZQiN3Ca1nfCqkY/UOiWwwVq/0BTO85JkWSt7PHWiH+Vo1uNFWAP6ORG0pYa2xjVzBCSra2veeydzGOB2IivB2VNkjA9iodJkvBfxJtmWSCPGb3CR5RSqo5KWQbfLKLAed9edtcmWC1pmZIC1IjZwSRSYRYNQHBeZzVo7MY5+bACxZpjZjXYheWHw4CzfRFUnTOZ86ALpAJY+s7XMunWiJE0dmp6GDyHuP7/KGwu6DZQKqI7l7/NDpUF76yC1XdnysGcvHXGXbm7sQ7QvIToezUDPgfjqmQrU7kyRPDvIKxcLrmte1opYqmMv9lHR9e2X1JHFWLMMgi2DVcU7Gl5e2rpxVes+MsZ6ivk60N0AXlFHxXAGELunVE5sxCQ4NKUCuvnkdK7nSgny3v0u5B91rRlFrwMp9rv1rIduTOmilbuKsu+dEdMh0gsAzsUEZ3DuFnPCbuFUIAhiChx+fQkQWWfB/rXeeK6ICBLhHlGxEqZBEu8K5py5IKydMZ8N/zeMaIWaIWRLWChAO6UnLTQXNyJVojWd1ZVmCANE4ZPVx4CeVaVXylIKzB5cVArCsgAZJNWC97yb67XEQTTdtJuL4J4h2kQzrX3a5LHQKhJEIsH0wd8k/ZFJIuUmrD5V7m5eLLF5KJS/RIYaNuSTVnj1a9qnq06+YV7s182WtnJpsgEkWi9xpKlTd2mzNue6aFyjEeu95CFeZcFDi+u07eI6RxqeG1P+jnD2FjJh1BxW8jzZMg9TkdXjqjjy6IxZATXMPlHtBIGL2rdohvUdo5lg0nlOK0I0qGlrk+8OmaZb3jJqUZDhZjxvnvWM8GmD+GWEZkMVhpl/YAdV36oKv8n5vUcsC+6qPW8Eq3jc1ZC9vPLmlrnZVg1EafgIwUSPbx3pFuKy+zGnTa+I4h2lx+rHejADiJ2KOPclu27wtV0/6Kx/nyJKctL8QA/WpDdFYmyLIlk37OYbAkkdgGQsFMukBSPD/dllSwb2FF9hswjJCh/OLUhx1h+XrYOYMJn4YlXx716fgLKY/L9ADp1mbKNi4hgTZbVonEXDknL7RCVwegeIo4j8vZQySOo/Jl32HMarwYS8dSOPA/xM2gGrHAE+cSMDVfAdWJiQ+LVqmJBLL25SJmHyjudjNsoH6eMBytG9k5A3PTT/bm21uj8MnXzJvE2s21h2pAUydE4BCr5zsT0DSCsqrISiR3NyOD99eLocO/kj3lqPuVBxMU+UXTRt5ac2bsCp4lRoF5DEP3PraD2xOM6AN4SKRTnaYbOinCzu6xcppZYePgmZFQCA3F5MfMrdggfosFcATzWjY9CX9tzO3jiaUYeXI7IUzOxEMj9Kld/D9vcH2GowBPYUS8I+5XZ8iXaxfFChEbikyifMW0ffjClZ6PoL9n/JdQzbmKIIWlBMYNrRrVmOjaZ7PeS58wRhNKtGlcfH3yC5syYSuY5n0ev7agnldP/O4UZPBIVOnBgDqmUkSpx7fY1GiChSR0IJiqXH/kBcK5KQ745TfpCoCbCn/3gJU38DE8WSoxdA9yXC5dXxm8kGKAqqBKblVQItftre/v6hJRHPkO8/fepNjiV0xL8TYR40RkAB8nlfbwk7KeVeHqqouxxHBkwtcw/iQSF+gELCS+0ybdYiByhiLz27lohy6Aruj6Y6ysVp5KtW2Z0gZXJqrFl0hpa0oiJ2M1ylmtylFVgfuan4P2jAI6L5KPLv3akJA46Z6x7m9pk37K6eMn0hDvQ8DMp8i9tvhfOz+s6DtRfcZXLueJMBzYUZUufSMrP1lRTdx0iouQUb7dqNwmIhWQvb8CD+BLS8SGCpgnVUkqvNU0rhx6X9/IYsFsXBCfm2XvWG5t6KJgoh6kaXlYy6KAKVsmNe4oPc9jG0ALAK+mMWfXWwm2Fy1ixYVy0LcmN04/g/2bokTeQphRVE/O9+5UBC37PY6uRHkjdATnqXe6W/MyGubnPjsYrWVRzVirITZP/Uq7atvxmj7oEf2dI9Q86khz9CNFzolxk9yk95kYAnfgItZyMnI7kFaZfKmHMSRnsXJr0EkbqaQ8TaOl5MaDUpmxZbvRW9yWNkp7+RIWbJyA1+BgklBfwiKDA85Twj/zMweYPBnEIIGOv1CYyPwuOQqK2+ZzsqmC2Bn/SFncjHNSMko5zDu0eaQW/vjfvTPydABozwoKEDEX7Xr8lpS1+YN34UF2FAefUqKyVp2xNKoB5a1XI0xxFDmywtWTzGkK/Ppika7Y6bMOSzmUpNsPwMKOHeMvXVuWCSxb3ukDnuA+FDyrDETk4tHYZc0bksSU+BEfVh8V3Y7maMU0TYo/sIsY5lIA1XZ70bpDDd92Jqda+iazWKMPwfr8MO6cJnZ+uZWGdeiiQp//6NpUPEivFK5W+9HT2iUNj68uLlJCXH39xQAnA5dCtzW9M5/B6ln+BhoLA4GWAeOjlKSpBfIHB/tuTF9E5VEgBK5tdxhWtr2GLtcXVFs7Etf3seV5F/6STxfZDyRFOMkC1Nw7fTwa20dNNeL6K6TH+WPGHhCN2RiakeAgBVZm8R6a5BsCOrWSjXPiCe9TrNGc58NFEct/1W8aVZKOGIGhFGlfUfSZDwhLWjAdm0XeWacxGWGTAdmYm6p0i7or+hvsnTSCcIh8aZEgp1ITV3dOZZpoWsWZhrr+qfCg1Oqj3JTQjmJTgfKufZxd/oySq3f+DwXcbbM+DKK3e4vmzClhrhk0ElYAiMWoIe7eqSzJL3fdjiQh/B5f3aKo5BMotP9SeBiUC2DBFlil8HXzO2QSCJQa6YKEJHg8OA3Q8xN0XT5gqdjTtYBJfhOu1T/JoSW1ddu+nZ8CRPA+jNO7HxYvKtUj7DdT+59+hSkhxIvmkS4a1NYXIV137J+nIjFaxpgv5LDufkQG85bLjlL7aHrxkOh4nyhE47jq8OrNCY6+a0pA0kFk0qKmDZI0ruSUOiUi0I91vNd478U1ei2Yt4tiGPekKfDJwWCojklwXn/AIfkrzEygLhwyRLmqVMwL2z4go3fz9eBhYuC9iumm2vtgd2ZJuQV+TwFfA8l7z5ilhhuWumj6BSwyXG///4pODUyXE5T0jEQL32Hg5DKpZ+VwYMnVfdH2OE6J3efxShvJoO1ISJDJvXcZhXFzfPFjcDM3J6zPn4M9Xh0Izmrb9cMoLJ+TNFzssdMMB0MWc6iNv23CLOugOPYPvnrI2vbkfc90BTdmJm993cmqZPnE799Aj8cSlS/mLN8tS0CoRXNNAOXFlatv/fr1YJcy7Wf4PJAh2FmmCIOeB5ntJv4Y5mXdH8mEKuCW2DgEH3yYXFqaIindY5AgKpJmAyFKk0eMHsI7JohN4TeLavAYWzN8+YD3WQCGPG1PGjJdE3SzZiQZx/WEmqYLKrfTBpZ1Dbt8Tgqnq0q9pQQOPQMYstDnpKXb2A5VMqzAtzY1myuuv+Y/b5ncMF3FzFqX1gVrbXvH0/xSZ98fLC+6RLwH5arMQUStZGzY14woBreYNrz0rnVUPRPOL5NC18QWRoQHeFCGZNAaBC5AAMLB0kDioLgqFcuBMXqbHq5qolKiuD5jItKwoHvzzfM3qxCeDapLVbXuASJjD8j+hqpeQo+wCE9b3v/I5eja8kQzfPYM34fTKeyTV3O7e2ds7qPFCwIh8UunPAZjPJyz2wojAKen1j1GA6vdcJvxLPkyHVeiVKCEIUTvfeYKz/R1J/7lW+p3I6/JD7Uuc281GMVe5H3sHafPYrnI9wvzLxZNdXADqnyllKgo0vEShu9AAbPSPaaxJyzbPJTKgbOx+dRz6EKvHrqSqJAdZF7yW15sNmD7n708PqCeCmEAWhwMwV1xIpO6V+tczJGt/yWfQt+PiFMr1mhVfYNieFegCd4QqWHAPEzPbtC8lpb4ShLN8LBpZdpdM3rf4Jl/6cEOIuEkCni4rcLudrg+8/LcdIwyHyDmhiHIhURXUenaA0kPMYq013U7ZxEe5Fpjel/qG1VGORR1k0e+OjoFQYAL7pKsaJ7Qg18NBYTlKy9PrnIaWQyOfgQQRzYQq98Smbuyq0vJVrOr+f06ibFjfj5kEI1ls52uOATwBJCMn8JyjoqXoMJZkuWfvxe/LegM90SQ8/Xfd8BRMXbvP/BsbycEg3lBRftpM7aibeptpn5w+swBoabvr+cFQyccY5XiGrA1CjRJ30TlaEQqNUYV3YGZpW6uhsf4ylSoO53pNE/qVs5X/QorncJQqzHgMatNkIK1l2a5TAh3KwRajDV9SS9pT4j0MBj+yiO/jxNYitMV3F6fm1E1mz2cJa3FFo+y4DLfwHmcqgSPKikpfLX0CpGMweOK7iAFhMGButd6mnRfKC+rdleQXIPGma3RNkZro29biCZJ5dloRMHb2A656VwntLsVRUqiHKg0XrnGfW9PhTxhljFnAx3C4ehQzXKIXmEqh58r00H4o+InNm4mj4vYG/BZZYcpi+VdpLN8xNf/Z9rSvDWS8Ra/YVX8vPMMf4PHxuiK44X8h93Ql/ky8YcNMJxgtLhWNPnQhp0tiVmtS675Ury0YAdA2kgW29RffTyVWFKcjB8xi9WPPI6qSowH9UzIqHZ2QAXZX68BxKjZGqjONJMN7cmkrgmKUuN1+j2OpCZlakrAAJS3PCmL8/brjZ0c5hKw75C83X1gCesd7GEeDhdJ7SdhxEl8xPVaUzKI+3nFbiHgeenyGbNB61U/J9E38FeQHW5YwW+kO25GW/2OsVhefVQHWix7eSSnRwGmWSMCLvb6NoMjVJRh/UOtZOPlUp5DYuZjipmhDu92NQ3rienG1nIRajxsp7xi/W/JUTKXBLLaATf5V/pp4pto1dGT+Au1UgNAGFE8CuzBaizNctGSk6gLLVzYQDy0aDsYTrOHcwmDi94jOlmPaGzxtyulJUXQjkHYjOp+HNfRYy1sU9IOvcyh2p8fa1fcJiq2XXZ2PezPtcKyRNnaVzlN28UXgwSwH6ii1SmVu+DbxZc6xysoKxp7iVa4QuEc4dc+8/MZ15B9Tt2Hq6y0Fh0ECVcW9+ODy67PqiEC43OueNW2Mz1d28/W7CzS/IxFL+ekrWw1J0EVqXXfQcM2GoTk57gr9SaNV3dWvi8kefmIvwbf0GcolGS2xbaNPsCk+v7aE0B5swbi2yyQvXZINUFYsXIqIe0SANBFoqLaoI9/fiREh5My3rT1/AlECMFv1iP9ULnJUGl7k55/PVhQWNmAYGlyhqJwRgyCgXbv6/nDFO2F09gK+yNlrBUZTDSDR4XfinWhlOG+yoivZAO68B3rQujmS6F0CfYi2RXqCBuQpPB/Odikaz5Z33NI5oWWMIMph5wC+/d2mFDv14uUWqAqhtNJPEWGbBBk88//MiIWr10Scm86d3zG29LljH53VjGMN7eTqBvFR9AmcibDRuu8FsJslJ+GSjxK585YtxRSghsPRLzdh2W8hV/HpdbiTIMAuxV6F7jcDKlpzf4zJyBw/lDhimXnQGU28kXEXxZaoSuttpKB8fMA2lrpt/BOquzluvv2QnUrf2Bh31aw5pjfuh/yh0+gDOVIiiRAasuAT7VomBBxl19Yo2IfGIFj1wR4C6Rwenyj3ShZqXtn9oMQFJX2IB3+eD5r752cumQxurnocCfXMYfmNoA3WHp5nAHyGsMx0itO1eKPhBr0+rzzxpyNo9o8ED5PbHtgLEn0fwEExfU/ejPijh1ZbHAewAWdGoSXJjIDp4lTzBeXkqyCQU7aS3JQwA43THCO3pYpUuU+KeRhHAfj6WCr0gqtWDSGHSPPIGF41ynXN2dkFaR61fKVFKEXr25I9GIDPEdMQaWswW/jYkuxQUaP2oWR5OO1nRk9p1Nu4bjWUbAlYqxQzuuyJpQ9qC460WF48AwqoKCnP3ehZl+qi+fqqEJJM/kY/DFeonhaHuJJscjkVU5qHOwKasmssooEaKMsFOlwei8c91hU/mqC1VVwsl6f1X0bdn8/c/Lt6RCRRQ0mv24BuhQyN7MYD51/2/ay6kQXhZv8L0xSKHJ6OV6Bf7efRA5LB3jyiQlmFopvdzxVCgv3MazEjMr0cAJI2wxyVNUI5GV0p9M1BcEAfyNcAtaLhSYIA25CQSGNNXh9G3lgFAVPKswNxrh5WRQe4ezG2OPfUaOlH2Z9Q9/BCyfYmDSuCCWPnGX/hCrIEqEKa34JrZHGFJbQsJSHq/cwR+RZdS5pxu/cKxAE8HyY84GZevGDjRrT5jApwxTvHbQt3KTjkEmQsE9MNYmLVAEvpdugKCCNCHR/0YE8tBhWpuQKzI++FAJHIj5aqJOZUkJBO6FMKyvhC89znUT44HwguGjXRGPWt6+8GdYY1GvVe5pJoE+o2fvestcaV6fE/LKriiMPjp2TKngJ9L5vaTdjmcHXcGSv10qS+O5fTauok8/+F6f56R4QtphtyGoMpFHn1d5poot9lY+52iUK73fDmbCeTEbbOkfYhKAO3klvPi/BJT7v+tq6qmh5g7deWgm/pFJkmCLe7sXc73i321gmp+qfTE93GmNmAqyca4dTmYM50Zj5ZLI7Rm/beogOdq7VqFdxIqe9rKZEetcjSpefdHF3DSBuoHT3eAsgP1CrCt79bmPDwmBIaBiU0QcR0Dprigvbx7ADuthXH+5fKA0b7L4xoQmXWGhl1+3N22kLrL9YbAWlI0Nn30E5SELPbscJL5a9EcFHIvA9FaRLvTZSG3vkgWuFFwK7jzHUa7LLNZc3AJZj6furCPrv02JXCPawVVBJOI7ugvkMp5WWR2xo3br+H33IG4JW9YrncE5eBW9BDXPQyB5Ude/mSNc2dZ67jLpWs5C/lUQ8UPFM1ThrGPdQLc8qpmwcCl5NiyfZvlxgSQVM6V3e0s8K6XOU5AjOyrE2+iLEKpdOOjQKolYtxHD2ta7cxJQoCGk3MupJc98VfFr7tzrqnjIkRg6QQhVCVBMihJ+9y319XXrbQ8m/RB7XvxUhuxjxWXBTW6mr6vl1i0qOrWqmn+vbxqrWpIQ1E/OdaWU9RybBHBpvyEAYeQCthpkbaQpIVYMAdSyTFKzLejAaEu8R1F6aZ7MuBo8WRlN51QFnIpKZjXCCYICi5iPjb2vaQgwY8be24dPU49f/1yqzncakRzqBbmijSKB/3kdBdi5OodtghBmL+XqmXr5PzsHx1lPGsfsH0k81zbPypPh1eqygvF/B0LywQHF6EX3i+7D+5XQtM7HTiTj/pWYSDvMPJNPykou6cnFAjWNz3FvVrWEResqc9TOTTf4vKykMKLaGa8chsYe6EGg1Iik9XTpHCrGy7ixgX4XGPE6YPCQZNuszx5Go61vy3RkCE4xaYx7650h0DE4CJnVw5heu70B9XklYjw+ph2TpjOX4QHuoo87aHTdTAQhjIv65qlNt5jQMBlNKFOBFlUTD96yXca2evZEXRjW5MDdT/1JG09bYXr741oMTdxRgP6dYNuYUo4AByxCLYl6yZLqnXSzxgTnPY+/eiY8HKI4b9ri8ZmZQ8ROKhkp10V14b8L+M1/V0CH1xVBCqohsoF5sH5rc9GxBjcWaYxa0k+XZJvExO7dA4nIx7Fqu27ft3BAK6enqsCw1gzrLawPfHu5jIC7H8BgNuaW0XWIyZU456RpIldMeIbmz6KuDf5Y5zIWt9wzSRBPPBFtFYuk7sz/GeHlxXQRCJRrl3jqSY5Yj9pEOYtoHtf9/oLJyoWpVUI+bpZjst7NhuRxLD/5GnWrPNvZKz3CN3uw1xRJD6FjxwtCacv7PkFTRUjad/iAFtCKpeVFi1PBGUnLoSul0kTgonsHixLvHICxWNx0eFwA+D/nMOKX1kWDvGbH2QEvr8hoXgZMjUusJBKqH+MpIDpEI2LTX/1mjo0eRuelooXxj2gQ5g2v8azFfmn3eFSRfq2sPpEjQon68k9NZD0RvdrhjHWytoFZhK8cDVNyK2dx4ABCGVA0Ac4E3AOYZJOqyYXXKKgs8yTMSv50UOI9myU8Sdp/svmBnY463prWYUtSx6dEOMVpgqQnxaHH8FPvUzO6MhSK/D0q3jgLpdWptpPj94Tp3bDfSLNi3j6ROqtYhWMBtLKwLWlnxNgmhiiuxrzBMYcvnp+8qJ8N911IOwkXECPZf3eTKYPFtbi6BvAB742cL+H80mqOepe3dz0SbT0dt7hHbsGTDUouCWXyu/ylKJg39hZx3fiU2P78gNqAEpOnol9q8qPXdIYq0tR3vKm5SIpWqFJhxSmsDLllo4yBZiuoVsY0wr857ljD+/cz12vQfL3SdJQGumJY0x1WBoAVMK3P7o4UkLxWoafiDjDfMOOoYzvfPGIgmFcQ3NEmrKdh4PlhO33s+GrlQZLeftHeDbW1aLdWp1+I5vQqf/FXWv30mYrpoKqtqZBY2mAhJh7/txstJxodrJB4Ac/2nY6hwbIDJvns/15f0iiSYuvLmFQh3TTtGCEF/dRI9Z/Riz+1i37ARQuhhgi4om4hHz9wTIySxcZ6UOhgWFsVP26a0hwFVV+TEGz0io6vKKNkD+mbNgN0QSkTUJnUBmqhmqN0FjSprckq9jg4ntzgajJMAMvDYqhBnZIRFF38J1bTwu38iPyRjwt1MkBVPbq38oBgssxu4f3rELHqOpD8tGSR5fUkaU7+VIew9f0N/Trkwe+7dZhLHSGiZ8cbE6NsxY9SZWLWAamJqB5GPvMPFuAPhrt19dLE/Rcc6A/AWCW9OlZy31vks+zp/2Xo/uzTxoak/mROzilCyR7TACH7kuonvgZ54Pd9SEY1lQX1x+vnvp8NN7eCCUr08uDLB03cRTRsv7JVlwAgsptxnFJMi2q0+B4/LcXKCP52Veth2hvCW18y/DPv3Nrz9O0rteUaEHpe5abQM5aIrXpcYJ/T0CPvvKePBPp8B2JYb1nB5g4jhrqekExzLWSoeMbWByRsv+7AwmmyXR3PF9VSIRdYlsc1k8XgXE5kUK+6oMImfDM4EoAhe08gT4gV6gy/03z2c01E0oACrXs2OR0uzjyxz7GoxCrLqOJee8rKq7vT9zykqLXClmDpQkfjvj4s5cqQ3fLjXYz1bCnTyjq5dy+t4wKVJWSG/QhynQaGWVxFbIh81PnInfWylNdKuj9/a/eqjrGmGPj6rJshNDKz218ibySwNzARnageZuKEfc5pxdTqjbafsc5FLDbyRHMRmpTwQNRv97Q+vCqo5HdwWoT5RoOLegIH30/5zXB+Gn4ES10JAO6BeVsUELlwqlZcpSQcAVbrh3pAp/FG3yYR9BQkiJW00vVUgL73My8v4VlGl/VbUAA4LvXQYTR0L1kC8Y6cW4YYA9132IpDKM99qfOXCGeYHDYpsyCUE5r3yPw4XymL6Lh4tSpUT6HOExtjCrBq1YWFoic2Y2qIuriGIKmH0eJ0jAS2ar1hDbr9Ggb7KdnAm/hMCVuCpVsuXiK+g7af7PNMsPQOdeuV0JifqXyslj8vT8yE7F8OYrNspnPrilNThhyGNXRWfRS0IsEAVAQawC7jvkwL95uW50Mo+J+MGJRvRD7UYsvXvP2misnWkhVLMA6rkp6zjjvZ1x/EQXcqItX0dnqmY2PLcGkRQao5F/Xyp4Bs/mmqFo5SZDmmxL69mxnvHOCPHUBRtn+OsuqaNFY3WlYmQDgVzOy22ZUqBaOdhP3M2HLoQbrTwgQs7dAfKPKG8AorGDitfdkNeENDn1UFrHXbSh6kKX0kMg+JZ6eo4smAFS0OxFXhPeEWIL7Tm1l+2gqwuiwlxwIDopqOmOHW36G/NL3f7uTZG3ndTQ/AAw5FAbZpSGqvARVzgj1PlKDB6GnsJyRyLH/nHmcATEXd1a73oUSbtl1zeGHW5BGBmtQ4nY9I0abOiOEntRD2sAdHCEhyAFd2Wep2mxFzvFFgkjYPwZBWpgvVckclWlCz6E4oqCr4/FdVHnM69YoARCrb9MSU4s8Edm+f6Eye0mIjBcuYqNPaajApfgBMWiQahLBtOMy7AN6YqcErsys7qOYiTtytU1BW1aFb/hCjdZwovGkDY1n6RZ9EaLMeTVxu8u0PauURW9t6gOBllVY6m/Z9/6bBz9j+Tdl4QbZajHqtCgz42pMaHcSr/+B8l0wvf8j8cd5We0kCtBBY6u+3Oh81gB5L/MleBOkaIkRs+lvenKR7SLX0qSmrSTFDz+RL3FYR7onU6sPEqAvuY21/HaH6KpAueltt9DC7ve9RKyuzdlAxtB/1/FM5UpfjTxztGxpadLm7LHujQr5aF3q6lWqqfvF0rQcZr4d+IEP7GSbgnpHULmAah7wRdmQw8HT1H21p4CGeHz0ekOf2+InLA9j3y6KIzNbt7+u5jeTuq3cxthbqoTjhuLS0zVK5/HtvKmer9r5wKYC33LpX1ujDPR451q4z7S/TT0+aAfTXVc6rno2ltiiyjrmtpPlCrrW/Qa9o4jnZB0ZQ8aOA9mD8iq3nx50WitDWeWG579fGsPjMch0q77tJXTVZGgM5A3+1O1zalhWFHJ0Aq5b6ZgTbN8bgvTRn8RLZxHSt7gu3r/WHkeEwhKZj6HdDXlp2RzlFj+cVeTCKqtMfe95f/iRifDCVBmkVoJU7l2lW6hz2bxHHSE0aKDfMDrF3x/0hkOfxHnC/MtUpbcYh8P33+k2FnX2LwPcpZc2Mantyrsyk4CRznB/SDf/m2qmrditq1meCNR9gbLkn9tNFGO7dlBGLaI4q47RPJxhbtw9frlz0A/OEcXsMzlR3GvV87R1rNW15+DuwqXwjTMe7aKU0I1fYeEh67qqoe/kIWThRFdlsqF8c1TbSfy1bQg4H3U1SbNQiMI1nVmQYGwRIYTfZtp9oQ0CqsFSwQnc0GLwBHbI585vjpHheOr0NW8KFFUtXh+IaTntJr3TFRhrQ+XNOw00hzumAqMGBvP19K/K16pmdeWSDgJ2BC7TsqZ8cwjivNvAyNuD2cmMlQBAl52kwbXvaqbzNgGmKlH8gImBfmEjTBRePWYcnMjmZWmuWusdlJhaGqqHoIICQwlhBPqgefpTZ9ftw19TO6CwoLWeIPQNdHRxj/lljDBXbCbIA0m0FtShYCGcg/vggYzYURBE3Z/welRrFZF0gKVC0KYa5+NEE7Or4MTQpKIiX0VXI7fvpmnoh38amKpzPZRGP6SzCN+d11cbAHdGvhlht2genyeE/hZxVrSJEVZE5TgaCKcVB96hjEmzJFa1JrrEKbOicHg5VSN6i9gU1+3ec52ydTUoszligAtBSxoTFenmXoxPmpoZjmx0B6nuDSC2iNE+2JQbu58bKr8P17KqpL589G5iZtVVhWpEGJzrNxs7bOvJ035YocclZ0eqk3HRp4JAnB7x5iHyy2jrkgpW2Jvauc80q2+PL/y+srCohrYAR//ahQVamepLPHCjLQvGpM8e3f69w2kTukkcCZrtWd2VcV1qQSRLwfrTdbtTMnDHBxSmxfBj+EEhwi7NZAhFDLc43U0Q9VA1jMsqNgJVsxIYUkMwmASBtzlcP30OqdoztgYXGPIKRTpkSONS85HKlZsM1YG3VxjCz7ybYvP+hg9pkR6lP/KiysxDuy2SMTL9JHhPVIkZZOyrAYBxJm8VlZ/wLRM+fCZRKcHmg3SNMJ87sOECtX306JhgpNRN4MWcvDhL6c4rjgYF7H2GbO8QTbs1luoqxs6Z6Rddm98KpYYBOzgYUI8UstFoJHNUWTbNcFg/Spwrz8eM8pDDh1GCODwvZVF/0ZX25qbBFP0BscfPjlV/aoama36RodMRDexjdNCNwO6S6EG2OKNUfYJbEjtGy8mqXwZkFyDk78azKKQPCf052Yjn20JDO3RZISE+XdK9Q0PrJ9ik+UWtJypq5JUulYf7GiAzxUr7ueeqEyhboZK1Crik9QgMHG9oHh9ASYLrolVorBCWx+FPTbyWB8xHmWXz4xg6K1UM3R85bjagyXnCXd91UcncNZxsL4+VLSwf4hDNK6LhQ1TLvJiK4VcB778CCEmcNaEyilUNk31O9toyJzAHlcE6hrAwqoZBKNx4VyjARaPkZ/spHvjSbTeKb6VZw/dT7FtLfqbjHAXvnuv/gCPneugAi7mi+pd7D6c1OsUtc9CZVPZl4IVmyspFId5D2P/ytcDecT76OPxvDIA4aRTj+jGgMTfqHBWyjI9kO5RvHXj9ZU4MzYTpMdvbrBHuwlT+/1l+12Cuymu9mQsKJ2o9CZtQSxTpYYTB8LpYx4KgMiDfhn/m3vpxvXX/Dwp2hRPhBT1rHoiwX5R5eZtr2VB+k+1+m9h6tmovmLjmFyZfJrqZvJ0HoLL8P8RyuM1ulVxZ/xFARI3qXWAJiY0DpHsLy7R9BqMruZ7JwtXTsc8aSLprwqo7oW/RsyH4LX6tO10fZUGdDbmysD1/wcQ6Gj1D4AyzGFokfYmd2ltV3MQx5rsIhsBxrURSg/+cBSfBUsv7BuxQVEYNreGq8DQ5iKNEZzhpWjFMAxXk7NhEMeVbxP64MZIxK3XFFNz23XbIQbn3l3cui4Iw8MVqE+4NFZEV4Meg0AxvBDJQOctcKeOXdKocAyJZWLnMn7cU98Jxr1TtyVQtZNXtuZm1n6PEYfw/Az6FURT62qoYPmA4pB9vWo/1US2deQbH06xpTndNfgS+AHJ/io/gg02xjiobKyWkmtNrlbVkA4yv3EmqzLHE3QaVofGgjFu6XwiAvOs2Q8O/wy4kTWEtz0h7Rg1/Kv7mD+7jp2jFYGl+WDgQHrUSqKZepjEH+ziXU+50M8x885O9dHZnNhurTUn+6mjsOafGc8Vy4scF1EnsFZ+4jjqE0fpFrsjVd//pwSJU1/tFYi1tdtHxXxKlCZRWYBr8EtsSMkjbrEiQPwMjIBPbn5TdzInxkcxQLpSSQRhZUt5QojMeffndRzS3XcHGcrwkcBq33nDiEghf23XceD7z52ExSKdlu6nAS0jf/jCI85faSpzVUVQQAjHGo/eHdO1JELftW4y4OnxH39RjeyKrwlllFWzZCCiPtsvN+btoDqe/dKawLIpolS9zFDwhbj4VZ6JHqlw+xNX6DH7kQvi/HGMZTYPrTrbQwosJnNROs3jzR4uHdbT64BIFBGz8iXIavQKvcZFuN7yPqIGDvJIbk6f3c3CXfCqCnz/Wp6BL1dvLTTeMo2n8bsrCiT8+WvSPeX7/jR/0YhNU2IfWdpYxVumla5DnROe3Z5VMAyDudH3CkiiiuWU0fiu43z6eFquu7MtmSu6AJWXEeZagtYdkcAE+UFvpUiQson1SOn4718YtpCyp0ZuOWkeasiQ69Umewh1kg5n6I2ZLZ5mjtPyx9RP/kRuWUsmcWuSWS3zod+J+hboBfJ+6GHmxyBK4aXq6X5hJRiRXaz4jpCOyW7o3gWcPk/6s1tHKTCcavpaP+VAZmdnvK7JvRkmBL5qHnJy+SYhC8U3BBw5JDfg6DRnWQlip23cxe1eu33wWhQvWWBhHY9E6jKUZdA1kfF0OFtQRRw4o2KCg7paLM/dpaiaXOo44lGUtKWWTgY1WYHAN2t1T/nA29xl8LlwkPU7PEiJOfqXo+/UypthOfDdciHmMOmId3+CH3jKa17rkRqN/gvgiyWyWzyYNS0xe+dOR7JVjVuNjPMCDUl7MnxTnOW0rD6siQ39Fd12V7NKgV/hxGXQk9XbrHj+R9P/0LcaRDE4Dxuw0teaVH5+tqDhyC2U8Dt7mofrGBZcr1/lt9Rfz/QisKgUzDdrOIM+FaoanS7+39wT19PotN0VMIOpkjR88tteAieuPFffvixIH+1HJFDuLQY2VfH8vQfZsx+JGKQTUUuN+S8GWuk7AqNuXbUf+SxxL37Iak3f/xcW64vTxR8J9SMTQ/pcpWdHkxWM0y+Ru60Pme0abhQm8yZsYwFKL0LyRff54bIp3sMa8NIYfgCkcn3byWZ/ptxMb38xwYQikFoaRqMls9WBQOhUTcV6Q8dmrJcKm0l+G2xjE+tMSM+Kky0DIY24phtyTD+J689eiTUonfbbSb/6NxO1lV/TuKKGcgBsY2jxyGagseZlOL/lUy6Z7rMFrOzHpQ/7xvhNhRVNN/x3c6mYFHbhcBj0thOXXmOZr5lBW5Z4ddwMgrM3yBtCTeEQtvXy5etEN6dQ/F2cuzJdIrBn/biBrjL2mfQyXfgRKL3Gb26sV1cJHbFhD0SG2bCuzMWKdRGcuv2MrqavGRzSSEDvfQAjB9KQXSJiP8hEVkwA8B7RaJpOY6WA7dZ6zR9UApXUgNiFZHaZ1x9L71JgcS5phn15gkxzLV3UjlSXHyddZZnS69Y/cjTBXc6DolKsci/7baypQvvvmnuK0R6e8NaWUAvnO60Ss0QW30swacrVgONSrAbqkhORFgTVJynV8BjE6WqnJpMFLNnEiSBKR74xkDeR4rmo7Jx1VrkAQGLrbhUeuhf599fxEVMwPb8Zrhg+b9b1Y7Dm35JDSmj86fV0YCpefHUmu1eyMCsbM5yVoh0tp8NXJemA+L1fKSz5fz9QH4SnNHpWQx0tkKX2KWWZu7PTct0CIMh0vZNkYJ9PNtpl35Y+rw+UIMYeHreZg0HUui+zW1x5fR/MpV3MJl5npTSVIpm9DKX1fFBMVgPti0S6nHkxdflsJq1OIYGuxandxZ28B71hyJnQGOUhwzLsTXewryQ+EWfjNoqc+sRPOYE1xgxbCLiESzmxkR83sC3bMkWhTeSjjLnQOaUinSHOoUgzbXonA/g9wWhvM5pLaH/3EgaijvjLVK+uGAZN7k8keWexYdfvH5PabqlVLiivyEKvjA42JaSMRjk4oN/U1UOLjL/0pcszT+j0WzqKTp4zuCRN9dH93ldbinEnH3rUpn7FGW4CdAluYptQOWZZ40bu5gyFMpkbKAwOlSItSMH0Xp2GX6l0EU0gIbgPIf0pGNoLhDEvM0VkUidNchNabJy8uHxY0rbce8TrB/b7ZhNbzC1Vi7QPVTplAq2LJufBcFeOLobm+m/Oo2Jd5lq70rVb5y2/YSXjUUzOwpIbhKoHQr9hxVgqgcqptFB3Fx6eRlR2LhWbbmDhbV70MX1ICSODnSf/vq7GvGauRaFoEJi+MrHswWIOqDfoBZxmver5AXFHWc2KrVYot09Gblaqpcu6zB1GAz6GCICBJQsvN5sTHts9p46UHfkIdjc78FcZPSpkLabCS+9+Kd7YmqMtH6/7ImlSE+Vo6yXl3SM6YUgVFploomUNmIM0JI+8VhDg8XQ2ZpX+AcAS2LpUi85PewZNpr2ppJgoKR30dJECHADRFsDS8Vg0vDgMJAzJtkcxTLIK8mQ7oZJa5p6eyTHuniaESLGhzaN7PaNpmhbty35oPMWVEKoswmFDwqHzxDxU94QPuEAXQvJwvOQK2quAj3v1zld2jnZG6nNjU62zF2whUABMzidgvKothTHOktBLAgRrxNY7OR3PfVttw4P+AEZ8ec2kcXNg9OKgue0dta9ZyfhPY9A29ahenVHObEABLYX/LpKMsPysn/EMJACDB+wgWME0w92rfbm0fs0PG66c8AaSOiUr4hP+MU1OMX1OvGP6pXValJ/iX41Wfsn5Yd2U3i3Kyxp8kjqdJyrXQ9yYUg1EFJwKZbuvGoJwOHjzy/rRNQn8uBBayg00rmzKjOL3GMLoKANpfiL4stZYuysDhzt6nd3Upbl3TshBnU3JXqpVMXabMzN5F0/Hu92H/zbU/9pPIBS0ZQc03GvdyUQiC6vWtqfWbg6N1rbmsq76023Lt1ZuZhrhrGb8/s7Togsokg6+8HXOD3X6ZdIc8eWR52GLsHYz6eWFIy4J2zhJ3W5iW7wquhuarq4NWrRyOKHaKaGsfybPP2MiRVUIy+9PI91vufUWzeaYjwq5USO/lO/KmT4SZGGcPMA6uDk6wEa3Xz6cMKyW8soIRlOXetezrnN4QvQzPsKQqygXYoBiQQM2yRU52WRZ6wVIMxMF/lTWEtXdBLYPyY2KO4CkbqBGwyV89gzCZV0Im6TwkcUU4C5LHXu6b3C6SdE/sY7eMgAfHOR2q2287bTufcn0kKvOtzzOPNsEMzqD245HKuPchT/ZU4No7ndnKdREcs+f6R2u0/7Mj5Lh1J1SLHuC1nu6oUNpgtJASV/42CwzdjoY2Wg8t9BdgDzNADcUYgZ8XWdbJLSVltWcDQHaQIV8KjPIwemP5eF3AhrU2WjySb4R3EJlS4SyegCVdwVTaTAZp0BqKpKlpnnIgTaKoolNV1kE6hRo5hjuwX+ZAw5CTaczyNXfyEyjqwnkWFGP963hZvhH9M3a/fDiH31bUF4C+wUkSHOJukZ+7yByvCgSAayDmm/oTY9ViMI75F8ORTdHbFpkvon7f9QI3eofhMSsCvPvqCVHZbE3GHwhz7KHmTziXPRZQRHpA57oAnc4jb6A6RduM4isA/fEgiAzwn6n7osi8ajDoH5v9KTW2dFAS7MlLseHDChtvwxnHew7o53sxySmpiMS/GINs8KrSy8c28360xXY5ojJ+ECweVoNzboqqc7ihCQPW7y4ta3Wd5/OYxt4BhmsRvLSb1Lr1oa/qm0bxoEQ/H71wN/gpUNEG0u+qbZucstxKGCE6uPgE+t+Ozx7Hskati39DboQTssP9RuPbN1qS9kaSJVP07rINa+L+uzgTZE3s8y5guMy5GPjdTsTaB5wmbp9OOonSHltd6SXDRUnA10tRozMgysWR4prcSYg65GpZ2V5dbOsw2V6wC5fp4Rbb++6mEWfdACDQOW2G6q2h2HfeZriAiGvMRJoslySe9TcE27gKzMYLw90TB5Qo/LNM6QX4YOedN8xjc5wLVrvVzSsQ5bae0NjgPG2ZHxco5cdU3KEJN6oQMAjQ/QcXYSkdNoPE/dtxqs8OF3Ui0itLrj7tHpZyVjl82Pt0+vv6C/OpNc/BL4RTUpDEaSZWaj+KGdQHtIQAtbYZQDHQ/+Jx66a8EOhLFEW3ZmRMvftGCGx3Dzi60zIVg6vRddovHKnglKiJDYYwpzGx5DS+ZBenhNvsAlB5WEZ1fwwyLh+GG2WNovkO9dvLvSzGrnWio3WzKzgu6jzWqSu6baYuPE2xh4AFCHSaBad9wqsDnIttBcR77bPbuVxSlRTuWXufoDtCHwwwdPW+9vH0Dgn5Kt6GMhaWA5fPS21FT+YYLfpsj6qm7omSvg6SbV67bo0H98mYSmUfn4170DQR89342cvcX4m2DQx8+WJhM1Dvwoy+yEyraPFz6+pdXDsWZbSAOZ2tsc2NHa2ldQPeff0+ptoSUVMXkuVA60BGAWikTGOUjtc8W4O9VJPjyhiX0pwbHtuLgflITaiWt9HEck99UXCCCYlWwS/1Zp3MAXObJH1yUbsyU1w5NaQWjAvkL0dGbOxp0pHSKkk8JvOF8nkH/uavUwJ+b7Lr54r2ERURcILdQsHCpI3WMHLoWiiV664KnK5TFHWt5NeJUw13xowfc7F/99IcPDRcgGI4Wn1RrtHeczjq3AuczZiLXo6nK1aegaGhWP1Pw56de5d4zy2q4sPyJ2IN3+hhp42Q/FSY3drn7A/zsbtu37E17PLJnITB1PhZ8HYhJfd01Ad7NdzLg32nSFN0OAVmoW4XMxoBpdird4Oys6+SNnhTEXkCrwEZ1QTTg+YivNSXN3JCs9NF/Eimgj+S1i8OYBYV/cJqteQC1aP/tG4TBOlfgmZi7HBgssnkeUU4wuT6/m9CKn++J5em9lbJoPs3kOSZ5rmEdNOocYy2asSLnszbnFXoSpn4G14cYSzIsKr+kAv99eJiZ+vPYnRcDvEl+ws+oFAbaqkFM5OVcKZ2lJ574ToIvqdMDNs8nVn1FlE99oF5UDtA7ncLeq7QO8/XbbwR3NTclbg7bzV9TmorYsP+V8a94Ty9iogkIwhQXIYrMgeq2hxg/Q2uorKPICQv0NSHK2323rjpMqFsr030qdZp+6gL8mkMwL0roLA9QHj1c0jgOqvDF0QsdNN/0WzNRbOVcqEmXLW63sEKB8l7X3iLnXixt+EOCMOlK8CKenvDPpUr3j4aUSyAPJst8GxzRmXH/3obVhxobBKw4GJjkI3NxfWs2tsM9pC0U2gFKTzyybelB0l93Js+ZatVXv6lSHqw6xrYPxnfIy+W2+iSTjafppw9kezlOWwSKs7igKgf4Y7l/dKEkS5B7pN/hzbFN8IGyRH7gYVbXPQQQ7e5afh+IFEB1BwyhE+lzES5h7i8g3JhZYuKsTNtmd4dEkP0EUGmz7gMiM5YwPJ/uHDQPOxloF/3GkNBPfaLOnjTXk+kJiuXaBLT3iXLzNPx4CZtIEEtcStVTbft8UjEgUqZzjEKqvJBIYcsPr+kVcsZM08C4iAJyP8igpUKlEcHVt1IhckwcH+OKpc22UVVtwBljMHwkoDG60Vc1vGA6Hpq3ABRY6IgFp33nL2kVWL7HrbhyCd3uu7QTckIFynx3VLGicGnKuFDCC+7r4NKnO/He85VKq+HmzEhiYQ5v1wpIyewDEVV1V3xce1+6Tk3owi6m51kxC9lrSV80E2Q+50P5GqcHouDbhYMJbpGkgo0qwol9JvaPFyxwv++8nZnLpemY9sMPRMVLCRAivtFfT/Q3TltD39HiodXgeFIrnv5XK9pwyO7RC2Hi4z8eCbRVsXR6fMckRQSnD6rVsvV/qoSwXQUHTykNeC82TSQSvxe9fc5sRouJ74MmhQhDMSJgK6KYgneKlzIIOiY71ZMeMfYsL0rYJY4eIL4Nv68qgCp46yMcDm1Eb92+wq3eZtf2EPUnbmjvGFoWUdSNJhZ1j1NnGiOYUwkIXLZRHN46gGnHnQmyeSuHBxy1X/GHtSx6dx0QWaRSbel1ZiAtMO3kwTZiDsuWZF/LOzwAvjX9yF2WnyJjaPOXD0htREi3drWXcdCUa2gcyJ2N4bzN2/2z3WyP9RC8rZkxg+L0ZATpiFZ205S/UZ+0w16M5j5/aXdC1dz8ZZrMwC7WcxQqphRsoJgFjn6CNGkoZY6Sijcx2vQ9mBR9z/Q3Xn5s1ORy3blhmnF87MO+OkoDDc73m+QoO/2CYVfIZFglV1De1UOJIiP1lAYXt6awBMJLDZ+PyvoEshFFTLSk7YfcgvPdoZfUeDjGc+m51dpj6AlaF1GChweIMXslIo9yap6IHcl/9sBkScbQUjsRJph7w5luQZAqjeuEg358+9OvfA0ToOP3vc1MALBm8GL8EmPKSnzqHrxbewa5MsBdxD4/1k18rKnu0IFzzl68xceJqQDeDWqJ+Nq+FN5ixGPUurayNoS/Dz3bb5r1zlbyW19FFBX9w9aHLfkKVEiKRD8fVqz8IvhLYCkFyThFYRf/O+QrF+u5A4X9g+DUF7X8eZRWYh5huJH7jVHBnYUg463+qGK4vfx6PMw8yR0Ld/xcyb5QfnloVOBellRqPOEUF2fdcSOE1fA+PcNBcyx3UcQkNZs7LTpk9UG/i9Tobo3zqpOLn+dloL3s8jrYDwv8KAQKIwAw5yWLGIHPBvuCOB+TUWJ0kJjm6gugOGG+bMgk4c1fgppbY0QFvwikeuR/QSYUBEpLbrXRT/kNG6q/Hnv5WygWXrSPBVKwgiQhyFYHHRq+2TLZbmVexy1ISsstTLVKFMC2mf0YC/JN1uUpw9xIQ3XEy87Y2OdACXeKsJLOUF1m9WY1mHTDbSVGWxwAeauq3UvfXf9cavzu5+fvs8gm5wlcMUgWuxNSCfjv4W5tHdlhRyM2Uj5B4dDEJ/hmpGy1M9NhoZAeDGI2P/4R8s1QdNgAEUcTDpHJiUNUpqd4v1zx/7j3zGIchN3J22Kb9QtMN9UtKLuXquX2Q+W8ww7hXF0T4M1euZ26vRyTlBtf6YLqGgjLVo3fYw8mT7fBB97K7uxLhm5MhLNjSMuoT7oAZQ96xPMq3AlbkdE5O/xv1S6+M972aOoDI5acDLa2Ds3PvM4wk/KT4hddtcwVYu/UArhSJkmleX8xpEU4GouM81gt8Zfdnz7rTOX5J1qJ8A2zGwdktCAKCQVZh1TBKf6eYQHdk1aInVksE0JtpM9/TiJqlFaWHIiea+aC7eiy3IMng3/1djrjY5jSSel2uzf6NwT5CRccHxbFad0QqZ5b6AE9UCMAzO7/c9aHBz1Qhz0/QqMOyuvXppjKNc3QGgQONy1najPPwsj+RkH/uCu18WHbjfIxNVa8GgGVA2rqCKp4qVnGt1Gvf3SpXuKAqSFRKpXX2FVyF4RjgaJz44LvxjC4AoohqSPUUCy/Dgu86SAP/sz/UCWADlDY2iRhpeA7suOXfUEz0ae3q63UY6stycEEaJjnwxLwIvqRo1sNhLM7nqBnACbGACV1S6/DWaOzrITN1WKI2zW0E52mHuPSmScJA4ep1iB6r7GY6sbdsMA5Dqyeocqzs8/+TZz9e0gbmUSsjXjz1FygoRyd6J3lDUPEzpIILORgZIdfrvbwMALCdyOeIn70uZkLCTHjYtWgOTdgCKHPPZwcfsCX1l+PkJy3jN1dWEMBbxohAnUaVEUE1LI+XTAc2bhGBD/OOli6SQHcQc1mAzIZQMXHKT7l9JFASrvk5eEvjOQweaoH0Z4h0a41wjBgqWIAm4UjysbUqVkM8xfqVIYXcqXEsDokqcC6Y8iDBVeSptmwct0JtNFAr48b4cBDMpUfiv2tGirzADaZdxKUP2R7S7zeOhlJvDvNeexKzph+077ISENSO67wxviNPZ2wM6k+n0HdSVoT12/eX6fyYawvuCAgYbjZVpoF3JdXeNXB9MZtsliQiIS14czo8Ba02gErD2UFkSswaFIHzugWyLWo0NF0yQHitEVlaiJ5/0gJZqpJmDqeTtZHfJV89PE/e5bYCqbLIpyw74FwpXNgROii6bP3XWsiTLLOveCMDk8yct7oegRdepL6QNAFY+QcthrUciNbDUHdFq4isxbIGNlYbHxXolJM5IyiZTMmpEHnz7wfhPvY1dRz7r4EldEiDN36N8aDSfhm6ewQVVgy/R4G2T8eBduSjD1g/+1Ez7yG7vS6Oe4cgh9tMExDnhKlNKBDGb9Q+MnGwy33eZ1aJUx4IjKTmlweLoVDH1neEulkUpQW/5igIXAgKFshmNPuPV/SoLc6zgcAYIMvkkdkcnpNR4PktgzeBQBSlBbR7ocNFJPSNTFS8/Xtjtas5QxUHWJc+DcnNp0AE10RjVAxvHNZHd8/7IoV6/NWckaSH+P0RYjjGQIVEUfiBDHqI2dl3Id+NpYAxSLyMfCbphCHdZVZ9SHk7SJx+kptclLPmVpZQ76U0cCQzrICoEUeHB3h19Nj7ikHQHZIzpoWwvoA1KrmGCQEB5WR0dJ2jU4TMZQEoXyZnP/2Ms+6zwDKjas7QdYtqEPHEISPZbH/xC2WF3Uvl+xAPqCIb5E3sJcq5u4gnMYxrdtapUWcijQdqjVwQFxCZEGfJ4F3yq7T1MykjcDS63NlR2FVEj3yIDzj/goCEmwjlQYH5AUMCCRqdU+AdTR3QEPXjzildRkAiauFQuGWbIzwvXgEeCxjUG/FS9NmZX7m2b8Tn2zZV34kKTeZdR+EECGG+hlU4p1BMcrzyjPaj9EgHZrxSnmONUZKQnITRLYzDhoXrqvwg2rOC32h67ZyRRGFqgddtfK42XCEmVHJbBYwO03uDzGQee15+v1bdSYhv7MSISRMsleHn879H1/AoKVi2KjsPtqhc84RvfNJdOj8XzwhdHuz2NXZLM+o7Vqij7Bzu6J92RmSALDN6xe/B1tIAN4qA2hz7TvzHxfGojYLzjbGuTkuXIzADNm4gUPouj1wvGb5HT4bpZaX+jtv/eCQcwBZKpcdYidK3qx3rtYT5llFlFRMWbcf4odXjXghRXRvSymVpcsa7RcdKbG+Ej2OMknm0wKKMESPOVGpMrGYnDvioyxSjpfyJl7W/ahgafA6cBWjHFJKqWs1T426jBcmpjg2rhFeW7d7F9OSLTWZWxXNccBAJ384pXb2S73vsNePMAR9jC3k8KjhxqQdwl9pYYpM4GDFDO0pBgf9e5BstKIngPcmmVDNs7ErGwhcvz3P8BfTfvJmTvsoELjCE7IOixnI9fi5mnmubc1ExWih+KvL8B6Q8ESOWJFXOyyaZC/3fzTI2Rh7CaN9jOkD5+G4nkfK6WQ4m3iw95NT0rdMBLWMyCywi/f8tkGfuQinAf9TJs6x4NFikHpIDxU08Z7j6cAITpOVGRqWdqD8+I9og6SHukjMFruc8HCxqUbFULiDJnh+cw7An+difpFg0ptAKKvqp/Y+AFsTEv2rXvRP/Bat2UarW7lZgfbuHeC4fURUY5xlcGTjqTL1TbEw91XnyRbTOk4OrTa7KNvLnGRoF/b9T8L8kfxs91c6sYok8RoixqRG79v0W4wEX4Z7HMVm2TUaiszGetRtVPEhL3JkTAJO/KB/zBZs5FhhIbk4YoG66M9RFK0DHcrQJjEsQb44Gn6HfmdY1HD9VFqHT460epuTM9G2Cplbt1tShDoSk3705Ts9X5m5zTUKsVZPJvaaPyfiwze9+88xL0h0kqWOdKdx80kwyU0wMNBLXB/6wI91yw1WsLeWRcteecJO8jPUXBlbC5RaNEvYPQSjJsRt92xSvi7dq6358U56ek2pcGMOsxBPKbR0JHyW9N2wqDJu3/AStueAEn0R7h07RRjFBS0cHgE3BVXMdmjU3QRcNQoDXV/xYwGVagsWmtE9QDN+9JR+stq5zz9QfLrHzVcb3csRtQiuiLsns/wf3tM3RUqFbfjqWmU5O6u3Yzc98QI0AU+3u1GpWWJS9Z76M9ahwRHKXly+Flpczd4zg6wA0IebuujluAadwGBIwouIl5NYG/uvcFsloYwL97j8vw1a37YN2BUNhHlG8pVD3zG1Z5ofMMTE95ZcolX9ioWrOfBO9YyoZrlk45jABBVIdzK75h93D07P91Ap7j++qQbxRv7WFYVfFuue6Lhgg3uZv8th29G7N+lYCqWweKAIdXJdIQxxjSybvtnARpeKZU852YeumzInMXnHjFcKw+ehOv9uDK8PV6XmTxZ9/28+bpOSSb2T1wDn4likbqgUUYM3MDg4VzfD3YLkKP8jT5pel7+TEtEyBuUVb4ziG9xLGtH5sdFznrX3FtPuyTS1DJvE74oPP8E8srbYIXcm+XB24iEZ3+Uh4scEry9tsNFhLqJZDxeQYHhP1FtuGA160Jmt+GMY/2c5DOlvm2axrFiNjBf1BPmsl9gYTk+5f7D1lpLGn7rPdAhGI8uWiX6iZ1OLdx83sjgXsj1c4XOmov3sujUGbsV7TagLa1c0xW45SAloP94cBFypXR41Jhn6G3UB9K9DoDfSmaCK8QNnJbxZCIQ5PUAzmzcSF1xa9d5+K8AsBeYLPq62o38TzFdYAezU3vdDS4K329hTPFbBx4zPEZQ474rcQg6LKINL9hP7f/8XnlXK6ZiES2M+5VQPQEoSSiNJifgUG3szdqEVDEI6Yx5R8dgEfC7lKEJaaRhIq0fNgF3//6MeNBeeBV3tZ+IK1NRgxAL4Ga8eq/lhC1NDt4C6OXSaorAypiUKd0jwhHPsVWep9jnncsOik4ECW6A5QtnA/MG/tBLHYI6Ryf8fNdvUSgpFkpPD8I4Nt83CBi+WenXtwo7Bvey/RHippcKRWJ6di2QNF6fr8CmIqT27Nkf7n45D6T35+ph8K0sOuTNKKlunYsq8IYxtoXBXVZUf33grPAwBMwZXHvktxAjxQaXWE0kOHX+qKPl7MbKD6VaoHpic9r+rbTV+XtKlDbBblLPcY+rW/YWPNjyKsjGsrPSw8Qe3ahcrCf2qEUEwudTwND2W+L1AW0/ZudXt77gpVOqEe9sWwBKR0M8HDR++8IiPJydKJDKN0RU1ZmI89IPjQ/V5qbxOgr+s86dt4lWajLQ9mDu1za/4UOTpUSW8PODUux9cl0088QpZ+k+L8I5sYXg0wBbQZ6nBQalNZ9KpoNTLHh4cZcWzKQYVuNC+k1Dx8i5dD456stuFrlzMJ41kmkZQgfu+0Aeey+vyMn9MYmO2JpJHBEslO3ni6YzB2caUvN03qY/OexUkXIYvfCqIVO/LxR8wYRSq/USCLzs0fzfdlJSopcnMGUdQNyVrU29Yfbu4m9MGvepmM2B/x0Z0sfGAyCxRbuMBWB1ZARECoa57JsNTz61DgGmJlP45Km4gEEU100Baqj1NjA0itQrCZbYcI1rjA4z6pwR9aGY24oEEa05zldwD6XxKoCGeYi9Gsbr1W41FBZrakFj56jULPx2Zo3GK0KmP1wkf3XiTJppkjFAgDeqA5CMR/CCu+Ms8o/tI3jkqawQlhK/c3tFNzxZEH9kAZSrFTaDUZR39HDSKRjxv58TUqJ+Te+rZQ63yg7fHLftF0d4iytFoD04TN4ATMWi4uIDXKoo4z/ZhoDw6w6NnC/BP8NQWUm8G46oaO6XvGaBg3N9BBitC4bBhGe1PHcVkPfIevefnJoOEgtyMe8NdURHLY2sCT4SQrGuZmeTHWjnMEHlS2drNc6T7xDDjLJozIjjTw2KsZzaoLk0uOvvCy0hUtHLvREfXSQupwf3nnKclERFlgYQijFsOcCWQ5VG8rLzAdlEveOe7gsPl2SFf9HPN5XFPOnzqwrVIUJPdhaP4ANZ/wop6mwZ3TuCCsa953v7DKc9h31F0tVgcJOTMNyjA75Hz6nIRzROaL6JG4d7ApwVrPWI24lesw/o0hkHvXaiR4T3GY8XM6O45W1/SaPcyv/Z8wV35h5wqnDFNHV6FVJJWk80D4ZwAt+EXb8C9ngqbNdOWMJqhEJ7Vto/SvLjnzUFGzncnI+jRH/o/pE0GWfA0TzBRjZdU8ueP9BrbVkBjiceGe/r+AoY+51xDCoOdojPQyBSzRm/qrnHskSD7dWAZ6RqV2tjz0c4cuqNPGnpcNtSkGl1xsTmYvpp3bIic6UEcah0fm9VPhi4JXMVsYBshDPTX+PnJuFX4eLLXRjoC9hsgrs0/If/y5KkWA15fEs+SineQ9UzUUI5qmjmNWaLSGZj+bBp/8GC5SnSGTEM7FP7a2UiGaLs08lIxBfz0cmKaKFyTxzEmXwG1ZeFe1val0NGOAoMUZyQk+Ve7G0lp2eZmSFEaHYkQZdotkhIQvdw/hp1PqxvVuAeJGlVGUadYda2s5EzJxvgg2iyWGXgr8iFbUYH75Cd1zPq1bAjDHGkg19blRS7ecZPbLYR/3XbvGNRvzByz5z/LtHF/SuhMIzSJnd/hz9tN9j3Zx4x85Jg8m06rdli0u4JKGB8RkJqueZHViAntU3+Wqkp44hXemOCCGHxca0C8kuEN6D58yOWYJVkYzHndXcnaBSZD9Yg/tgACFlAqZnZP8Ufp4ymNWsSTy0SUYJmj7Lx+OgrPFcnRQD7N1F5GVDrxl/lE/UElLURjXtgT+3pFS2lC8Z8YiLix8NQhxap0GADFvbc3p6vmfMKlGuRzHTahkf752CLZs5ceeLao7JjXaxrCUy97KX73cWCzJvVAYrxGRGGDVjrEihbmJhkRrhASR6XK/3EgSKu1IpHALRPrxLAVw4qPy446oryoANFecR3X3+rb6gpJUQ8TQ1QATpUvPeiMsTpSzRyb8lC0AKS0QZE8Irck0XVBR1FXH9AosBiynwaD3kJwf2UYqPs5a1nMFh7G6keWjZBscZvS6sEmrFRA9wyHt25S3aoMnkbuWf8KW0oSvwwM/ATEM/oaZGAfL46lKHqji6myC8UNws+F1J6+potRWm8/4eulWENgeZ+tjDg9YR1UGpq96QYeVhOjVTSjBBEvncyJZBDPRf93XLNHewBspo2ccOlnmYBN9roTxL/TqHu/uk+o+C4Wq2H4p3MQx3/GkJMBFPaJ9SY93N6bPcogrzOw9ofQpCdiLZkhl1vNQLNI2RRcgyLNqc46bb/gv9+l/buLzeTkQZI3eeGEAZg4kY2AZKmX2NKM8Q8FXACB1K8P4Y4B93RaHb20ZmuPjvzEweaiMfcwdcclYX9Sc2NR682exUDWG3kHPopeiHUgKCpARHwcI+2VrTpyJCaoJiPM1I6pzapCIUYQ4J667V1thu2crDg2anTw+KJExEc7fhRXy/K6hu7/0C876mp+GnqptPvR5EXV1/v/kJpsbx1YLoMoNF9PCArkuGR39oiVwSYV2C441pOoR4W0YIS+oYU2V2MEsuwCH3Z/CTj7YqmLvWvPuC3MXz00NlnE+BIYrBqyi9KMPmtvGNSpNlVX05mLyvpRigRLS0oNWj90figd1o+lR+belMcqF1GLvmZmrNHU3Fax1jvVhikChxowECHEQ/FcIhkfbBZOovZ+j0t841k2NZ3JCDRicxG253aTGSlgSPtsV/dj7+zi4NWiM1OEV/Vl6xjaafqNcDnLh+luwy7zgveNUTt3Qy+n6ybUgEylaU8xhcca3nBAM/LRM33dydBQRuLhIM+luaDR3GIP1V71n5QjYDcTnlGvRrWX2JPK8e7YzhoHdN+wYZ5YHoipfa608rkaQSYb8W0uwNw/4CLgbEcFSXJMkerq66Krs9eNxR5Ql9T0Wq2OICOscavn8vPc1JodcUXfYf2eSrc4GAhWje/KlyLeAFyE3ZIcgXHwRHpHO6Evva4S7HWR+ADR/Ky/b+4I5eT6VxvBgMV+Q6UU27u1YkHfkJ3PRmfvSke7QWwECFSGOgTtrF3DkKOo+IAnrvHzLZRCB09biY3Xeax4etRCNsQuTlipDPmkCsfjs94SPuV9mtiW4ViND98YBr+zKz5pbR2YfG1T8/YhOVs93wgschdzGZOmheXsvPzOBwiosoLA/eKMD+qj0/JBbD/PMDxPQDuDwTeF360qZqTpEhGF/5U2TZyBwDqW0/UJrnzjPChQVcGqSQLD7a/AdE9ZsgS4W3holzNooenJ1n2l/JHaJgncQZrAEuLNFKkJeQ5/CSW6VXSJzz1+R6AsCPULPrwJNJ60XyY8H06NK85T78o26b963sjH5FGONu1vo0vOS2i460M06Ma6cumNeS+uUSiAjZJkFuKIlKgOz7+UPKXvLiPYODzjz3lscEAf/CawcPCh4T6xxJpHGg6ptZjziJQo1CTI03vhPqZqZGjeZBs81C0N1B9QS2Bk483Y8mUs9/XK3PSmuYUZpOz17GKPH1SwfFu63XsWwrzFVHgbY1SkYeRSL13dHrC3lBaOw34ntbhNpoBWPtnhtdppJxPIBJMCSZK7fyMK0u0dZcUui0niowSrebwGapmiIw8Z4P7xaFAVAI2s3UqlnHDCszNU+q/IzPYMMlGLJkzlyT6asb6KWAirpHj+vZoWUWI6QLHcyQgH+ANeCfBH/uKfIjOcehEjirp3ZgRI6pEoO9tIFs4FAGqigbl8XNjOYGMOBibjMWPTzkZI4skI42du+kc7ZlgYRjCBDYFrbhlYSzAXxv8/ib2PLxkC73yFxFzCnpeP8+i/dzx6sAPjfg+V98hWLwxSXAZMltA9AKPKYKrkCmKYP4ts0+ANaKlRz4irOOmKRPanOVkABC3HuFftKsz3Rf932VnFriGiKZw4o++KFAVFum4JXQ1razXBkEAnSs/tYgFwbt0TEq0LoMVuGGAvYmsZUvH5PwYc6ZAUk2wR++gj0TR5F3Nh3foU161NSewo97Xa8SKQqao2c5aq+4Do5Z5G5O7U/qnZekmX3Ltwolof+4pJjhDIPzlVxJvItaadLTxKaNwI/cQIx1nV8usO+9X1dTEGZykawHuYXYpT1nv1pQ42yrODPx1TmWxUR31Hqkp0JYWgrT3yQSks9iO7jxotKTYf4qBwpp020gW1SRRacNKS63v2tYSjFHDqe2k2XKwqZ64FcseVeRhcy4M6J4KA3uwsbpS37/dSgqETt7dtifGOrmiYh1sxEKi9eyLXJ7eHWK5kvMe9b8/om7h3xk932zOSu1gBy90Pkj0kkmNflXGmJSbyVWXBDaDyfuvwRQLcihrc0sxNzr1FBlWHZLCcUJKT0zuMvNrLB3QiueRsIH1UgqYjsqCar87b1RxoxydfejaZgW8EEvI0uO+7Dv5OCYUvNpSrJ5TFrlBLpHdEcbloEpKrhcpQPVb1OqJHYm+2uiPBQDUHa+ijwrRRUrFOn+wQHPfX5yaLQ5NXrHUN8wqoIFXKkBWljskzDS7AINFc0T25PH0tlHgOdBovBqaaQyRiN2Men0hTrR4a1nOqYAubNvGDy+MLdebRGqrDjDCv7BGTYQ/IDw4g6zXDx69odbChzrqXGEZ1DVpZr4NMnBhX6MflV/vxaHNu6JiR2csa6gcTnPVzNQKEOT1fjaZ1hXt7pBz9+gZo8Ss1qbnjQMGKGSF6wiBHH8dBhW5qP9LGheDGLr6LARIVl9DF7UiRuJoqpc89ummR39NMhitdc53i2HyImAoxYAM4PAOZWyXmkBbCJPQtsLeYVRCundAhhbWbnIfxMW8GCBAQliifdukhpg+YFdYdOCK5iE9h2Z938r1OPIahp2iC3osLTPxyai3Vzse1EOH2ZOadlh8OKDpjVKNpdTBLXCF3gkENUpH94Ey8Lu7CgiWT/8ru5DKdzHLvGa9PgSn8tUe7tvd0bDYvyCPc5xF5Pk4GrAJEo1ucG5WLAYA0b2t8hGW7Tc1jojyO/jYQALx4zorlYHotFeg9xDsM8OpOwf3K4svqF9USPKM7E9uDoBpR3SipsiD/48JFV826BOP7Ay2o5RGuni6G6PrZLOPyqxyu9lmQzbVZKpMnNlllKwXSOUJmcKmMQ1u06T9lquF70JddSIlNcAdTfNIeNDLGIkTCzBG4jaOVnwlNrkfhPbwkCzkFfGyYSYqmYpX1Ew6oZChD7Qex4olQe9NzsERLTQ7aDPIY6TTeMPIpVG3n2sujLq16GrHDofVLo3RqqKVl9DF5CKsL5pNo71zwpZmP6urXw4U2Mdef1qaqyRJgfV3MfV0Zaj6wbPFAjVNJmc6AOdvrQJtsjyA6rDEgk9Cg6va66gSQreLUyGxX50dtf59mV1SItM7vm/1D7Bc3EviydYp/XoVfCh5S5hJC8EN1gSMQ2Pei+cyKEQSZyeY3DB5aAo0ydGmIwF51lI7eDtlY6iHctbvcifR5PaLFVvNmKpfYz440DpktshSAWsZD/Fy6yOOGyagbnAUqxJD1pZl3FYJsO7A3T47tLF5JjpfqswKj820z++aYrHvx3FemC0u0pH0tDVw+waHQipIUzd5k/IA2AzzVzr1LKUMO7R+zsMwgNJ9udMrERJ4JDqW4QTMrKWyXwT07Tqr19QZGFqN1vtFQq6kJa4hLfavJdEGu0dJiCR2mfSPu1HjTgGFwrgn5wySsbT4/tRi/GXSUvyAoB7eLREFmfxaiqXyUBt5Gr5yrlVKmvDyLuyae/v76jzS6WeMvzJGV+bkHSZ1Ra4ke6B2zJhvv0kI25kU/GnfdH13qXyWieDg0WgcKJsPVy0E8slDAdd2Ep1lfL4MTMxuWGuBH5qK4gEhdbgKGz7P3ZwTlQHkqWp4fMEw/ZsxUlQjC4NnNWu3IZzCegWehlGoH/pUORtQbqi/o4UkGvVQAk9O3p10rcDUZ8H465opnhmQZ/O4g+NqCpIm47LS7zW/sjQyCAvkEWZE7kbXRNLAYyMO3j3UAFI0iuZbSLdPKW7XwXZ83DZyBiIfmQ50OJycrvpoVBX0VXbhcbNoTGDJasjYDzSfNQzuGSshggrB3EefxLRdT5nNnMdhqr9QudL9ssdqIwf3QqXwsOfcXtZdYnCZ5gOqNa7SYEHitrczJ5Iw1E00c1n03O1pyIGayse/Ykwx/2Kl7p6idkJDXr9jCUJ4WU4Gvus5fvO7awnF7SCN0URqpSLu3j6eS/0jBgxunbW+cNy2qHNyeJRYxCUfHP6b9wGzAdXczZZ12bfBXGD4EF+zEF8P4niyLMkOrnL6dZMe+NBKwh4ZMWa2TzTIiKPpN/qfSqYM+HuXaSTBxhxJpSUXJ5UNwai3+RaDDuAFPLyLFxk6QTGU+R4cVbOiUTVq+OXjV0Eb4XyddT9FZ+1BBPqb2Aw8a4lxpZ6XOZv+8ZhPUbFhMF+2wwkFmReTaJb++skLzzLRkZdgPLMv6KZra58xpjML/diYaxBbhl19AhOxuQ9RaSi1C+orpM9Q7aFlxpWaVJYTdqoASSJZwiAubrkJ4T4IAwKX+Dh12GhKYgd2zCvhAMIiyTAJWKA/JKApTAMmmPkgvPcRLYbZiVVJwN3VkUwx1stlzK1Lb8/v4r8tlVFwT1ZHiJir5PnZhySTaUb31WCzdNbYop+s9VdsHOBfqgSAesbeQUj+TVmWnIM6w+VcjQw8xRSDn7lxioZwsOBlE/D5P/sazfN6tZqNxJDjF2GNjJxHknTBfifs/7iiaKCCI7s9RqD+N7VvUQ+viaTTVYjsWsWZs//3/5gELPqa8maldefK4hOKJsfPzjszHxD/iY59YzoBpLDc5FGx4Ss7ZDbkoWJVBkmwVLIYQDiER8mjTgq6d++zFDYrMv9SZJVH1SI9SFYSnDCqOSpPkclrPYf5iviwCfz2Cw7/Jm5jynXZehEsugYZBuTOIjvH8OhBFyZ5IOPpgKGfNJvzsJzTwhIW6yrvrZoSUcW0JDs/RqyD4BgRf/cis7U/7HIKryt7uhSQ59jzOY7IL10zS9H/hoPQNXGS/fjvzrQ8cLEJmWt2WJnGOzqWSnHqVjhNyabpBe+GPHWyaYx0oCUKhXh3oEOz0XfJTN27ImJNCPQ3LNe2nHLd3A8SD1jQFZvPOSERekDdy9qRSTADDg2XBh4gbJdrvgsl/CsN6o3FBCsRFEjVC5/l8Rc7MjZyh7isbOjJ5apaRDwJM2ilSM2EmzUrTAgurNUpzn7n1XuD0Guju0nBHXa0sW89ZJprDht3BWzjICb+SQ0oiPVLZQKYJvaWnYtoEFt/iuc3MXl46peJ329ZhVzpUXsuM6Ipyn31LlGhsReGaSrG6PEmCvwWYBzkpuwyjwBm3e6efrqKtN8u5fYuZGQxfAsjbHLxKLO9GGT9lZaVvnB76ERW6B0Ujd7kp/GKze862n5QXxehF38Lw1VNJ4TzzL9vEhfPCUE3RIVHBnHUqtunp4RfvjJY52gU/kVE5ZWWA2m1kcqZ9sbadXYA3QJDX0dioEFhXm3Lfqqal0GaNEvbeFS36b/MyV3Ya2/ngQ8j1Nd59prfdY1ko/1ocVfG9Fb4rv8+OKZGwD4Do3QoiLowAVcHbr+cqbX6yFGcphDo7moK1rupr+LBraMwrTMBtD8B8b2B/VWvLfMCJOS+cvox7R5/Hjc6iGSqk56o8Z+IBKVzPHdUvQiI013ZIH0J9CiUDMswcQK5B53Cvh0JOUVMyIfg592MnsOq5cGAFuBZM8aO9PdgFC/EJAvxP7MPmAmA1cRutQy5mbVjwycF7usfntinotw4im/vFzTdgggWpaEO76SVMjSlVPOyo8VU6m7z9PLFNrBWpkbRImfdUy/npBDjU0OuwpjI+UAc0q4ZZCiQdU7R4wruYrlBr2ISTUKxHLj6ATdSnmFFaeVgwYbrehPHpOZXhEjMi2JOdN4DRsS9Wm7ryu+2+8OtcfPh+wWroOOSXpCk6kowhW7JW3wa16ZY9CnEbBQb1DrcvYlYAWMZUitPd4MB/EQb5sVKqxDE4RveGq52Ymk1M9VwiYlS/+3kUxZNFZrRZNWchhSGdTA2K+PgZDd7lo1prWdVO8WMIe95D1B+txIOKce6ikZ517a2zMySfsMnNRsLpXAEzecAKpgrVti9dBoCY6QWNIwb2H5dY2WvZeDdfc4SLRPjgg+r/ftEmh+ofy05b4LE4svH70zjyLylvoGdabP/QQHFfxC6hhLHTWdp7QcC12P3BryyfKQ95VSoYQYqdCNx9QVIo/+Tbhxg1osRbQZ1Nl4ecGWYweatw9mOnwI4No7JTOTnmdSLJGpgLB6fpkgOWoDzwo5D+r+Kd82WVl5SLL0YrkYWQOop5QUbkhZMopEruTh5IwJ4fopAYvkebrVbfrSyogcc0inY3DRXeuak23qDLfTcB2rR/nJu7aPr3quzwGem+MXsyl9Dlw9nAqHYxMaV7LfYX/MdozphhlKhqCKwf8rfQVM8WzRnDFCeJ3ZsWcM8SoY7jiA6sKrq4Pcw/Kwu2OQSIQnsrDeFfBeXolKfXV8ZYfYLjpIft1heoEB/D/OGLaK8l/kkoQ9XyCzmhsax1scMGUh1Q8LRAM7riB+F7LSd+SKZnDpPrRfOk9Mb5ks0JWG9/RQaKeeFloudFM7Sj3T3/XGs1gBcNVsrcDS0ZQMydNjMG7bCZ//9oGQfygQujtBRxgctkI4NulEVeUe4N+6KLoDePoGkoM+7F7Y+TYFSpeSYUtm3ygQOJXQwkYK5ygx//KA2dO6fa+xB8lsCjbS/RVlva4P2JEFuM3DKcMl3enTrYVB5SFoFRUHeEBey/JumhoaQMFg6miv5O+bc18Rs4a71gxY9T2CQ9OV7akaIW0Hn1JDJjt6HtMHKqk78dee6W7hWhDBL08dUt2hz1Ns7wjGxpPNDG3Hv/h+OWUimiAedVyQwRT1xfDNAPU88j5C4VBbrAIf/hoQzNz5MvkT0OdzkiMx9yv8QxdiadiPfTCTMuGDokBSGgUPuldhVBFNJ83GeFCn5fVJ4DP34+m2A8wDccfQv0vTdlMZ+4h1NcacWS51x4I8FvCbu+7lBqU6Q9bFHZHh0RnL1EAHmzlI9FaKCVcaG6+XWHLLnAU9I7rG90KonkM8aisjQPqK/LVwyb6XGE1MHsQljZu7nSKCTPG3F5ipDrHZz9C8UhWpT+yDyQUc4HGVslB+fGbM0nU9/PYXvENaaPJA20OpYObMzbp3a4vPVcdGg80ckHdFDGnhB62kw+TtbfC6sVlVn6Ex8x1mk8OjRIwMonKTB7HVvFuBN6ZyIgNDDqpqutoQL/05SfkSla+Ye7T8EDnP0bCGIKgZ8NyH5RWIZtucltZAzcEGu6lO0hDaxjZsBWOllmoe8T3a803YIMNfKzvG9nK0NYVwIvsVwtYJknOEwIJFuAxBXC5ld8lkEg0Sygt0fFGxkPlS+TMBl9ClX9ZjI0xudkrkCRqeboskXTMx87YsV3QmNglQR35Gc0nXiZu4GIZB/OJUrAlES1Jj/juGRm42He6sMJmbi7bD3CDWz2CXKKXhMvSennXTzLUFpFJsqZ+9GOQlwZ9VpDpUo3h0rBdk5nw/1S7v53fv/f1YVmR75vgwx2lFCZBz4bYSdpu2K2LBzKisxhjKB3ENpIocPIdp4zv6wJ1dTAHnTx2Ng0EGNuY7HaAVO0RSIIsD4fL8nEWbkQl4m6A9pYbaBeMeHEy0jn9UAwKTcBJ4/Aj1kE5BCoJ0+kX5DUkGccgJweOT3mPrzbx9myr+xiojPY1IAysY+FIpOAgW+5Ar6jrk/11CS5iuWvHrDHo/TAwfUGV0GezCClCQ6Ncc4js5gUGTnnCx0und5bs3fxNArr/4tLaYCTpj1TSXwrAhymlEVHW8mXA5CjWgXsE3VGlCA4UxL8hHB7zxIxBYYIaDufSlvrWnbk9Gzfh4YvRTIVCLlIaaRBiG3ybkrzsr3m+FnHYA8beSZs1fnkAIoM5URaCTdYSrKD8LKViszcBuBOsyqhTePLJ5AVtbelRrKaJvleDaOYBVtwehUqc6o6WmyOmsG7VYGpH/dLS+PM1n49uRR4ld7C5KtsScCvaVdc6tXR1d6ujxBAqRfqxa0sN5puYASnqRFhjk6t45TlK9dzdPVCm2ZWXcfwuv1zZISooBG3yKaW35s6aDC6FQ4St6FZy7f3+5MsU+l/9al+kkGfxTLKvcYRomPDsZazmMO8RHfW0TqTSJdG8Y8XrB2dcexby1qWpPe+67syyKHoetbvLDeWjULUZADkddiskZAb2kbNnpv8olEoYGMY1vB7TioE8k8bImsmfYmCfKOmrImcYnBuIVAJefVbCR0oHDDWFpfw1FJ+zHMhRmgaojToV8dJvMmnSU+3PCOUPwvPcqf5mbnRpo5l0KeldwipH3ggpnx4tJAboxqdQVKvNdLTWoHkPZJgGf553Y0CGREDWg3Uvynwx9uW+w3HiVEqmVOZi9uAZ04Hv73LVHJqDXWgmzWqrd25phZlYCI2ehVHR0qnD0EtiflA1N2NzxkkG318n55ZIkBO4xx20dSapjxmloW979v+XQqrfKyGTZsUY/q+43DWrO4NgUZ9DRRRYCtD/kqRcw2VN4lzo3BfyE4735qsCHGykmt/LylhyhASShuOXwSlq9gjRzsekuprLsdsNRym6+6z14aHJyErH3o+ept6sRNYhwmxwteyu2PaLZ5aJS2aAEnhfePS+9on9rxjY4+jHbB6i54ovjT/Ugnw651nitakmqplGXADPDtZ1PYXBp2kElZCSWEs6K9AfAbbnbHhQiBPQo6r0Dr/15hF7VpNmgiIxtRw4z/NZdjtSI6fM/EKNzkPVMA0NwrHR5gcKAV+CdLae9qEos3WEZ1HsVkSeHssEO5iv8ZKHbolAdSWsfEsakC78iNc5l0MeOUBrEqkpVpSTfgVQ6lErorLKIMjUUPm2EDvw3ypa672JKwd4t3Yuhk2gyXWu1GAsTv3EthjbfOdI3f25nbkIz6Msqo6SIoOsHsgl8nU5hx7FWOPofwkVUurD17m6VqwMxuXR5WV+ObVd1aZihb+qzU/P26RI23OmOtBkTyr9Rpu4gBO3beTsRubEqgRAUSqGHbOhBLI0gAFuDE20hYwM+SE5fFvj1mIOXgSNGACOXy2/fuHY/VtfDQFmpn/UwGN5L6MCIQt03UR0CE7JCoUPhqql0kF2szW/HQ/U+hM/fNV2O05EJNaDiKghuKyehR5gRKESAkJ4oYVuydv4F5F5W9ESHWXBr2ELO7IFNtnz7RCRCCfIg/HyXmbw3vE522cRc4HL0nrFOpbAMeeXKFnDaV+DR90z1XjSSNTJV6IAv2l/MXXMd66ITg4hqYux7i/52wnsZRO1vwq5FWLfjZlu9tYqLz+7p9hA3QHIbpg+3xNy2lJbnapHG1Uz2s+GXjySKVG2HF+fLNb3uoTibqpBGtKkKlw3Ccp6MNAGHUZQw/PKQ8dA9vRz4vn1G8/LCFGSEi7nRxUkTb9LmIO4uPmUAB+eyKUeVYIYUDdUoXWrULTtj2koJ+ntxC1SesyvqYUPzWPuuJPWR0bpPK3I8VwW7tPztDukqObCZsDCvwKhr6VZeo6aTJUWrMw0IwznNdyLehrBWSivPkpOrPn8DOIOx3xj2hnEgbznWvW9Fn5uKn5/yMN6rLOFFb8GFOBHbMIz4Mhi3Yen3DW1u749pZ1CDmcQVG6OHmHvkmbsAt5W1v47kcsSx+4EwIFizh31IeK6j/L0q8YLrA7PpcPTDEslKh3RqKUnwhLtn6vP3Eq0srsAgIb6ovEGVZNx8b7kiwKdLouG2xRIjaE98LUI8tDPblMh0yUaTelDlCMEi9o+hRmZD3MkkC4lBsk2ihvyLKUGFo1JFBV2zU9eJdDx68nRZHBCzfkCVpPpMaQjdpU6+Xg7u8jMtFrsf6mYKxIGbRDlAazVPy1kKsrKA8jINojAia/Zsyw8NXxaXW1LDJnL7xAs9153PFb4uUTEqtX0U8nArzAQc16xs8WDNxXyI0pw06v7GUOjn+PmTjhWUX5kOp1paky/U9IsLfuS99/CSHbCEi2S8F3fA0aBRHPz2nANmrrudOPEciFNy+6ec8ORC+uo1iPNzAiRIaF13tTQHh7TtqBEsNZDfPA0U38y8S3SGMnlmGBFeLxBAfpAIjY5QSj1yJtkSaPUgiQOLmQuaC++cYzWX1QvgBVRO3gNnWWWt+gDgPQa/Rp7nRxyvgdCUpTMEzxIne+rGdoal1MlbF/j3HiWnUrMtZ7cJWGJdWbzny+5xpF+RPOaQohxfmfWfEIAPhcVMYGBaQVhexDSBJtcLD/Po6naofDxKJav29mIiW40yd6iULa1oLerZ9Xx/4n/RBOOTtSCl8I+jc3EVzL3znMljB+/i4okaRseLe16gk2uzRuLhGk1eBs7XiAAryXv8s7Sc5SRw/+LaxyUDIV9ZJMiw1V7fSjiy+3gHN4w4QInYHlh6NQ8yvu8MGmZ3J3yOh/CSgX0f3EqHiTQXFeWxriWDAbokLc3dGyEmD0S6g0aKrXjsLY77OTRKCTJ+KS7hDZCJmspTjVKW66kObmjuW8r8+gMz4Q9HpvOUiRB+Yp1xeElpblV3GlWnebckauTxoYuh3vJxdLNVk4rXFbT9gxiregklGR46Eh1ERQz30K7/Kl4YIbAR6+B+ZCGOkXaC/gmXDNCP7DN/8tUW4TZG6MU8iTzCKgD+D4+zb0e9W42rkRxyNroAgphl+83Uv+tGEKfBm7v/8nQmJo1k+3g4I+usg/2abzB4UkJOIal3Bot/GLFKulrn515Fn94Zj20HvJu5D1Tacxd6Si07VHqefifwP0IWBDJR7q0P9TVM8VyBa1HkVADbutJqzeLUnokuEA4gMhHpBgZlKt7pxusQ8bVhXQ6fWl13//R3P4rM/Nuo9VmhKZtak1rvJe7sU/B/rgFCzrNw1Vo6G92zuEAeIcZwlSA7R1MRIAb2vq+5R13pnFzOVAkE3o7D41+DhjL7Sr029tQutwK+xj0hPcpjDkQrzEA5qCNu8re3cksIqftTJnXD9QJLLDHrtclOw7Exy3AHT3G9cAKeic9Kqnm3vS1X9JofSXRlxzRTbwyMVRv6XBN3efq3+C6mc9IWIJ+fjoLspZ2CsRgJFwbUtvTEbnBoPraCIKBzPBqP9/rOdlSw3TyK82sv5/5Ima3OlrOpHIhoajxJ6HuY1DlOLPFYDg3glZ7uKKX+DtQFKZa0P+S0uGgbrrzIHLJpkR9B+s0HpxZJn2eOW6mTAcosNDgMt7oHzNYWRSuPcki5GULyg2oioNGbD982F3aVCfNsQmga8vgpfvz9TaORfw9WWQ9mvRJpPBSO5+Ilo864dYA7QfVvygJ8ho9U9iGKanh8qWqJ30cIMeQB7uIfptAJWVYBAEEsj8GKypdL7O8VvpFBz2FpX2QKaIRi66n44AMdxKGT2Zk4LeIMp/Hm/0h0u2MbXnS2B9ycJ6ID9cw03p0bduFbyhYdMn6xOaPByeJi/CqMQRQGVe93RLLKiAt3IqTPU8L8D0qZJWFBGX2bb9sucPyuSpg0PyVgyjbXpwEQgPLZGPnER4KYlYl794yBBZt2ZgigKQdEqngDTob06HG3PF+3HacGb//UHn+T3fCziVsRcHMiR79PxehQ827LBW9AaZzVJrVL5iJyFBBh51Xjcv9vMJz6jhrW6PcoaceH8O0yxIqewDrzdFOItaCAHDtOIYui0MN0XdJ11x5IhToVUQMTZYl7zPnSFxp6SWB17SEin/M2lgq0dJQSLkBesPk/5J1yQfUJhFOdL4dJudafe/hzDa2YixerTRRTzbeuNANlIaIUR2TKn9PhQMxuUxhvcNimXIadYguwxiTUvJF7mqbNLq7nnLZsm1pTfhd/Ww1yT5LlurESGuiaEk55Z8rULmdVogU1xJycCKAq5Q3vVGjWN0C8WNNJE2EuK0N/6WT9mJXJA1lwSKzaQ5/wsClLq7rXwEnDb53+NRx8nJV8OQRzUKzVavBZ1SRyyVUtCMxawaH4MvlSdgbU7yCNa1w1/pQpxUDnE+zerEPOr/f/nTj1+OMC51B94lIC8UNn26INfLrvSirPc5umBDoYTLivW+kU4rzGeTnIMFb+Wu2+Zv1fRm03GY9ntet3ZrGVywTHegAMoGoJosL7qFhatKgIyam1y9R1RW4icDRutLC/lfjzYKCabS1OBkGY9NPhWe/AcD5djuR6JUxWdUkLeUwekbgt7Ag/tovPIZ+CVFAJWhfwmT1/XLfX7F0dGvlIl1iSAzCXaVR6Y6JNIevpnfC+4lD5NLwG4YM17xCoFnLixvqyTkyH8bNgnVk+NUBhaHJ9bQXxZdbhaXbEhAsWwVzZ+c5u2u4lpzXbltCx/rUrBfmOVeX4uoXbJ4Kpu2UkxtNQjCIQRJCCNHYiTZ2Fc+yJIwv65k0iOXYS5W4oVBkIpPXv3lyXBylIFFT7iMHVpNGskydYSyOi7t0Q2S6BZkXPW6cz9sV6qAXO3EQArSB+iasNgnpdKbNt3zQLH3rBr/htaZYNOAU0y64T/tbN+Etd+LG7Nw2cOQ1Fro5kglS41ezNAuoGpdBXbO+HVRuncZxA6UCOvPHrWn55CXIJW5TWBDWhyJ/jeblvOWern2CVTrAgh20G9B9+wKKowkl99GdXPovoT0fOqYMXign9yaAsEgD7vP0rWRQiD9aO2hGeRPejb/V0iF4NmGV/X6ysJziOU80lAYCAQggsNzURhxKwCiE57S7+CzlO/nNMwBi2K7NgbiceTkKz1JEGXhukuLZszzxw4Paxja4Tu1V1rn/Sos3yPct2HHDivjiZRQUxVqJ8DXds9KEwmp7/g18aBpwZxYJCYr5mpNWDLYaSCmShNV4ZowETDQRi7RVHrF3c0N7OjJISqIY8sF13YWNcc/cm297Odij/L0DeE9jgcNSpSPDem9X+VCnHZRqULAyyh9uEAwVpinF5DfeWRgXTPlyxc35hb565/nsjZo3BHHiwTkhdBREtJnPu/OS+7buPKwwzqLQ+UOIBW4OTODfRafchX/VGPAGcqAeDqsMUMDzr4mFoPrzim0NB9sed6wKNAhoa1GrbuW4zJ30gpASONS3GuJA9KK35cJ7RramYYTyk/rMAmZwpqEMYw+s9WllnS9XPQFW0q1VMjoh9BgMpZtzjL2GidLWtuqFBTk4sjscvLPOICpkXuLJtooJHqK71f7ZijeYmcaEes1nJZhcrF9OMcDI1yn65Do+zuFl0vUseBOGtyyX5Inuaspull0xKHdQRfBfp0axOgb7u4I+pks0/lbXSkX+/aPw4BuApJwV17vgeC2eYOW4IxGm5rapc9pm9hmJY9kTCE/daWKR9kW+6xOappdfBWU7XIV1UiIj9Akecx5h5iZ7qtz/y21MUQXCFx0Ajw7Oq9iX5DtPWaC9vapNXDziuoTNYyYxLZ4gcOuiMmJAxmSVGacX8LrYa2qkffLSABEJEP+xbUlscFGavVFcXCGQYYdyWlUsa6bu86IjnVwERpWJqPGjMjY3UQ30KVpgUfPYxsjjjBzh+fLGF9VXmMfoyunOt7Zlw64ZkZxwFoog+v3lDHL7g2YBlCklXF1beQvnPl2ZVe0pQd9Dd8GnEpFyULUecC/vuZ21hucSdCst6Bw+EKcDREbxXs7aECggVqaGMIvFN0jWS2wa5X6yt7FPk+QH2gXOGebrZlq1ryfXM6BQOXLNrEaN8/VaHf8S85gAzBycOdTIX3Qt/57/V8HghLjkoLsZUmPR86LXSF9zsP31NxP/Oxs64TAvCEWAG5UMtAqVCnpGoEcotiHWLgYB5FKDmPF2xiAv8xHlgxIioQ2IhvwRbQyp3aEDS1Pli+aQTRqEI6FGJhTCeMgSpy8LGpGILtO6gtyWlF5z4XEP+DxxMqDJ30F3j7VjV1WxAO7TOvwpuAANXdIQGsctP5d9HyDsHX/seVJwXMP6TQk4MtOs1L+YgBICJ44Ga1G/BdZGoUrQ7gxfrYS6TzXuWg8m+ir7Dh1iudgJPg/DqeHJ7VqFssJU/9kPH8scpc9OyMyKClmBhvtup5O9HBu3gyGzH0hzlGAkJCBg1fWPBxOmaKUOsbr0gOrRnqF17lR4CYf42LrHSq4m0eK1vFX8QG/TkT3sFY2RTtoe0MNzMLMHfI0Iu+CTwSR1YlCkqATjMHCGU9KSpaK3OBxhMbKfUU0pjvEQP0nZcGZg+AHxOZ/a+r+mN5giGXZMMJrS67fYk4rbyMczfFoneuj7LDEl2hkQZ2QtZIV0lbX10fCTBqpkIJxJyNxcQ99JqjubxpUhf0vwA9T4fUU+uAkqVtaFauMISchGXdXAz4zEzLCWuoVATXndC44o81NcVsTubAIoiqIPDMuPHVh5nD5Ji+s2G90OTTqOOy+8NCGbzA6LaXSGESN25neaCIaS2TMZyuWP0n686WZ13VmacnmRjfWpmr+2QSlA1iuJQyqD0rbAoFYG/v3cHxKMFTkA0ND5lzef3UzxPPHmCxzYhz+8xm/VA+WbzLuPWD5XqqYCbIQkg1Y4r9Tj7msdfbbO9y4WWJ6pS7yDxKudR6HZVN5DOoIF0NL7xAEPRYjIiilUUaiKCx4I2cojYC7x9rBl3e/PPBeX/KIlf+YprEznDz/elRS4YGFXA6BDGD20Re8GA6C4de4+mVqtws09bXfI6yhbCRRvS3uL6bbGIriE9E84/6ikB6D++C5JNdAHK/kzeqnUZDbCO5NmCryfQPZicIZ6UwPP4ODqVnXE5EX7h5h7i7d8d6JsTNHc0lj2Om0G04YDT1JJyWzR3Eerp0VNcThMTBBpGobpO9ie/jy6/m3DoInC0qAZMOgNLfuZprynyUmWEY++aM1FCTjF1q+mfiRALY2QPv4ECqv3BoO1g3bmCRqVPKVfU2G8iNIgxwCeUE0MKNPTal0VgYsu250D7KFj1dAQEIQw0gBGnZAqm5guaPWUmh6/gZlp9oYr3GeWcEuRQscHOGB4FQP+gwQYFYB5S6g/9Wkjg65bfyQ5WHw7A3H+VehZKFDqqkHPXaaHXegYOevdnngtn3L+Ey864Mv+7Ga5dE0kuwXDJM70V9lMbR9+M3nrCjdexZc7Rq+F/3ArdvqfRJmacD/av99MsBhbw1vm/bIxVK1HiXneRaFgf0LzIkBxBf7ld+cUbuest85XqFwTr2zDJfwwFQRDiL1YE2MB4D6PYVEy9LnfdpfcxQ4jsgcCau1w3MZ2ZUMuRHKxxNCC8JvSY0AN0snWVeRH8cJC001KnEEPVix63I/WPYr0aDpI1WK55DzByR5Z/HytwQTU777GliWVKd8x6uAnCQylLT2fozQFCX8JXuGRFGZss0HhQoiGdBBgn9n4JSU/Mh8HUATe2I2xZWW40dwvGETrjsVqewbfPCn9vl5WnpH9U3V0Il2pOS3MmCefPfKOtax5LIK+tnOpwGyPPBw3scEaaj5LdiTIzH1yLtOEDHrudwXvjsYUk5PdH9OwoxaPFSTP3/R5R0stLD76JF5/nUKmUipESP5UFXhGM+4wzWuZfy++DTI6P7R6vVA/vBx532yt2ah7+V3dNXDKguReUhL4IEy6iZYIS6w0GN1GlTICE44IniZs0QimPp4UPBpB5zgpadxlxXLWr3km27SJG/WHIW41AAUR4bhyvhF5Lt2OUimZfWTGOKzvdlOhjrf8TmvT0qCg2ujB1AD64wlc6LBJGr7AxDEOtjR3gtDj0eMTkTpVhpvjvSy+JGY7p4A2ugQZMdux+9UvqjJzbm5B0khiDyQshADmvYHiSG9HmIPCDaIXoyGT3A4gB6Hd8yxL59QaCMp0JQnSPH6ucIDKWn+xgTsK8NsTYmasjlsSxVbOJH+xKrUkoPcVBlOsE3ZfQ9J/x7fdLwXEjUCL72TDtjEMqR/yGoc4IHXxaHuTKU0C82kSQG5aKDDjDcXyPWkDrh3kXpBJJ0QMrZ/f5AcbZrWVNiNqaLBloT5b2WP4rJfN+LVoBRDtNWFQtVKSkBF9BkEgat2QlWXPhkbCQB7YEwwmiyEDGtz05eREETZBLic5nNTLZ/dWVJwC5XymFT9ms/MxfBkLoeY6ks+7tx8S1ZQGcgbXSPS6bPH2VySZJjPr/dh4ddRLFOkhrlGgV+IWNyUCF3eK41FMDLllxDVOCN3l1LO/OVwqJkEPChHAhOPRD58uUj/eqnaH6UGN9Sy+UfoUc8YE7MwOmgT4Fqw6x9XkFuHrY5S1/+ZDRyK3TzDOelGjAxhgYS1oQXjTUs/qlINuFPJZYZH6ahxSVgurZCVoKCLGYmoz8viFJt3+gwD8llpjwpQR8pIYFKZIxp6htx3Do+uOCxDwFfqK9cDgTaZkqGJ44lmaiVJmBN3djKFgi+QCB3wPkh14g12YRdShRQNESL4ROciiYgif/KmgxR8QO7VEdzbPEUImUuVfxlyT81X1j7vJ2tzN5ZupqOln8aqf/E010AY6Q4LN6cXUMyRoITFfPK3Yj2UZLx9W6tS1tgf4mOsBcDVUTQQUTFh3GpKFrZkzgnGLUaNcg48/sfGyBFNYBwUN/46rrGL2yHtzHsDc9HhmRrMFr2pJYtyEAFjPw04ZP8/PniPufjdJ40AHCSTsrPM+gLs4G/bgE1W7GyAz2N3k5KdAoO7K72AbeVj+Z1tXLvjl/B12eJJXIt9EWXRjja8rArPl4ATFkv0ZsOxkqrJqJylzaYUuqHKKJ9aQRlAVlvZeVTxnLQ1WHgvvgcBH4p8r9y44PMTGSkyLLc68sTC4sA7V7c+/nbMUCp9JU1jYWkGlFtcYxO3GIFTQLkoSomjh5DpdoXekwTlMJ5eieqTUh98fjbJ1FsxdpGPMsWFLLpxUyzlSYwptHdi/CB/sl6HYCkXDBmPy7wmdtesQcP3yuOUDLR+LyMoDvlvL9PPLqZtleQxC+TMw85j5quEbfk6EOYPetGsSOhyUdnKLbWbpmUorqLFW/lEhUYxxZVTedDZ/r7GAahv65lhYk9+8AsbhUbc/6V5wc93gVc1YpspGoh2R45FxOoAZcS4y3BVV1fFG9y+pnqqfHHsDt07FeVJg77sQJuP9pJLfev+rviqiyEMZNWdszU1vJ+v5zpNbY76DgXTdehIk9dGLBaIAyLrTt3H2w9upDA5KLLdnhYQiknm1yCIFR/mqW8nicEOgmGt8C8vm7dsLc+GkEDQJICGyjBZ+QNDVaswT/8e1L4KO7VzTdIzGel5ly7OLZdLPTx7AcBv7U7wYNwUOYNTcvEunkBqHDgadMYQEkiaBGDeIYavAkGIrNfTOAL+WMqSE83Y4uYIjJuIo62OPE42+v13qrzhA4hH4FGTrDZ5BF3HNSMTEttX4UsQRZOfDH5L0VZ83JiKYW4y0sfGVJP7+bsijvd2NNoBBe23o28+BJ9DNDLRrOCDLHXWLQ4nQ01wNGxNuplEgHUml5ui/XzFKeNfxDHE+vO6ZDN6s+Dr1+YmX451BwPP0ri1y1zvQNHeDL7Ass3FVwZez5VRrhzbvwitIEHiPYXilDsO335LJkaLM+3ujIJD69Eguh8Rg9fMSIfeshBI7v5chZZfpckTcx8R3gJfWqp3vnpJhMgwowRLVey4r2QHry+5P22rWH/lQLbXXG2mO+4p0Nn9X8KS4xPjU/xz4WMeBDqyjnFrsx4jBCOUuqzM6+4ZsbeMMjrMJrEx3vpnQr+0sJc+5FnaUlabMJsUKuI8BgHbtdTaW9QCs2TgLMDsgSianJIN/S9FlAeubOjS1tV4P68bHrYiDAT2JWgmtka4pE1p/yYDC7OZ6lUSBjIe3FcHY0y146K34UuJEN6gBhUg2v2ajGXDe9bRedDVwMPC7loDPTUix6ab8mZBnjOFWJCMLcu26M5pFDz3g1aoGwoqGCJB39PtHfVHlz+jctdt1i70YWUp4jWFd+9y8tMc6GGQ0nUxyEUyC6JuJ+zztIGt9jl7nFkfC0e8AqsBdgiUgurTjNop+bD18lO75zidL0IovAivRPIREsYbPhpIFHs6y2ce5C8evqYjF4AuEx6s8vhGM1PlySRZpi5jVpMi0VBlErPtQKhzZx7TyJNVOiq9Xi6zCfG3Y+YgGrZhyddiKLIlIbfnq6o9ue7bjJUszdRmeWAYgz0QWRRaU+Evu/P/phjSr7VRtQq7+fj5buTjCCK2McvygZvMtDH++z6tzYEuaKx5/2MCBj0a1vGpW0aDw/WHwVM/ZzmxGQ59mYLrFhdVcEZX6L4Fgfue/Pk95eprBnNVYbDSfQbenMYFva9zDopQxwIlnPdhnKQacU+9dwZjIl3MZxM6XgCybfNhx+lGAjU1E5mCjP4iAY2YtHVFBHTOMx2abK/dsWnZYQR9E8xZWTEhvYvgznjyNxSWTQwdJ5K1zMWzFDkBcjiGNWK0tEsFU2mjrpqJ3EITLOwHbscJUmXFnh3gcFjN/MBn8CHI++mnaz8TovRoJZZWF2mXXUih2Hqr6Z/B4ewO0bnSlaZwtuZw7EodVHkOu064o+pALlvF6XkLOyDP1DOZIICNO9g0rB5OC2J2WkFc7/myBweCTMg1fdEIptkVfFK/+YDpHmwMzS0Qim++2Kx33rvvuD1PTG5028/SY/8Zujnj5PU8ehHT8vhNkwC5ARQv3LXq8/kEAosm8aN7NJ3Tvmk7NSripu8jXowDljhc75h5xV9n57eoK/K6F6g5xcicsQ6dtNbXT3o1a1Fme7CUo49Z2WIuVnvIc2LdzHPSkwJNstkKu0VyJ9k+DblRNheFMdDZnwhIEYFfDt6AcG5NbrWKlTKbhFNNezNpEzb41fvZE8kJq1OX3j0WZ6FFFEXaRZxCtCcmzcxIVaL2xarOjc1ZnNv1jglpmLfyO6kg9An36vNNPRt3gY++cFsIpGfPyQh5cGb87vPYnArgermeTxvI9LE7S85sAAzr1LLWph7uVFGt9T0jb3VNAYNkmqMjO5y8D96EVxkea8orAcNrWqKTpJBG8D1ZbmVoXyK0DbboE0sRjCfkO16XmiiR5V7CRAD5R/LKVIb6jVEI9HrnkiUObQ5+OQW+JN1SUm/IjPNgz8SyCFxPq/HUNdNXH5e+vq/sRkZglaPuE0joBRGiYZu9uf2vNpL2OZP8A+rGTIOHP3zLrSwcLw8UuQV0jwMqoGphZYMCHS1nQWRQvfhX0Fc8fnD1/ZoucJy/9fx9qy/PGvHTJK+TPjH2UfugpVjlPimXmynnV3PL/ia1PDdzdQGhTFSLeh3uczTvU4MtdVCTen0lDMW0aF7iLMrI8zGg/2u6sTp50avh3BWjzoQv/mfB2toomP8DxZ3lz6umaE3OOGYMFjGvTFktXPj7UylIoLV5fSMnOgA9PKtVzwG10gaARd/Ew3lVEVjwvUrSZumg7dayxJsWSUlai+4YIMeVWvgWUbXsq5KeeOuJRGM9vhs0pZrFsXrXdoUiifbEkLrJ0rL2v2HvbXP23Hm88o5SsnrddtQrba1E/eTNMvr9n2A9Zmg8z5xK3pNhBcf467kMjWttKxqD6kLq37Sue+EAywF7x7pdn+jsTuycZYQQiB986cNKN5btIDq8C+YaH/vu8KZcp0dMWPNh8GvWS0SPiI+9vUJLPBvumtlhK2zYk+1EqeIUxXqhW5/7U2E6ZlhgtLRHkBfegLPHqVidQv/ysKbJbNQV1I4+dGNrPjdoYU4Ck8yPYEcjigkL8CpLrB4wSn8QXDOFbTzDX0TTXGwU3PZMDXzvkQhcwQFmsEodU7AgFklyBTzy5lE3wcnzZsDzs8PoCv3BfNMH0VkjQtOX02nQCoGQbyKDkHEu7Vt9VrBgWmbf9UDZJmFnf1igQSoP/bR+luDG4rX0KoAQuI2EAmMQqv5KiatUoqWVvqgZBlfyJDohaiEpm16uA8XwoRc5xQQC60oI2PSrw0bRJFwc4qTTjwybxT+vkfqHtCG3P7boYsABfKUnbNuhp2lTuQH9J+zR+wyXS3GIwSV4lQ4/Tq6oNriCNGQhMy2MbTTbW6WAMGdPVZ93l20GwdhiGMZNix8wTwdNelCucZePWmvk+nMwcw1xq9HuWj90hLv5HmjxvlXmfs8aOoNUs8xaPlk1mCy9ioM5EXqcZMl8a5hiJPvZIsXZFm/KS/V8kI4BZkAM1tt/O2NgseKfSZavky42M0flugwmC8Fyvwv3dDTGnNRORXCTjh8yrIOsht32fQoq+C6rGLSRp8SOgkzugW7jyoWxS1cRyK38I/+chcDcZgV2QdupUT0VTQdOWyDWX/Sz2xn3b4ZFj4Rj3qPSFhZW3Lm2mOLq4pc9gnJkAH++xnanUsbKd0wmf8qUEY6/JB61K6v+9vOFlb9ix81f2RrU36K0uvZPWvh27D98NL6VC5RwF1aqur59jDGYHAzTxHVRkHbi5T8hGKon4VFJtD58YO0LdJRe0TnYWrhX9ITnikJfVr+9JybyI7UghVoQncG0vGtkkv6oDcZMca8bWQvv6KUfr5TACR2cG7ziB/ZA4GHgoGCtzpfpaz2Ti1FRxOg0E/bBuvdDJ0OnRl/udghclYzWjMTiSk3VETQJtfIri1EhiD58RaQMLkhAYhm9zyuDvkqmBVHvBvGT+fWbLTjAQRgtirl1RP1ikrBL/YGPJWr2R50411AKMI5fmv27YKFOd3rllJoxAqub+4QAwBgQfkM4OCwQ61+8idw5KFGkUlbvX2ABWMs/Pjqm4SYJpv15+NHPqCvoe99ESWc/RkSopdQ3+KpHlnVQABa5YNgzPELJvROfCTj+d9Cgz4uXDlOUzMs/N3qgdC9245iJ1JMZFDm0fl+B3dwSh/6b45skpJUWr7k7xHc+G09HENec/dbZlctR8Wh14r8IM7n5l0csTvUiQw1zgMw2MHv1zaorwhHrvv5jsJKZkgYDOCaXrxMEnzTQLUKBP+1JAZxxnzJRMFXoHL+n7OoqRBKo065fpcUaFrELw2435UNhxFy7QToE6xVyCC/x4USyhBXJN4/syTIej0yK/ybjiv/Iueqicc6pwwSV6uTQN1K/CUQVXvg7arb97HfuuTom5GlSmhbeg+LYWl24UXK0WKitPbKmoSA97Anss8RXUX9spoegdLTGYK3f6jJCHfPA072AlyW0oYT4U3ZYRbSaP43amTdeubnR4P1hFsZ5MguWkGjAa4lbAyZuW9XCACHaOcgNkrX2x5YeeCIMchVAEsya3qYUGF9zZWbakuIYRbIvjxAmj69nSfzEP6cLvVqFslerIrs/PP+frxQbwfCGd3uuMH/yNueArPscd9hDE/OeLTsqgzK3y7dma2m7v6/Pcg3wvFBNodRedVZpuphTpEl1/+8Cm6cLiQDn2v8wn6EXbvHpDbNiP4mB2Vj/7lLLelNTInL3ayZ6pU8BvKc9swR0POoSZqxNEhhB96McOjJazN1nThDMGuwNGvv68sGMuzN/83lS9OmcMFnClSPdcl/hwoyL733KfNBDdirwS73FKaRZeq3whUkRCSGAZp4LV6IjSavkv+aw5UOaU/wYxJ8+2IhONlMoT28QGLXp+HnRZGIhGeKaqVc45OTTC3E+2OHewt6uyBr+0UIGis09ciMEKZ3EvBdmIQYkJZHEobLU7SDwIbuiOIA9CANrvc9xOAG7oM8JQlHFy3mp5Y8tcSWbXe50HS8fXSbkWeie6KlUGaRSe9Mrg5RcXqsZQm6xhKTlRQWNpwmyAp4pOZkczX72begJAx0IqNtUJ9T52eVPomU/GBmi4QWVpA6IE/a7sORpXQMViXM1BL859yOukRJgEQL5co2gqPUEyKnSKLYhsi2aek+isGBCCrW0p5bc1Dg+9/Vm9zt1am05BCJEXu9xn7fXPLpERGC4/0Q1nSXxSZaLHO95hIBDr9TlVM+5ywJ4pQrpUXYW6VaoZF5AJndPddk71R3hPodQ/VXw1JPE8ityPPYJxpc4Clfp3llo9jcpzilCjJIzsSXXKaaKN9z98yl3NDkgdcomKrhXC/SxZsvg4rQYqga4LbIdjA/g156zXRO07Vab+HrTIad8ClxGwPVugYaSDuaEkpbD0DWNF1LX4z5+Bym3d7NF4+cskjS4lyPrnT4UYbLNCZkU2IBfl5tNVvFRQGJrLmIQ/p2fHebEkjDYI/iuHsiWtu5rqA7BxREAh8BC9XiHmGF/yNgarc0LjZ1jXLUAk05rtVMWUwZ1jw6lDAUH4pB69S10JSOxhhdyMLRCx9+BgZ+iqSYDkCHTv8mOcIRt1q+2d1UONin107ibe+OEEHf08st3On3RwZQcR6Bk2KDvmr13UxT0W3OlgFoY4S4jpmV3QonEbE2xUMQtH7QUgmkLJ4FyKcM29CXSWxtkmYPggddI1vww/AEagQ536E8WViTZ+ZF3qV8mf/DR2C0KSUbBGnze4DEwaCffWNCWAKHG7jKSUqh1tEWcIwvCohA0dxMM0DZt/JRJnDsf8OiKSnVdhRa4xQRm8BOrgjI+dU+148IELUQEitzUC8NstG1F9BlKNpNgMJhYDHa0W93sui/HJI2ukovUTgD4xSfJRm41gHcV2j6Y5oMtVsaAJe3jvN0JTiy/8nd6+wQNFdX40n2Q7U+K46ucQaR0vpgbyJNoePiOFFuoZo93t9L3NKWCdxLTz4mfk0HYcIweVeT45S2+cSm6HfDEDtgiJOD2m0Jzzf21aHoHNSXCtNgf32tJ9j9vRK2ehR7pCZjlfo/H/NjdY+3eHy8jNc/GhBEWU7S37ygHG4kJVCHM1zKJruo5U+tgHgrQue4z/wTnf+kR7EXewiEbE9nKBsXrhQLGKCGhg2lv/8iAhjrHzuzsMXJT5QNTjNDEUsmX8D+CdJRpKnmb9nb9DuUmNa5Cv7dSwT0Q1WP0dN9CrisSDzGJ1sEfFcLl1UlpNYDLXB/LVBpJ/yAdfC9zWSveTyB5e6/nnnZz8tSFjVwdfsYCRQ+hCbA++4f/S8vAQQ8MR8ylxCUKfIs8ltWiXeAsvxrRuxyklaaGlKGJUZhw05i8R9+6VEM804u/RN1e1wUeK3ivUZlv7hg3mJdMiFxA/7BZdvNH9guWIM+7kY6xJb51/hG8wGJTzNpVeXyV929DWMpGB5Ii4S5UPw+sKUhR2yf87/SwV3APd8aRxgFvCyoyTi+rpr4YNY4+6d/dvr/47+jL3608V/C0j3ns12WFFG3s+UKNJEhdOqvjCZaeOyELTQYbIHFL6jtse+tYElipOBbiOKh1AxA/zJrFAbQzf/oSSkBXFcoetztRcqIo3L6AGk/T44HGK+7PTadiWywJgfPxZtSTe7im7pwzkkOj0hvq+RKwxzRFiKRLbQKEriK+kUGzrq7BApTVIz2VBdHLj5zi+AsTQV/7A7/5ZBqzb11Atg/H5BgRqi/78C+Xf5XbTnFxgszDM26+JIp5oasOTv7v3Pc2IxyKS10xNTTrcx6dmu8UI43lLg7EX9UByvFV1rggZnsTnlo3SxxfFDQyELR0T66mqWDxea4MkVM9zttSkwQSnn1KS1y/hDTt9In6B64v52UkCSLMqifdMYi/p1W4s36gho/cAVdHP3tmCJfEDFznwHJqVYf3vDGvVvrmhITmI97ll/W8lKhAlWBJOxvUTgkhEgZxnSTIVu9R4hXp830Ki5fFu2BK2ebDuogmPiieB44nKIc3APTHVtcZkalS0feSO4W9HY5/R9gsYlud7qZHDxKv/hD1/DcRorTT2rW73DUofAwrtM3+k6sB8wvCf7+v/TpbT3qUjUuqOZJNXXUGrBeevWTYCeYmCtWSdu19ZO5BArrXiNuPpTCkmNvShyxuMZ+2BNP8y94nmqbrlz7XNd+KUw4c1Y+CgmStpWaTbz1dmpAbfjgwIuVCCkecUTeg5+l/eZDxXopbb0otDKalOpkAeGUIcux3JCwSzawzWWUt4j3A82LBMRvWVfttToNzw4xfYFdkbRwKjJzzzmIGK+KoZeHWAKQgud+xWwm0zXxwzqjhveeyYMlYpD6O0416K3oT4UFT3ABWVf4TUGXscZdeyeyk/Ud/X7eJVr27rhMHiRihb5SG1hg9/SCtQxMhLqplIkMhnAy1AIHoNPlu0yrbxs1f7SLJtY/501ba/oaGGvktX1aGSaAJrFJLYq07kO+5eb8tumWnzVD1u7QjTZaEeINULUT3RJkJwVv01IEuPVyVR+bkf2G5xD9ggLCKQ695Rv/xhr6JkCndEqV9rhOZIM81XAiTZgk0CV7yVPCzvPinXKz3ZFC9AawoI9vEK5jtARVbDvkJROYOFCqC482/ljf2gCyythEOsYdScJprsnJ6Ton0b+vRefPH134NYDqxhG2Xgfum9nwND1yPhgEsZGHxExz7WlGdsVRdGUSbzGr6Jrh4C+/rd/iJOZvsNz5pbJigzhsZ8TCKMeLoE/P2R13y2txx8nAQywtpq2Q3khkGhEtm5D8eCY5oO1V8RkttrsuphXi8qgYBCSoJH8pKquwLtKawC/aRF+H/FENGiAPM8y/6a0LboV2yD57lX8P14ZVHsAOHKlkDXv8x6NCcG/LFMar+pjpx0gQDVcs5XUOZ4MqPK2Ct4xQIz9JjIhv3Y5vTiMtDSKqO650KPbqNq+phRxnCut2L0+AqfWg1G7HTiMk0dfZkS+ZWWCJXtdgpGmdqUxfe4L+qLL36K/IYeXT7lpjpRMT63LbW3yMLlYDbdJ4GgMwaKlrPnyIcxWL2OrDs/4M7pKHwB130WXVmnJ1vF6E5HMn9bs8X60wHu5lcO/0fizEwigKqNcEaW15sZ1xeprEQn5wOPTv9RM4KBOVM0OpJfoGnVA/DuWgLeIJpS+SdyjI0od/Shd1W1O5f591uXK84NQwX5ya9r+ax5IzvbAFnB8wcdMZswGUlifsmX6lrcqfo0zKBiJqA4NRP4JwAw/ts3u1PHwbn/V6N0AKTZDEg2A70CIl0/hQa7VS8lXV6YuIWL2uyFfJQ0LTcWh3EQLTpkw//eMrxPEMwhKPR5PgsFxQqB2+2O2u9khoIDMbdjcj0wN506gBtBHi1roF0vl7vUWTZNJRI4iZE0dCRXyUyCzXm05sI/2AH2/3E/eBEK2dIdasxAB/vNlxosca7BSKpugpVsJ0FC+ikVl5+0MgNDRmvHpp17UKV6JzgjokxCUeWgFRlpWDRezPDmPNXHUpj4mTQFdbyd5lTU5VC5jQuBbTB82cBVoGwfOy83ecb++tq4+zZEN8mPhfGsf1V/xOjhgGX1JIrlouF6Dm7Pkw8CMVqt6p8TwE2jqdNpoqE480yIBJh2kyiKUl0WKSg8w7wmhlyBrny0eAl6L4noDywxLZoEImdnSIigAQNPpoRHTmssHGunqdPVo0OWmfKI0eqTqmreiv1S2shDSAjP8WHG65QAPs5zuHABv18gZXUndgp6YA0cJQ/Uz9g4h3bffdQ1CUSHLxgKVz8yRkAj8w3Bs8lQZBAsvQn6Z1FDphu9P9ZYxh6VhoosCZHyVYZXvITCBz1xR6XLoK+H85fF8cZ0Se2Rt5DXeSN191cuwKWmyhIoMrRMosx0SreOqsFqw6v5btrQN69WvcnWzr5z5ODwrF+Mv8GlTVstAvnRBMfwSz5PqmW+iYpfcJWLVsBP1K2kuTcgDARULk5ak9akRNOPue0ppyMOG+BZTCJ/FRbd2MywewUHfJpamJ+S/bz+sz0ZHudNS/J5efi02tU3u2EK8+FiHhHErQ5ybc4MSF9yLfTPezhbfAy1aJg9PZZEFvd0SJAszVm874ufqp1bJJ4tead6L45YzJieK5GHpk7/3aFqgJuv+/gUiaeEV0ZfsDrqbhTHUaP46JzJ0giBt500v45LN2HxMMeJYlJKbA70YX3tDnF9v+ZQqDAaVDlJbPZT/BkH+42lQ6HzaEzw/wETWMsA/c1SZDAXk/99pHvc29BDQdG854DbHvz2P8tYgIerEPMS5+H5IXVuVlqsk6HIFK8gmGuYXaW5RCS5WqrPkXxYhajocfNrBJOVeNT7JxWgNVYQdsQ3LMYcU6m57F4wb1daWS3hD3aqLehH+OcfCLVedr6utmCjkj/qVFuk+WhQhmrsN8Qjt0CHCtSWryNG6SXH3GH6vUxsR2oav5ynnGkdQZ5hs+j797H9XIj3hBWbaxlYukKmNICPUIf2H3m3bf9cib8BaZg+bH/9BNmCto/XEwvnmZFSM9MH6DtmEX1SrmJzepukoA/2kVS4mpp73SIeNjZRleU/VpNDllgWf5IanWx42Tujy3YrrtqZh6Eyy8reS2MV4CkUDs0iamjsYpGJ/IWiD9aTW5Svnwt8pK2FCyhopDrGxBaYVUgQGfcxn1774cRVxJi9sEVJPD+ysU/XfGzyt/QS4VLzsn7UyptMGDnoX9QeinmqnZEYcm8hzKo/JxuC6V4UnQqcPI2aMrTZMQp7dUYGDfL8ttRCF6uW6EMIq4iLbEoQgarbrQo9UyKMDRwMF1w+3wgHjAKmpS/ipPa6AjcCYvCmviCwra8S8JDlz+lkLWjb/TkQy3aGO32rxNOwwR//tKw5NJdjbq7mRZz/ffCCY/VHifuG/JPRjhiM/EiidtlCSBeYUQqUBw+G6x8t0B+YONsDWfmdxGQ9Sh71MwSIFG+dwG29quuJx0T5/F2wV/SFHaQA6I9CA/4gRYvSQ0Xy5KIqJ4KHaxpPZ+dSUJVrkXX4WyzMlyau0z+C039DATunXOygdaLdsum4PLx1dBrNiE+x5EZwGL4aIEOO2qGCFQBrXaUm08Vr3uc/Gh++osVIvg2glfl82Ic9TyPO3ZCkbO8ceA5KJUfx18OiQhwAOqI1izIdnlWsFlxvKZseIXSEnvIy6EoEkCjCpRG/VBAmvxB7zG/G7GSYggvcATT6sI8OtFAf7Lsal6L0gUWoV73x1Ti/2yqR0bC5dJlCUEiYTWfWjabXvFg9ZMGvuHF9WMu8xCLFG0Svt1KG/166y0RuxYjn0WwJNWMitQZ7MrqVeifnYEVFsSZk9BbI4aGsd+o7jfFCIZcKuEPbe2+8dN0Uk/TSZ8zf0lTFj3mMm2y6rPT8b70JX7dOr6lSEQc46KPN4rUmRn5CSN4eN0onR1HSymXI8OjmhLZu1ex+BWUxWpKjwncYK86WwI0huc25zpjCz0EnZeghmhGFvyIHFDG4A3wf6ef4tbe638ZYt7A0L387vdnRmx+RgWv3zaslGq29IURbOIu1h1uq16vnqvF5TfSfTNH5Pl2vRhawvyiYbFP4AuitD+uJn63+AjK4ZKxrEdtFolP0hz+tmD3dz6VK2uai7PGl4UcGn9mLYp/w6ODG+LxhmvGAvtqrj1dzePiHi+i/nf2mUz8Wb1BFOWc9+xKzedX3/4ZqwnssrIbxmLtA/lQZqd3n4QwcJ8V4AHrhr7VY9mHxVt0JMA1U6cAaD6C8C32PE5dP39HcIxbpv9ujMN3cUslE0UwmXnJHLMP0qdOW0vpG5PzZd34sGBLEIdPddsynGpqu2w7bKZ4DH5tXs3b69iQxrVGVFmmpCLSD93w1sI2782VZjD1gOlvFu2p7UGPJEZN+HC7dAGXrJKzTcJtMY6ccht2tRKVr/cJjOFTmYsxjU8oV81YwVbzOTJEhMN5dEB6ZsvR0iFS+iZFXW9f7S8h0LTVA+fgtm9lu6/j8+dH+PKsyddNu2Chm66vri0zFIm9JZzvTgkICj5xPd0YYdtTivu27nLf5BCZ1H+54nPeHJkT/UgsidZG3eIM/RG56b+kEbeRQLA2XaW612/fdLdbQlVT7MeUXmhpdkfSw/bZyVKc2dKeQ+Y5Sluk+jCR1W7MOjePZ1qEuaFJVIK9MecEkgD+NZSk1kfZt6kkkKZPUzkiBgk/B6+tY4cJN8P97jERVYSzmlkD9eTp/u5Rq8vRQ5579W36sOPf6RtKxXP0JQ4Ypr4p+YWWPh6U6u/GU70eM6ilo3XCADcKXwrCHqGqAuy8fFOhC6E1q0HaLIpCx81dcgTnL2vuIht4Y6nDynrKhMecZWVEAmdqZp+ETGU4RsE28X621EB2PgdsdykPhqsQ3w2KBHwolSQc5/LuYTVz+ZgjqT9rxxVBnAW4g8Z9AyMWQ/p2yHh+Dvwy2j9prwlOarL7Q3yC4k9wCbPoq7w4QuiIK53Lt3iEGRsw6CVBIioSp5lGJOzO9hzbWFKJxTpB+At9DrD+GiyMQP7MmtSeAr7tSu/qZFWjLHzadN4bvlYcg8rXFLn01cqgTFS//d+liVdERNSATiuxqP46kd9pZKFd65V50S3AqrgI4rSrfc/jIVFK2GINSl61l1QGsOWYUq8LXBTbzKZ87pTyYCvKIKlPvMZZgHunY2socztgdr+/g6AdY+HsToZmGyBYWp83DVMqiGuztRH89nhynFyNnsvtUh4GsZnNiqqQKTakTO3PD8ac1q2zdK5oj7xVx4IjXRoZ+wr2XVrF4a0LFO/na7PGcdtGKl+p7kzNT0VaCEwTLspwvVdEbBlkwgrdKzP6QjY6zLpnbPNxStt7pn/tRmcOZ6rsDFi1R+f3pnK07mCBXG2fUSyceXL0QeWevQonmAhcDu+UhOtMUyYs0Vekxe2kC83TZ+ur40n/ztOCGFcNyFB2QW3lAIWl2TSn5XdGmFbn2W5q9X9vtqouHb/L/GRUPw18jrBw+3SB6VHQByjcvhVvTY/A78FrMXQ2yeUYqkIA4EDXEFg+V0WakfjxYseqXRgr8YUrrnIqRWLx+UXVgKrOzRB5h6q+94tol8wgySoMIH6OI44fi8Reh1qg80EczY+/Ap+lcHzCvF/q7gPh+aGIlvVcWnCdP2T+CjaCnqkJpamqWOqtUhLmRPM2EseOzU3jyBOfF7YsmwoNjMR/QqltgG8azcUsQKihVaNi8dBmC8CyXRcmaNuYq7ONybaI//Vev2W+F8kVd7r6348cRPAYkVblQ1VVtw6r8l5UpVoFvFsnlzzN5RdU+EWrIzieBTYh8F9CIgESRxJ+UoA0zR/G8m+1A1vMl8iMyT/0+QCq7MJ3kcdpcEkKU7db8Xjwtpc+O9VzZ8krL7P/0DULdJZuo+KhxQZU5ObSFg83+fdLvBvXgKT7mYfN/NgYSZQTy5dOMH7n41fAGSUYVRIw6P9fxNDIPkvZhGk+H0AuTpJGnFBXOULMVVj1msb6p2cmXg4NHLVx5CDA11ShUG1KHAtdFXLiaPfu7/oBx1qE/yWMAS2gW9BuYC8iBY38DJoXLqf+F19B7KmHbkvl9wZ81RJ4cwBnO+RNoHsSR57YqNJ3BCwX9DD1HMHzh6SV+lXYpCJ/AO9+b+lzbJ/xr0T5I2PJ2zDMjXpupUDpisM6VnYh+xs7p5Ya6Ekag+ExZXFnv/PIFK30XWUMIOLO3eooPurM4566Xd6Cb6/R3Hwb7AcMShGIJazLilBoOhiUPRFY1aV626vKOeE0FdfAd0BjVBANGVWZCoTmEHPdgkUi8BYaM4rcbs3XcHWhqc2zOIuVcYCCBPc8BI150p8G083jmod5B4KsDPXOAV3DEZztTaY5UW7ca6/vJwuGOxIGos4pzjIx1yogpiEUSNfV2EwDuYj9C8lRmAiUoRCPaGfUEpPK5/tmkCtP0vngVMRXEakkDeNc5W7XTBVJPt2cJepIfGBE4KfjKvf2d9v5KKl5+r1RJvtPNNNboz8NT8Vx55piT75f0jyiycgsukgcs2pFBggffpLZmcyTZrMwl2n/jJ3ySqP1RTDX9LwxbyHxplH5o+6P4hbV+CXMt0Quf3UcZYQAntNkRdSJS1pwcaO+k5En5k099tpSK66PQXfNr84t+8Bez31ueAbS3ogYoujR94IVjwkPWIQ2C3GXxIWe3UbzwO5npQRcOuNOS+PdjWggAJne3u0COTC8RNCoW0Mnp1XazhiP7JoZDGqE7F6HRX+ohw6nfx+5yhg0vsVYo/i8oEM7Nl7e4/rupaKb3ej7ZM6Lf1s9PtGEMe0d58ffgMsmICr0dkoJDzf+douUen6NG+q/NPiaVievrJY2rmPZe7Uj38qihbXbXkmZpe1LhRoIvR+h/CXAoKMKu46/pX7CDJ96r5pYfyNX9jqjTUlJU7KhbV9NIc3Zr7SE7yKBdloxKy5busTzsd3j/PHCQ6qYA9EBdoV6OzOmCjfxi2Vx/CjCjhgKIa5f1rbtpwEeDT3sSYKBiHECZahwFwHOeOJpidOS/6FGj2JVyKQg2T4L2Udpdj1JyIaNpR1DEfAYP08N6IpdFKeLCNwfFlP8JKzbzaJ9wwzae4tltmwbM7qL8bYcOCGjZisHBCcx+Wb6NahWYEfvTB4dCtMfTB3iGkTtfZDRV8H9spF1mH1jU8JIHjONr9d+iyFAP3fnJ84v3BkHsRmAQ0T2dlkpFeN/dwtYAY8l5D+ATgqH36/lSeMlb+ZwZoTXB7gHltnTOCdYvlG/IPSG/eWoOrVXqmKQJ2jlZPnBDiqfdusOTdMYcKte/EafqDhlw8TogfBhuTd4klprsffpo0tCNIszsnRRc2r5gNUsSw7wrX0QjB2TfhsReMYo21X1A0GWw5Ee2QrSTUYQgH3QyqwidFxvZo5r//Ibo9VJG2JQo2qobnanXTG/0hcPLhIDfywPyoyqbGEJDuAYcQ7T2mSZfyOcxuqgK2v/QLZu7Y4ZDxnrAZxK1qOPQ/GqWH0HZYwM2lBKwHghJYaX1HRaKzqatbCfeBysrngu6sDU0/wKeuk0QLtWloHGJkCF5N2cEn62HinUEO0kSf8a3Q3Ds+itu/aZS9woifTFZPMwWRLVU9ixKcukAr7WcTRDu3qsouJFN0tC7WBOf0XHgC0c9P14JGq9eZaQSIAKjcCxXAcbvOYkL0uVBAntCBQLO9243q2L4rF5BlgJHFX6YsKUwxAeHAVbRecoREgnXqi9MULWM279yC1aKetChRu9f6CcnpA2R52muKMpWGKDThsriC5volNLEHj9UvmQXLcAzmsUJV/CyZKAswIjdNLuM6jmzcVD2ZatSxFISBtDs0QJ6j5YxNNY0+EeStatlHR04obRyIXRdo036Mi6ZFXXGaO2UBi6dZD9pc282R0PECmMwwYEbcLzDFaMAnseTcKRnGOZ3v606FhcAc8QA08zcNo0VN05OBTyfkskCjPKXQl/XWeOx5g0U1OThVAnovLWO5+YxOB1TSKkRsF3yp9wancxxV5x0hS8p/BGhA4eOsgpGjPXq2oK8KwamH4VwYaFJkPXG7R5QWT8Szn4M8bJWJHEbNJgKKJWHckvUwKR7SJneaA6/8hXynVdHMBCGozXq9xhUpLFlFDGaNNINmdBH0gcBEUDmSK8S+ZyC/6dAQU6RIweSdZj3gjkZ64SDY97mcDJDX1UcaDA1sJZ79qPKen8dRjV+hLtRGn9CLCFByhbD4sbIj07Y0zvZdnlKDO6LjIr20Cszt8NOTmyhMwBGE/jIWwBUZ1UwaoYaik/aIPDZuqfJrvvpKN6WtTrBxx4JZPdA98ovq9iET/uxaLvT2S73z2xLykfgQ7Mdx0t7PAJILWEUZHjreff+vmlnYqpgihpwP7meEAIesFtZ51cFWmcpt9h3u9+gLcIttkZ+Y10FBrbvv17k+PZbOf8J7mzcIR1+My1RcGZZ14DUIVDMTa6aEarRpL6fTvm6k87VuLgopjy5vwreX4ws5bNiBlXSynvnIY9ILnInGg4DH7thWdgK0b7lfTr1XDSa9IBCdrb3D5Qej2SG0HrnUTpD1ATXvu2c2S87LUrf+Z2k/bT4YwLYCM9O7NNoWSKv+hIEIgbwZvqwnjNxW3iSeGvhVOBA6Hn6CZEEyB/4a8xOhEqNob8ugwDLOy63mU5jmUwNceuO7wAHIiZrMQWCcVIb/IEJdaHoLmvlxm5ZCzmwlzLIYiqY5emcYoBj+XwSenzPINLyv9UqM9qGaMPIjBgVFMkQOjfaWytxvmhrD2pdKGZMjbmWm5xsBMegWKzEXc3nGBC4L0jiPrcg1v7P2YCwMv/b3Jow3ct1vIQTRzV8y8RPxDGxfw7wgfGclH+kvh7QoIPROXxTYZCodkZr6GFTcs34obw0qz0UsuES8S4H1LJMPtTtg0k7WyPY/BVdTq3LBf17Mff/dyESOE7zbvXpSjF94Pe9CvkljGXOd6MF8wDLkEBFFyEJCch4l47xbfR8HWzs4nZLTJ1nVF1+zYx54cLlmG94tZ11bKMdu1PHB1teoQf9uuiZHk6urSQP+XEXu5+qyiffBVVT7msviCBN+9tdOYQ9g6NG/2Clj1EZa7PgbLeF8AYYF/YuPjDbHnuu4nzg37kEhIM803IMpjYpKrPIzXnmSCiop+hc5WUlaYIpSO8oIv2IrMAsr/KLc779rOCzfx6J412Z1hpVKSKQCd+3hU7NpfhgWzrzt+7g9ezQHHfU4Ni9K5npUbwIoh5nSavufuCBgQE1NMS7zaJ4NaZfwroqnsagACqrwSbKvGq7ezEpAv3ftC7mAOqfsAj/9rTkD579AWp9qMrCEgmvktRGF66aQlU+Va0Z6eq6W11yrby/lTsc7dn4lnIusPQ7mU758iw2N4lOV67RwDEMfG8gtJKTcLbp4COrOqgVJmLlG1xSuuE08ulz9o1cT54uI/JL3SKeoLAwo51nkzKmsqc1th7Pm8x3spHM90EvQcez21cCNsgaFWWEOLn1E/wy2vmZei2J2vZo6xrTPH1cOtZtoc7ofVlwfK+WY1gKAiFQ0mP0A8brWfeopeTAcw2TLELfcBMcFtRRJp2sFdpxz5toMm+kylwjBV6tril4YpZq9vzWzsu9xErF9sWBHeIBISTqE5tUqmsZXRyBvTwj/y4nUPXMSmt0ZeSdVBpvE/R9MvD0F4c12JRN8FPMdNfFTXANygzLG/onmzfrZEH40h9Jlts4pNlW67zHTxWc8TuzlKW8uBjJ5n4lkMiACnOFMBhPFxfxtlALtrUxk/LUDnx7o0FLoobwWek925qt6f+OGFa78ndmRsCAtxYrZ2bVDJLhBG4FxEXw8YuBst9uWIS0rseuhVpCq77Rwn5jH36XSxglUsxA/lhhjru9dmx687ahfPpOkeOkt+ahncuBAn+GHNCYqNKK9iJfykA1xu304vLbEv+4Rv2TSSYD+3M+5Y7xQXpDYsL314A+k4/8ve4GAlMt3HfppbQGYG0YJ5uamqPOCYGIyh/wIP7rGputU9fl2XZvNN4YRdFMHVBwa2fx3//fSCmu1NFbXO3Ura32jDlVP+bY3WhxHesHlihlAoTMv27CwHUu2Xi5aDucR+JnaEfkB7NDXUuwTxPkS6IeCxHEP34IBIlFO8Co46coSKUG2Ysdi9ZVEFr5VOUniB9GpOnyb72IiaCdSROne3Jk2JoVaALuu/Nk7glq9xU7uJYyCfPXXGI/hmAproFQ845whcn+WIK0NzNwT5mPFBTA2iks6tZ1A82xO9f1MRyfoCkC1RZ4p0BwLwB6SKVhoeIcRkYGp5PXQCjtMTTRdIjAMKa8tVhjM278XG8fvA7si+AW6E7yONgEPr3BM2tPT59JjikwOdeOkiJ+q5cN6aWOahx8/KDxVsd3aYfemoS8i2dCqx8MYHgQ3Bpd6Eo+BvntKLQ5wLt/hjUnsVW9K5JR+J62zOPa16T1YXNtiBFq3HmzpW/0czJ2SoqCBPIvjsFl1J1ZrKv/karf71841hstCLWv9nPU1K4f+uKSDGelhq4gzu0ayxxj2RF9tAdvAeJj+QJV5FzyaWMKWbzfquFkdIrA2Bo4frmCYhjq122hTitH0/r2diFphDDQW0wLQVBYGr+JVYN8f0+RalG1nf4CwniGvweWd8YxkqSbqW/+zoNsewW3wKMYPM1UvHC5aZB/nIAeblVKE8cF3lbRPfbzvS4dPLeJPCzszXGNF7T6IyCcUSkfpoa9RpMIAa8sFEDUjbqgDcvT4io2YkCCCrXNND7cAbjM/MV2PZD61lHs+FkVEqPpJxv8TU1csGpbBUfy+FuuDL0rLbKfWlq3iqYpaawj84mc3SZzZoEAoRVK+EsWTofyOpxdFXPM5qqWx6bwH2QBAEzKxQvLIZ6SH0yC1sKW4NT6QVBQHb9WjS88Q9TT3VVPs61b7gqqKuhI4Kv/GBqVEyWfgNrLrNuwqFcOsLbDvHuN140Gsm4ohyB4bai3YRhrQcuTLVbCEMcv9lZb1wZrda/D6rCxghpM4Mzmsd8+wHGHwooZkXpDp4bd3bHRzVRa8Hapf8eJOSAsGEMaxjtRcwyHekHAM6jHXVRWOHGSEgJX9WJ5gKG2sN0ZROXhNS3txTfrbolpr3IR5Cw8aPOaeYInv35LOOjAtM+iOCpAI83D7lSA5N5OIDZ6mVXSTvM0NgAuIlvg7w6BdUUmbxIldI2JpnACjJ0KntDtCkuljJW9yr4mHKyebL5Q8+0w4nJDPg3MWfkZ4zalQfmnhG+zRbWQqzb2ZSmB6c1EEtzAwTm16APH1sX/pT/XK6lwTBSlQMDO+3s3/DIaP5BeXHchLKhOibQh+VdfXTRWV0+m+KI3U41b0dCybcgPM8GgtBnwlX9QBQ9Egy1MRfjhQJymfe1oZi14hZvhrVuWYAvrXxt1ZFkb71llX4cCAVZz3PZPmIKbRgVMRL5WUiVBQ2wTanuxamcwSEfGOeo/p7K9SBrkGPc3L8g9JDSfyDxM48t/Vh/n3ia0TPMW0ZhaQI38lWDJuK0lRrscbxk8c0/H2ltG96TbMJtK/Zwr0isAFLBV3leiAuq36twegOK3T/gL1xz/DUkxBKExuzVuCo2xjN3qBPXvu41CHMlvWFrbeg21KqsT8WkSGL7ZK/Fgp1wAUS8Y2tv1ENOKLazTYO52ZPb7cN9AIAI10ucjGd2fhCsHoMunflnpJUGc143DjxEIU+DtKHTGJdrClTTJXSCxlBlY8Mc5tOaFM2Z2SFmYWe7+GF2KUsiLfvwLJHkLDfbtDeXW0uv99/R3JDDDHfzxgPhkawWXncatd7XMAZt9DDgXs80CAsYeL+VnEc0Q6RPMsAgxQ1h4fJLkQGo1dg9+uWzN0j8A8H+m5rbCcMoXLh1LbwwFoLdzhIh2vl/Za+2cDZcDODosum7fq2APohzKMGGVpi1t5EDqOHOtxGN1GmhVTluGPlq87pp3gOEHLCq5A6zJ5q936e+i0shBEkkuHjNdiwbsDcQVvaQryk0NDJM/geMT3/9i2WXiPOXbi0OG7Z8w9tcIR9VUTz06B+LnHh4wFooFZZ/R4VUidXMC+zOsrxnQ5LQgH//ukxEB3IcuWQMiLoiCuKlh09Lf+EdM/JOKlVA63nu85FxG0pftH65C238AZTc2IFU6bFYlQc6K1PGSFc8cpvORQoFmmdVVXnf/tt8r702FG3Obr0uBdf5C9zSq4qaHlBvt/sJ5QEcyCPQe7I+5ceASqFS9cM8uhSYowUFHnyFG05ZkRv0l7rmD0K0TumN/9zPSEP7IlVrB8Y8hgghkAenCCPViWj9c8uvulBYLFr2B0wDuCq4VQJ5GjCvitXZLzpvBhjkIU7jha9K7bHKQhPqSHrnk0INbSUzso/yYpXnuZd3NHdcqi2fOh5nuu08cfi8Tb5jx9ZkHrsWIIN2hHWKyEg7HoufGeHCm5vlu2z501JGcfnWP8tB2hlr4j5+Ad258L1y89f2Aqip8K6iUXKSixXnrWD9bbzQV5W12Zz3v26bcXu6jfChwpDF3I02vDYOvTuwisXRk+Zg22RCTn6cGYts0ra/6VD5y4nAjWwBFT3koiovUkuMWg8LJmgPZTzmdEaKO0oUUU2DFVATmKZKV2gPll9lHbqKCtv+hL+6WK0HWu/eQjl4S9lrGuJHmMFm4VFVrMHhy0eQQYyY5O8/NqvsV01ZaUbE/eCBky1tiHoMzx1HpAAYqLDgFCgqusGeavxKMlZE8k6QfvobY8cU/anHBu2D2z/sWLaGccnMpVdT/tsXSYV4oIngoUCgQFLeXkwxZY8VIKcAEbndrhhSux+x8WPyuHtQvzG9arLi+qys+l6f/GAs/q3LlZcuFvvds0/S1H2zKwjvg4bWmYU6ho6TCJjevF2JhSjB9lqq6Xhsb+WOiDgz5r69QTdp6boNNzCh9HX94PLRsITJlHedFAUPZh2kCcSHp67ThRVvtvheT3UESQZ5rDpyXcceWvxBmaeq6TWxi45Rb69pPXrSQFREfl5/GXbzGwu7BWuMrgSb+P8N1sI8m1f8vWVCx+D6sEOsDJsd95psKv+gNbLAKLK4sYnfWFFDis3pz6OSGeri2Y+tvnzu9IKRYHsVNwLBE6Fkd++K2UnXpzJLnX6VGO1LzNNpYURzPbIYj3BYy1WXuuRrTq6QzADHKgHwR0uLS/cFUX0PVGgJVWBs6oJDq9q+RNrRhVTCN4Z/Y3VLmDUUJNX5QLlMA4n26rTNw4ma21ubO5KBaY61JSZsqnV0UgWwVGMZ7a3biB6I8l8dbqReykbXzpeMt7OQdM0D0frkmPMiySVubY7WaX//blUJGLOB1cYE0heOmAfbx7TMgV1iuFg8oX/RvKbKbBE9IuVMc6Vqc/WEqFQxdCe7CUhQH5y3wf3tYHWVpjNwhEn3MWHhnXGbhZPeEFa/z9WezwXLRv9TrawsQBCXsVHeYVqGAfJYHSlt1j4YqWvJdn18e0VyfTmIONthpcLj24XnneMgysIyg8FAj8Yec5sH9xRzln8m/+7NF2QhW84P0a5tqYNahTLgSxKlKdmLmw5jUWPdtIoGuY+1yHyYM2pWwsHOEwfq/hgsElKCfPrKaLAxFyS2g+Y5AY/fwrieSnQEmxxWvA9x5UNyaMOvb5qC79v9JATsXPfkQOgYPJleFF8MJMfF82jVyS2mACVN0RI7cZ2pdjESmnv1vWLFoUQwUwLN1dGSHx4f3ZOd426vw01zQuweR3vPxFZ/rLRw/XNIm8sskqGrsOT/wwt3E2DWX8pBRQJkH9p1anoiB36/6sYk8vSnFynIoNh8WCBwoPI6ubFHLN/K/SeDOLXvPdZg91AU0nYkS3RcSIWd8It+qqvMhA0dhYXvGAQAYI3Zmjjo6G1940ciEWOGDkNoHyqfVFOEAxfdtWZkM+NxGM03Mv7yyypmIVgRKYeMO7g5TpPH4FJga23SRn/V9kOqYY6DcXTn+EKUrh2PPSDwfkdA5Go0n1CtyMqDN4ygT/IlZLmskUs61FPSQHtgM8vRXTJtASqjyNRyGE8R9uOnI17ffB7fnaqAANun99Ek0rvDMsJG3i6XQ9K6nb7kr9xJ/mjEpNZfVeKZkeKDFc2wq+L0agoMCIOeNqS1b1q6/W0P8TLFuPacOU3NhRBFSaBH3BctW6P1FABKRiEOf7m/dvwphl1PmgfRA58lThvqrOpHLw10+sSYhhIYQwu8iiCgtIjTP5CiwdHMJlf/M4bMfxOHnX+RK++OX/yp/0ONZqy1qYi3owuPlo8UlO4B0HBLAT54784kaL9owmxJN1UkQTZZA8F7/97GUPc4K1Ai1a3j3JyxqoPmK/JJfrWshBKBzok7YmEtZMJ1tL8AotT+C2uuAFcXFqrGSnlaZvdOtCVvjqQYDO1r0F898RxmfGzEIrc2lv93TIUk2UW8N9gdzwTyVWHPG/Qcqdd66YlB7WkBxDzf4KNyEDHd1FnNzL1wgqcC6uVDBdJiT7eFxuffQ4cC1cnjhqgfnTS7/+oowLMBp1SMQ71Epk+NP0uEnz4lOtYtn9/+AcubXYHutB3sMUPIrObuHpobhNr5UO0rlGJN5vQ8zwr7ZA3jpa7/XMRU11sLXSdPwTMtdGLFW7KM91ROj+RJHqu1hzMHI/UziFXiug2ZmKY/DoRHyRMbnb6NVFtJzFhSkE4LptI9we+rNkgRhX539DD6NJArH4rQpWiGiCGc2zjDqRbs7VkQwVnMl/aQ3O4G3a5Ln2EI4ffA/MqF5lICPKeHmYw4pDhMV5BdHJziDkSqb/1tXvO56ow3/q5dD1BCDlejIsqycshKnEguiGLx9alX4Q3/tS6AkVWFi3cj2wAf7GzKrJFnHBVAl8VUkob++65iX9NLrBUkzYRL+y3G9ZkgSLtZyKYAb1XEoMG9Q8QORo982cTOeeICDeTyjzqrQGKwQP/EoycoYZd9oqX2lWecv2UvjjT0A5bCYKct4Eg+uzA6DwtHE/b96+P9JBxhl/OWngUnr56TVTSXX5z2pvZGe1+z4ZLnMo4QQLZyYpC3jhONlSE6oKc5sb12PlT2jmUqZ0TuarRhZ8X5/EBsNipmakqiH2yUi2Pj5eLQEvi4b+xJp3cy6uM7kQd7Do8F3HHaywckJFEkupPRMBV9YHXXjAMy0EMWdSbgCNG6MzB8YI83Te29fro/BFRSkBCb52iWPcIigDEA9XQFpFuCh4JlaC4eKz/fh0Zp7I9WUBOtCG6Hbd2FNT12ldT8kJakAxPBt4Xis3q03QDJ8NlimxFaMRcmGQDGnQlj2sByQFoJDRrmEyWz3MRqSYm9igAchIwBjY2Z9Eqacf/ihkcjdqWttjeMFbGKw4SKRhaMSESMBzaoVY7wHLgFAATIFA5FwGn7k4+cL7GvYpnpN+c8UiFm7+bisJmi9S7Wv084ZRjIpgqM0ye4DvDjQrwLZxblZ5ujXuIsW70expCNa0qbbs/fH3Hvx6ON4TwJGmOtkXyP9SNA2Q5U5rsdHxU04wLFxCNGHllByNOYu99hYw9HA2K8W5+RSB2XMPdBWRyYce9QXFYTaWvcwSC8OVXfNPFkF7pzLPV7HPwM6PM/VkCobLWycWr4khMEfpw41vio2m19Yfw/r63g9aBgE+yugC+erc4IzxnPY3rMpy932W+yKWcdqlCclhLkXuDAQ4TPE/DPWBwJezJPmgdcOEfUKGvy0uE0CBt2HfZOPmiVLiSXiHCW+v6LWCC9lzLi/SMoPwHGV9YYH4CEq0JfNgPQhD5w6D2LV5HHesv/pOZ2jZEWWc6YPD6ElFJ51BLeOVd5C9LcEW7+QtX39jESXYchN9D7FejZM+J3PC4wwWPMA62yWYrZ/HBkqekbjsmVengQr08yraCMRHsBIzz7WeVOfYyQ8MED0xi971v/MalwW4HlMFJtnTxvvquqNzdxHxdg/Qm/4/wzHJdxI8upQ+0NwivlFTZfKbNl+IwIjUAtcrIS2K56YHMTx+/l2rNX6W85YsD+KTxqJiiTkU0LRJTFEb+tRJlgGm+fgrBs3SoXVcO1JWtLG5jWDYtMj72t3HW9tpeQ+VRQrltZ2sAIyZwWndfE1NpPbEv5/M00cNCmAs3Vqm0KR6+1nUxixLjWi6Hxdug+rbC9L9T8CEx1cjqTitulw6hwvh6Fmv/yWqdi+ocay65Qle1nUjaj+op9RqmogsA79g2XrDSvW7pVWeYM6JAsmOMtRPrNnn+8Mu2pjrueVmX/u38o9fQVkMXnRc0nCT/a5PaA/FetNUl46hRonoTBuDelssooUzXL0GUQXLUi0azvzH06tsEwxQe3NGQ2PnYGRB/6iMRV84yf3n/6XTEsWH1xu4x65dzw3lPuMMUPiQBibd8epDl/cO9rN89k/iD8mvr2d8salrwHS+YHw5LKMQHZqlgJgepoik48/A9ft8DGkfjhmtb7iZrcVL+wT1Z0VJH6HvScosJ30/PTQCn5/kbmX5sh7tvqlJy47ZvAvqtyAU3EayDw3gBSJmETzPJf3jDKkmxOvoonYbq3cub1wuQasjpZyzT1VxE9LSguoVbQDsKKbLVoW9kpapLVKEAw+48gFmuvdoUMGH72g2z+crUPg5MQ0LDroj+zwv2cL6GQn9mI76ApLfJBHjfVW3hyNRfOJ0I1QI65ISWkM5dm8TH7/M3v7JhN/pGl3qMd7k5pum0GUT008IWy0lzAO7bd0DSzHzM4RqsTEeX4ieduhRhwGO0EcBKs8dopn4l7m2eld9oDcP9l23CF84X+10Kj72bwFwawXtn2BdynxUIqY4ZACbjTml7kl/r1wFkuLh1kMYor0b/1rh0rxx8abDYH4qJmSkFpJuQzMJF8oYvb2jWyC2WVisFynL8yusqg8SWmBgCj0laJE+1cjcyguKXyBJoL9xxU/N6c1wtNtEUfiseI3ImCRKg5p5nObOVFN7IENrHm+ZOXSfXiwyvK4MkXv6N6Yw2bp1CssiukvKJRoDbnfcl68iJOonIL8WD8PgsAvIdj7YN9ZJ0qbgUc13g8Sh1h+IQahMACtVQr/MbJPp57bC7d2PL+H86lSJzWb6LTddhmdUhRLsK4oimmqFnWOM8BicLryNcV11VNhFa1TZhtk6R9C+EbXloxrUDpF5t6XfAemjQytF9DPHizjlJTOqyd7DRy+ZDNA32pzoFA89Arz3vYJ4bwcC5SMrLG3GHaP4ntdJPh88dGoCoY0jlI80vY2mCOjHyYFeZknOOXJIoob4ISSne97R5q0xUnQRdxbbxWsOFoaEreaf5lFrdQRoa4kWpmPFjfu0gelC6+Co2MFdVCgOAYUaIOOtje5uBEynRDFCxWChsMBgkRPbxONHKqpMm5zag+jGCJki8mrRHOPvTLmU7OINkrmfCyOMWKc72K8nchuLXVqH9JHIc+KJQvanTXEjy8ykGVV+FPcnzWK30U2Sxb4WLEbR1iHqoE3o9cTGg58VBiG+dpURi905zATtJ7V4gHB1uMD82j5UYP+frXu/3/k5BB2mJmhaj7a8u7ABd7nNo13ehSQkA3ElcXVNFeoa4Hetvmx0HTT5dQJ5rUx7bjZzrjEzIspNR2nTgGlD8OSz6exXA5Rg5HOAc4gu2wzthC2Hu66WVMwTgqI/BUPFuU0j2HG6YVR4uxcVovLnv4rQdi7huT+8zmfoaX8YZAJwerlq17LOFYbtl/swGum5QIRv8MIP7kCxVEs+60kvH9p5YUnQeZ9KdAhLoI4tTLCaPgPnysAyTWBTWOh6x6h4XMhF2ODi+Kw/Z+SNn+Waf1yQyr4FvSM4FhAfyks8wzfTEh8f1xVyqCbA2cgAvdotIwopzo6uurz03jILoPgSrtYmGs6pHNr9U9TcVIn6QHc7ofFgRacKXba2QYaEfnHTG/uOyb3z34ykR96OGHY2BIdEJ7tcd6rUcd45yz6Gvf6q6uZ2KdYmHAfOhRzH4LNYWQTApxRVLoFtiwtalXYvWvAtGPEFqPuJvdnaKKl77sk+BxwsVuSswoOD4CYmAZiAB5KJUAyXpZTtffpyaz2ssI5S3CDd8Wac31t3N9a70iVZrfcWSzwGvzyKmMTc/QgrbkXB3ZpfB0Gztg+4mXqnivMwG41u7ikzqPT1W+syN9XbVfN+/sE2KnionphLvAosEtu2oZCq4Usz3zrzLR/ODl0YlFuq0fPmYB8Thvbg6IMeqitIgDnUxiFnhL72kcO/dKpRRGslHtcAmjnN5PZE21KTd1EsD1dx1y5Tg6zGs6/waAR6mrvl/ltUSgICNjhW8RK5UmrWwtgp55BRKQ2z/IMrie9i5RgJtAu9BPvg0+JHKQj5WPmc8t3BDD6iqwWNxzwZ7/UunxRyU0L9UljVgFzKr9VGVryUoxknpVadFR+Bz6Py9B9WktqAfOORX9pMm0SXfvtTDyBtfIu/zzp0QXQg37w5liVFCnFqMUNQplbRBOIrbAoRTL3soGSfoZSjYdeBnhOih9kygch9XThOc+7K/kBdCO0DoIxcECwGp3IzTtx+VOg+AChaWUZKhPJPsKAdHo3L7Nhw0G7Ji3YhohOaHrajA7A22tgNtc/bFCmXXi9QcaTxMi08XpbXnC5m/SOzuY6vfHbKnl2k+wEB/0xMeP3T3c1jGtkJnEO65J3jdZRbXA8/pspMfKj8Mv2cuNqN+oZMEtNAKq3V7JcQpUXDbmJD+tVXzx7BpMX2vGfTudoJXl43ae/KksPjg346Tyf4RA8cuICSCncSOpRwvqa6WFaOoIh+bC+o73KyXOwnCvze08aSQ7oMSz6Ti1jUTHXHv2pjzXPF5amjxP0JQrzFuZCTMmhvy6lCjuLL6V7+HJp3cBD9mALgm9NgEwB16Vgfef5GG/lAKDzxfMZM4UJn8KN1WTpGIN6YTehwIkvRwUxoHS36gCn34j4bByDL3nR0QJJZuHQkQX/BPj6xmgNVL5kLBU6Wz4Xh4nJJLCSo3pfpZMFRiaiXJ/J02nNUHX8sFYFgewCXL16rhl8xaUibTnj4NoipQw4dLXOGmUuniJsqxMG7edEnYIFwLV4U0TceZ9wJjGegi26/kOLrZCKfjr0xaOtpnQSuK+vOraVSIhsg5KWjrrJfNjzlwlszBbJciP2jrKKDo/GeBsxuP80SQ8pqR6Cmz97fs5ORLMTA3YgUX+m1vJSY9LrZ3qP7tL3EWpBWWi8SunMLBEd6ZKLJDYK6q5W9W0sc6oQSPCL8qMcaPsQ9+KchZVrKCgRFxHlN7ZLxIKChyWlqn4vmamjtIyaHL30Js6hse67NxDOzQ0myDUdYTL+nt/GHL8kRru3JsJt2Ifg172ggihO0N0FMtHo5XHS8l2KhnobKQit80NS2aOTv8DPAPmW3YToA0+2SYYZucGgG6Rmnq6etS0U04HPVSAYfm1PjM94hadrxtU9QoMqurvajv0k4/pW6OFz4N97awqlKZp+r7c1z3R0MNIU4Mcr3DyqZKlr3VOSbxWD/0hvgnssLdIcpXc1c6OPLBoTCnt2BUZ5wkzfZEmgD/BkiXFTo49KTWYKX+Zt/o6/xf5vofGzeWEfl6h7mzOUNg6jMSHam1iF3hV19EXDeYwlrSwj2PQ4oFzuCyb9WcPjk0djBSP+Zb4FUys7N0NMxumSSGxoLmOe5cV9aQN11KmLfbXqaAQZQQbgpMh7iQuPZ1KF8qSeBe0t6jLGQMStX5PBOwjO7w9HzN/ZXLq5ySOA0txuusRgX0LYbLaNqWjVzJMB4DWCvlPfaDm7UJERKfaiYj4sdqGtH6zCba4P8uP95sT6kOC6ITPAAhfCKlAVVFqEkn6Unpu2C0NPXsU8iJE6tBjsMvib7mFm9Tad3K9TWcpmobacOtKCn+uF1fL2MojzvMwoKu1fRLOtibpo9Dd8PElgkRbWthhuyodyMuQLeg4Rm5F47SUVFsPNwDDNVGn65VBAFgicZkHGxsE7OiS4ty/36iNafUQ9eeVCRAkUpkUc/KjwW1HVo700K3FfBfe7tZsIyCbX870tBIqzTvvnU4FqADFtLYAs7kK7DX+kVffWW3KNkS6kwUCyQE8JUu9vLlTyREmpMNktxdDhpK+OYQZ7OwDhb3ILh0umpV00peWmFShs8LTL+5vI49CSDmahctLXiKDTTb/Xn8bg5PwBk4hpM5cdgzt/NgOJRTE6CP4LG0hjPeZ6ccwBvBw+MO1ERuhBue3HpX7Qrqxgyd374xvwa2P8emKjhu6D92/RdoDosruZ6PxdkM1dY/Il5ch/9BgvAu9t7EshqzBdip6evMqq150REmRFzACSG/nLJSACuFs/p2QOVr4ahwEqE3kVwEGACVhJTT4R31njZVQyAJjsEzQBcYp1RnN3ccpW5IfuOoU+PsiQa/SAAJJ5V1ZVe5rihVZR1rYsUB1bd+UIIiVY35o4/VNnwHJS3LqG1n1SRyiQt0DTxswKmkKtX/NFmGU9gO3uXd0RG9PlhButjpArKz2U10UyUjysEcgbTdmQg8A4k8zs4cvq56q9AGrCLdsyf8fk+nlmpHdzbE9mmcFHgp/H9AhPSCcd+LxD8Pkx3wLf6ZWrV/fc4D6vfoir5T/9PLryFtb0WJszG5/SW1sJMIg6jrP3eAGAN7YUJTR5Opj7DRMf4z5Xpke5FI0YZjIBF54aE0ZpAvwewP6SB7vC4/OYL29jAX5A/yjQL5m+TQ8Ko2GpYie5IAk2AVqOG7Yn/+nk4aYij3dusFYe9sJvEdKHEb+/cxoeGwBUZ9e3kr0i2w03GNCPyXwuYco2hqZJ/fgHu54Ubb9x6x9dTTPiCgj0RY0qkjLVu6qxCFbkxMrb/+axogvYfvouNKds/FjU3QI16DQwv79ViA9QXweffOCCSuEZvhkdHw4nxWTkULmYiXL53LHzCEnBBTD1I8wALpYqQNqyTHmQadkJ08LLRFNi4fjpgiKz0dtEgjlfA4e56QFGj4CTRi+Pwj0xLOUhs0mxm/hPHZiMkGfnI+cffZtNbrah7OTi9X/wqVJwFay6xpimDafUApwSCIaIP0NXW6xLdS+3YPfN/Wd8+iAeBliDWAfvxtowhliwFaWnWDAJ7ymuPDrJZGWb7Li74y3jvOXZ+OCeV3u5ANvytb0P/rHLhUP4bjQ7dlYcR7I5Nmfq73fdjq3HilPNG4KXHIZBcTX5EaA9JoIllqPdhsnu2i9+a/Ybt7z3O5Bwji4WJgcRZ4prI7PUynM3LZV0d9Rf65zxaoUBwWpcaAv7cJIfOjEj3eEULIzR6Y3JJKo950fX8v44wU5RuzbsdgvONKFg5iQCO2ym5N2ANUc9S6t9eUSBIeY4fZI0lFkVMR0RnlqvvQAImceCq6BxRQMijtmz9g4FX/bL7d5MLPjZyBUld4I2tf6mmt7UGGATNfpKsOVJj9xesxswLED30RDRFus4TAu0F2R2hFeAdMjkT7icZDFOiUFrLTo5gIBsa2sKaAXSLB7idCi5592Spc2OWDWYk+uwyd7fyd4KqcNwA4iArrgX9iAK5tIdLPgjIq9UybcC17UNveUrHO4KA96MmR9vFr7CZ8PRibxwxDaxciq/cKpQcbIhMAuDMxkbeOXDSbymh2yK06/WN3qV0LPCPEn5wGkQNZYxd0L44F33XIbh5hXa7s8OCzVuLDLy3dKDRTmrMZwGGepEJ5UfG8HNS53HtOJGoJzlqp3eHEpJuGYuug2bLD323NfBB1lwTUqamaE2X6SVCCiFM9u5GEDguLhHS2FSaz4Y8CMGouqJ9v6W+JaYksNRJlUR4rgWmWYN5cpOjdQo05DdgAqt1HprAwym/tDrzAY1KopkuOWbW1+DP1pkE6UhIXvOralAaCbihsXE7noX1CnN1K8tLWX6/D8z0JpOWimVCnaZXRHGLgiHlgEJoYIEL4tKCoxWG4aJph8sGlkxQTGZU4MOzZ+xs4aNX5U5ur3PxFz2SVRJO3Jp+jORVp3IKPhAsRf9AcDp7nBpHgd9bbyXZXnbcMF7bnbM7/mT5U6y33n4batAaFp4ci6Oo0uhfmaP+qyFnpcHMPEMghZkuiINuvRo1Ib21PGtHTL1dEYk0rFWfUdsWY3fzjI+DTl3ZKwr3abj0vtz9QwYJNllkeO7cGlDzYTpY3DqccssS3vCLaST2RFxJ0zX0f4L8AnH1zKlrINFAJYraFczogNeJxK6q+2iDz1S5ABAYM3DXVwb7zH7dPancV6Mb+aO8AwNkxrj1T61pUMUba6TC3jfT5o3iZJ6mXeV/TZ5N/W1CISLD8iXWcCrpj8jS9Fjd+BhVxGPSOyzqVzUNe+YpFBuEr5/F7Inm3v7V+HUGZTeCQBuCiJXIusWMRPTKV/py/uC4Iqom3QycFLw4DofPOhjAP5fv9YPymVSgrj0kd+yX4zWIDhDHxrfTdZ0OCRBkOKFuNEyAoTZConELDYKnJFq38wCdrGLUTk+94zf9MpVai5kKplzw0y9BqPJv3DylI1p00vwmcmeiJY0l5taMtfBPOhYUDb6H/jOiWYE8nXJWbDY3hLiTOxl82j9gmWsXVhLQuYyWu+FgP0Ru0y4phKJ/N4xCKMeDmJ/9BObaFyldVyDaiWcf98rA/5dloqVx10I7QAvxDfzPG+uMlAP0+uNuDExY/utfVdyAEkPM7me6aTl+0R/3fyvcV7KmUEzbeWpPd9wZjgPQ9WR2RwG2aVcH6QiSSf1MwGTMxyTA2KPk02KjXQSc+u6KzmcFkr1Ow16kMb0nwuN5GfKJSMcwEg0UZuv39m4cWrVFQ8rDaTqtSCxwuxHr54rgdQ1ZsJ4KTnohT1gW8DtY7pgsvwBpIxyFbc5xB5uwBTVbxP0k2MIUsZHLjk1AJbkiOkCyf6xCjFpKwDg4WtiEyLA6psSl5t16EEMU/fr8isz8Qbz6NxY80p9VvmcYP03Td+waQgA6mjh53ODlx3UD75/U0Z6rgwsFw0L08IVr8L4eLLyLy/aEKBA1boeEFZBORA6grxCcnsoaKnJjpvAN6SJWo2R0cp3+g/nLvyB0e1c2MyGJh6oIwTi31LTSKj8xu9J8YfZ6MtPSRevPkWl5An5+qdnCLBe+0LGNUbDzax5goMriYlGvg2ptWTKoGrLyJ+IeFs7jKQTpOMpfPIra9gRg+fzeQg+EuSM93pbX3nLAiNz2PSEIduY8Nl7pbM2PRozEEX60UBgXB+IgQ/gFvhySvoYSpD+sZjVy/+Tr1m85UMmMJKdCdNfY0RJd0Dq0+BVZTl7AALTWXqs2uRLySZGImm7hNzOh65UdokrTYNoi3OCK7N5TtenayGaP/o4yZVuro7k3QfZXlG0cqZkPSOElEjfQul/0zxtvVC2bUw74zh5pjwqTVQjxXjnXw9QhlOVavpP7WXDlOUm41Af1Rq0rh5Uhw8D1BT3MkjyCFgUsVghqFPjk4e8dkkDjM7vpaWUdX/YNWLRuqm/u6sxYtIdoKIqhBPlkjdEhsXukVSrGLB6nS8xx7euNUkgzhWiXjKOJ53tTJ6rF/zxWir0ds3GJmhPKEC1NopYqE5ADJtz5WNGUjd9EFsjXe8GxnK1RXs16d4hPWJ4Kvbj4CNAl6PDmA4wY5fIxnHuAx3NuijBMKDqtTdP7wZHpD1Nu3K7xb1Qidr+prr5ZyKb8F9by8kM+6DtbDC2EXCqG8uwDjBr4iHvC1LbXLZi/zjlqAQPH0/VyzuIXm4ytZtGG28L32XrnW8FGO+lQmVLzhsjJcwxUv95nMW5IHMjq15iDT4w6fUcJh08v5fPcFSI20uh2CA1MCTuzVd6dewM6A2yvIaiSUT1KKAAXw97sq+1BmDs+v3f2vMjwURbbN19vEcTzZE2opBVDbIJ0NOdpr2cXftTBQ8ZH12vo8IrqyIk/+woabu8BUfQHeVZfu5ipBRbCwMsoVc/nf4c0LPYZYINKP6mRGOYYcGwQAnfF27oVNhHJ+fB1I0KjP5XbBHcYNZEyMrwCOA5jx/r0eyS/VhzOg00GGrXhiMApZr24R6EJC1sgGJeWKu1dt9arMi2wDJBzL8Mo1O1Q0P4+nZBjscEkM5PDalwTk9rBABAOs+CHbiPzpe2MVfmVFkS1CdsEdTfQ1R3d6ECeXkfROLEgFEJRCCWCzxjvM3y7el1ksgNzvjmuv8jxFd+bXXORE3VaI3nLlhzusAZFJFEKV/TNaKmJazXR4BiWSBAwLQ2ygmycANekFuSnoci/vZdP0sgGx/Gb/GIrPS9pHAxoqZcnERoeJH7m/E2/2B0pvKTjy2NJ6RysXLsrhA6Zr27I2rACb6Ea3Gi4JNIR9BWLKHuU9C2YUv/92SuMicZ+5VY02yxOpMfTUSJul97yzILCKEfmlnKB5H0b7UYUXwsnE+sxnQ381inuNyLT8tVoNdRORwFKO72yUO7IaHt62GABgTpabMnzzRmPYCkre+my7DdJ8Htxk35wRX10sBaxybMRVGyRW0kECCBx8llt+qHFZVgMKEejgGykHmxHvTzw75+bRzW61NFmddIrtoU9kQEzjinU4g8ZXUYG90m6/qMk9ZoIcuAjkmu8kJ7lF4JXD90Du4926x+gZlGdBvgE6JZl4f3z90JQasSA3Uh9Wd3a42NtQQY582bR+EC2p/jx8u0EJ4tHPP0oI6qC7R/0R+pxg3nyLvKE2I0Y+eo23kyk1xdZyABExk6u1UGJI+1dfrq5ifSJ+BQiW+zcadqTdJWjy2V3FSKTMoi7qSXQzqdqp0QNoGk57hiO4V0FWLfeJubCUukExg/cHCunCGg3JJ6KutgdcdZHtqtn6wLRhzckwOaHVMR7lgAka8aYesm5/S3mt/ZOMASLtdTkf88e1iX3vO+QkUhp56luLvPPlvo4/cWTEK0ZLq6LKBNFiAEh1sqPjvlU+WOnwUJPprO/ClVHlamP8YBApecpcd/4r/J/Vk1U5hwhHTQCu12i72h12SuXVFNCAFvSdAneVzQzWM4Q0DcBftXl/n/MXp782Lz4S9FWAIpWm91Vxn1cksavlpB6vOMbaCEiddBsEMftixyNljeEjgB0Bj13bKKkjB+wDgsKD9c3zpltU6HL59BozLYXbi83WmHk/NHQ31AMRxm3G609l4EoI22Qp6ur5lO/fvRjbU+ClHSzesX/U+Dtc6B/naCWrLfz+ovSY7Pb5TvXIMdvc9hxzi4bXuZSDsR5UCCl4uwoNrZS4SBlHc1q+/vP5YOvCdioOw5WLI58QE7avMJO1E3NyolTf2L1BxPzuaB3aD0DQFsKdsSeTooVkZBvHKaJSLjDUP+TaMLjU6K5eiIBej2qsQvxyiQH1FcPnQTPchF4kVKuz5Qb3PiEAUrDZcs8bvumGNn61418KZqjSZqyOHUOO0QSwcfIeACTtzReNbNkk3odQi0V3FqWws0zwS6ci0MyBvrIs3DCVPGF42+vehkKVVoT0c742iNrQ1SNmMi6rCVHa7mx1x4Awza0zXwxFROtum8PrgKprfVmKU4kb5X4daBErm/ZUczdbQKZgD0p2ur/wcdD2gWJl/WpCQZNTNVYOp48zpcSSNAc8dUUm3KvqhKWxZN3rO43146Kyc3iRGAvWsgW/xCguzWBPsPCATbpKIA25qGoWxrn533w+8WJQRnJzso5dfiazI0L6s8rTh4Il1LPbwtP6yIwTFSu4Anud7iDk/cEcxq4td7JRp4YJ4nefZwPYYa9wH0Q0FvbUx2svib/+0pUEnWZWZVGHOTlp3OjipHVc0HTkroFQWTU1nsUJgRPHLPg1hyugwbgvLB5xXKPjmlgE7dQUvmKVW7qO9IsuMpwyTfK8kJ99A5ikEQO+n48Rm1pZ82hPo/IVffwum0gdTysmjvAofYuFY/lzy+mMv/n4rMKLB5REAJpdtHRmVLdz01EcVtXEjjf+jqZq1Oa+mzBFh2FkmL7CBSaxzSv+/vhQpemdZ9Y8gbmv0kcxStLTHsI2ytEtInaSg59ECPgKSKtf1Ges0J+DWRZ7Rfvigd4AlQHDRRY33DNIWz4Pg8qzeOujRzl+J3i9mjzOO5YszCY1Y/UQ+nOBQpBOxp8atqjfaB2JWwi6/j9OzOSJiv51QLPeua1sLKSdQlUFeqpeHSkqqSrMwiRlGjmaU6fy5E5uO8GnpiCDpKeDEQoz99458Q/GORWv33TZp8NxI6OLo9RtzOTb29ceyAp2iZQIVPyil8OSeAUI48zA9wz+aHHIWNv26rC6KpMHqaJIvLlB8lDMS9zr5S+hgNXHJC4CEtt8nLgOlv95h33RU2a/6Bz8oK1TOGIfiZoiwbfpN6K1iMKGsyWlwVhh0/CNSSqEr9uEgChJ6cZwuPqCvOD5jLF2HnmI2HU+JKzqQIjvlwF9OGBhmgC/pu60F8iJ/yx4g8jSpBPWYzt316eKra0RBs1ElNTnEsfgM8Q4f8ehumIc1XtiJNj2qYOxXBgmtMMwbMLIW3dyjudhpE3Xqvi7czFVczIerTe5g199GBBtZ/P7VrfkZqZyFe7UGknszscthZTlDD4dO+i88T2KPhg9++0G7/2lQBI+Jj/iiQxiUvuQGnLOVs4mP/NGHTkDqg600w1A16eIvc/WBLWESGY2fUdfr0ZsTU3LAWjrpYB2hHJTzvYOF8VBZdi1CclG3aa9PdX/KQt5j+QRwqNLUgbR2r3Ut3vzEmuLdPvaSOvmwOg3/gecUCd2ikFY8HJFdn79N9n04C++4xcbhiD9MiXeBGNaH/7tE1+vUT4XjYsSumD3xlEJDmuVyRvsLI/U4nq/K4vfO5eUKSctuyUJq6NNaTs++3dLOeo4f9X8KBS/wm0NBOeIrGnUNNQzUHg5hp7onqKR55KWcuTK/OEmwO7MFq8xzWqL4szLXRqiLn+n84jGYIqXrdALz11BcEI7rqawzJcGfIob8lzcKNFMh+eARgzdSOd+M+MuZeljtc8ThOeYxkim4nH7XNa12Cr3zJnbwbdav2W7idqpoLtnvCAUZZgVSWkbX6gdRCF4c/S95wzeN2LdwhPZy43YMybzkCrjvDfEiaIKYITsIXFn28Li1YBdCvmWinUbkllaza5bSXqJeKjwXBn56J+YI1wfLELTTKNOA/NDB9pDDo8XR0Dti787T3XOmW8CC3ZiFKJCIeKBVziacG9flrtjEvJcjh7vvE+SmSslMybGx8unojUz8AB0NXwG0CjZcS0SgMYXQqS4xsev3D2+VT5cVUV5n0aSCgZuqJW9GmAO6AsR/vD/t1js9utNTDD4oIBazx7zod4v+fE1Ri23/XPwpEsJgVfVKoXZkd0kpQ1K1bKOk8oQWAsbvQTtmJNu0ePtL2Efr8X6mtMcn+ULKEppWnUj/UZwm5MMsdt4rsMlLnkM+cGPsoy4hoV9ym+nEBwwNgTppZpfNhHiVPhJu6EBVAqYnGl5sXTbQpEw6ZxEKqdks2grCmqijCvFbapVc2JIrf1gh/MUbGDmT7xhuEJ+pOwsqHVtb7U1ceFo8FpkbEdzPyBF4Zj9tro5zPd5xou9t1bGI+5ql48D//bDv1O20hwS4ZjfkBPjHRdH7bGqhGkH0dpiVeR9gQFHalQSUjP8wcsNFmQLbkAwnR7YX8mcKw0e0r1Pq4NURSANvbP8cY0t5KBv6JX7/xQd8tBiwuO1+oYPhY0t6q52ln+KrJH6xUC8+ngeXwuIaO/WETRNCyTs834SGL67bslbEIHN1+Y5tUsUUbK0TYdZUF0sMZ4TCWbaN5nI3k5z+C8ak3a5PfONwtTxK/0KC350qVf0LYW2c2F6BBklpaE1SGXnZ5Rb15PUVaBnUOqbjXcwwTOnt/uwh4ZLYBBqd3qgZCmuaKhPQQhHZOeLpKJRAnG3rBcUcQmGEaq/0l3SfwlRyjllIvXdMhTA3m5DjtZMl6EW0X3/IATPmX7Djq5Bq9PToseQCJbnArj/ky8ms8r16wVnzp2SzvVCYzY+fJl6rlj1UkXp/LxU/yn2j6bG6WB/NhxBiYcMXUkmHSgm7V45DaS1459cuVmFi5+MozZWHysahmnVX6Uak0ax6K7cUbGsy1CG2oFwaVEd6yR5NDLf8p6z99oD822l5+q6KaovfZ2VUK5IKJ5aSwqK2X+tlWendXodzYfY/vFlXHFWn2qaHPpd/Og0tCje6qqmy5guHOqsu4KCM5lhGVfXKFgQpIULgphUjyF8fLdSFX+npdIwNmoWxutiGG+77yTiNoLCRUM2Q3UR5GIMEXQMn9AZuUHL/ruE4VnujmWQnBF6/Tyo+5Ny+Bo6ZxGz1YWhO6C+qCF3x6GxZ+8PlUHePveUw8CPc4zBFYGEfaIj/GF4b0WlZFT1LAJQhbG6k+jyCdoY9yIpG4rLgR8uQrYTHCUl28UmdpNDiH5ANnl0UP9jHd340ecuZmK//+xAI9WrJEZixesGniDOZdCixlpf/DGlDtQXcMO5gCmeHeCZbandrEbWTt0XUcfeX70PIPR51bnPK6kqLiUvmF8mWPuahHntU74fAK5kXk7NA7sc3bvG60fLIpAp+8tmaDHjmLqPwVDa2/g4xg8w5SWFbmGWmBJ+ROgcBf3BwL+RW17gDJMs2oIzhGpHulB+ZkweEeqG/tnu9LdQod9BzoIl9ktFAlF3kRN4rLCAFdE67Yv7OzBtcegrqgyPcAjqbPjK17K0Y3rXXygqInNWnBuf/ejVRBIkX3i235LEURXeF4cocf/DBaDP+rPEmGRyOYVx3hZFQVcgBE4rZLNM7soowfY2TTUvePZR+ZiBHXIlpxQhq/AHooOPAiZk6mmv3oVAIixC5+M7jOsFYFoHq/KPtbvTLfqUj85X0cKqoeBntYqwukXLeSOtaonba8VDsMXa/PT8YyDAD/x1jVvQyizIfmoxt1g0VPFMMP/MF0CBKLZ5lJTA5HRcqP2URFb1A4Fy+w0C5pxJ0rwM+j0dwCTx2ZGgRqI5FArwRa40Y8RL+IF2GlqFvWQsL6YaPT2ZX+ePqUGHOX/UyaQ8J8sZDiifGkdYYXcxHjJZRktYWVR0c2vQsOR8qV2TtFdsGGWLmntPY80h9mUleiFCwcZG9cwAvM3xPEqHWvE2UfMknTtg29rkAKJAUThipcv2hdQOOkWNdBse8kLK3PnePi+um6tAaDPY7Vi4GJpcylWpGZUyf1RoCaAWErip8tGCW97q6PvG7lg9N2PGi/qPhPJ8NFplEqxANteqwlVIjegdOfunb+SgDRMPul+iHy7aAssIljGqV1qrfEE+ew/S8cut0Fy7IhyM88hLEFjRNzmSXBPS5rUnoxPqFIsPcGVIqQrSQaJinQ8HlZzTryWtqqT15vTrJaBAIQAaexP8oTJT5IKcvkqU0ww+1oXjLA9uU5iXc6/WSB/ggcqbEWwZVV4Oe5jb0uotktJAJaNJUEsR1jC50csQ1gWfLXwrtaK5kvV8hhZrrZjNw6KOArbfO1HRmoU9kDqeJCOMJT2zMawOioCvB/WzGJh+Y6aiedko/TiLueniZ5zObH0IUVr3iAoXBtROgNZYuusiUrdPByk8mDbsJezK+Q9icyS7i1LzfH1tQqaGyMFWwohcdmTAWxTNWDdPX7Fq9WK5nlFSYPjTNOqhsR//erszI57GwpuM6uCWRuLIO52l07c0IsHBocCfz6n3ferK8oX86nvQ2FclPaMTg1vfekAyK7RuG3Z+pNtt17MvaV5NJlmOe7LQstudIugY6k6Kwaa3kDsadSgRc6eQvCAPNCYvY/sbKjal8qC02O5SA41AOkuhSITddcwt7RFkZeh+L5SJjaAtS3kVD3i77ZgnypAziKC/R804L/vPajDVxI0q3xPlUrrNdmZgkwaXloAHb93VeMIX/YqAZnjGWZGPjaP8JQrQe8qVfm3YTFN8Lm81SJxb69eeET0EHiirVvmRySCY8aRsh/IJ0hhpiVoaYQi57f7OdiPCVVnOpdZbvZ+uscU5yi7B7mKUf/SfZSI/CmaBjbTpvcS0k7fORIC2et7ktvehXBNRBmLolrgZGJ1+uIuQuEUZm5A2Hr1bVvd0QS6/tz5AGkxJ8KfEYM0FL08WiGQHX/5sXkiZYYyOlWSyEYmTD5LMq+yonK0zssw8vhGt/4n4adzL5kndX6xnEqHGIPRtA+oGPSu4uMq6gNgKH3FQdR64AL81sENW7kQ5vNKhijas+CKU2VjqZXUqC1Q06xfSP1bjjWqQI0fy0J35T/E2duq4zFDF86W+8L29/bBRz3jT5r9BwScfFgYJp6B4Q450XDmssgeqcl6voDlZh58WZhzHVMBwq97Vn/RQ1IWIwqCXDMRd6wmSb4gPSpgpMH5jNEFwWrWj91H0EoyRMEHw9SsPsBwT0X1JRDU9cNuPuTnuuZCxVo2qkQFd3oO6XmFKT57Ji2EpJyvw5OMc1zZiYXiez77eJZvCWTtgXax4ACd6q8r0aG5mM5vgdyqPh/tlJ5Cyo1VBaAxl/1GkC9jSp6qOQQVKzqXfDV5aRW/ORLtzhZ4Nn4I4dkrMUbQ1rchtwSLxutuNGtAvlk3EFEjHvN210jdRJ8fhtE+sO1qFnl2G7Q2TDYUeGC7XvgJgUrIA02FBw2AXxpMVJX109PwOH5zDDbQ+gCiP0dXT+VgIhxEcLS8+uzj/0Kxbwk83Dj4YEX7DP951ACG0w83vthftu+V6FuAa6lG3YQPLTOrs47axYhwkd5OWPMVQzWV67Sr/mh/ie/HxLh4T0yHkooqTppiT3CaVJy7R0NUhQJ44yoa2r1K3hRcMBdY7nQiSoTU99WmtafAlgkzFLEaY4eLRqzLqBOk4Av65SIkC4L/0Y1Jml4PczUDgt7O4PE+ofrNbdaYGJJI7sXTu3DTzYsMcZiDwpYmU/GrVXIELcOlhEUfDI0KSYIf6F/DN18YsVi6POHe/yIA3dBkeJPoMGnoD/sHX3qwNIFTY9KGRVRI6O2kQzxwAeDG9arEGSbIjRZrU3zJAakp1Mzm2vBkB4zi4haCYWoUZc+AeHzBUMYLF0u7jVd46bd+k9cX9sJ3P5hqHVvboqABvGq8ZuUrzmi/VInA5hMhBFoLRUak0DihKYAwKR4k/NOnJzDgMt36ZueZRQqEPzOIPT9ShETV894JI7fim1EKlGAGKsEYz+beHPrOpCshhQTCkwlxcxaZRiCXvuqf6kpNbSYeqx6eyBBIhQrHxTXJQTLpMuH2UFNMTdWvX7dJmU4v6g/dhCh2J9ByaZFV4EOydayJxJn4CGcX0M22imG6YlsOQXs0T/UP0lmj0P+/ESE4O8FiPlek9w0y/Og9ioYbfBURd6uiJZKRU76g9D206sq+adAYKED+0uIkxMw0NsWwXmNkjjVJteBb87iOcxV7sBT8FeChZaC4vHhAhL1Xd4WcbNdL7ZGhJHguMvxHD+YUfufibGXwwj1vqGBei2R/s8DFu1G88xcW+gGYa0n8K+3anoBEx0WpDprbxQY2F3c/NvdfVwmugY1rj7L5yIqC1XuoNoRyyWtVHMcmLk4k4xE1SsaMYuyTR3u0lQH6GH6DzUT2RT82JjWT8puE1Uq7n1h5ggN60R+5uaZMh6iV8PySRkeKAAUfpGi9kfIL/6GXGExJhAYKfvHiVKizCj9q6j6xbWLB57SK4mlW62/tbZ2jchdzHbgjJsIB2nv+IB2tFr5jQ7BLNq9MMVSnhTE5imyOT/eIY/IEX3XXuKZ21mga4xR8dF30H9VZHAyz37PthPYxSPzbVT7CJsxb6hirZDyYWMtElYWi8juHMRJ8nrEpyq4A4TPGUSbBjHORS/a9ULVLXsHGz8TWqIAlGIEFnDOuy3jEFOclvBFGZg4zBmQ/A9wfnimLz2rYciT7rqAZBMmDE3uxYFq3qH8KaIkSfgAiAaSZsZqiGxWH3hF58r9/o4+wA8Qc5zV2Zm3Ok4cNYhsGAmcXkXmv3WAcsT/g4/V96XZuXILmX/OL/PTKvcRkCyDgwDR/nMYKZBIOYOFGRXKfEgJUGAOVk7rha6Hd1xkkxlQlfT+g3kWYy6e4ZVjWczFBKxnneJWCcXnOL8O4QDzpwcOE53YnrrlKtNaIVCkE5YNc0ob8//mp256vaHPz7DSDukUyKNXVBvjiRCgv1nO905H9pwb5QIkYArxk+m6kDEBg6dnCfwTf9fX/2CbicsJ/v4pFuo+pxfaJvfybOLS2U9mN6XkwLAjIYsBXOVjMF//2cV7Fg0CN/ne9TW1BJRnssVSRqab6Mk3HfOeZmO0GUTWfDUfpHiMgvqcLFVhP1w1ajHi/MP9fg5ALQm6cGA4R7GjneaKJAxa+DPDpDaKxleUmrSEHIGp78V8/yG3uWaW9MHHE5wOqFnLZBAxuH6hf14UrkPCeidnSQhAaF3FynrrpWRGmZ1gqXJ8GV4IvdKBoVy1mRkh3s4ICl5We/8Xjm3QmQgNO42JNmZcjFT9+i2LcrfpXSQWc0W6WdciwvIUTrqhPwGwX6oYs7l77yhG4EYl070k0GHzOvcSbZvu2jtvBa6PTBid3+y7a/+5hw7nbE5CXgKGD17EqM0C04zv3Sf3OZOIMK9KhecjqUnWIitvVKXzZahdHzE2OS3YvIOG/XD84RNzKzLSWpZjKgjd8p/M3qiI5Xld222gyKsuKV52M+S/ChsKNiiYFfHXJPU9yVaXzFf7KzjyEm+U8EZdQ2mvYc1VGqQhldS4pcO2ONaP5efStVany0PcipI67jsbm/6Pi9m7WPbCexaaPE6Cms3RLw6vspiQhZqvGfqBykTWnZMU0cKurMGKUf3LvbQ36VxHGaauKfZD2iutwR/q8kjonxsngM5E3/wh8bVXZiE8cj+gGL67bB9AgbegmJetFFhAH9hPySMsw2Kt6mci6uBFmP7EwDXFAWdHhh6y+E9ouwfWX+Glh+ge1OG8+GQAHFltwJwv4ZqMAYW6iT1vS8KbUBiSphysTr8KHVm9IE8UnJ8y/bj8yneG4sZy+1b5qvGU3t5loo7YRHqx/i0mF3DPK4V/pv9azxD8rd28i/4GMvIPvk6hsV5ZTqI9/kErSvywABswPyZT8ExfMd856gtu6vAjhr/9cR4bTXmfR/v/L3d+VcaQE/hX3HUbBOnmx+mu+9hoABjV9XBTNop6xwuJtdSlbISo7l6jXunUrNAdTRcO6zSXrVJbPOWCya1bVnl6yhKZgnJ7KkvHUzBUcSLFJk20rQUMAhCNvKDN7837kzP+D938VHtIcMkdJgSQPP9qGOWO0XvLKET5fMG6JuU6UQvVIwIeLy0DV/qZ31bRiOgVQ4iFSTU6z4GlgTATjGIZA+67KhHf5qnnXtfp5OcR9boA3XCu2vROgkVVE7kTMfyeNa90dL9f9tCXWhrkOjBh5UX8Je0CIzOv3SHg4W/AzBmLfn54lRcltcp7nzGs90MUthO12PSXhr31Zrao28vbvcN3Tk0GmiL9yV0qwExKGKyrScBoJQKCuRJYORbcWRpIbWr4mk1vP0FTm7kBE29YBwhDYNMpcLO5IuMRD7CiegoxszP861WZ0rqlXfT8nepx6BcD8awx2ltn6SsncUt9e2V7lzfyB0Gvzflmm2NtG9tMAPV/vci7zBEvkQGvHTdxbZgJOCqyMEy2feyhMvgjY+Hv0g2rurZuh3X4NusXgsYyWiA+S74QeSAY297mqxF2dyJlQ+jljND9tjIK8gk69hVBkr6N6eCt1wuFbzMMdDhdKS0VAzCzhupzyiBQR9omF87CQ41lYFSBqOHwhoGlYE/JuVKJW61hSUnQ38Zd6NM4ukPUrT7aWr+Lv/HMUVZu5EvVm5/XqwBibve7fmAH10ifd+HI/EiRI++GUSnYOuOaU8vhQKnsBglsVpiX5FTrdxDwJpAUXLeN4pnBROoq86xlc+V+6tpQ2migsxO4uFo+nsEe7+Xj5D4sp8Kqn2pq6IlSnbtw/NJwRglNNX0X4SoWu0I8iOxfUBAM9l97qebNyzwRm/yeqBOOJIJyJrn50NLyB9PWbtyo4JU9PxvanjrgrUgYh8VAsrQefpks5nh0NksveD3rs2JPZpETBy2z0pwGImq7s4xPMVSsqnKi9Q9i1jb03//m1TphoS8yD50YWGFF2VWyVFjjjj6xT4FmHkZz4zfMUCd1aDgxnZNCJGChKflIBIyO61ALUBh+dAfUjRaarRMr0L8xfnXA8OFHku00LKQ6HL2LZ8WMzoS9X8z1IrUxeOarWguwEQXAcPkBvEGjCjqNxZLOHrEuqMLUjWhgmIF1AC+CsFUP4AO9kuHdr3mkSKUU6OoYKhk6Gd5QFxiokv5MxvGEaBsUOnBIVpPMm3K9td+i+k9VYgxT0Rc5jX7NUX6XZI89+5m42ssRLoTn4oDaro0USndXwUATg1BP92g0huwtjLz7DZZZCLhisUdtZt1sCYTDRyuW8tL1qyib3qZno9r9AmyXoLGCReGRIbZaFe52oZ3lfCn5K78hpDnRitS9Mja9Yj/Hm8lssmE2scLLh2U3Z6zH7+0CpiMR94iPp4ySTcBjTOseeXv61ZIbwD4ZnmvJ3R+eb25exK5ap2hHYYWkfyoL+qWDqoV+TZshzRkYPT9cZPz0RZ5/f5uo8Zi64+0vt85/90AjzLrbyNvOL93Ig+nrtm+1hWmia0xLEyzBgpMhCf34lF3aYMn26S6x1f2kipQl2nIsl6dyAsEyhLDNoHWu1izm2p4S5LxEBSD2+DzD7bqyNJwnq94F0z9H+P6bCmh7cHVTlqzKQoAhr1YpQYOe/x0eu4i/px7lmHP+SmYXdJE2V/aJJI17Eg4nBXlFhAp9NSHJ4eqKsPCEQEw8rktnvh+oFN7BcZtJDs31u7D+SgVkAFguEqmHvdc7DFlmVoOSlWQcjtZ4p4Gt4zVoIppOZbHNh0l0ItIt2hriAuOCQ99Pg78vrqfvQ4e7aC6o8HEcNALISfyVTGM7HJvqThd8OOZsarcAFtbl2ycW+k1R6x66M3NaVDABJ+fyJmTygMYR1zM67kdY57T/Qy+JMY+uCl9UPn8+Ju0YNFPpETTBRI4e3+OXtpMAn5Fu9PG5i5Ep2LyYsUgPhnn6XbcvHh5ddq8HEAAMstJiTpd4qvifo5u2RC47CWAgmNnPdEqPeJ1TABBV/vUyW4QmrWO/+pV0HOOMFDjTp8gqQWWJbiPqtQfovQtYQmWxC70CkS3lUHtMT3ryJi5wCLdppwH6nqBlKLvrxbI9whbWVbMVm0uNDeXe5EGLAuosK71uB1Zo6q+ClQ3Z2LLo44eLAW9lkJ6WwxHKyo3M6OvxENSSI/Q5/kQB+GPj2cClG7Q14w14j/SwPx7o5qpP5NlXWQvboXnROIkzsCGUo86+K/r8yOYrAwz6jeIhLOOC6xPaXkoVi4rnc6+bPwks7C1vCusjoBvGi1U2aXwMoA89z2QsKhjBjdkaNDr3mm1OqW2IfFgnX9IpiNYCmbsAylMmUZMfRDzFhnfLz7IdamjxemqmBoM3oFwufnTFF5ah9uXTsQnt+j7PPju/im+u4mmAKkngO9xk1CTZ7WpfX1iz1TF6BWYZr4rT77cxTLgh1Mkrm7LtXML8kZf+PvU1kYVmXWd9IWVP/x/klmA4ENXNkHb2MssjhhVEfEkEtFgrq9sAG7WEAEtJlvtDcq6IfEwMUJuwLGk8iMM0wgbWXscshx+fMEh5r41JiAmZvl2Mun+VYrW475BUXjZbtsRfJDfACyIK+4FY0AKjeMD6BhFNiIcKJi3HnsOpNv6qJWf5niQYBbBklut5uyX2rJpoUszf/jqsQoG0EYw232u/okBboPL9KJfdODF6/7aI/cAlB+1Km617FdcW6MFDF44BKhhlmzIY7a0Tss56j3A5zDO14Cg1xD02Gr/U7Kkbc9lr0K+E7NNe98Mei4dNkUHhQzjIh8vmO2OjrbgNzFKHrOVaYlFxho2KD4boOKuRuSqqK3ZPa//aqfJX7Xss0NcLu9L/DLenYU4GG9OPn8J/LohAitOt7Uir76ZmdxnYFncuT1UVfazbHKK2IDhW+ALfdNpAwI+jz3u05WyYFZRxDLk2Iyj1GpPEoI5cgiGOHd6dGxqwvrHgH7+q3Wu8GPsPsSio0zNuo76VmV46Je7yJsZSAXn9QVcnkaBLCZaR5AsoXdK5aodm0CDxbQmr3yWkPd/4cofsFTvi0NquFrBoTOMfir02wIisnf7C6wSY3CDG+XXQN95WyNBXtQl6nw6ug9YGgJihFZijp+hUh37/tAom6X4ATudibVp7OlCaS3aSFsQu4gmkSO1OSxRs6eVHU9XGo3YGtm+2CHM9zd0gb0jLvmAfGE5cgQFisV8kg27x8ZPGVT7rrOqbclwGRP7J75aFusQ0q54uboluGBtyDaf6eyHR3OBBMONbZ49W1I3cFEgaDvKXwY1XqHsgMYAALaLHbubECFio7q6dVkAF0pAewj1SMhLPLvaGk8RXS5RlCD0dl8GHhI/yeEiDnBVqNSngoIFDsgHucrRhayqLqPrCtjYFKTUHAaUGD+6Kq/YVGNhnBmI23rVlTSUvxFdFfQSM/vDv51S8Siv9Whp5P06/pCq5gXOr6rsloHzmNHbscR1UkS+bhiv3XVXMY40vWGq12I1MVfd0rl7gwa90ciZtOSazBKKimC7wnIoxHoQznqpHwBVXAjSNQZ40LL4sqmBn6dgEUOgqdzk2AVvzZiuT7+UwWcJTVXZO+RHuaxfNesU1gsDtD0wVpWWywLhMFoD6Hzt6JxIOrcPc9B3Y50kzJpYE64AkpUIHA0mNimnXEaRVmLQugdgECE1Y4LIkbLCo8JdkSRJQVu8DYYN52P79tcsx7Evp49PQ/OFcglOOmuHi/7SfBf+CazXx/jDQwDpC4uaQ4v7ZIbrczM3R35k6qbpYFvCPurXcGdq9DQYA9RvLdBuzrH+q7ilenyOFDdpQZrYTBwW3il3OEwtW+D1ks1mMv4mA6I8Brnqmis4ChCih4FVW9UHZiL9EyRkLgFcHaTOypnvEdV6VPItXZBklkV+0fi6r+j65Ze5xoW3RyVOH9WYdMEh1nKkPq+u742dsmFqMUVMa3PtLVsT1IodV2EzEeiJprA8yygeyB4jqkt8Jw45YOgt9BOJLf7V+gKioFogngqOhu1CG7Nns5sJDN3eZjGebo5m6u8kR9FAToo/qmRT0Yb0FnM6FBnzfygCqiolSv3qQYrxcj/WxXLG3lI+7rB9nppC2xFfPQaiwASrQDAxsF17RtcpxKg25fMp3IPHt52OWY+53EvKPAXrJIfYwNJs/1kQqjoe8+6ZPPObxtY3FyOZ+Lmg0HlNmjpeuvXPEbWaWDPouLMBv9oUXepuX94rPoq8yCfnmlb4rLoGNCUwtOZGdAcBM7ES6+2tzLi3odfDmbbgzwaJoINZJsJGVpteV77w+lh14rf9XCj9jtW7p4eIb+fQvQAqbu+vCtS5AltArie5SxbQv8WGTVayriUGxk8BSaz0mWChKRVDzNm8ZIpzUrrEhs9GtgyQtMQtyYNzHHn5QIRaJlwLfPjVzRV82Yjh5hE0b/hA6nxDLNoH8IT0S9u3F5NjqlBA88tg1EfrWh85jHW6kH6Rj1Ea6QKEg0yaBgE7lewLQ5oSUcw4Rx1FtcqNfA23M2TjSF5YkimDNO5siTj1Lyok3e/QtNY5f1macCIUm/3yT938QPOqfSpbONlj1nmDHsRSboBisNhvtd3p5W6ouFIWKrCZhN0rkapTkU54S98HKn9YyZG0G7dRgDBhfNe4pL6MDicPQpb8G2D/35DCMm1IUvhAXTQqgiCUlXuvcTG3vsA32QEJckrWIeGc2CLpNhaSvIRfInrDeyRW6/Z0nS0asEW1A3aFJNC7EIg1d7iKww+OcpiDogCXR6AEds36oR5ISuRYbmE6N5C9OuBMfLLOxRRn4Nrjg1PK2xO/v11CH32LWMDH+b5SoBHjDBIhVWe1cUe2hceM0wR72b8JOQh+YJ8u67EA8iC13EdgaKIEz3to8KxCcSbMvC2XQtGM99VPbQJfegYXk4khv6F4IATPyy3wbLuiBGxiu14kH/ZeEAv7ychTD/nhxcyJTVnOSt7lJz90hpwJAbqwWjGX73Fc+G3HTWBRbWQB3cfBhSNRBawwtsgubT9B8sEb0KOGq237vfIFYxgToIfeHytX8Do0fnrqWMgYlNgM/hpav//pSh7/70qqAdoBR0udfgVhuusPeSzB6gs+jBuO8fbHCVBQmVUqZ9GtPu5E2uy5Q7Uzd4G9cI9G7lRzIjBFtNckzjWK+c9NgRpwQyjeAqRLx/O3uZd4tjie14j+9BK+WONcdGdXBG6lkpdeIqrQNxRr4WhDf+OUMieOIapnUH8luaUL54Ho173b/WOIqAckW6KeN4DlkGoazoTP/uiuHJzEIWcXag/HCsZMjEQPYQ7FlZ+VsneW+lIpxtlVxraahQ98fBfaNJByR99cJbg5G87fyGYbyB45Ggc7on7ZvGuOdSJ95h5eF+Q5nKn1JEf5z3HhhmSeRMB7Qq+V3DgyWzReToly5ZWN4dQzUYjrFMJjvxW+LepQqfIA8wVuHuwI90Mb+j1JTk6xCRjZE71vto/Is3NrYow+O7eU5VwMTV3ticWO3SjQbAsPjd9MVnd8o63Km6urTicXRoEx2y9h10M4L44dnalLCLx1auiA1I5QMxZ0pQcQIok0ZsBtADZuQM8WI6LdYkeidgOE8gm/NPBX9Cf/koSHJ03AHylYbTRZrDmM0QqmgmRmnE9ZSoJusntRpVSCkJq4fYy6QvSJ1BsHwlVzlbn/ihQx0g8gB5OflOsHxYwYHkKXx/1W7aZrBk2gby3dqa6UQiXBO/XyDzSxOl0PPTDtzFonFkCl96DiXxbtwEOc/0mRjuCkIK8XAoC0LLQX4phEV8WGHXExHQCqrPETlANu4/lfUc1CkpLlroalCFoVm7nQevDkAEFSsHlFX2AxKZZWVExttCFSS4pRdmGLjunUJnGd8GVXWabU6KECPNrLPeJvaxdHdoF4Du79TBRZz4114kmaWGleyHn27MezhtLPicRsPKU5764Dt2hB2uV1s3TIatPU/l9ZMU4gmlCj2vvuBzeFnbXBWgghiyjfwy+7R12K4PacTwNvqpdI/rQGYFlPIEaInEVgJ2W38Sr+K0k1PB8sDLIfRnCPqPl6Ye88i8fwTRY5BD4TdDxZIXuhwhyiUV7AlFb8zdxoqtG6UCCvR4wgDI1oIl+uUcHl3cQ4YJd5x8IgMONBBS/JQgJXbjjLe8shcYy4Eu6so+VRnQj0B9QU8Aagy3QrVGZIvCMQuvjKc3/MJs+LZnFvIXQXYrniP9OiIIc8MMKsa8Z5Zd/oU8LGvTQl8NewKzCGMaopE0gTyoRl+tLHIGmEslefRkWU5HKnqU1JxwLRVW9oZEs2eo6puCv7kDf/AbV4rBgsNH29KaHqlAANyx5IAIIV6AbOgOA5jo22aB5NO8ZbrouRmqXWnKd8g7b81+H6kF+HzC6z7MTQAoX4L29xXcKMiw+8RMRp+wFQJFe5/qQoKTfvEfcwRfypRGVVezXVVh7F/UYOVuzeMBQTV+4Hb3llag8K7zZ6KXaYG8T0XvdcwS89ubDz1Qf96wrWl6W44X0nTZwyAQI97KUvXHfSiqtZZyp3qBKDkyod/h3aCwDSAIlSvX+R3tmYUH8MEz6rxtnjo/NtpX5XZH1KKejT4hZOuV5i6fFWGeK8qQtKVg25rMDGKwQb8rrVHS2Bg2hQOSFpTnssAecyNLI6HkCC2E4zkYNFqYQ+Z99IeXLU/g0TWXrF5MuUftUm1sl9wSIHLjZ66e8umGXAXLNr+45/eewJeY4UK/+CK0PBbxIkQB5KNXpYcOwFkEJO2vvDqX5Dxpd29tORylM0WQkXpBKcJ6VsZRD/XwHfNu64Yi2YHy1MGde8r0ilLBdJc33l0XAti9MC9wUYkgIT60JOCdYEiwKBmgYKSahncJKuq+6ryZBqWBkrXp7NsGGnnEVM3ybJk1pdfAwE1pmm+v4zb29H+yc2b7q/3EOquVDigN/RogcBSlbX1w5DXKbL7ZgQsozp9R6mU8eHRnODFeoJooIYR8KkVImqHhRKXOAgXub5JFh8jRA/+g5iS/vNBJxxLpiGDIt2hL48TWK4Wt3d6ptjqR8HAG2++o3xL1AWb0if/S+qmLUa7XwWxab1Xlbpwc4dGcTEs8SAwEFneaPrG8p+pGZrB89/kF51+i/S4WFYsNSZAk1VAT4DWLVrMy0MrNuilh4wZ8te9cdMD5bVYa9MadQsh3X1NrVwMYIBELdyOyMyjtZqqF83II7J351cwTJGiuoObmiTVDdl5cxtNR184LS/4kjJgsM1W+7ndG4bZvYwfQrW+Wzy8nJ4N6EN2yDdYsJTvJ7wWuRuJm5hOZkeThVY3UjF6UEIybnB2CtKLqahzPxikAnEWkfLoK60Ee6jO8QmKQTqxA8L6KJt2Tl/VduM5xbNEfgUwz7MAd7BaEGE+GyuESdFcD+/KN4WpTz03j5sagaRShzTRYdlb6GuYuqvQUyqRkeZtRrvkU49Bm1lGY+C15rRUZb8pn0fLJGYcIA4BJ7oqIXK6Drr2YBCgGmfg4ikGNFm578J5MDWnTXsEObK5gemKDeaUc96CUVIXcWYA2I23gYRMWKwzmF28jdwsoxVAi5VN9F/UgMyholRb+QH1JJoObRd+O9PHo6qywKOwlyHl8l07+a0XiSWAHewkD5MxMbSYst7tv0n+7rufWdivtfKEQp0zdNvo0GXXEP+udQzKxRE4DxWxojHmccba79b8lTqyT8uqIbAa1w+bER13kgRbNXvMYBc1gwHgtzT/B2XjOImqBw8tz7MgxwwEpbzWlT3LqNoUQfVx8+rJi91kj5Kr+M2akxvxPFQkjCxGamYLbADDyHYQpdhy1SF5D/F+kg04IThU1sKb2LThymA3siNLueOzsKI3PMaqfEpTwv4SZ5RcnjFTPK7cIcEc3gaAwXVpHTRenvzNW/k7nqX4Xhd/RxEwKKC3sB/5D7I1w1H37F+r8dz+5Z/GXgSq7dtTTi+Ig1cp18Pa94r0LQW6nz0Hx9rZhKQFsDFb4BeHrqHvz5NuE+8IZnyuUcIG/yMDVvNNM9EaRPb39DrtwhFXbGVvjOiq3oejVNuIew7HJNxAKhl9xPAK4ESQv455PZtTo8TPUgNJ2wuJ1FqWLzyIYK5ixYRVD7E1nBITCn4TzY22F4xYZyYhVYTUDombdhtp1HgOl/8Cc7ep/BAKfTH4wg3KifZyftQuMwBIEX1TIUSVqtdaorFTgCanMDWruGRJZL8cCwEcHw8AnUFOwOstRaZsy25v4+D99B3Ktlf1FLBK/kwcc85OZykcTpzuG0oRMY5aPZcFMAjlJSI7cP1mYovrrx7gY9K41/DADP5Yx/b7KFlzK4MRL7xasxy0kwQVKXPv544guKFsHtu+MP+PQos2/1YdUKH/yuvRiyfUVEZBwuSF3p9IBuPe+0lNuRJPZq701tYOMfDer6Ty/9jkYCNg2TsthFoQoDKXIHuYakDdHUCKmMIcbbE+7xwU3UvRhsyR/VGmETYGBjZH2WZ0tOkYhm+25trRarXMcL3OMAsYM4fAVGK+QzeSR+P80WE4KU+qfvbI7CNkzxUW0tSTABA9ff3CxNm2GTu9VFkBK52UVKAicyz/rJrrh+N24O8h22hBJg+KoBxPylR/H4gT78L5CXogFb4Q4LUne9JaNQa3wooZt6yqROg6zLGuD95OtuqFJ9IT/7EQf4Taj8G4HZC6nvAKg51mJXpBlImWkAaaEMC3anGXvZM4/nhk/Mi+viz/UTwqRqZJMU6oB0uCoc3+LZi1BhL28XBCOtIVlNQCkOeS22UBf5IBAusawAGv+YdBvXSai2bylw/SAl/zYac96hio7g/eHZW7rt2JaAcr6g3DiKs3f9vJmmOZDA98tqZgm2crmTrKVnxImxwlFNJKi80VoO5X4jwyccWaAklvQldhQdZ38AmZmTfrEe8yWQR99PPgDqDntK//eFhF0KB1qTOxgNEj3K4Ojs/6p72Y+FzdpNpxMaj7blPd8RdpErZbPyu2KzS+t3/g61KidHgsJcyZFLYGn//O1AwR0CgHSYHd+0fYXrBAxbrl90+NGAgtHPoLT6LZ9uZwCV9FQMEScTYT5zzjswyeE5WhXCs1u8Pg+OkngQ9Gvl60Zb9KyKovjdlT+PwMNi3X684ospJnsWZbYyf4wiOS/DdbkDUPHjerMqrKjEvpWRCNUDspa/4gTShJsWlSwdUQkGOzMBHqn7h9yBb7djH+DoIXaE1xeQm3QMW2el8Qe4PHLoZggTGPX1FLX0J9PnMlsMVn8eqpeZeLqRaPIO2ANv1erA0nhp7DW1yC4OLxSgMpBcUPDlCd+xugIfDOo7hfcQne17rnVFGjernBPIzbqCIo4yEYMAH8JmIwF9B2S5U5IPR/sYscAzSh6g/b5Bt0r+dTdWjG1wVdjI5mxButF1SzglvVSqyuCreN0SV3/gJ5g5ppnpwyXY51wQVmfuS+L+2xZPotpk68bDu1eIiJTsP3OELBZfi04mYtmzdXG6LLTbLHpnAWOHt2lXlVvfXB6MXK9iAzFP5xLokMbxtQn/lU/PXsIjn5rx7xNUBfH6uUIBos2AXslnoT6QRl6AnfJYxscxEnQ6xro8BwUPk/xvOtyiKVlPNCDW0dmxgLlsXYDKt7nd004wyGaiYNFCZ8rD90v1MCvBRaPtPQKY4CtCmDLXLb0ur23MgzkFjSurSzT2f/8YkuuWf3HYmulFKK6rnrPrpIPsAzkrBDlQu2PSocS6l87wQgKfO2DyGvfgQdLqTxz03phOtAhKSBg3Sx34zMvTg/ZOTFR6mpjZAycUh87OgRlziHxOQWAZBVSlscpPbDEWjiSgEpOFq5hUEQ7VZ9pjd58W9jALJrDOroOBy2y3ocmdfiK45utvFLEKyXnZf40J5L7AUColS20c1iwxVQNPUQPmheQJl8RpB+brK6NlY7vPTFieg/eRQ2gtQYA2Vj0rwp+GpeCjm9iHq8cJ7XhhuL44vioHFW8HOlHbUOkC89Qc7N0RwBQ8KR0Ych2syw67EUc9mGtI1cgSyFoeXQYwN2ezLD3hGaKsHS9uZw60VR2ed6AnuhUWBU5W8U6EWWB4W2L27ZCfKh6yKkdzw+dhQmHSlIlj+u6jsAp7J+YkQExnyX4koo5v4b2cYuVqxDI23Wf7Ma9l3s4lIwHlZizpL0OpU/hOtwZg7qj1KQEr6wNAMcHoUk9Nk1OHgvu2wQ1RlxEojRunM31mEHam3Gi5D4DHHa/N35NPLgFR1BG7ZYF/htE2a6C+9PA0Uzpf8w993DKsAcF/2noXGN10rHcQnPoZcb0pfkbj2Rsq07aY2NyPXxMoPf20EttWmOQJRNpX+vFoegJENlyuQBf7/n0Wh/73d7AQM3Kim3wja7FMYf/QjnNyulUEBEw6Ffl/3x8O4h89xUOL4oAKbSPzCU9CaDzt4ZxnAqkO18PkPhV8/RFcHDjdPpnPYyE6ldhXp1NQ3v+UadXPpzmS/XIk+G8ySV8pwBWDAUs+P3d/AVESDi6j8SggSmn9PBWioCWURQlFC9Ypa+UTJ7bB4mtj05fdd2YLX+tjf6k2YgXbKMi7e03P3x19orwhutjW+twavS1XOnx4aCfiq9BGa49F7zyqef1CgDbixPCTtOAbAz1Tkd/P4zSJ8IgCSvbrgnhbNqtpQhZm06TYO/BjJWMKay6pmttnsFsBMiTH8E+PnAWOwl6QagZu3axsmpf33c6+SESZ/pSCw569d2AR9fFuTzXGiqFzUFyFSziPJoTFODVKKW/fAh6WW4jTFN090A9XBJIEG0yjhuR07pyrFpnGPddPSm14g1sdANgxiv7HuQEnTfysQ1vzPRj3f4I6eSG3e6ZDdMIHPGnoDfKOtzxHD6jvp8RPzsKgJ0zp5C8+FHh+GSFlHkJtJbxrwBVmD24SCchfEzDEAl5ihqOHwJ5NV/d9eC5YLlB6SlacyBC1RTssxgaDc1l+M2uC3OZ3NutdJ+6MzoLed1VMeBAwHI5YzcBDfSnpxtrwb6KCOcc5PrhxXddt8ZcadA0smEYf3xgZqK1c6/+GEDHAHHZEO9SDMWTYnONa9j3a61MWqkVzwgpL3K55OcKeyGy7Z+RXvLRxSQGzwq33GDEpM0/mkV2T6efWNpzBMjeuQrrMhTMXksAO5Zz/Jy+kISjVIT8qQdlQn+hJYrGq3stwr0Wt0Od7sPQDcBc3AjCG57W7CWnVocYUaeMOd4T6+BjTxHyERSDOKz5xS56GLFFEt+boct+XEHncLNdpF15if/LAY445ifpjA1u/Eu2YWPUNajA8w3veCesZ2OEiafPeLTVgSR/e5G0jfubOyR3jwtGa+CzA96oR9J5V9k9qVhTfus5EQotRrLeVPxaifgsi2W4RJ9Ki3T/23ix5NW7arqNdG+LDsoHxfFMA6QBJB1E0moXYP3n1V7JASPugga8LLWuckTCOQZzVuALEu3yQ+GhcN6iXdPJ/bidS8ua6ZFZWt9Dm31ZAdTkQvpDQ4Rq7K2VzlzsERV3TTUSdGFKzXVjAY9WwSyozbX7J1rrVXI1F9yC3gpATDw15ejlpsIq2oY1UDGQYtwRqzrcPppOfyfSqlXs3EQB2vTsl4lkRI9gdyvorhrIqLqFtDkXnXI1HJrMK38Rf+JcMqnFMRqk9vNsGm3jBuM70JT4IDrYyFy28eOEmVHeXQh9KgTVFGeWmuxfomtU7wRMJ7/ZGotZOfAoua45TkqgqI/fynrWoTSBC5ZhIQzCYAi6OEnngUaBFVLZnQZXdVlpNva+r89A+tDY6Lpnyd4NSNPwmepAQosRDE0P6GTJg/CSGmWtre1BCkj7y7Ebc4KVtzIiYz+ehnZv36dQX7lRb57Gwkqb5CEPDYJXn4GPS387gg8BHFtn6CDukVlrQdJJdqceUauLqQF9N1V2pKoJWGGvn1gLMfYEVxgBj66cSp1nhrcm/BGaACh+FccVMxnmDctSuGmqAvI5ZOGy9oswVPlxJ7zeyhqiIwsFIN0KYOU+Xi9e8KeCaY/S4V3O3+D9WTpO4tWgW/tGG/ta9M3P2248vg0XS6IGP+z0qJhgdaxv4JpoRsU2LziqdGQ/oUN5Xx2ByxB0YtFljgDRHqO48gqZoidP1gwN7R0Y0ZP0V2ud9TAj9N+YkdnJaJHIi0GZDTTrxzXg2yr6FANcKPX8spTXGZTNOaQLHvzQh8WX0fVvmB4DXi0mwdUnvvNp+mCxmCYzkNlyh5YNxPkntIxW9L6exNJJyawrsg/Fv/6UmxEgdTjFPuPEfIEgVRxWl5xCKGbflRKA9FeWnVYXYom9BirnHO7sLh3+n3qpX9pQJtr2piqL/Rl3KgZsNAR4vnqQFNPuRtpJ6H/CP5xL7cOzhBTXqj7GPQx9kTNVaYW6m8X3ZykTkR4bZjTEG17DvPYOGwfvOAqGU6zOxjjSF1bnVXzLTZamqWv0UHUeJYtP3ovUrNfyJYpBWTLKi+22eApbxd6iDuTFoS0Xnu3qKDOiKeHumGyBpGUK1H6YR7SUEPykqULcxqhTb1b9vj69fYupqZGA1AM1Dk/3oNx7BPDVDSqcvXpChVpaDEyOp6Bsl9175R/7TnqXZlwd8Pqj6lafKl5L4fuo0rE5UJZCqQKXoqoBkzG45ii6m2lCX4011KDnOdqjK8+LivWUsLrWWcpLo4oPPNgz6SDRFmIjzethUj/Mb2fnSUukam1dtf8v0Dq3wU6I6MVasqld8U7xKFYF5sQ39QTUULCikZiF2y+f5f0DIvLpqCTGixg/TpeuEkfrD7xIU04H80wMcjntMcrdyy9tWui2uDaqABvfFud8a2jxC3uYsH5ZgTwhpoI2KgQTamXL4szIvyf4bd9bgY5L7WmDKhL0/6zBor5AwXo5Lqd8vLh7b//Do9uaHa2/91URQw/xDo5sdVAx7/ia29ELzB8HDlhExcJ+foxi/T2TNqWA5R44mteV9wV22bwcwSRa3VJAydyq8xp/HGzR3T/5Vvld2k9XDN/7Mi2PmgM4Z/PEDibZp12mnSdg3dugxI0+/ypUnWHivUt6HRmM0r1tK5m0WVPF2nuP78MJF7+ZDfuILtKqHu4gnXIDWwTSUVWfurrPZ0X8yqcK5QUM5oHt3LIctxS9FZRF/OaSFQN4EWwRoTKx4WV/MGCL+VPx2EWiMwBbrXu+2j1f4GLe1GtS+EXhHiixXOpdSLMJHSHDk3+Erc27w+dqT5rWNjp2pLvnU2ipmq+Iacjg4rJOMD6+LsQcZnRpM7R17aMZilKr4uFUXHz/f3RV9IH4Z5H+3YdxC4YcCYdAUluKKNarh62LhEIeXKYUNsOVQxXPpjoOcUjXBChhpmA2wBhUZqDUz1m7OhZxxSpu3vG8Zpi6ZohQKAwTfufBXe4bXkYdZ73n/ueAYDNYTgA1on9XOIaGou8QFYC0MXCcPryFbmqihtWMbl4b/AqaJmmJC2ILNaKkM1x/d/cV9rhMDsJ0wcFlWx/KjTzvfMd2l7z6tUCgB8qFlbi9vEYUdxrQhWPvaUNKwGHWWNkjRQBXH2xGotiiDpngIaZgvemm1c29ahFhcwfJasoSqOlhzv41R5q0cP7zIYrB81xsP7sflbQZtYaZ9wnt288sxyhtXxKA8peoFlM8gg3QJwTjS7okCskJTvz8SROgUG4cffQdWuM4yikYXBMQz11tWtJFrW223u++YZaUJdARGeOP0NAxUeoE3C6wXa0n0f8pmEdP6uPXaS7/lJDvhlIPWMsMJuNX56E93B/J4AjxbXp3jOAAlTreCK4QuWcCL1lDNluA5RLfpGNk8IY9OYMyRWLrltz82R+iL6KvfUuReCdtaHd54BF0O5H/O30wFdFpPzmDG1ygD4WZJ2Ets2YrlyCKn1hQV1l9PhQjxB8HU3ghYVEEuhuVpUNsNmkcSsGbZrNNgyR4cDsKS5UMYf93wAvvFz5w1ipoE2Lz3Oj3xgEnyeh+uEkhayAsk8emaY+4Bu8gLJM0w7VGOgARYXSGP7guUEddsSmFlMDIw11iv0YpmQPzh0dpRmJ5/1YVVdGlqHOIyKrMta6ZpOTvLygFsK2nTFEA2JHQA9879r4CAWodEfmptJQknYoFV8slZ1BpPumPrCeFyROqmwGdgoB5hyDI/Se3xP/ThWQOb49Hg4nz52x8Ep7mxKWrjhmGmMuPzWF2aBMEOZi8YvZnymqyhseA5HDL8utJWSV4ADgNM6JyLlTvHfKDrbNPKb4Ow2CWbyKFLxkdRrmFkJb9OSCiUZkATq+bcUVAu0QjwbJyzvoBQQQ0wVhxiwRwmHxnjaoFDQ41lu6c1buW+OuzM85NQZD1L5kHmhz7Y8UurV6L5QmDRoI7SQBWCCq7lSok8NEjdn16RMmb+PnIvKNr3YAUQg3fBD9cVTVFjLSmCyNX592h04DeEzPbAUDECl4T5U407PPkV+ebB+rS36kdBUmym1p9evJLGcgGV7eRegXi6O/jrDNAJxj0caIZhMnKXcDkwEZxP2wP+8OcmaEvY1CCkkRvM4BTizo94+1auCVH2lhwsSKxrVY/Ws9an/e0CUmhomq5Vih1ZDSmjzng5ORe2O0Hy0BuCtqc9FXCNST17aYskqKDWfRzB4AMpIrNhPMYA3TXBUV6HQqUE405gWw31dMl1mjgJrdgqE4AOfyh34beha7DmdT2kpyUPckTqnY/3eBjy0RO8SknHILKCMgytxC/WhEL6SuFXlI9FgbM7aJqrU+Xc0Jt99vROs98XI2SyTWBaIh8R9CugkhlzT/H8ElXjQfNwtiX9uSU+glYEomv8LObMXdY45tEMhB0ewl2Ca05zeff9cQ5fvTMQOWEtoUEwVQT+Ilf0lxrTl9QQ6eft5IbkojZ4NwyA1xT/kUaz/FP3a1NoFH5bTkMgwj0n3soMUiKjI7zH4MSY/2icvOjq5EwIwWXQmWw5LxaBgrBUiGiCeVswMFndMRSeH9vdMvvLjfkgneCb4q20MqoCAS9C6iXbryVh8DfTaL82WKf7ReX5WMk7digzdXtbYfvc8t/BeJ86PuRHmIF0XdQL4deUK0gbyEzJfBO8vblyYKvW9XCb9WznIMYLECnxcbvST7kAiG3drKxxoDX+JAaQRY/5f5Bzy2EELfnhz4boyZCaELiKkBParXv5nE8L3qhlL/YkwvJM/Nvot1ng6fsLmafUFnVl1qvYIgRDtKOozZaTq/BaB9eNawh4BS31i/uN4lFGOH4cYroJNKPqmU9CaxvIbJgN2HmWKsAoDjn3pJoZxQcoN5pXGvNJLWs/3zxOjUNwVtV0LBGIdon8QKH0KwcOQ/KFPrAsRndbfCeT32Ii9kTiIivFohNLB4S7Qsq0N3wfRIhUAU23koHqSxl8qAujQ07FDlVQevDxIoQhv+L9V63E8RbM4VstnG3Poke+6Ik2QFAiKe6yaFUJJW/YMocDMqXw14zGb2UPC2nNmJKRh9ukF003fUObbusro6qz5ACXXacsxXXnxXJkGJBpYylGUDjWcZpPK67xgpXgCLs72IOH5hZ6LUCa09L0Vb5gTdDhSO4nmfofUJZBpXxVBK6Q4POoH6rrC75vBQ4ZsK9dVGgfSp/2oIuAqjIfx6zIpTv0yu1OJIQJM5xgX3qpMBJOjnaQtn1AoECMy2W54TEY7eau04KrikTGaJXGLYxhu+96Z/C2W95EnoLxuU2TS0jmULlCnrkiD3yIJS3Bk7WZJaLO5MABZaWqkFdvqoncuvlkx7Kq9LrTKDr0peXZmeQIeINe2jc14h9wWoLhJLQ8sh6dPiyT05OPhib2kXPhBKXvEJZ/GjY9zArFlmE3U4F9OyFT1L7MKyDJk5FSj1X/WpHlN5nzwi3Rj/RdeTZvLWDzeWRjkqxESrTNxzx5V1X9k7dvdaFUbu2jokx7VX6/9LFJO4XX0yojNBZ35WhfRw57hiYsGsRepPVK6hVcXVZ9B2fojOofXEBP008U38JoKAEfBVNPN62+hRotbo9ExxFFAyxcyjYBRIX9XwnFTQqiyfVgWea/Tm22ezaQt5Pvykwh+ZgyMtKEU2396nsLYrjDGAbk/39gYsKcUp4j0BjNlRlq7xXp9vF9lsnx1uYRdiqa7ELdx+SpQIMZJhv+ylZiq7Nh9I1APfyWx1VrmG71eD98nTqHsJNKMme35x94iCJCiRC62+CEk3YY0SkDqCcoovgYPGaEZmsKwjIsNetpJvhW0NoxeXBA6fUZN/L6Z5kYXPNPZKih5zHU46WBuii7QBsD+lCi1EUirZepfONbrUu1YefsIZ0rdushA2DZj3IOBAW8fNECiKVYvMVZXbsayF3YLRPDBT/Y7QLU31I+mLbUqRGQfrmuD8DkIDwZJGpiWBU3SvbATJPM+fWFYINpgwc59rX3FcOrrcQPkWYFox8sDHOdPcKBrXzHxuSFjW0GCM/dINA8tlgTVMmdJIaGl1Lv+Bc9I+6+vaCaEl0v+ukhQndi37diwDhuK0FSZxGOlpb+alNwgzuHdBtQytd30xhKF+qK/xiNZXhjqk8gspCuR3e1X2ZA7fvAlHgn2yAf7nKP+tOMACpLrNFnz9r3KUlCxPQom/PwIh9TOmw9cYHs1Sqqv6cjyaj2e3Ym5k52RbdStsnwr4vTA9/hFFRnpKKwLG/9ILYTtjw3YWqP1x7MRA+gV3VGdK24RZZQLVZleFPU+Wb/Ic0UQnC+0WYWj0P++CACjIalubb0abE3WQfBxk8ejUAbz2lgiQbihhD0JyPpEzOWiObmSvSBCEI3Gsaaf0ATuq2qeMlclPM+m5g5s7ocNggxiVj6/xAEMkfc+IHZkZPRE7YU/npEU61y3bSJckSSZskXyFXSH9sVCndScQWiKo2SH6oAEYe8XoVSmSGKdALS0bW27n0BSBaRzh4RHBlDBHrjL5KSl8LSzlilxOK7hTFxv+S1nfvRcuv49+Onr3BssfbC7BSAup4d/eYebJiv7NUQ2CU0lyBRHtNnoK8PaVjvIWZSl0XK1Jwjb9moznKNYzUVu9dAvKFBowpOKhU5RU/nOzQgEJNOjufAfknZE82JNdhyrSHjH/EWVciB/elZKRr+vwOt9rQQUyLcjXLZj5vzRhFt5ouidr52moAslXi0HndpwMD3PEHGoviFiaU3iZyJlIQHrGlX5q9mDsBjN3oE28vLNQPl6uED/fcErzNgV8dN/k1ho+4YrFZho0BXOROv86bX5hR8dpn9cpbWDr06zlpy++95tNQi0E1dnpXt6G0fAPzaxOxZCcFasCWdtprleJ+eeUD3NlRP/lWFoIsoA5HhxFywL6p8F1aAHTjVeWqYt83C/K6Hof+LzHZizE61JpiON1nY7NOj8bToY7sGuTLRv5rXsnGQ+eTnp+mMfhAe484UogabMAGLLJP+Z1aC/b79awCHkD26J/jga0KBVA1Ot5WyNTgt7uW4BDL0iBxymCuO6n5it4CUn4fAbWiucgtnWc9ptOjyIObbFqOw2GKy7uXUzgmMn1m+2p409Fa4ZiNEEfkqUDzhBwmsI4TJqoQ1MYnJJtue606rwbbXFZKzre7I2PqtVN98h94HYz4HPusJTlLwjs7KXcsCH3aErFfhZ0GbNaIYJSnWviNpP8qlpVlikyqpgbK7jl2Y7zDYhENPCqgDbjIEv+opfF7K7gIyBUl+5TPKKdQXFLE7WF6CMcsMEWWo1QCapHlOmJX8U+QQmc84B4M7Hp7c/EBgRh8ifRQpZpvew6jl98mmiS8LGkldpMRYZ8r427+aZuqvP6gWmLRgBfmhNEszDBlKfcw+UBGr5R2JCDH75SaI+XX9tb66rZCrhG11D/FjpihmPk/nY8mcfPgkK0qVeGOZ62zwUKGqy6mO5bPcOIp/OA+Z3m3BEIP7BB1/gs/7eyEHRJJNZTS/kjmYNQFgwSD7bPLZZApOKQpOWSD2TxvkKj7qPCspAavMvdCM2lQSxQJ4Hr+KvqBrTyEemGnr8+besiGJmrrM1iFnPYHPpBf5Kaalubc6MngWLrsE/4A2YUTXAWPWQqeuQ0QvZel7/keFkka2JtGm0DWFnuxgAXvGMlAWaqS2DOXHjgUR9UmA3Y1cMCGrSLjJrd9GEbZ5y9cHiqNahCY9SkhYEQ23QSlFsNRSYvFyjhaj/DGspZhlpExDKPQfOi2WVNiyyYMPIPDsJVzzqFZURlx2ZOB+F5fHLSMr9RKEzQ4HavIJfHTHo2+GtMbV3dB9op+g/9XvcssHij0tdTRyXN5hisFbtm81AHRQZQgJYp9ifDwTvtZ0Cpm8j/i+H8aHKyz8qbQNfLNaAq59Iq6OQbiT/Qz+NJQaqT3IdzXBpzTSV1o7QguSeye7dvt3sxaunFTC9dEtjCnNp5ZmIiqja2Qx/Y9l1nYKA778gK9bujv5FdN2AmUkIMoZhChqjDI+vX8HwI8QeGSa2iUjtnV8YLcL7pWuC5zO2tvDbvE2eqVL49vOjxEsbFFRCKdgpVBmaA7toA9tKZfHrfX/6vroLf4taVwuM7FsuMY+rFxPelGvqTROsrGM9eT/ocE9JoR7xnDaopunygMCjfSq83ASbw8aXswK3MHcpUTjtoa9S4R5ZBL+ow/kk5W2jpBzyzBU+CBF8Wz2q27RHIyYHPPdemtYaDdYFm56RKJc8Fb9xiLRELYTH8S8ga4YBr/TltJxu4YOHOobcraoOs7a1SbJwK7a3m3CultCn69o6Wsm7nmT/wF+xUxrQO8DLcAPTqmd8ceidhcGdXW8QxCZMYBPzgo7/r2LYuj5NhNaXf+2CyeF8HBV9vZmTmbH2kGTk28iK5upjgH7OIGfPZTgMy/8TInwbeEzKhpofXRvF3VX8y6teNT6pd6m3Fe2PfbGvxR02xIlynMIgEEWOBSDiCC/Bsg7QdSA/4OYKrXceoacQqCdLzI6RES0H6DCP5+1Po4xIJEgMfc5kJgVHgcgLTlmnA3tebRi4UX+QQlS5Xm0AhNKGh14E0569Y+YuS7a8Br0JvH8KH6cT+mKJFJt95ZgavRSwEIOc3wYOpzD7WoWg+v8+bz1UPmXgfbiwYhRxJqUEjCcarBQc27ZsqaOGNAl87mJ9MrcDygrAQlC8gbSIbzEe3IBjrLpghCQxCbL+MnzLEg+75QBcMjLsvUWRdoyqWyokrxLV2dL8KR66tN1G1QAedMB3Fn6trnQh6x7VAaLAKVFK3aUFmpI+MhX1URA8TMG9aokyYfIUfW3XT23eQhF+pisnGfF59dSCbsmzJRSMmrLD1etqjGzh1oBw4xm4cT0NuuPWjWJ85gWEutIILN9BMWhYVn2SaV8E7wK9xHPpN9oBqvgI1svBIijok/FZR+/N8L7N2bPZPBH5/3dUFp2aJU4rgeFS6PVvK7ff3dsEivRZXms4nEmrXLJHuc0tFUTXIlhgtxYtsc6hp3dbNQV+OTx3UMb05DLZqQhISknm225hs6GbBw/TEqeUq8v6fsTxP/Gs0tfPHlEjvq0x8ifipRgrMBo4x0k3xjSz3qnh4/JmawT37o4dNv6ppOV8JQQVe/bWH8yUcANCIKKvf95syNg3budabz5fliNBRv/UEX3OBkLX2OeBrMnxRvKjQBwCafDPVo8F9CQDjDPaDy2jgmZtjlLszBVEsG/cgy655RKjJX3zl1HwlgPEdF5OoOhCFoIoBTmY1Fv9orWQDywyn1vBoEox+f1Yz+vyxwE7TBiDBjIUnEHRo4WiClMVJVf6dEO3quRQ2wp1j5fxWR/mJdiLis+//S4n+2LYhuz8/uufAjfl70Qo+NND6o9S/tvt9bwzhg09Zgv5jNpjgwZhGw8VdvUWLwWhYkgp0OsVeTR4Yk/rVDBxKi0nyoCCvJ17zC5lJYFF8ge9esKeoC/GmpvedBM9q2cGqme8K3ismnA0oA+VVXLOpMjhMxSPaHDsW7+5D7BrMv7J+FXXGKIP5Ea64WhQzil3rqavPB9Cx1MDDfGXFGFfq2WrJFTUrYLQATkjLf+SU8uewzIcmyiZQ26Ya4z3yMZz5Sx5lpnAbIY04a1pYQZc3kfNZ7KkRRSpZmyYccFVo+6hYjoletKTyJG5KFyvlZImO4s7+2WPHJD+JbS8fIVipfW8LSKAVVC+X/7rAMMSDMLGoF+wOtmsWJcNiSUggA7Jkx2eTh0HFRmJOTcAAgENdvdp8K5gHy+t6kNFMofvLYgHr9muk3kV7DMuo9d/PGAyU5tvDLnG3dg0iql6dJDQ2hk7Y5fUg84W+TFoMfFW54UqapKupEzzS1TItapcYdnswYxKOUf0qVkPIT3nWfIUCCcfwwZGmjOxnV0y7w5y7dIwFWsKeOkgjT7dxt1Chwcox38+MeOqG3YLxbnOf8tkPbYk+EpeFzCHK2/elrV1r4oV35kcWyjoCPsCrZID1QVRWvGA7zNhrYkGWBE1dOXAS6IxcuJ8f7MPhDMGI7Sk2QdMvLNsOxtO92liG6448c768UyzfaexTb96C4qKi2piL7of6shQKf/dnrMl7Is6IojwJhXVgWgsR9THAQOueyp2YTp7/hR1UCIRh2lZeCRXoi+3N10Snq+66v/TAKUdVSBQPPeH/8dNqdZKKKTzbO/Bd8FGF1RY4HSveUm6JSbGF3JTsDSr1FwAf1FjFrGH7xSoVrXwTnDTzQo+7WpCrLlxNq1oq38pCHGPk8qZX9VjjsZ4zayvPXjpwLPGqrZ4goGy1SkjBmpg1kPHrYYI9KBwMUnfC5GebFeE/hzFlcnSjQRGu27OpbOo1EVMwCL74hV4N/vQttIea0j/zFbsJhBfLROSZQmp4PdK7YImok7Q0pNZneOYTA7BBdLNWpPtExvgdN9snE8/Nt9hyUoUCAZJgogFbLY5m9yctf8Flx3ietFXITelTLGgJUZOYMvn6fParSW1QBcS3AZH9kLaipk5UbmpMBW639H8SwQyDs9MEs7ZHGDaPj3x5mAnS1VSLNhHSNbhd32WiMTVOTzRvpeUsg5BxUV1z/7xR734F4TOpjUalGbhc4Upf3E5iW5HrSK6k7dfi6mr/1Np0THdIpNQsdDkQkr62dWX4W5uGvjAASTI+g3AoOtsEu8b7LrVTVtL5tsvJsNGrB3xeQvgLsUYwMgTz+rKgagQiTlcNqoK/2DkfRwd5kVoYZ1S09wt21x9qI1OEcrxemtAwm8hy/VH2d3LaihR2Vk2qIgOwYFcbx4+6Yi4wBpIc5oQ0xz4NDYT6GFDX4wb958eBtAnJm1wKgBzIMzYCgm66tRg+BFz6Ah5HTKZ1XlMW5Y0TUh83FgB4f6htyE6UbDzcf8RUy2Z2r0E94xnDf28YOsOQuzgpJ4fXfXzBMAqCo1L2pCIYLappixdtNKjVMrv77LqCrjcS3TjDmfrsa8+JHZwj4VydDcVADOaFj19MXk7Xu3527kpZikUt2QSab3HAz2420+SYYFqdt5d4ezVLxZsc0ZvOesQnntdthruV0NY/7dX5z6eguBDnf6fV76V4obRDMqQJvJEzmNh8Odxr7nFXpJSsbqiQtux0gJ5qifaLkDQZh2yrithdV1q/Ls0/BARTO1rl0VP8tAckXOlZ56ZVl4xlBpHvJlv0zDeXiYF9sSI2MrW+JEHTevOVYEV4GP0yPQBvJtjMgiEmM3MNzaan2b+7tB8HEoqaGjsR3XBJj4RW6L5Ur0sx/4st9Hd+azSxxV3hQ5oHHH3LIwzsMFO91lJFaKym41/b8RMGl7iHSuJ1P/Vqlb31u7qdSnT6JO3g26AeZHFmH/j37c12/OKJPi5ElgynUOBvvjlfxIsjeIHMpgPdJfDF1JHwoUKDRrvVR1Mw9b/e+kdqWIu1hnNcI19ao3KgywAxUaJ1Y/aP15Ct+ij1kh5U9SjEP/WUv7C0/Q0CCWEE1KIxgPYkIVcSeFAD+D0Iwl4EcuRUyvZl1Wl1u6m/EqKewyVtiOB28SD66Ud0qJCPZFF8xdj6fh+9nv1PUrX558BZe3lMMF/gQd7+d9h2sj33K5/cCXPdbpK7s+nOqry/2Ko3XZyfGJgrAJgTaBliVysMC/peENCKhhE+olUgJXhN+NunsYjr+KrBI3GDA8Q4S/weMKFrJhwlh7mfrUJ1UHxPnm2bMgtsJlPo269etSOMG2W+LYAcmQV615CTBOMyuTJx2oJlKFhOMakwzc8oIkMPYBU4Cv6/EtYxgRf1MMnLE5JmqOekdFo6L9EXOrcGHSeY5UpTZzLE9LNcthp56WCfhsVEru+t2e4z7Wc6r8YvYX+rGK9UEgCeSiHcJfeV00/891KmJ3Ti9hRBZ7jfPqejufSJCMq6E4zI43b2MDz2DnyPvlyqYL4hJ1U5hUBaggMnwIwPvRBSVPmAmMCKFVNfM8Bq1nrJZjfNpflPyScU3OxMa+LEVd9npRhBT9AmN53WprzidsQozZnBcXDtiTRq4he7JYjsGWSlrKgIhGuupW6ceJOvRpbm3e5T4RrmlGuLVCCdPY7hi91Dd/TUODSn94yl52TWAbd9KIuG7cL0/Bvf6PZ/JVxJ+I2dmEXPMc9Q9uiwxCCT2ulVBbJcTkdAHX6mA2YP0TtOcCRgTiAXqhcdYtpQDgsBWbV3XRm0vjcuqXHAHR+lgGfClLl4Nl3cQ+ynq5cZ6dNs9mpl7hw09ELxb/2+wYuDXu+mUMuJt27z4X6eSxTtpkaXNXeQB5gnsnrG80XqIFkCMH7xY372wPwwLWgGDoTo54xvZS2/+O1XGLral4Sc9joKsAuJApFUDQNQABhzyg1VNn+1tcgyMB/BFfCV8Oynrl4XHDgsOYIMJpov7ZZ3+9afN82do9BQ2587cPbb9l0H92ja65gxGRxQhulYl3Dku/HDbYnRocoFqSvNZ3R3mQT2xYS65eoGt3rX3UQ0wc7aMGRhnW9rvrPfWr+mxdysYB/lSkBw3DhzVjXNUzuhop8qa6IuM/NQV5WDx4rvJrcO2lOiRG2kyjS3rPceOv3Ok0+xKVV8XGkzJwtJ5WXtfHD5jLKmnjJR6EzICNbqknX3ckIqVVe9w9qafbN/4Luq6eyGrJlgW+zHue7Hmf45hm9F1kYM5H95XAtqUW2OC4t8CIH3Ri6CEMC+82dToZRjUoxUqH2HIp0ngjf9eZGGcV3NnOKVpQNcNClKSEs3xAQAbWTNAGFdgySX4L0CLQd4faGCkDFdgctJPQc+M0d1AixzLGJRsqNYttFh04rotieiz7JjHYalc5ezz2Zu/SbGEPcBFTnj4KD3cjvRFvqI9wv/Fv1oHGP2qblytKK5NoSPLTTMC76MhZzHGpToYhss/pSAiwipjgFiQogrukHRzVFnn6Qqaf2OLvmT8OlttOccqzX7hctNZKHjBI3MxVQZLB7DwBluspiGsGkdOBT8qEPfZR2mhg83GhX+s9U+DuJtnHpcbvNzisR4oaKnkapXFSsrlf/TzB9/8RIZvRRt019/QbBQTAA0THKY8TMMORy5b0ESchGrIbKy7Jk1/VcQvQ4Xqy0oXvvqslhY4RSAygj/iU1cHijnIMOR5xHL8s1W/+/Tolf4O+FNRQDrk/YQhfE63xUZKi5D9xBUPd9nxN8sFL8EpSFpgUbHdrONJ3ln+YqwBaXX2ESA9O3qDZITOOH9iSQs0+C2vHhbf1QhwL1cyVUSQZZwHesEG7l1OnEcvw6fv7uudM+0eCS3lwINDJBOMYwpRDym9y/zUMf7vmj/4vjnZFC44CaFli5p0uDk6i6vQSuHFceE2dY+0yKDYP3/9JsfelwSTyVLtGhsfPM6bue0stxpi89VS7fAUbZGFihrK31K5b9GKocb2GVEMJCiPuHdq2IXOu5auX+g9/qMiBztxwbEmjuRnekemxCRJme3TPMB0EAr03T7pK8iNo/yYheVNBb8eCpstcDIVzddRchBeYC0GymM/4/Yu98EeQ7ePYtybxury/ITqzgs1viQ33m+gj37Kazm9XnxzXnxxqfxLwCXO1XMwYxTa3kN31p2FWHG/4LpYUYBXS8xIR5ykIt6PJdiw4/LpwSjh7BD2aolDBvAaLzTFPks903nt8ProlVZ5AIxKzuWTGmp6JT/zqnPVibn8ki8049+lT59A/F2UrK0SJfPHw+gra/mzoFKPsd03U7uh7f05NxXg8Te4Fp8eoyvzd9VhKV2XJSs7wYGIawn1tyrl3DKkgMCKUZ0qePai2QoHr/3Hriw9ab+p0Z+P5u3ohCW7M569S4v2SqWHUVLMOFQKhGoRNkxIkc2jNWzuOFUivsNLCLg9GKPBZf0wJBUE7CjMxGzAEDEX+WI4QkTdqhUGgipr1Souffw5pMO/5uyHyG9D06bG0ByQnKs9lpRXVZ4eoim/aRgQKt3VXE5qkYQ+tRmFwhuuz0Do3YzKwMLHpT8yHgzRKnyuW1jbR+iHfHE8II9c9G3tihcfvDJaasAkNxgC668PwOLUa0vwOEwkWE/NRCwmQFPQJRJrFZ4H5rD8OQdEfB5A8tX1o9BE4XXFQZA+rKEWiofWW7Lfpq/tqBU6wrRdcuRvNJ84j44o6I/CGrOeoXKogJMHxNqdpFI2HdjEIEfqg8lRUZAfnfe4Imgx9C9uZvIlmG2A/HaKH6OAYb1XHdtJdQR2OdnzTa+GhSBVmSvm7R+rshhfrDyRZuU93JL8tMEN5D2UEzPnXlf19E/KcYaWExUc7KBmdu6w9tS7LbHpSDihmvqML48UYF6U1YyWvbg5jMkgtC8Jhkhn/7WnD+Tkk8S5xfyUQPqimHWfadjP3A3B+QawdPC9ynh0vAbG+cby1chQMLvGWzPkU+hdzdot0UE2iJqWoLVs8EXgXZ1nY0eIG61fNzO1D6w97JDr+mSghM6X4VJCkNdLEMBcvIZ/m5tm0KdPxI69WehCgse3h+vZgdVgb1OIuVclkUYSJkS39AUIcTt31UFDDbfBPuKlELWFAB7M1oEmj9+r+1NjA/wt6ZXDM9zj2LqmYXkSIOYEdTURs/316bN9XpIr4HLfXBaeGm+M7Y4wiXowKG/ZE4uisEAsUlWOfb8zOjuFVIXbjy/bSRbiM99n3Gddlz9umZqXo/STnwkPWTfjYUXyt5jY9YQxF4k6L5XCB1bYUT5DteRi6Qkv2ziSfu7y2LWFpw39xcGltvlri3qZThbJL4LBvragXc0pV3FsJj1gi0ipZ3GCFE0FVKGRA0rYIHR+lu1/QbvibFJLg6NlSQPodI2QFiWU8lY2dDayTegBY5zpCQTfALwBvvGXZ66SRfwHtv3wxm6vAm33yA5AsvyLswmRLdCYPvh3PlCb3qVK119DsVrnwjEbR0+jau68UVPeZQ3b6wqGBX0AA7GoS6o2bzNBevx9K0MZlIXoEulCZNLI3kVjat7JDn7EjPyAq4DaWMkaUk0j4N3eZPPLHi8pDd6R2BCmOc7zbq7kiiVJWPhrPF1y3A7rtuLO0XF262u1wAujFV7nKxneZ1sl77BrX2YD4k5c/rQSghgMFVmYKbMPed5KkngESEgfL+yBLFzHrzA9cyWi6DLOeyIO7G4MO6qu7fZQzYQMlmZMNGQMnIfP03gsmkY0RNkOZv35CrFjU770D903GP6yTJNX9HzooT23gloBRcdZhnED+nliPQHWAApCj7mWQXtsf6a/agtfHJVs97ypB+Pt+r54DUvyg0XYx3BRs1FkfoznZrCOOIJ+n8SMqteqTPif3+ICim4yMlYz9W/COWVSvpZqSLj9bH55uUIVK6fFXTzlr5gsMd+jyS0iWxKA844ibgm9MVHp/MwFG/0hddsQpAXtgyTUx4zlVz8KCXMS6T+Js3tJxEHNqVyKJSHa093IEZTzD4p6vofxYI/2ZvXnQh5M3QJN596yiOa4VEhJehvhv6ammKUNN7m3IO2R5WwDuBg8IIOtCC7JiyTNtX5h8YUXykhkxCa9IsWKLWPaKa90hAWRJGH2UgCnlbVvoLNAxHJkEZGLxZ9p4SXAcdIld6dHB2AXA/OMIGxfmkUHX0gf6mCqHZs8pet7xn9zLIXBJWEx2BnqEWDelkdrZH/LDNJaIPFe2mL+sK3ZnUzQwGvT3HdLteQDmrlrmLJewOWLK9tsdEFT7w6HwNKkxT2Dz/pcj9tByO5BhCHm7MztseEwpB/nM4rXXYOvGEOygtHwM2GteIRlhdZp3WrexpKFt0S8Yl8uoDGBVEt1Hd7ihC9zApIr9xsf3GqYGktOoBolcV76urIGah36GvgcTWxo5kI5D9jeHrHIfqNrhfBEAucf6DlHoGvr9eaucPJf5Fe6PnlgkguMV2aZBtpgrmjrN4ae4NwVfwjedYuH+oKlnhvq4fS5ohFPhg6+pOiu9POwtrJ3ZB79RkbCBZQPLsIHnp0ZvvMQdA01+hTMNL62PCqYydwRvEHchyfyWo34FOLtN8NQgbCytvrFnGvzuRzjVneNm0FPMrqGQt0mllJzmUxW9a7okF6NrL8i2SyckwLJ+hJ3WcES7bX+B0mWWjsy5ZTKDCtLsfo09L7rOE45mzbEStwfaUzxrSpH9SXI5is4DoGh59HT5DNKWD2wd5eRBq1itxyEjBQQVjYlFGoPd9GUxayR+GLyZjZbZwk9dt/0Mc5W0acUWjw3hkTETU39YD69TXC59Ji66Xm+dI4ndT0MM7WsMCpmMXhPmqKaV+XigEvkoepGRGS/QTXRLCkhJnxo0YHxow1Y8lkmtjUZ0eboAomOz/8VIxVy9G7rqW/wSMmVn7Vd3ihAHAT33/D6P5wJvsNbc3oTJwZntILghs1Mc8gvG+al/Bs3ZVIaEoZJx+O4HWN/h3C3Hzs2cxZcm3sve0xLgfFArCoruRRmVtwx5ApFlfu7DN8YVsuiASi5giAPDl0fN+M9XcA+zrYf0SSS/vkEj8HjGYfssxG7UELdpu/KG+BH+sEN2qysSeg/kYmFQuXYtxeZp+tYETZjJt4jwLaL/rrYYapBtAjhrgsFSCA78JxvbaIJQJhtqRNM9TZzbB4NihKnHHxSf3aJkl7QbvUjpJiTLi1FIrCoEHzlDuKkZ7ilocnWWp2/TYvqYn8xOBRL4zOdUR+otMwEA0ivfm90KbpmIGnwwHqHGIgivRnQkPl1b5eTJyyNQmfCTXJvGjeCqipBUCAUOfp150BEmYl8HdHdebKRaMDEG8Fw6Or7Pex2WopBH/Xiee7QOJ7/zjfkIE+nHX8L9vkW7o/2rfCA35uGEFKQ807qOBxsC+a9KvkL2Eq6v/UHoZVUdRx5nYncAmU4eqtnO1p1fHXUDdCnihNPt7XyHRZazMyacDybO0MHh+il+NUNFwLWnrr1bw7/NiEpMveXLbrvx2l4V4ISacbWvg7Gevv9nEV+/jGH6IZWzWa+qAIS18Jif+UKHt4qIktTFR9ZuxCS4K9DV546h66aMquQarFzzZp4OOb6myWTMaw7TPgtJ+ck7jVTD+qbI4BGVbYLxlKicBiZ+pPvy/RHZssITUMIe0JyjSgL6/3R0KEUxb7zUWlfw3EYbPK7OMbtaHdtKt7ShgQtaQKsIQ+yBWUfRbP3Eh43kPG2MWX26+iEzOCo8uTx/0jJV15wQNnfZR3zAZPpsFIaeT7tV8m7hotOqOHe0eIP0UVtUbg81y3aqIxyln1QkCsS904r0mbOdULSmypBLYP5wYzuw5nTKnHhv5dA2Zri1gSsWss0ZVjXxQKzOK2Knk/ppx/fjqkkqSBpcQett33mRCZ96X6YnTQcvZSdU0p0ampIyP4NO8BtxTzGkNCt8BA/b5ZdYu7HC3g6NplDTI9QuFHGD8MdiIC4I9/Am2DoymRFgaPhqMpkS1tReadIvnvFIPJ7b/LILDzUF8j+ElFMTWkRHHZD9GLl75Fnct+4TE/aplsohN3akBQFJ1v3wvGrdMctQ3t6zWPr9y0d9LAIXlH35lW29nTKm077P/qYNH98+CyW2zGvSVyZ8EO5MsBM6UoP37dw8X69M4q9USso6zdHq4uY5NVaeU5sqirEqpBvY64btB6nJYKrM1r+LzWz1hgtJhv3c8gXdB6ENtTbUxjbfNk7oD5Id9aPwm0nsTAO/MCqlHus4hMoqP71HiTVnJBYD9anUGEN9iISSn6chWVEpgMKBe0O+0PZLYOJ4rz2ahMCL9LnL2l6vFSWu8lFFa9GGf6zPdaGsZfliMymeZrhhqsN2Vmdfy/fYUAzfD2a7g1bVMfS6HjhQmIHG0LD9BOI4V4Ag+827gB2KLER5tusV78B7TMM1OurXy1XurmAq1OpM8yKWlWsnWguNG9LjGL3h2g2JTfLvR+R30pD1ws5cwZidaaB2a+gFaASPd0TnLPM/fdan85gdDovfvwub7JqNGIx19jXrlFR97css9eN4AzE1vQxaNop2AlavEvcj9ycZ6XurBTSiwBljDF5yjpBCl4kmQctXcRkbqkw47xGxB/eAUk7PR1k/I9TnqttBLcejjMWbi4RhKVTW6H3FoxUPxoQhGBzHUro/Jr5cxng/ub872lUfppC33ojalxiXzDTmx/Sc16D+j/SSUG1yr1VepYohOhPJbi2ilsAPWgUIAVptyGWOreXSbK4xiTfPc1PvcN2FnoEA8rrFSlnznVxIgYrMu25AVCW+6F2Q/T6g/t4SuuhaREAXjiLl9JxuBTc787m6ewOfE2WjfX9uxWO8RVPsEPD5EnsYDsCM8jlnTdIQN2udkqeI0OqjMQlt6+xxhOjvM9Nh5JUJD7jiUeSgS3+6C0fW27rJj6LdwBHUYCBhMcZJ44GisdthkRZRSdt5D1YVRIPzWtFuU9OLD9pZc6HMjZ+Fg3Wew00f0WF0g6feYdb2iBXJVWMrw11pX3d9A8kumY65mt8IrM/g6ksn74ffQh7IKpGiN8jCQ0X2sVOc4DwaaEAkrMJiUV5JD/yfqhcdyAGq0qRh0XMgEKc0CZYTOAthhIqQC57WjbfBsrZ0wFJ2rdyXt08jW0w6R0PZ1vGJZMtxmd/iXKQcTmvFw3Oa/jUVDvTGuKTOFe8TW9o63nv3trdhutFVTtiM63z3JJKpAgnXeskBWKV66PYgiW4FHZTuDsUio9WKynNO2uXkZjDKzJqpGTIbUx/Ke2VYtb/oPFvdEyYceNmqFjQNBx9WRt5TJRHd4QUV5IZBEeIwOE5PJKvBcK7tWz+Ylhh/k5Dr182pEeVmEMWsxOzS79VYEObmHve8CnpV9x9avGFRUERWigp7EpeLdCQTfhUApHd4WxSkMCuZHjp9w1NturN3az8R4r/G61ZyJiPk5DHwryTVdcoAMx3vnRKOIfvpfj4YrKpOatZYwtDbH+//IW/wYX0PckugR80KD2nYIegYu/D3dGcmsFh8Vdghy9eU/h09/ERxPBU7cV3OXKXxo8oicDuBi0stM3zUbgQPFV9HiTOjWkVQrn81Pq0kggh6pRZdAxkHqrGVy+CmIVH7OY77l3ntuJIOJs8WnDgzUGcgV91nS4e3F/jgNDsz+m03ljxMDSEi5e/kK1RN/AHUTXMkH69kEbuJdJizqltmkFeaatXyLq9uEQg2HXGv+x0i/zrMTSUnQt25788YxjIiJPKzkslJYgeEKXXs7aLGBdNfc7ZoxkBvYOH9aM6s6bnGja4DDlrdsTuwZpYcftM4Ur2RI3Xo7Ox3KX8QE/LqDPXpuuYsJkZgMms8FHAQBku1stQoKBcefR1lpotFmv1HkMxj6sJwetE9X8UHJygDSBdIk847KULzDTROIs530eSQxus3US2FeRuAqmUUmAcTRSXqtwd5XmYO9nPyQc00MYV1Di/P3X6tS53wCuBn6kJU/mHythl6G28OWmJWcDv8Xwk6Yktnz75bCNNuJY7bSa0vn2KrUaXROZiUia6vg6kph0xk4yLOmOf8Eb574WPwlAR9z/OhcS+dk3N+td6W4AF8B7Rb3eFJRVNx18GmdMzid9ijFJfPyaYAPbVEFLxDudZ5HagM/NzXNZi+jgYJRYV9JClZ1Z0xVq35kVIFYP1+jOmRPS1xPPtiQF2x6SOO1jHhZV3B+9QM1apahjgkhP+wTagVcfpvmlu4fhXlQHJiADVtPROj+ClyInfRm81d77UW4WxO4wf9XoDWtMZBykXvyp08sOl9cukcyNIJanMfZb78nzdARNSE+Tq8LOrpUReoRhEV+kVw6voANSU4wJ+0f/yxADi46xUFrguits2JjAT94WR0g9fYGddZ94p6kyrI5PEOfx/HKX8uVv+2IfHlyFtwAJwWcck34BfEPvSyaQvqnlatyNhtVLuFhJqiGCjf6FwXjdh9p86HUasI4ublp2bUCu+TJD4Cru2SsTVMHfdBkdIZcmYkWfeYM2lMaV0zHtLoqKNfVLv6nIqz7XPQBiAKlvPfoXWGNDtLAEdvI8gf7fA4rN1IW39wC67oZioukcc/x6t7+fP2RxApXum1e0+yzPvMf03T9L8iEbC/3DehSZVvB9iKjXbSjpoA0TGGbHmSd0q5ZHLZsfPRIi9ux3cAJdPdwXA6OU0H+nkOxs7dfAT0nfEE8PF4wezekRCLtLuEb/ILdWnKxTMDCtzClqfk4not2cuTGICThuJJ2qVtPvllY0HL2Dt+gyXeRzENrpAK8kh+uxZomDsea8Q34bOdbXltQ7S0wYN0lSF5T3BO9milMixHIKTrQYEgyBBHYfdWfAdEbcQbui9RpgTyr0Ava63LWRdC7/zYBM0/PrWyM0OxXJp8XQ9BJbQLH44h54SsFLYtKKmQ6sSauTFSAZxHg+M+w9dBtPhW6ci2ZUhY+jCngGqTHU8ITghRkOLc4XSzVaCrUipa8W/XzjxF3udPeYcA08Ue55HOTbVJXlKLvoufWWCqLP4UkZdt3aIGCaUfuyzBjqsyJ9lQjKoh50+MWefD1jHLEN4HeoN0b+Bv5JSAsiCYW1/ivRHYVzEabpvghudYx4rc808t9X6GEaHwdowgwaZc56L4ecwGT0UAeeAAx1ANZwFc2PI/2Fi2eGQf5+WmCn1yXg/vLZllLh39IqMoiIesMiMyb7CSWwbNgSK4D24j9s2nvUAtX5KFMr6riE+wPUmquEGlzNKGDa0yYYr5b3wuyzhnapemOAcZry6RpcW60eGQhavRjB1ZxbZlnb93jZ6/MNQSWN3N9ONrIY6+whFAwRhMMME19wiZ78GT7bMrdtf2oEZ4UM7V1464NuBQVTAuFYAYp9/+7OSp4lC1lpUZfRjjixibVJH1nUwHzLEXzzhmcolicveTYObdcXyKPJBFCSKMZFHES18h6+0U1MKGOpsXk5fK811uEN+1BI1Q4X6kqZq6YHTYTgnKmY4tu3uz+H5V8zzyeRjCp7oEkINkze+R0gmUMh4ZkxfcQf16VbU+jy+gtmonw7vYfLp3RDaNN5HooUlcCY9EnCe9QZ5rEWEXyPAE+cadTnXo6O3atHK+0mELW0IBLMRTb4UmUHLE1X+VCIl86RrWjEeoc39KP9znR+z8v//grE72JfNTQn/CLbL06wHtcd+NJjOOBjktIop/KQVOXsYH9KYYlQj2YuE2dwqUWaM8vjrLP5LRCKliK8mTulXVLxJdJV6/3Fjbdmu7NgIY+F+efdCrZXW9Gh54JIaeFx6tlF78RyGCQeW7SquzCpx4xAI0Q13WrzN+UttoE32R+2hBPo6nTa7EeN6YUaqa+SncUNXJysx7dKmd/RnlgSC4ARxkyuvrgpbPBvwNitvpKeRsKoRw8PSJSD2K/vXRVKO7PNy82pEkFx7nWneimAoGYFW7Df7TDbCsyDnnBZJVXkTMuNwav5hp9zVnt00HsxwPuEGzVsUyMD3PHBa9nwUmS5fic9CtQgjwpavGjflH/e+bPNSDu3WG5GjY8CpzxiCetxDy8YrHesjzp4IWdRneZV0AuryWXN3qmJb3fIqa+pavCuayGwoE1aXiSdqNU3C3r1HNwjiWJqHj8iK5/3F3RA+5etcpOPhtbGppmj7JbD5GNgfRjhT0GPjXlN/GKJSn5IRBpoKQJcSOC/ZLrYZLbghsgVdiUC+ipCtbsfbioQO+P+OmoIlvgGq53bL7jCWRmekhUvy71zhagv0DC2OH4lNsKqxv/GG+xXsGypmzucqCW6suQyDPhOtHwoMSmX8l2869Sn9HhxdHjZOPtOkjikdHfENfz8QqK4LBaoS84t6RgaKVVAmGDH0cDWUJRZ8lryJUuzjI4ltwTnihj+d6ahLqR6UDVW2Y5N8aIA7MKCGnlRFb8fE/7ff/+e3HXK+Xgtgcmay6MddDNLlNONgMdPnIfuBIvzdB7wXPddt5M2LMIuDSJb2x36bVIwXUEnQp8ThAEc8asTNWW0vUIQydbwnGJQW7R6gEqkzcqKtJexFZPJpECaFt7jrmpTmYCHzy4Ro5QE1Ptmkc7evabp0ZueVyO9MbQsG4b4kkwvui/ifVrZPID5lOAUvImJmuOm+WsQRpDhNDIKdphaS5wuq9WIB4V/tKAI4TSMwCBG7vUPqd50oioMWIy1/ivaMiDDP4bDbusZKRSr+T0eNLmbtknYB3lL8Datjx0+KqRYbfVpttFNQ7G6q6RdWYCs1FvYW82L7hAXwix2u2VKI50bD0/wOlkHeux7zMVRbNUBauAmYwx6bkWWasMK6WCMzrPUaUuD/ddNQjTsdnLFmCJv076FfyNroFh6pZNmTPShu33wGYxpbtvSeAfwp6DmYN9PefeeSlvUSEfG+UfMHmah4N2UQ8M2Ce4npObWeZeYhFKOvbst3ZQWJ9as7QR4FrtA2/R2O6/32pv/Wqjvjf2nn2lu7dVDGsaaU9DJ+VG+9zC9kPZYxa7uq/Q+5iYnRHb7tcRy11vGRml8wMFZHPOnhfneUizzQ7sq8Y7jlp5gudkMmpcS80y8OIvRrH+5rE7d9afZCXnjdaRx8gl6a38adQ9ZPjR7c4eOFpW9PWtPfyXSLsBey4l0aSNjqqfeZW8NWa6oOf/Jr/ALoViPtI3XaW0gHN1pB7HhDg5nqFX0jzoDA0U2gkwT/3lAr7V5UIS0X+qtvHg4nJv6ngkLM/IXpdK3dFFG66SY2Faim4l581M98DvGSxQzzS4q/SNU/SbbeI7VDQAg5cE+4F4PgRLkMNfDzV/AGbYXFHIMVJsqEr6boaj332UScEgSRNe7iouPyJgmcVQv5GyopCLcFRJT6BmxPTNLodgeG1xwRCK/sBYWqV9UOSZAT2vgGAc5z2t0z9BrOzwEqFmGcaiFAOt1ooMWqvJDEI6GXW5cN422F30BA4v7eIantrtMkRJcqcFs/fa09zuAymtFPSAqZI8SGV8KMkvo7OcZZzJL/HC44voYPkUL/FXqz/5CkEk8CLA/xWprjhuoGTLETzhlSEloiTLNg2vxqTeWEbsAzKJtVXlLWjnKLejgblVHQpN3d3NlgmfIX2+LOuUd6PkaJ6OUrzMnFSjLC+syRIG2snL/xuawN86dc8k3xHN4PQGzlQ14zx8BSXBaV9f7cJoeNhj0HifJ9hbs3KD44pmV8KRmt0oFzHqTUB9vSQcTa4baDhaKmkZ04g0R3eyGUc595b2M2b2PPXOdPRMc7rQW6dBP9AQg1LtDUYfJoMLnLsll0lV2Dgtx/LtXm+YQnYqY9YYXs98B1PQ3qmkFnyd5j8kAZsL/tcS7zjoy3CD2Sr8QGga7aQd9boyS4s2SR1YURbpR9aYy5n1OK9aBLIsM3N955/B2K23Ndjfc05HcrqR02HKCqDmU+vAghNaf0dLiGksl1v/3Khwyrtik2vzGI2/0DFTSE71a/9Zy4fhWHVbXEkoAyhATGwkcBcAH7OsaLd9ys/VMqrT1GnPoQECM2v8Bmb1Vl/nvhcsEa94lWMgyX71Jxr3AKZWFysMi8sSfVFXtA22YO/eYUtggSw8vPs78xvnbOoVvOl5pFxfEj39SoeeVYezrO++pPLyQTyuuNNLFhpvEwcZoHRKfq6vWQUGJQ0c/CMeOAmAM0glD5rxsx6I/EYS0g6Ocu+CqjXLa8/goqnqOWE7GBTW0gLHrzpDSNDQjNU8og3FHFBmtaiWj8XBkFgvAC+BgKPJLPxh/h/KDzDlcCr6TkywWJgrDHpil2mQMtys9w3pCxFHWBrN+tTinOJ1fukys7vyhxcg0bFjp9IdL+ppmLNC9/UEkq4zMTKjhnr0qt07zlhRsTYcrNVNkUP6YwGf52g0pomp8ut4a0vLUdXPY9NP6XZllVsbFdex+1kD14mnyS83YyzRc4ZAIONCniVeC/vEATmqtp6uA1JtTPwQIBg+PmpJyQz3rbDmvKcXaxEZZDdTQdT3WBL0PiRJ128mV4OQhJDDkXE6XFpcoplo03BAmvl1Cns7t8pqPpAaevSxYhdh0/LemRtfQ86FmBs8DAn4GRd57oXBCi4x3zpF6FTh5rHshk7mqKe0byVbyiLqHJ1BfUhWDOKggbykh/lgGi95GXou0WfgEsz55xhVdq9GL16i0mYEVnZ5rEvtn3QUrXQSTderM6AInVYH/X6TrQgmX2fgCjF1y4HBPN82Da/sqNyFmWDTlPr0G/nNnF+uTUSPaEkL3mnuguWuNxJO+zfm63/4fsL1AL3RDqCGXIuSyx8D6/LC3a+CIJAH6qqSHYIOyvI6Ie0D+/gQkpxFYO56hELZaMcngj980BhqAmFzoO1LuBsbW24B/+BSVw7Fam0lfVnMRSQebMD3OYuqgkVReowZtNQ16Qw10rQkMly357x2d7Lp2E1XqM7YvG6LXhc+rBTgsM9kE4R+dwPNZ9ODEOE0fgAoJxH32kDAxXWOm6n3xLtZ3TvdvJjLndbr6hnUPkyjeZWMzSJJPtQArX6FnXIajo11OX+FqhtLbuNZBuglfkgYRN1C4u52iGsfHYUW17gGrCUtOgTV0tzLxE+KNj7qN4QYvVIKf34UVNe5mbJQmo0WaZGBAAJN7Bt1S3VPec4PdGD+ElSqsILRLosEiAlDmgqfSU3Wj381Cb3SLWnP+2RVqZNuG2SEeh1SWJtKdg5gGHC1odgCwtVA0XdKBucJn38LugJXNeEsIuA4VidyDTIaoUuuIZG76r3c3ouVEYZyByrns2LwfSen+uNGxxFhtlGXpqtIVCefGSJ2+SuzFAX9ODbF/De2tLttt7Yl4ZSSIAe8syfPRkmg0W+LB92yq5r1yT+t28AuYuNSB2/X11JpClOcdlHE9upoEP+ASILCDr3ydjOxTqPgy4rCFcCRlqUddCfJdcYpIgH1gHyIF7BS9jzX+s+yLdb8GR50ci7Z/ujz9URBXVlPQI0hhBQnQZ4zLomPMDjDLLwxBsiptfZmdoI0ynULJ5UQbYFQ0FCJftRpG4WGZ/r31oXk9Qq2BGTPN2O2RdgkLaw5Q+CQhpyT/SAwMjQvW45AM8aLkad4ngm1VRp771DuI3u0J21Xz+UWHzzNbE6SXNRWUl6e21El/f6/4/WwY141h00cv6OxLO3jB3NrZE1lEt000RCobus1N/kopDICZM0BWkUmAWJjyknW+a33NW5Z8lUNxHHl2bvWKNsYztfyk14uo1LoKRUJhjifU3bHfPDKaZ3bMXh3U6Dc1qg/Bmp7RBs1mNFFcWj1SfV9rZ8L/bp+2sAq7oxh4xiYCHN8L7qERPlfxnVPi5CvXj/723EXDvqp83iNTs1OtI6swl3NJdrEw8dqzUIvNTN2Ens/7xGYG5Y00TgL4/0D5Y7u8GwpXAR1WCGOU5SlGcOztMAx/nN3jr/bhiEg3SgGv4IhOyDGgUxCKhRa/ssmrYuy7bVYo7cDlrC7JzGupLK840llSqj4xdEixwIZr+0T9p5Y4hNVVNsh2BnO50UrYPA8jAKUyyQm/IZCVHZofNq4l3aLSRXt1wISe3dX6Ad2YZltYj2dhzumG7jxAifu67W5QPmXqvBqYbiAHSOPWbt5jJjfd4U4nXfm4/bZ4dtQW7+Bvf9qbfuSX/7x88lHT2QJZe9c6dgzpLbYxSFIMlndufZNMAdAe6V0TRlcIHEYcTV4OX3/i30sGlAudHrEIR6YjVl9DJw6UQqx3MjntpEnoozYeXr4o5mLjws+bIPww7CHoQftK5c/CQkWAb1ykzjJLX8Gr+FUUA1uP3T0xdsmFLSyOcIzEy1DLGkEVQHbe7/UPx5aBoMwd0zybVfcJdEoX7xMTQsMQK9hA2k7wINkJPiT0gq4WD2UkBL+H1yCDIeXEeLa5kZafpmcxmdAy+BFsiM0VohfSFImjuEYOkT9fqntM0Tfcz8c6pAMfvCZ6ZBpeAzAbfbj+x09k90NhqTCMrJPJuqVu3q5MvTBa/6BIvaLQXhpBmNaal4EFprk7Tsq37+RouWCkumnpaHMUt3kgTKF2eLMde1S3IQzrB0hGCt+mViHL+ZntcKfKUsUj5ulg8QCumkk/Em4OXnj6b2da4sFKlwT/zlNPN/fMvlsg7OIoWjUBmwpzYrArHiwJQpGxOAlTo0CzNjk/Kvgdc7NcJc5A50B9GFvtcPrrP22tHysbffQHs5YBEEibt+uJHAZRp0XSjpJMmyvEXd6M9ZKo3KnWvex3r1yqp/5gHxC26+LsNfsFCCFulK7HM4JcvZ5rF5js3TFl0IFE1KxY3swVhAIMvjfR1z3N0iMcHt4ODRIidWk9UU8Ptkm9GnjkXyUiTWA0hu9Lbmb5HqOhcjJn7nlyhluo5rRSXq0UxjX676wsz4x+q+ueTCVENTif/9kC54y3vma8pfq1HuzdlCkNR2LnINKleVz9Izii8N+TTAza4BMGwElCdSJraFVRrBTnvmLjDrq8FHA0+fDpA5oMcnf7exeE0uf0wihtWjHkgP/gA5+pLsA1pKsRiTX759nZVcxxDSRQLPFF7SGH/0PCFIL6BkpOjgnlvnBRAffb6o/k4TVkq94XRPlnzdrauGwCyNvNh/PyuX3uCN6vPZSRotXldJLw3ApGsB43CoZy+BIFHLJmNKr1HR71LHWrgZoPkV8svUud5eLpmE4mJdzEssQ5SlnG7XHDDKRoNUIYMuUP8z8ccSYlRipMdwVV0JIz5KBx0H1ATnyfZhvgMtYBnXzkPpXrXcHq2EXXJL4pFRJM7u2q2psxDwDpVHUSyVLlDxmruxbmLX6i2Wa18JZ7c9s5KxxXcoMdD5h8c9CN2F6kvcDScfQWnBteuo51jZ8S+kIXqSbCPyntzp6ay2J5q3uYRa/xjtqOfpCnb/knuyb96zNVAB4rgsHIn2pG53lMYdUlK2m3d6fUhBfVnSIDX7M2nP7cG9aSMlffcYxK882ULqkOAbyKCYOW3hhiIOVzDMUGPPJfsrUV8035rHfJ5VkdsIhVjWy6UIC2g4DGOjtjS8WXp8amBprYJyykKQyj3rnOYrsrj9/8saMNm1S4zyjdMzqNpGIb4g6tvu5UX/aJbRY/WRThiyLdLjBCoy+o+zthBKKta2swhdEC2yfnMwaJ1JFNB913tiVtyUJqP34/07UofxeZVRF7N16RuYle2QqyWPV+LV/ikDbu+lRnk3fqTTPmK4PtwfDj/xgXuJ+iKMZCoLZNFyOCHLLHBGOltUfQvEUA+FKtLBsHIHJuJ7IsjsVCOH60+HvVS+8NQdPw4D4F96QXEWhiekN/XduMIHEsvAtS9T/QDRwvpib5ZPIAPhXbctbDob/i14Z2fepqvDj1Gpu6RcH364n3BC5kDGlQjSRxZdvgHA/LglMYIIqnVRzhVCR7vnOODtbN2qfV96RQBPcJl8fwyFF5eiR0+dEkASCCLNjLzbM6v0HrEMOFVaMJkljq5EEYlxdwuQalUETzvCl4GXgMA4S10Gda1isYYmM6LMZS+D4gmCSu7TJ4FqnjWr1bayYe7aqaJoZVw9wypKrq46geodmXWo39Lc0SuDgZ+fwpO0AuGfbpWtvcljPxW9OWFHrx9wiBUdotSNRhkWvdksz+ejHiZZffkJm7PkvLdYJL/LnaXnR/aWJ4pS1PJ/g2pBIa+c1W4+CPcBXK5GyUb6MTtqlw2uOpyGFOyj6+xMgymxcx5gQ5lNncfmNL/Dd8ausXb8yH4Ge0gGYUq7fOkO3gUjcraTMGo309nDe7yA+LhakZ8GnjE938dpo7fmmBVRJ0uggyk7YwxJZZiDKeXQapcSt8yFBMVlJP4BaHt5MAsXUg6v1X1mgGARIKTg81HxmvEYG8Dm0O3W/AJXT9bgBYNyQVakjXz3Jd7Ng3cbJ3PuIgS38y3OCSe+zqJ0FlkwEaeq2qbJAuRSonS9rpwnc0tzyz3uOxyC8yPDaxnkdHCeaKN+EUSXE1ewP++d/kPYji9PHNGYV93QK1e8+Hrrhm44Kos3ny4YKFeiOtVaLOKqMvy3lunGxXGhFxGKbOzX+xuucFHfEEvIHgDuvMBH5cBrvOZSRzGREEmvMAbJX6UF2VJ7dC2cHOtuoZSLvQu0Rcx8IuhnPO+fvvcYo1HhaBtjVeV4OFLPIC407sIG8q9sPzWXiR7Sd4twH3JAUmIQ2cpfWvXMlkY06tAep+Fwy+0nEPxdDhsGnK51xSzTCT0FoN6zfrvvtXcSS2iSu3YgUF/ft2FEm7wTqhCrYn4yuAMNCXh8/uso6KyjHqUuGQncLsoD34Q3K1z7hOOGDzftjUkrINYlcpI4ADMuBVdk6klh3mwjO8GQaLf8xgOQn6+uU4jio2QOzuGvtdZnxIk32fhtF0CzcZ5mPyhAJ5lzIb2ATA8KDJ5BSJg1pDZX08VDw35FW7eJk+X8wF5P+/YcZsy+5ZZHGnU2eMD/vu/ityscIZNr96bnwh9IaSstqGZFtxsRGhamZGX5tFEZX9z1uQYV1+OtJ9ENe2YgMI4HAV53gGse7orHmrGCrsGzLJhnsx+nFkN0wc6XldVxhRtXG/J5cSeTwZL/QYWlT/WNSNuAUvs3klRhbCSX5XCTx6B/24CPOJBwoBtnXIutARDFpJAj0LM8ZqHkcxG5nLjng+iERFtMMHJyu9Yoigg9yXWBhPC1FRRI8oGZWqUkrrJq539FM+MmCGgwJepc4JYQXJmGCRj8q9YHhRqDJvc9B7YWcC25eTt3jMMpKL+FCGuWNrOIAEX1tT5klSbfvQoSveoQBaXKxTeSHSzqXynDiNlYy3yH0PmJzIaX2f5glfoo8ETQh5jyWsrJve/h6tEMGObIIgvFTOK2+GhOVBbqDBbBskoXNo8ZvlRIjDriiU1YVp72Io8wCYYSvchx1JHQeowQ2YF7LDXO4rRySLNadrleG1gwaiV1vIYtqqZK5aFsnso02ycEgW4mR3T2OnqDYp6MFrBC/wtbhEWKRGsuvbb8TW6gPONAhp2oTriWXVrlY0d01iLO3dD5rRysauFdAuTkGz//yYeJs15CHCzIP3KtGJOcFgXpFk/Y+gJL4VJjwz6Fxd3FgesR1iFi2SU5ARl5rxV1KKERyUpxfYT8hDe+6K61Gg7knD6D0/jER7m6pDbKQGOFVXcJIqPKleUaVTYQJez4JPOwJAH/RJqBLl37nCCNHOBmfaaLqMlFB+TVnt5esGpXbGliWUUm9jDsxgiezyFvWouToetj+54iXnUjI7TyTPzK/aemA3/vfv8OtnJR/TOE0o+Opv6B1cwBm9z1MZvXKw0F2hOYmuyzBPNdnAYGyEdumHt8h1XcdPiM1N4YjG0QkZDXyDK42+qwoeDEMmtLzISHLCAXUYY7JIKeR+u4eH2z/NX9hjUO9WgIZ5PdGauDZLXDtKLxrnN5HHo4hrJCXKaHlkThHxNKedWJUAjcsxP5+foEXmumgWBwT1ppLu6OO+7ajlXe2/vzSNGSZLHmG1SSxH9Dm3uJm72BkPUd2Acct82bwFWk/fVkdU/Sy489Ar8vOJRt5wLOFbeJ8i7TSuDqNZOy8n7AvNjj9Nh4JVOM/LAVV8+YteZcPACMdlBo6LjivAUD/giIQVxrOXWpCgw4IJ0OFAuyonjEAARKByC64qJpvBxg9i8qAc/FM4FliJRx4MkfHx0XVLhvux9ebeMlTaXz/lLrJA0DySVJl55vQoidcfIH7r1S0uV/Bile85i1ZKVZaxydHRIx+Af/EqI7IsATDgEUuWy1P9lFG4j1gFYDnpW7wHoOdQITxdoY8FZnyyAGWkupYrQHRJBTgGGLJYGRci8AM61RwPPWfULHM2iGuhzTI8ACQMMhM5Gm6X88P5id1M1VbT5O49kaWd6c5lGtDSvK8sdcMl/DGi7VNYEeKrp/sxG8QnViKoV7zRAtRyYaU5dBfz0srFFmo4OoKR3nDNDtilTZ+0b7CFRDhdA3f8pCYSeFjBaMUCclKjtPX30JY80V9OmOD2wdhEJMla8JyOjGyr9rkQQd67+Cjhx9PKstnLPhtMhsr0XMtBdOgyr9aCyXSVW66UMvV0xUun0pcIYsob5vmxgBuo7XrjVKAlPhQAabEkNX5fQJPrwm3cV7NhaR1Vc7JomUgoUfxjiMCo25brW8NJ0uyW2GUxTfEjeIlMMcdBiwG+Vl0bu055ip8tdkuTIx0vbeFPVmW/gfU/h/ZvZfGkGE5ZbSK0pTt8xEJ9lLLWq7Dax2pwl+jW+kGgcrCyXBNAO7dhxQEdBxZpyNDOpQjL+LFrPlaJlYgm+mwiZY3MaapRzAkHjXMQIUZNN36/c5UmsB+Jr/accthJaWUWXVfmU1TmWY5SdiWDZONe4wO5fY9JawEy6Bv7yYlW1DE8eSO9oufg7h9sjsf/Ta6TF1xI4GEkHTWV0qaSA7FRfdNlCqUi7/wj/WF4IhmVR086XlJ3NV5SY/2s4L9jCeHij4IHp6Y8Gps4Vbug2kkXyCPjkTokXqji8Zqdd24YRm3KA1MDMxJhMSd/0ZDPewYqXSE9Bt1ncKwthNjN9i4VlBxdFDyYTfS4lxEByoIZ565uiJI2+3mgvnVqH1/zyR6QR+ZDv/Y8gtUxcD9xe6aOKPy2aF6Dd0O2HIt9oV0KWezfkRrTVK6cOVi7wdMAQYgKCUh4fYw1cYhH7DRUA9hcTn7qeVB3tB8NwgoM2mcUIVCZ+QycwwhA/c5v6VzK6I1uuegKNKOSsJHZnn1/iKUxjKZ0kPPiuemMjX0pT9ZE8oIoLZBda0ByYv6Ho3ZsJEBNKGpvnnAPaJ3NFpEjjb8LjZvb8juhPArOKVRezSU1jlAOk5DjB1SMuB1/dGd7tABNPPvUH12/0qCFAEzb5B9piVGSeXpFVxQoN631VgWSkags255ODhY9cPbrQZY7kzgXPt+6SgD3YXcKlbIbkneUtyJ3eaLph4pU0ooPzZZHw7+I8A7jV9qCOPhtFvmqefClA3dUESAI3DU/y6XXlknxG5Hm4beMGeUs/DZrCSqscdIApEPIWohCVvsckpt4/tfPOPKmU2dSM5hSN2m2bLuwgzWFNWSeT3BrYcYWsRtd2yTBc7RTI8csa6LGNLyBThDg1k1UAl5zsJrmFIxz1lqco1IeXL5ZSOxxbguNOpceMa+zJ9cpt0d0yjKpQbNPKokZDDmC9JqXkW7wOiaFojEFKsZg/p4x05SOvtxnHM6kiWSLk25UsG5axyNOMgPOdULu5vbDqNAbbI6fDn7/lDhZtDorzzOozXlyyqsAFRVaohS/tpy0P/PWPJ8dvfp707kqkg/4Qt2ByoLTP+nA4Q7irH+LSEPbuOKjQvk26M9uHsSgSBFtsE2Bnd9DP9jLH7TI8MENIodXnQvS/ROz+YqEV7saYuBPnko4pqdFrECUxJ0uxww8PWrMEZuqrm9j3SH4H8S/2QevT70JWTOoR7ztRgqTFGIaOJFY5SPB0aGbQoDpW6u+uLcRVgCRAuenx7zRNTABpubjE9eJ3ObNPag5+5WEpbbrZZqUa51ABMGN63OQ9Hz+tyXhXrlQLox6aB2nRMKdPfAmiWDjmdOrhv+fXboZyRdeAx/8y04iPzoDm27fR1a9Tsm27HLkelF82oxF1CmbycUN37zutCq5VK90NLaZbvc2Pjo4M8s5volMy8fbrMocmmsS7kZqXhefe3JFOHq5RInrdrgJ0pgoa3tYHMs+XQ+1E43Ighe//epfvAqrWiReoJBQ5we5vYxctS7d+6WZoxClO7vzvnHzfN58T2Lw0l6NSAvJlob4Hx0cx+vV1li8DZFFwxPFwB13yXmljuwjN8htI4YdPHLTAuZg3FRy4SofQLFUnb/l8OSDNzfTSUn+i/7REsme1BFANn1wXJRlAX+5dz6GNSXUAuH4eFWitZs0wIIdnmguvYHzGubxo2Hzk/LVAMGuAS/t/GKdnxdgjOZrp964K+QaLZ6AKFcTZ7E7NiSRSKgf2UerBi//8wJCJG5Mm8bfM+8ZguELxh3SRscFqEdSZj9SzD3ygTEDDLa0BnXmAj5Y4HoKUsw6/mkSg8Rm6pjF57KsIfK17W45RDshO0GzYDlDom27IgzOJRBFtHFrEYSYT4BQx2vRRqfHZcamQA1ukA+ZP0bGW4lyAdCaZREXUGursRQuuwlvZYKLpV6Bevjz9kUoFvkQSyDaPZcxmMpV3VyvSQcBz7MZFJVyfaEWIRtRJqwVVwUYh3Aph6hp9VwnGq+Z7CVseSHuuJVt0DqSmRcBYiy5Mk4ZiTIjFREWeJtRTewtbzKp92vGDV0rm3emm6uJzpSSzwRxcRBbyvlzF+CdMaZGcz6S9lK8sGuUZzhlKm/bLrb/uUsvZwsR2n5c54O46/Akxgs3n9cOPdMdyJUlJzDsaWm0lIvQv28rTJmYd2clBEhlTz2N23UfaEe2Wr0QpukqxHAozqIIEEfXp/82v54jaOLdDu65DmWf7iqvSDL2EQoj4P9N1WlK9mvK8FKzzxAk4b8WnEYaKLmSxs/keT1XP6pHVtum95af+c4cvF2E80lDNb2CdPOnXe9SZX8vjUXPnVyWBgfuqIl8D4za93ED5n8EhvZHAGDTGw8atRo2kO0snC9a4iRADMXjxlX4D5TxJ5GjoItAjEXaA0IkAi/gyzid9ONPonkfoxyL+aPckLqd7/3FOdWHi4ZsVwEOKb4RtWRs3vEzZgNZksSXYZh2fC94+zhfTsv0Df7zzuSiVYylthzQey1TS3DlsBtK9eqzSIdMjjoGXAMqLIJ8zp3VAsBR3w5GtCYYVhKxxI2rPpHmevDFRKpwxzirbQ+3N2c0eZNiTpoWDH/mJV6hwS0hEhsUYSWCIMakGuuSgKU928o1i4Pq8zJHjjGIl+H+W6/Jlyfocpz94EIPkZSQe6EbSbNgjp0dQZZuFKPnwORwslVVkwatOm+hrg2vWjasqswR4YWepuBpOxG1LpqcD+0+ihsQfRBIwakwdbNlVlTvhA5XSUdWV9JbrBDfWzeS4Wg67+kjxFgcln8aauuRso6oskCy0MHLLojJ5JZBa08s03xXFddf/eO+6lxwYQbYAIJrvS1dI8o88oSRjrdrYk++9bphhJcWLi0v8oWu40oZOEvaf5EEJFoMf6LnoKKfRM2Q5evanWGkkC18zHmSToyFU8LLDon4SUGuuSTGtHXGGxsyUBpCZuIh7esG6wfsybpZEi4UGAVr18D/EQQ0RTOvvAGNDXLWZJ8C+v2BgmZ1ehcrh5LYinNyYYhqy3aQaNFjg+PgTcTv7BuYYSsZBkF1MTraa4B9RlzFrDu0bPczseMyljdA+bNOFFA5zxow/7FTD1BvC2NYKMB5S2p/HMae9dVq2aK6h/q4g651UMXkfOpYt+vWu5OVxWueVZBdLvrgSUm4CV1WOF86VwOuZTJZhgz/1VJPbX7tT0uwxJqUHuIHErpVMCAq2bpnopGDJTKsoiXg4QoySo/HFjovHF9EnFrG+tdd+qvFGCUT/HgHuF0TqNLdaONe9uMD1K43/9BHRQKBdHihfdkzDAYr/zOxpRy3aFSURnaNyifZS6AHobSW7mpQDWUVX5m24YHZGyibAc7CWYzGMyoC7eO9jl+Kd7YdOuNvYc38nRseyWljcFoJt6HdMdn230zDx8KthzIzg5qLjcJ9rOiontPv6L5kwoia5RUNggHlYItGcdRzib8qFdUzP26rRh5cKYuQ+oRA2CL2sPXChEpR8zHVHdkIg7ykerEtAcdnWO5x9+xjlJN7gxzPG4N1IsKHjqx4uIdHqH6tZBsUXVHR2kcGGANERZvz6dJnRN/cRwRocjaTBzm00oX6IIbd6gXduGyQkzmcYYJALL7aGROuXMriKG+fwtkGswBRnRlFmGqJQPx/utgJhD8aq3jane/wInqB1snNL5u6SLgqmqDor5LMk55gKBNKZrlxxNuOH/H+//hZ6Eb6hD/cmvAjNXJL1txqJEwARLSY/TCV8gPg1H6Ba+rJp/cdJC3L0qRVL0dcNrQniDucz0c9nSAPL+ivzYPK1lDpZsYxsF7geH3d/+rANnw2zeBDaA1eEJzIguWOOU5VLqwwfZ1wl1Y2hzhsXQtEULVXyQJ7dooPkFPuOhb+8w0m3OHTMGyZhQwzj/3R8RiP7mZR5mHVgi+Vmkx7co2yUVpV5C8P4+oNvhpGZ0LcCiDV30bBOIY1o8iF8qQZLJ6oTgvVJz6Rjdnb1WIaG2xesiPlFz9RM2ugHbdDuQ70Zk6F9h9welBTuiAjuS38QMaeT4QJaFNbiA2a+4YM+lD5Frj5921+uHm+dKbicGkdE+gkN5c7c4speDSbsIBIGloX4OWX0WbsyNVLpUicIHFnPvyfGCw9VAVWQYx5ziJGO4fv+HP9V+kQ/o7hY3Q3sUyf0876isJu4qQMimOCeUkcHifkTGBviXssNRJzbOSBNc6RTiYCn6hHjwGuyU9iGMpDDs8+El8h7EcoMyaln31u+BdqXM0QqW+UuD+3EQqi9vBwbQjhyvPfuaWexkRJMq65idrUIvbZih3QqLko2UOUHhXOkVuJqXjaiLn9zNCb+1ls7+V+URCpZq9BtY0wPlibkA5kP/HUPWP4ZRWwR1+sPhRwTKwJNfPKPOuFDngTO9oGHfhsUFnIrGoQp+ENZRzrL9MTRLqGQiYGlVIFnMlC3NGgK0gOCoRE0xRVjG1VKeDgmAc9S4G2SHqr1MNaIiAgUInwgWU5/1/7hs/5ZsH1Yisi7RM53JAGw6CeVEB79oI1M6BfXfhxup0bHfJMbZAIaIOtpDk8BCHxenxkJUv7CpZJWoikJ7Xaaad9Ba6c9i5mtA7jbII1xWsWW4owHsXN+iCWoPcRapbcCVUe8tj05LwBoRZjw4SOvGOH5qA/aRBp9xWR37U9ywiNnp31k8uCKg5/xeCFFsIcYo95mWIEOkSNoeJc3+k9li8Tn7cE1z2SdnG2LBa5LVQ6DEYCkxbvZ+625yiMDHdq1TGfVsDARsxOlb3h5vBBNxBX4j3Iim1/et5qhBa+SP4DDGfeBbmgJFTn+FnxVKyD1FobE1g3ORilU/Sj5Oja+NWG2wq5kXh3O4tPyfFqFwZJopPHor3QKICR6+jQMr5RMv4JSLVCuQzucIIot13aAxwmLFVOUSd61Er9ppsahdAseSMA6hTeLecmy65oeit4xkMrEt27ag7BsWbVmmb0D9CuTrqVkMtJn6rXoMOBCTT6cd6d18Kgi0Uqh0Q4/rNQbDayiaIuZCo1J8PuvdkzGlEAqBF/DKIGqvMExPI9LNLU/0zi6jZb/ZTL7gzeXvx5O6u/4I6DXIvNiIUgKz0g4zPr9xKp/4c0OpB8CnWI5CFylTQ5ugIBvNLCtflM/uqQ28LtiKvXYbZOooNyVyO02UD/KVxD3CHB2yPog0BfSljYwA2IBIJIQf84LWctRFgkYHNEKfSZGsC1VDzZ5YqeO+mqvFle6QlHXZkZPpUAiU2Hy7lvi+NmozhkV8o2Iad9FINg9znIAulyq1SQJV542xO5JD2baNASiJ2q3+CVv2b4ZxXLk3xNHuVx6oP489EWuBHq36o4hN9sKmKe565eyl1KhbiUtF0GrumS+pzYagDFI1wh5HNIQVIKK9+o515CkzN4S/SkedVkw4GSvan1QW4rkc12Zq4sEPvBH8Clpk1chkiaj69gaRW86Z3UA1nTQ+o3bcy6Cf1mRET0JYO0qcFUNt8capKrgJfgq1YHtLpJHPxgh3XYtDCBnQTgu//RHNWNjiiwvyY2nKh0PrElyTjTHXaNm0ZEb+FEQ+VCCc6bDb78Eh5T7Dl2XWZ1dKXTv02YI8cRR8X50gZ4BzU62c7rdwqQBLR+Bix405WjUfgiUTeMz9+GlmS9DOZrR90AsEqpo9dt60hsI1XAjT+IciZ+O0/YHeN758zc44/pNPCfGeMcOavkZd25Y2D9mmoZeq3rSOOOlcGO0Kx662+GgwZDzJP4+0+HmdcZRbuvgEqVk8ZDpsHOv1gxxDq7e4nhMA/sSUcabLqeo5AQOqDTyT7WFcudhIXRPt3qCjgQo/qpH3NBuDLm5b6+2QZghhqC479H98kBM6/fVF+zXgamV2XuGLOkZVNV+8L8B1rpsoMigxvvtHZC1wWJrbZtk43fA9t658o3rcnYtihi5VzAZ8Lvcn6UV8j5txI/Hi54Xf5ZCVIjJG6p3sGuARr3cIe20GPQc8VkIk6IWXkEWUs1KyGHofhfXIt/K8lP3pf+iYI9EivYdkvTkz/cLLWuSfgNYIO36HvkRUFJXKQ+ABZ3stDmB/xTANMWLhAOb7CahEkZ4TF8N2LS5reVxAxJgoOyqRCQ5mxixd6P0HxX7CnzQbmgV0o4QBLKHGGrWCNTkZBcozzcD2PbyI37In1pMWsONOvrrs0e9uVFyf/cFrvsHDK0T3Dk36N7SDwRke5+X0VPQSDBVJTCYZMajAdcHEUhr8wZu5PrQBjy0eLaPy92lNkMLOZaTx9kcKPdccBM1HYpusa3cbmYGv2RfOU7e88wCmQVEuuuPoXSpCZfeIta53dgjg12c3fLvokhuN2c1TFLa/u8dxwiAzYBkVdPAh3LUulV2C7bis4dlo+qE31xR0wrjggEYEasjM6PPdIX3rOAXNHp/AvlNhSOWl9T7oD1YNELnMgsIZ6+3McuilL6zxoRAjsx/ZnyXNviEQ/gVKU9mxDln4LEQypwKWxGPRngpnsx4B2NHAJOfkOwKY9AkIavnlH4nAuxm9XIVzleUfnEuvn0J1iNsWijFhvOk349kp3pPlzYr6SABnvWLu5K2UO3d+ZO1GR3H/dSgF0crG2zRCUv8vktOfBlGhGFJszlpQvExE6fEXjDEtYuwQpRAXJN85KURm/4Nbz89mbOXVtzIsmhIZ8r7Tg8BXOY5QZoSKcaPg80dZd0M34Tybtbn5EGATAQYJer7QbJYEs5B94/OdURUnNJqMH61Gqhm+q4/wX3gziszujg7TKtyOmS8/vkM/fJD14Slreov12a7qIzZU/UHU4839SEowUZUX8sIAAWDPy+Sdb8c8s2eK4KBbf9ZE94PBUocwkgcpAuNPZDiW/Cl41PdaWpRHXF51aqNMlkGyj2sGi3YtIISdlGMBWShHFavTyAToX4rf7/jqet1DgUjRDe9rbY3mY+G6lw9L3gDVP17EckDotS5LCY8XpEt+lJ2OWLY7/N6GB6Ff/b/2oHpAK6Ljx2plm3hqhD/ydQLhsqmAw01cBT5TVshpMBX9QjtQTqjGRyfJIdKUjtxDqf3Ba0R+G0HbM1pz9iZ6V0n4vxK86/7KdSIDNQSR04ThjqAerJrMwd3m3kDTxhb9Ss1PudTxxODiKDUCM3aJcisyZC8quLfTnUHoZLx0bDy+20zn15mJ+vawncWPIkTq2+voE7+GltCVC0CJLEiH4X2qUYPbjAnnWkr3yJJhKTPI3FP5YwYSW+8PNl1JE12kEpqEyEtd8dpQjSg4aUPkt0x/cIghnnFxA/dvHHYJ8YToUSIil4Z9UTnQq+bS2SOd6nCxiGT63yXD/tnVfFVQT0Uq/lYfQQUIgHVUO5aVpbqHfp14Oh2kDIuUTujft4h14sBarxSNxMrHHYh53bUOOyJ+8We2kqURv/ptygs/DTViumnot2p+3SUUp6an5hChLAo/GGQNYLBh4nm5O2dzXU34/owK2c8SMJOLFO4o34M+YwzcjCQF7neT6fsMRkRcdlUHYcfCQJp+PanEitFk6LsFetWHGNVeCSGQAgHj9xmYCSKpQ+lIiUiDC49z0lAxSLHN+0FjuSPeY3k/o8nZuA1XABapvRHFyK/08fy6p/iwLBUfko+QGuJMajYvJC9Nfx68HCcrAgNzcTDReSzLmqqT+R1qwXHLl/1M9g2Pc2e6tAF7AKR3oHlGFP6rRWnzs0cd6uGt71b3s8wvluVop10qKs5UqFacIgJ5jx3xYGM5lQbqnIkbxNDU8nRPxjest0RocDzMcVcXXJ7wczXYwk7hv5mtYNmk+ngdJuBoZwKKDV3HdF5C+TtYRxQQ6bVnffu8bb86HcM4JBcpTIUd/oaWaU/ZDqnxhJI6ip1G3ohVqo99jgG14RqaVshQVP68pnJprcMBwIYm/GFB6junwXKF2lQfEGrScDoUAtcymFjw0jQVx2UbYRZUtGGtAfUkw4wO+gGhkMkLhosoWMm6dCrTFSfPf5kUevN175cD2JPk6HaC8cBuYgFLE4RbizLNTi/Dr/H8cTOKbjZ8DwmF3xgjmPkJ4FftGFvdl9Q8sFUWwaDasV+4bl1uU4eH0W84Fr7p8ROC5NhNlN/yDdZA+lVjwTaQ7solZu2cTpADMDCI0P7LQrksk27NcGoUuDnRhTkCzNvjoPsZwHevSppgw2cg1rae9SGH1m3Oq/FGLUwa17YCFBdqp+3l5d0qUO0gw21STQ8g2rHOtZz9bYhHwhQ5mE9PwFaBDSxGCc7bXWTLerfH6dd6sYV+/45y7F/2i9bAD9ip2KPS3JAXH+f7JHppqTsxQ9zaS3U5ncYYH+rum+Q9O2pKX8RTpKJBXPejuM6zalnQ9cKigrqT44QNzEVQ3Ol0Q1m1ncTJb9Ub6zEa5FCmImJF4KfOOi8PuClgcKcJ0wgV4pFnz9PiJDyYoSfbjJE7/c35fy61IOZXx6o3sQ0IDa5sbQuhx8ZO9isDK3mPC0l+4rJ3degegTBxYbPDMxPIotBlk9BLUAcYV5dHw8vEoHCKIlCVQuJq7BdfOvKjyTXpYGdyX2rWe1ywJs/vwG6qTZPhXH2/V/8TxQbbJ5joTnAw4eu4Vmu1f0Bfp3D6au1v55wjIro4RLuDi/c3X22WaJNXQ50+iS7S5NGiOM42YvfTOrQl2wq3VWMIlsG/cVnfpV05brFzErW/Emw0UOeHV62El9Uc6tCNsnP/WGWiTzm2280qn8XExYY1NjQQ+6PVbi/1GTk+Jvrw7mJpGrLaMgcsHy/43VSCJk5hhDeFQ4wyBTg+aLW5S3ccM7kSc0iUw5Rw/D0HteKlHBcmHKEEewZSO50XUGgdJjdry7nh5ekWEZK5hDW1Doa3YmJM9ExHsVZEUoT3AvDmZD2vVVbesSnXiS0+iU1Fs6kwXuE44kfXYJ072z+9V96xwtZLcwI0ARAEtLBCQvUZgcreForh2QzgihGaO1hixQZXUdCMhM/Hy4b1P+cyf1Tzwz8YCdKat92q/q1+LtNiL3j28POE1YzLX0BsgW4WuiZDtjeShgJs0GcTEU9Q/DItevjDB4zJ2om26Ajzl3pDY3RqcwPxT7LREYQluGxepP5QMw0k37vNQ8cW4EbFg0yHMfzc7nihsmMqIYnsuvus8d5WqoFwuQkM+6LIhXOXxT89qKqWS76oWOljBuGto7JZrj+LznMd26X0COPFu6b6ZzHEsJln6Fa1ueiC/blPq4PTTBprNXgr8lqBt094ecaNOh3LwmJnbYPTO3snDAy46Q+bUAw0remeAHQBYCYL/QtvgoK+7DuVfXVfee5g/8IUdnXteW1f1VZmemch56/wd6UhV0nRLtCbi0+fJPy4JuHiqUvmlBrh3BVBaOES9FqqQZMhdfn2h4qSXC+IPJNI21eEEq1jO9WIIosFz0b/jPARBdjNJ+RTzvfM0XAZRcFDTr7iI7Rno2SHl9o2ZHnTU/EirWZswihbSSaifhgtAHBlZfdUpdu9A6elSCHti2SZTsQOAjynrjk4FzcNqkSwyEsMISh84D/1tqNdDu4fWKP6uaP60+WqynapWz/SMJ3hGWXVzeJ8GDYtvJCF9usoCF1QQdO7g3ZzKzqpWM547+xwMzg2afIDqWITIWL/pILNu2Lws2QXyFyLaO7LeZNBQDEtXYkB27OwwPFmoLNHaD6ltzPbHqlJoWVp2d8AX2nfycaVCCfbStUQbYKLVyrVTiGclwYlfLjFl0+PhhCsnQNFlbVWTz76R8hhZOl4tXmzxSCugrARNUwErw20c46PP18Ut6unyYfvUwHzYfBYt7MfJoUcqPWhJ55FPk8foI1YGXGyJs0AZRa79NS2qx1uajfi7WW/klMkEwnR8uxlfepbBjURbIsCIqQVFITqvzlLZ6yAePalM2yblXA7nZXMmIPL7OqanPHnMha+ScNoQ3LoALslHdAo2LrEwKQFcE9CokhNLPSogLqKAVUfinkgZb8LYrVJ/penwIwtdSVkx4/xKMb724D18uLEs+Qf8U1AEj39c36zHAYSFNMKnK9QcZxIK6B+/WsAE65DNFuyr18R9mXf5paNeC5eFe7Z5LlrDQFmAkUcqHq4wcfZrp9hzdvQvzIp6JVlfp7SzEt4oNZEvASr6imM0c0DUg3inS/JeoJEVxtrt0aaBOrKXydTnJCRZUE8D7aB5CiLOcfnlBO8WEFX2CXQEQrSP4zFUWc8/Jyeij/3HA33UUsuQ5uuAb3pFbpuXiecqB1qm1XXNFMtzteIzGzZ53k265TAKEDUoNSBV+PLxhjeJVpZ/SovyjjzQhjdurYzTZprHwmaxGlx7tBhFR92zJDWIr8MWzJdsIwnZedBWLX3T/S/bE9mSruWOmYUM96keVr/qIPzHqVYuAEtEcvjCWpbEN6n+bogzhEn1vGs2lwslMizTBK7xD/iQw0mvaXniuWNiNKgYmtAAwOEIQjAFZUaLvf9BTXRFvrQwNDaszMplL0WN39VhRrJQr8iDe232vZyNtk4hPm0/RCvPSzAN0hgciyalY9Z5AFga8ouKf7hcQBei0414ZZoJ0EVH/+ZtfIpUpoAEHNHbei1cREPxk74K9XJ2tJEiNjd7FshVAWT48/LiaORlpsCmbECd/fDq1L5QqOKexMpbvaCEb7lEaD/KgLuMPcVlyuRNONB4HE7bgCxwbwtZcGM9Z1K2rS1roLW/Hyv3DHGK2reuQiIeGcF1hLvZYmR9NVrJWHgqNPdPfy+5hQxIrbfH1qaToM5BAgxj8BvjhOtJwmIiICdoBUCjroIxoy2Vo2uUHNSt17Lo/dAVYsCGHjTqsm55Obv2oJyUn4oiB+lfuzFxKNmPIMpl0ovhL2r5OVPbkZ+Hvqib4K0P7L/NnlW4nIuiHan5tpxjgEnvkrfubZXgbQDo4hCWjBt5owLIszAe9bkq97srrPNBZ+YQcMjyxi1tZvbhXXh79jAvauCq1T2TvuSv0A+QYKImMhwYZ4HnRBHgFbE8jxv1leoeEQelCb0XT4UncCLyTJafkDjwtzQBKrH17f4gZVULm7GKDsfeFOK46W03VFqpv1Sq8yBd4H6yBoxs5c3i01ho1mme+w+kUChkHOMR5U419VZQ3D5XUFFgzi90hIuZ7bS5n9nQv8Hj4acZvTdGsQw3YaSa3xZKIrvVwFq76znl89o6D17+5awPCYKIrK2lZUgulFUMsvLvFwN5klV9Xa6TuXFr12NzZ8H7WhMCw2F3bcCy8dLc7ystan+R2B7yvm/dOFXIDRMFz+npwwdSdRF/80zI5z1Datzapy6QODGaj8RcRCAnIKYFa/0Mz9R5uwCgDdOD7r5AAs9k5NdegOOvkGz0JQ9qFQdS51INXP5xXb0ah3dpAuMBM2NAGP2qVJ23MLyhRwFufj/iIR72nboGruHgJInWecMr1WGPBAb/b0blZftOzhf2HJNN/cfTBlJhbn7IIKD0wDj8p7ePlWYHNTaT2Sw+mqQRuDuTxjuH29I1Ft2V6CgudTL5K3yF6Wx4raEWJzeTcNhJIwQLKg7jGLLhOxVsnDjKj/EtHiu/RgmCPQc69g7EZ1wonnoeZsPIzlmxCcXRpbo/cFkCWUWK1npWQNEYE0NlfY0OJNAWD4HoMlbXu39njxv/ne0TX4o1+i0b1qM0KcLssD48j7vFo+PO1+kgoYwTWAIev+D4G7tg/CyCp/toXXY5evgUwWe4NEGgT3Jehx6ZXXjnGLNkT3Cv1qPXSEUrsI/ccCdFkcbJAFLEe547zGsbwHBCC9SHI1qgv+YCGghBgNxm/A+W7pgFpHPMuroekhA2C3gExLbsc1lEqQrVccEO8ZBacGR+rPFVIkYiRpzjG82p1CTkIR+KA/npcU33RXbYtvLTpQfsCOABJIqj+7C6tTe21F0aj9tCZeNLX0wkf+D1G39uOGtoHtnthedWHYPMjhQz0vbfex3NVOoXTXhIGti+jMQHA0OOMx8UZ221lYgE4wNpmtenKsk+HXGAb9AGm1zaFdAXE+mrIkJwtM85/xKU+lkKX2VQRYDrDBPHgbQZYkFeddd6CVmGkc1uSZQmwein4UjFwn+ygyib65szI/orodWpo+GpT8HRPa3803zXemptRohrbdIgAHk2+vFLb51s8h9N36EG2Jh6s+2hkDKjpKzb6CbakEZnVPXud1jAc562g0M0bRM84oWiFmZe9gcw+v38WKuMVsN9Fia4W/4zkT5iw6snX9ETVcm4C0z56GoeN9eUroOswTwUibdaadOlXm1jAsutN3zBbiaT1kqwHbRnQA+t+xxB6rWUEL1mrihCScyGOvJ/1WumX1/6qV4jBXZTe/q6Z6P7Be8QZheV0qxKqbJen26b/bez5FvuQ4Up22DjNjrEQTIDZ8NKhbmyWAKY/fzvhNjdSEjFHwwzTsjaFdvO7R3zyEUId0thafoGChOvUXrdWhF6uDqrnM1o4y2p13m7ktT7O0pZEhU2egonK3+LPd5nbC+rOXdvlOqCHC4OkceYKzYD6KA/aJf9aPnCZsjDcQN3mM/xxKpdo6aXKhOwXhXI2bH8/xfqBh+yf714/KC5ciqlavO3tAQYQZwiE+SUCWIPpLPiN85eVmQ8u0g/0FX4LkNRc9c/X68Z7VhRyRs1nfmkhxaMIFy06t7488rTMak0nvzN48Ha5YcRGJS76b1OsIm7sRL2YqzPpXMGUx8eyM3tILLSy9dEFh5Nu0lvpcPVI4bzsguFsdbNjrHDe0uwzU9nDm1axAaC0plKCJ+oGb0wBjogF6/nAKRfdKSpYtdfNt9F+Gq1GWcBFikInzS0wM7XgWkotIOjKuR0j7XRBHxJsoVoRhSqF9x/9lEDKo+aQN+tEMi0bN6BNnuw7Pm4WLf/MO9QtXQooprdCHmfGRJ995nN5FSQFxFvMtM2blFf2SWfG0Q6O21jyfC2L3KFi6W4HakMCdKxxO2P0Cca//E+cO8MRSWJNc39STA2iBolOoyYeLuon1BuHSQT9KzWge7tjGAbnU/zMNgNbrOxDL/IzOqqMQAVekdXAFZmbDpW1YYnv+KIRWVNK87K6uGjNkxI6xtUYUEtA2jIbl3z66ZEBfqnaEnoB1Wp4BLOxasfTDTAYjh5ljy8z59kp2Da1AUSG5GkQ2/V1GsaWuNKdRYy54QC5vWR5GCcDfol1CYSKI53/pvcp15ff9Dw2VhPxezvmRT51VpiWaXymYIgaOczKmb55Sst8alM69gGQGc/x5fKsSNXPqk91U/eMO5vwcAlhCVwmXM3Qv99v96dFImyLOY5VpW8XyC3TQtbJXoVDZyzK8yzwA3bbpsI6LTeDX8G9bNklYfAA3mj5fWbvVgv1gWy7ftq22VEeDEzb0zjov8TeMZodxiYE7x/Hj3eFvy12g0ACppRXHn7cs2sWnLtE1DeM6b7bjTISpJ7OxJHYtiCvhioWH46cbpGgQ3i3FgnBXasCEADfHrtdHGHv7vkQBTM4MYapN/eszih9plqHcAp/scKSecRkYx40uGsxf7mBVlue7MJDeJ0PCHivgsTIBVhmXW67n40X3r6vzU8fW6qK/H9aquFRL8b0Bdywg9u+9xN5xGILP2yy/EVg/5tfP3uy0tObdXDiulCrdiOgRR/YEYJeY+M1U2fM0bHIJ+CwaR/JSd3q85fYsBwFgPqNgZ7gzR+taW3Jf9I7WvmiL/B0Xz7lNdMLPMvKEjHLooC4tx3LTPyRwtuwalApvyI/DC3LTbnFkqrJp3C/8QUe7zOqSItq5TcwqGFzlFVm33Fb9YurTvg2R59iQn/hTGrLTjvbAjiNKIdDAMh7JcN0PetXbICkk9tjed5LjZrzHQbsthjuVdhwdHaEU9HWL0PJ9knNisOGj4QM+NOe2cIhbutk68G/FnvbB94Dp3DEDj1Gob4vMfyDODgRYPSRvH1ElkKQRgz5M3SvCqOE7+8x1CUtu4Schc8+QdOcxi1i0udFlBfWDnmUjvPZ5X+KwAI9RSwybnUZ34C6OD/IeFFnd60jy29UCnosET/YrfbXSuVEzwKMcErdVwk10LNeBoFbG7IFajaiwc9wgHPbiwTG3ipxnc9HbAKEkBxvJTy2YnI/9VOReMTYkoPsgI77wa2ZaAmokjwvz/CNc7REuA2Iz+ci4HrPRQqw1D4N4xXzFa+T6Sn+LI3eS6Ai3pwdz+ZMeYaVFj7gW/h0VBR9CBrp/uMfgwKC/GjXtatnx9SyGFG95y4mU6VMG9sc07yexCPS0hrG1DDxs4NMESP/QUcQU7H+XPiP0VCrt0ofqC2A6u9obWEQREHpy7FPkvWAufZS4xCWY2JTuEXQ8RqIGYdhQDNjKpsCozEGo6ZQsmB25/Ai5CjgjHAjufo0mwUg4ObVvugxG5m1OwswmqJRyq1c3NHbIDUqB1dpyfvF0IkSJSsGJLzswG8QAiOyQ3OmYouYR9ESjfOO2VVlfu1QBBPOEgqExZS8ZdHg4viDKhaN0e/h4F5SEiTx6QrsdjyYWW5s4KvX87HbqylunuKpn5vQxsidRqGCZXLPM3cc5yqaHQ+MMLTw3o4sUL/ZEzsUbOM+WJv3YhiOiKlwXeY82+bjTSzZwausASmBHHQ5ajc0ZtNo4HwGZtBmA8MSRnXv7q55sjYpDrYnNrTL0t874kuTaWb9uK2ZmIvf2ZMbepAJyAfB0LaJ9eB9OqQzid5QSgKPFiVurjEiDF+jDB08ZL/l00Ns+WfE8o0GkKfj7LItqjFgt22pnLFL1YqR+OlOk4U3EIFo0+WwgioxJ+rIJo3xiF5mKCcXMQ5BhlrVI2tZJHzS+vtGcWE5kLpMf0VmBQQK4QoknF/rVvXun4hkKJAiU9MGnZgxY1qfCEyBYBuuKLQdH8+tzT5jkL1nmEWFhhzriWXpx0j+b1E+Q0BDit8jdZDOl6gFJnfESBkLKq0DBi0tjrqaFMcsYprxBoMB9h2DXKSCCMsA4JoZsuu6hrT2pOP1GuL5M5NZ2UqrNGPHTat1kFdoQbxpbmRCKO1texRty8zjDPRqc+FqWaHyZmBLjonbV/wIKiv6mQYXC3E6tlRQT7ntIY2Nv5vyrlWx+UttmYNo/fitM76ogS2PGDuM1zRnfuvMcGKvniamHXe8lzgSCZfYEdHbqGtOkYecG2Mz5SCpvdNBgY5X7EgR2AnDGWe3bm3hsDrGj8bI5SUZO02XVs7vP8VlpNIl/T/Q2uUTHk55pQ2hxGIcu9lSFO84SVx15TJP6MknZwUbd+tMPugsjNIUlpYW1aew1eSBRsXxEVVE/nD+WjRKmsWf5xZQe300LmeOqzO8dVJQugN4H1X9xpYtk9bUaw7OVmi+MEuqS6cNaF2p3yeZjAagyxu3UHpfQrMjZIRykdZAe9AN6wDn15aur81rfMkm61T+EZYZzquwEBX7BpuJejm1PqfbiBeDq2Yuwa26xfszlj+E2PREhOIFOMuDcyLQ59Ki/T9ofSQRLFXeeee5cWjg0dy2Xhm62kyKsUawPFfpVYobYBTJB3M2GCULUqYA5C41Nfh2mR5aZMlY+HudpMjP9ZcTEYfb7LTLiDK4NDww4tHA0IN+YzSZypSNSEAEVskk8vAJky3cUBEdLwpTR7t3fxgy+zglzboksxJE8XrSNhWs9SjPUUGOzEJ2qCzFDId8CDO8DA6cqvnB9B5Tst/uuj9rhgcpSeYygMSGnmizdJKo+p35GNNcp+QkY5911+JCj4vAjqV4sONxgQ8VgHd6Yi3mHueW2UFq2lirwWeZNd92Idclq5IQGG713IBdugGxKxiE1Tym31pOXjQdTEBEcV8/H4QltywyC3nMv8bd7wL/cN9qikDJB8JIEZeVKeRW3XKDwHktVJu80REirkM8RnSzaKkBd9Gn0Kt80C27QzGxW6TnhXCNB+b7fnfF4aIBKhmIFu7JdvagJ/ywJQfMxXJ1+jzprc7TV3GBeJpUeGCJO5HlXJXPb/YFb3bO7aVK2dmFqpRmrNmHJG5cgvN0gtULmBTyRswwKVwoc4kP0XJY8W+CcKpxcxdKEdJa0hPATmh6Uu/ULTT5xU+J3yX2oQsSXVWWXr5yP5YmciSW82/gN3bvqFvTLuvYbmEh78tOMYtotCnYpbeL/3V58m8b6IdpsSpg4gkxwXzJA/uFBwY7W3g3n4Mq2QZ+21UeVUZmWKnzZ6PL4LW6J7zx5jTL0LlflV1lCryJH1ng+oezcur3Yn31Jx4vGyy9IyHIwaeM1ievVLpuQNm+2rlkGDkajvqxkK/feRfsYQmQDuDW2bEf2KwF0nc70OtHBoQd3b+BebEIgdjTqOIwYI9rgqrlQcOu2I9idJ2/9ucoLEtW5LmwNhD7IaUzfrdigKy45ajplnWMSQ9yHKTgutrLRhtzm3yVgMQiVfp0KhOLygtqpK9c1gynjjUshygjplCJb/4uvc6v/t9zAfUk8a+D8WFJ5c3TlE3/aMUdsm4V86qDoDgKcA1Ecj3aIOqTZJnCAH0HfRuPofTNtp7FL72C5gVdk1OSAHDIoDNbqQS2jxgiiAlWLlCX9GwqNFJLbZl/Hy4NMYrclsaGE0IoIBzye/t+X/Cr9jT55lpj2e0lGDmcT399Rh0UaMVMsVvw3NdENB8pqg/IjVUFbEzO/QW/Ue2cHVOcDUCIneFohHJCPCrZwYlUWWDky5oM92HTJs5mx/zmZvNfacELJW2iaPC03cKidxxjCYK5P2G8SLAI+S1qmXpYiyCpa6YNwyYNMLS0wSD2NqUDKJcxbErEbXQ8vJIEnt1eU+wpurmrYh+8VpxT0yreZOgPoNc51fsWIVomCtKNBk0NXrtQHU2jWLtcaqpRtIUtC9LMyOEAdvaeSitsj3LhIGX+zFtwkwHpdm6qMT3bNlvjj2T5SHY2LE8nSIrWEw/DvF969pH2gQ8/R3dLFU8Q+DZyDUPJKhj3Upc132uKkQkIWqPo56LbXsVYzMTT3mPQToZCfP6pRWrb3pHRvHaF9ZZECJPBJzntFhknUejePCvyT+1H6tpd6Tj8SMQAXM8+akn6of2TAqPZvgM03ZNSa4Eo7UuUz9NzT0iRxPtgmGIzgE613wide5G18Y8+ALiD0ofXDmZvVpvbTIcKCIQwzCBPPh5WXBEtyKMJayjaLcV0rUmWxKYKdxSAgsD4lDRllHR9VYAe1gCfr9khdFUNb8A1ggqNgSo6TZlrUZyP+/3x25cBkZctcZs0ClPCmkJ/1y2cdZcBgZtGyVnS2uHB272Ug+zAZad0Fk33DrK7aeLPoIMEQlA3QC3qoQUitbEJMTbD44ttJgOhRrRiKznWLlxJcTu43/w4qSJkezZDRX6m3OIjGzXw1SudnaK+DXQY6QPndXtt2welDQqtn87Os0yGhtwkccD8+Cu2F/xc4Z83i12e8r+sZkTSGAAYxkUVu+f18/IjryqseS0E5d9So/8OxiIgVhcikVPvqqMnLM0b+H7/QOhXkZKJQA2eWPZGZGkNSsvCXpQoXuSfXQ/KOEC55rttvb13FMUlI5rweD7KHERQGUXv4qKuSmuUxMKd+0gonhkcKwISnnqrL53SURXMISySYqRooNoFXIvCHG33rmVW8FjEG8OdpGCGejz975cW72EH3giJSVbcQxxGCrJkN85flQbkQTx6BBT4/H5mvHMKz1UEkxZAePAyC+f6tGiesfV4kzvDjt4f0AJGN0LG98VWU0Ucr3qpEtgDBM6ZpSZMmd/TO4mJ2/Ys0QhkAnJLPHguJxxk2bnyUZ6ZWeYc22lfdsloV5sZaiN3cEr4k0BDEHjhHOPkmXDk+kTfwSd6iOD2kVCD3/vwdHpw2JBQcNduIEeF+ymS4Fx6WiqNO3UMiCDx0ytrF8vkK82efg66LfojgHZYAv5GZ9IEB9pMtx6O1t9n78SUD/m6ZyQc/rnsMeA+F3xeCQEVsiJtTNpBdqDF5BF6lHWudDYCbThDINDUZgSwgSndPKZa1hJGgmvvvpB3LIPAHr0DpJPDniGTfdaCLaGQ9iAjwcYkQIm2MRvkv1bhL2pPf++MiiisO+UOKG7PAwJcZ1VwylpiAeBLI5Suo4oRbu2iaV2pBDVFGXXvUXIfSFOrIH2+bS/9gzd4KaKy4xEOis2CA4vXXQG9u89+7Zmhi7WOnr2HJGYQ9rVuOaUcG4YJ3DVUwmwgUWhXbs87OBLxvFK0kQLONDvVA2aNxC3Fpvxa5Oa7DnmpVl8jB5q8ohyX1z6aWjEq3+iK3c6XkMJoNrX+YKJNy2zio80eedF94Bfv3nUjYhfTL5GJmIPpD1Nu4aatsp66PY8AgoEaiURilFGtbWSVVkGLkELzy7qOw5k9TH+YFOMI0SfgxR6FpGszZNap6dv/yP+gY43sjKJcZ5dvGBWJARSuxi1VslR8dmGS/nQH2sar9Yltb7Q9gvV8hzBnK7GXiRwbji+RtbxTnK2RMm0HhA6ItXuqhbBL2A7YGhQ2Qe2BocgSJoD4Rh78zLMFVCBHOk4TdKoz6EbYrkyW4kymJ6fYtE59HlBM6C7TPgyFv6AeozZw4HiAI96OTzIHhUDpvpADhXPs9SwDuFigzFI4rZGZmvAKDxU3ATPCxN3hNLCicGke5v7z3JzlbGpJlwKmcEP2tlQPVUPqxmADwjjlUsFHkgQsJ1Jg/ayKIzxOVaPMiO8w+4YSv+z9QoBUpWltAl7sl74adrcEXEqrupPmnyqMNsfhZx6jGZUZVsLnrRxharHNUAzGbp+GCxUu1PrHMHQp8TzokmnykTzLJrYCb91HTnezMax689lL3ftsU9Hrr3DiAIdGrhsN4pYIJ33ANrPQEZnBMGA4+vGV1Fo93x057+ZlXnbNaK/5uqiAmM/+w1cd5u27O5TDdXQcvWLPDzt5tT5ViBRSfPvTh62x2gcSWMO/81b/MtYqPMkFtp1U2Bpn80T852OqCsjE1F6S8GX1P/1HdIJz+5byrg4sONRiJfJGDVusPp9R2I1LNdGJRhq1iAnxBiAqE4/3gIdGWI7vjwlH9zzKJn7/Qe9plVAjyjeiCuCPxhl1ZU72dqz+IqvOrjtQSG5H8KnsrajxowQUHfJow6ChnRuXI8D7WZtBhCS2pN8bXHNfU/EKdIraGqb4xJNcjoGQtk/f+8JHFQM11yjcyMlDz3Ml/wtuNPiu8iEx+JglOryQh3DygqahRo283OzUgMNjEaEWZwRu+mcJZgdgYAAtG1DrhlXVZixtcr+itegKic5IwvHzoMr9z4kagPfut/eSZ38FQLDFj49Wkt8lbAjRg8ZFWBJlVCdnpUj/hO+5nuG0dgQd6adkRYqyOel3xrLe9gRkje3tzZ7hzsEaBQIH4EzlcIpONiICbYROiB3J8gMoE3BOI3a8LoYeGxyCkiNQb1tBBa0tR3pklIn+bnXz48bN11PMCJk9OrV4rlAK+oLFf1LEx9oYSyqcjbsio0letz1vnfvldhcCyXiOaNLrgcrKo0iZ7VciMTVwsTLhqnl4lLX0HsUJPP7k0Bh4XNc9kyiY6qSVNF7KvPChiJ6w1UCeiwlrVfSkbN45xe254KUv68azwEOMjp2qYQk3ElNclMVzvGqZji3+MqmN4MVxzDk/3MuVrWiQSPd1wORCU3PTqReqGxJ4tnVurMI6vAgwxWKbg+wzeCZ87cLwU9FaMgeXkv+eV3lKYNWa0cs+8Z7r/Gz7WqDIadfVuZt8ciDta9uauvoMJYPo34bHQldoawZ3ue6vVuIL0ANqru7TdpCYvRunQ2k5BbQN4Aos7luiqGPNI5YGIPAWUDSula4etJbM9QZ9wVej+j43i0jI8m19BXR6TBmBNT263a9QPLmB5Whug7aiDgcJ4uzM/jdPFMuXZ9yFcaq17NM3kaFUsSLTh1XKqVzBEInHj1ivpTUW4TbticbGrA+ePthR346U/Pv/DDf3yD+m5IorebO/Q9M+A1Ub89iG/rNWMrVFRFahISWB22/dv1bWQfkt4GCsoTszWTdNOQDPhyZOo7k+wiivRWis0XxfUjLyflQ2wgWmEFgjChLbNSQwq+u6WRuAR/kP9/PIPajv5kyCKSTpw48sHY0pq6MoF54x9sOBoZxXPQ/3mZUdFF9D5x7ze/LKMOqtsxCDWd7hF4C8GCXY/B2F4FRCY7bvl/A43CQU/Ps9437+x2ZYiP4RlWQy9zR1i9vOHUX/WEEIjnVurSgRA4ozUxFMpdw7pwQZjBQAkJsDX+go1jAPmVPDBeLeCDqigHejeb/JjbW1DSN/qhqjxrqq9Mz2qj/uCq+vs6hFMq5awKF904ooWZagD2PKKTtAj9dAomzSaOJ1Y3eqvsLc3+SlZcmEFTlOuOtxvtb6FcHwAmmMuulV02XK2bzhrxo8VXPfwouvOAjIL4jv+0qME5+fWmuX+bj3VhGMUwgixCN3CV/sxKEZkxt8c1wdHi2q7/fHsarM9JpyOHYgXHbi647htbujtt0mERWvaeZ/aKnhedf2IXcwPfuMxMFl2xOKL2wADa6edAr+JVhBcnKIiPAwfnrLlO2/1jyPEigwvygfSCVgd73uFLcwd0U2hjUQ+avVZkCSPG/zg8zCMF7BVWul4bOQrDU/ZX2iCoHu+ZXSntZkjwspGuSj6DPkD1TT4cgUBfAidi6zTaS2cNSJuqCG57qUCFTNrscCXtQk/D2DwELxBAGDV0HaoFv9oyEIl+JGjsQTfLHMptucb3cFHJmanM5zCV+opEmjnwQPKRDVW+s/jpFdRithpENm02/0Xzk5O5TM9eIKvCL5C3J3sgB0/QV/KMfWxAzVlNAidYv9E7yitR2N1MTnr30xjX8piXVFggY8F1/KQByt6yHEQfDpHQMYP5ekeQ1awe103e6Uo8xb0uFeRAOt5j+cgclneuAg6ePn3T3eemrOwEbX9yI5HOjAtrI7npsTE6GWYfICq5n5vy2Z4Xs8B+PaK8M6BKvBVO1wHctzhwDamwqTldiEnQbQYfXI+fvhWYOsjC1PyqJw2xwk/gNCLm0jX+WAlxwPtIvuWQJbHwxmGt6Ds3p9ZEQTG2rWoFUvynJ3P4Qehsa5OT4EXtfxevVWyEE9c2keOdAACp9A0AVcD0eSnErzQQGwqMzbUrY6fmNPrgBYSdlXUh0GbhBxq+VXcn5nRLaTBUbkQZUGJF7lvbN1kws2090DQt1a9oRwfyCl+fQSmJGv4l7VDOg6etbSHT9uYM7A2Q1Egze8/VCCtXpj9NhiFNeiCg+J8y9xaUV1Ju6iEfWahJOAsB4YTrOrhI+VprB5u7mCqmxEDtd+cSjbMUAwGkzhTNeIMrIiDWFa8DPKX0Bwrn0owai3kP3t5peZVxTz8MRZRS0oU5sTuztQpBiElxUXe01n1gSA5VNZBbdtOCtfdLAxAs6wJt1LWYEIU/Sy3uDLS1Cft58UM6tUAL3bJh232nkcwOpf5AIOOXvYJ51sX0kqoM4MUwlcv58FKcvS6F8OQayQjMX+gggDbrQHWmHLecjZJ6m1Ieetv1NvNkysJquDjpfXJouk18VpdRXbjdmb9WN65Rt2mOKT3cfbv1L8ni2EVp9JkoK5bBuvCJEmMtFig1Xy/maeZYA5pLQvrWQABEc7Uy1n3679MQd5EoX30nz6t3gf2iJZUQ/3QclZXey9aC5r90ytebq2WvK1MWUVM986g9kVSbjuCdeRgW6HIemImda2Bm2cvGxfbKwIw0//AVqW348gF0PYNCaE9KzgQe44efHA41rr187r0K4um+LHTGmGBiLydimYv2Tx0kzLBqxtGKRqTM1eUCCZ5rYHnORxGTRy1Kcs6PXyWLEE4/LmuHxMuyve221i/NCzoTvQuR1yTteMrTutE2wGGRKrJpA3KItT+THxOffneeVtv2HQszCW5QT4zYJfFlr7x7TMKSU7i0Wuqrk3vfanQG1ZzMvFGw7lxpODwnvLp5chtJ+F+ga/4HlnRwWlIqrs4mSKCOdwhi9cCAzziw3UIFBLX5b9/PO5ZCWKRiwAQ6QrlA4AYU6J9JR4ynXsLIni/AvVvHpcq6btaJMoz2pWziNLVEcXFs8sVsy1EzMZu8hCXinnLANtGrXJVetTVsvK+cEiyly+xzI+EGN5UDZ1zoMwCR/skprP1ItuP02n+3n9nBpfaW5UhiuE/VSCYQiU88+F/3BDrghm/qDb0cgCcu4yE1xU9gy/eQ2dtdCWiiMkns1M0iAxJ9A0SxuBNlGNaCa2QWDm6nDIxLc13060iJ8r2HiVYrgPTqw3/hFAzh1wUrA03ScuRmpNraJKKeO4igo98OoDeMsOJAJ/wqwjx5Gk+OTEOdzkly+RMSgv2azmyI8vByi0aNXPlrIMusRTQmIDNpCL+BfyR53Y8dAks3+YPOYQ7GWNb5kRjhJDSZBjwTocpYt4KwViKtwFzUeqHvQuvWMH0X+8jUPW9ymCwRtqRXPPck1MeM0F09Cb776ez1OvbjoOyK8Fy6QRC8MTZQfAFMBgOjLJiauH6Nj4Ep2ZOhgqgjVYDv7p96AH7/mljJm+YK64+lARgoeoOi04KNAnJU6cGFxsCc4QLQpYjcHmhh361g5jQGcLAIm8ypP7PvmvsG7JsU+vj4j1lfwFY9UM0Y6ISV5cYPDxaZcw29cXG8R6afjgrW90KWvbTRpMJ3eOJPLevElJMUnhiCLfrlZt8ej46WvMHyPaJMN8CkJ8Q9wVUeVjmU2dId7emxOswyMNNp56B7H/62WeM/pps4Qo198GineCiFQ7YgXaOVtwtElWl9nG+MhF9L5uXScLxR/bxI3syApddy3OtM0IdpmSEWvUEf/3alqUEpZZCpgFcM1hyczsu9YR4QYwFbLgFEulG3ZWiTEfPZFN1kBYiytVwAHntXzEmzNBELOrQUsqECrVX2HOv8RszuWKVZ0aYq8YXv/UsVY9yJJepIVPv7II25bgU8HO7RZX8INR8DZclV2t3arM9WIV160eHT2OOkLmXHOt/pBRvXm1noM0O4mi1xuSda13RYqfrO75fUAysgVYMxe0IZWRrhZTcocMSsmnJpFrvA5neeCnTDaJ01T9ary3Syx4wAsm1xsM8l5DdmsHhjkMuZ6o0hWho/Hen6gH6orzNA1kJYi5kQ5EliFHz4Mr4/swx5J3TQX4+r7mAK6JNC8f+6ZJHnmEXwNa6VRaLAG+oX3fe6dqiW6k3z3aCFvClszgLDGBxCCoHBmCefbu0PpgT2t2hLBPgqyI+CAZgVGOox6YpCAKhIIwtktOK+qSaCjEpoGsU/tbJGjMxYJvqCYBxXFyATpbRCUcl7c0BmbT47F3tIyiIEW55Y2TpUECTTgJVlQ3oA75I4pFHniJUnYwCLTatE23Its6iwV+ObzoCWh8UVQ6qXSX8NWJbOK5lNauXdv2cbCRsvoRNZ3WJJePJguaiD0XvDGn/4LyZXbHRnz37I49qoITH2F03VsOdB6K2SlEEyopFjDASlaHz9Td/VqTNM+MddLsqxV3hS174INtXNXvLNReziXBhRQsflfXKmS+Ax8Br7VDG+jrRWXB7rFUqpxhzWuWCn+fHQJVLTGtyXQti2ApZVo4breFnlwIvycvgEldON7x9Q6jYRdR2YYrvZFSPhjGzmn4nd2gNkfyF3+EM3Tpc8Gg4mwMtMNT7yeAAyR1HCz4nCIq05aQ3RKNliBykohnGeFdoLLLjCWkUiEtvvVrgU/uJok1Fi42K9bIgFewX4JO/qnezoqRCVlQz2UbE7ShBLge6oqxq2qw0WqDbZ2YXYpvE5rus6RdKpMcCUgpmK+r2tUNCXpnfckrfHGwY8yMP0F7X6bDA9o6dyfI8CNWlpuZlLmYhhKbh3YX7JPQNbZXUetlVr/xUxVD31gZFjJu0UAjIlqN5hXrbzpJkC6oo4CuB+q5sUAkOHErtTOvNYJokR1YSi4CN8UajCW6Qptu0nMpZrG520kTGv7sToIOpd4hKN4PL17hNyTGgL44EJwHKghteF2nKmFIWG0ViQ/XpscT8Cnq8zLxBD5U1jlher90mca+6bPWk7+GMXpBWsZzXCB5Xk0211Y07mk8Q7RBsYs3UYvUy+G+GQ+LBEMwv7Yh5TVsb/ZOKr8mxAdwcH5nR2pgfejlkpDmE7qhHT30A2zwLczEblp0imV9zpdjxfG8M7PyDMKtIZ2EWLrQ8wYMTwWh9Gx7CtCNColl/c8RilfvyU4qbwWSNSf6UWI9Xal1qnwKAkiEbldlKEcbbrR90NQWzDINZ/HnYburAoEmfK+MoNq78Y9pZ2sNSXa9ojorquvuUOML9roY2OnqsV8euVu3k5M8F667HT0hsp5G0e3UA+E+kWigjAFnDmEgvUM8IFTBYSZ30jXL7nlZLU06Qun5lJHFWn5/E6AiNtUHlQ+UjEkGiDsyY7ZedTg1bd6MnEo/5aKj3kWXbjPIypYIqS++hjUjxiu35B4vSBAZHe3wACir0BArX1dvCvBOW1/I5zBpkQYnx+R2UDdLPDewPuZdErEor3ZS+KwCxVVW7bgLMAcjh/evXdJ5vjhdSszfqDWMrhhwmmePP5BFdKXAJIUy5eCqF9sFkRWIYSJyENhYnEGQtjPfWJB19Np+XJQget9gvsqRXaPwmRjTWBv7cpkgwwWRcqlFHbSptdLtxM6f3yzFbJjMX23cMIdRUxLDMfrPhtOEtmW+hZ06YnTToVk63aDjTxU8gS5EnE4GDRTyMIUnXGHMjoNTYI4SM7TDxudjCwhpIpSPxPXzgEjID0mRFsTvNAXujTT8/wdaTcwI5kYoYcGFGTDxi9N3Yk8wsmHfotcEK+88bWFy8fxKtY9lIwwKU5OQtDao1k7RQV5mZgH58ukTZMlnRIJTyyxB2s2L5U59WywOkSUItCMF8E2H1VrTg4ue8cmpxSWOGyHVvrxLHTx2Ns7Ivg0DzIoZVd5XwLBIjHUg2p03MgiOxrrPji2fwU9enCt6mcLJ9Sp31P5e1mh8GntbzwNDFaeYdjrqezQfun5/NN687J0Dl0Xigz92E1R++u7+ZKLpKaIRNZ0e3yFVr8PApClcZmwQxZZWURwQRdFCGZ1SzoCe5MTb1ZlpngWBtp2uN8N+p3JHpj1VESgw+DmbvYdiJM3IiuRwOpQfIJf+M9DqEslt7/HpL4S3uzLWHARZZk0z9UqVe2OSRdJE6LKmNw3/R1FE22f6PfXJTKmCVlVbGNNZ9mwNYkyWLJPKHfeRcScHa2rQg2qLXKCLxvZSAw13WeMNKakjiSqB+R3HZJLyipTT+fOdorPcIhqug+KFdJ+o4XgbKPhIe2cu6To7PmM4Wyb5g4O2ZpxgjGAYgG567zrAnQTFJX4gEtkJ+Wj0mXelUvgml8VfvaZmurmfAhG0xXQnleP9VST0pk4wX4IcNvg3N0lE5hZFGz+oCJn8/b3NF5hKgnw6eDiRPuqEc9Rpmjj1mVgRGW3tDORKFueaaYuKw2g2Z+VWK/txqjtLbnHIjYhD6lH6mzGvbWWC+kQqECkHH4qKTnUzRD67ghsOpymMrIGl4+KGvJ+vEkle4iLhUIFC7ODCbQ0tRiKY4GIZiP+sDgewTCLaqZ0Zoei+65ceL96jd3UWRxVZiycObXoWvSD5Yfn14e8mDgYJsE7zeitmDHCGFP+zT5Zw2T6DoD4otq8u0wmC2EDQpLw/cAY7N5PkHDkpmFKqoWdGpaQr2FK/s6efJmA72yZ7UnvI31Q2rUvwZn+wlPx+iE1gvgIe0yKrpbzWddVpbvVEEay2Fm6Bb9nYSWv93J0ejfvcRwzx5pIBHBD3BwNVdaxmhOWrWAHZGhKkgBOTvIkiEranlEWk1qHT6Be9UNzMmsMDI58YQPzNwZTzzIyqd2lswf7UGwdYCT68IcEpYp5QXP+W8iLTT4U5ZJ1t7L6Ji3wPnOSpq3Jb9HRIfYtEgQMxy1U3Zx4R/6Mh5REBI7pKzs55NC9tAsFJqOK5PWGRdutoAPwVeNCD9Y+gAe2RSZN46fs7lBJsow3QQXhy7XUQgH8Jh17aCq3hzFn6PXImWfxpM7P9UA0rgzUD4PRRqFvrPgJkxG8Ra1l4Hg2beHmXWEU6IDQ9MPvYXTIzFGJz0xnY0O7pJLdfePDJbKSvz6Knt+F1+R1h7Y1T28+UAs0/AqWuJOnfpAypVFNF+4ejA/k3nXSavVSCtzreZc/ajkGN3Z1XOYFFRJZjrymhoovG4SzjazcfV+eswXz1UEbCYhqE3TERHXAlGPNMHO+MKclBKc2mCILlg53ZMWq48xtY6TrOi0rKO3/Fdo35W+0CmSWTPGCnmcmXv706RAGg4MfMfJaPts4TCT1ZA5QODeStekHiwSIrzx8LRHcpn+asBleOcEUd/ig23oVm/fOj23Dek1ookCWP3G+17ZwEg6fNiiOWnqMgyIzphbSPNSakzNlqDO/25AoNOvqUM/dYHL0jg9WLBmkq9i8G8Yg3eImKmh71SGOa58p1SDDyJCaktIuLbYX1wfO4FN7c8TNl0IdrN9RuZoOLqaQpCQIhgsmfGExxyoGacVJFJw52H1k/UGI2XnA+GKQCQIxj0TNIAn+SMS6ioYM87w64sRUnubbA+bKe2hqcFgSsSR78O5FdDKkTPMrPROqB+tU5TddHRAEC9OsZZxzK0w8pl9/XLE9GAp3BMi1e3ywtObm743bkD11ZNMKZQ7OPH/Z/rgGNDAz0FodZ+p74uQdaY1TIDa3XOtN7Rauad99rEp0cCcUxfpbh72iK5oGSAcP7VaF1bh0zy0bVcGpQQsmCzvDAbtFEFM72y+AJSRTRMCuY42APEhlHfZiao5qn0bfhuSRoFOf5CIQ0uqWKjUGcRNmYnrj5eGDlrOOEhWTKGkE1yTR0GBVcKbUhsYiDLS4OOAqhN4P8sJSUJwXl95Ehd8NFO5GblW/+Mp9PkzmEk4CMAjROgC8JVdL1j2XgFa1R8TJmheLSVj7IL791VLo4/7iLa8fpggGGxxRNKJ4DqKsaN7thZJ6A3iF7YIT7KNyCtcXh5f4VsULtw56AzEcLnirCDltxcxVw3icMjNWj5eyyqa4cJIqRyOeiz1t6FXaCzTvHy4qtDM7oCBge2Tp5c2PssaRoc8s8490Qh09yScke8t1jtsHkOVTRicWPGPMQhtrlLKjPrbRvICz/h3aYCWMTEmnm0VeJgwS3X7QLFHRY5jqzL8pKKy9cEQ+5LTG31C1E80fVwINUbKVxywFqo500ocI/aC+vfIf8dmjr/zcm6z7Hs+JqvOc94DytevAptY61tHR/6z9NU07zpcz9XwSUaFiyIz56n3GmcDwcSafRpEWM+7r6ahWpA8JvA2jVailSYcSJlbpuXfIvJb+3VfwVUkQaQKaE5QqTyo4/PSczIUWXZmP1J912tZ8L2ACvlHvuicZtaQIV/RV6yeIGtrk68b7X94WGHhTuSGA2k4aLnkYVJCFPTNL6m591mb3uioMxG7uFmF/iR+7zPxy9FSu1TNypSjHyukSY9UvqexuqDXayWFywaEpbAFGz1m26F3KHZkmPPBNSWzbCW0bjwLPseF3xU4m1yuBmoBIvH5KH12E6LBI3PL0XM6ME+ouLi3la2lcDAgccZb5jO0A/bVIdsTyFTvYmC9fPGEiQIbHlCTDq+c2VpQTU59d0QyerS1TXvRhZXHbOvi0XDpkH6c/FrAii5A01lDd6vvKQIDAfzdx+drXB88iteGu+OxFXVVFZLvw19BYK4ixahdl/erxirRg78Khb8fYy2S+nZh2SnJWOVQ695rQ5/CLzLSKuMWACbkXZKwTOo8/nI7PqntjqpkQNacsdaW1/oB3nMyC06Dj+Qsnm3uhITg8Jzo2YKCC8Ai3Iq75iYzZ0v86vRMZ1AVfKjs1eHQUluAnG+rvjFSjkNBZt+i7TLWClw1oyeDQxKSV/myAdkWacimbtsUHJBteKW/ffVNaFBNqi4ePgGzmL/AJsMNejKLmT1bPiN+DjNUjA/g1qwkfRIdgbvzedNne4IjjfnBZutiM+WWR7rR3dAw4IMz/Hr9y9d9/kbTNFuBDB4xzncR+2JsUKwaQNuaDbCureBrlrTyV82USAhuPeEiPtBPreiAKqg1WkOTUjaj1IWYJBDrBagJj1aBW7hzxjMIihC3c1DkZ8SrfY7GX2P/d/ENBmfxKGJTUHD6AQi3/BSA4MkauH74bzCZIyZKKbNDEkccTXn6kM5HRhcU3Tal+BkD53Sxn2o1yuvwDbPdd2MiUl+7MWAf35rA3NWYJVYUfFbdlzRFrMsUeTAwlkHqaW3uQCSMdHCLDOtGXOf7FHH+v8wO1FKC0Ce7bT4S/KD21cLeY8mIw6XdeQHV7Jht/ESbwdLJKpnU4YXbXZJ5G7IvN3B8bMrpu3HfQbKDT1RqZF97YZyI495b5Ex7VGsAj+80BWrjKy77/ih/dVBT5CI02JcEW+i3WxbHAkUV5Dl1ZqLzifzqJ1WvJqjEyT8bk4sR5MHYBX49HHTrAOlwZ/8UM997bMLteP3h3l42GkoCY2jxXNOoYi4kiqy/pd6nZ6Jr92a4h802UVQwApdJL8tQDzwQz5x+VMcioAJ4rtA5EvXhZtTK70rRF3jHZMa4f3n3/eCHJxZLKMyWgXiCQFzDQKWJBt0gIu2pN8jRcMwV9IcG3q0fQGJ4AQs51D/KdzGRh44aMAMRAa2Z11NTRteHwLdY3xQ49zT1e3NtvCoetOI7kHUmaeIfRWaXZPT4Uh9Dr9ihAJtHpEeZldfg7BfjBIGVe541/DNmiNxByr4jfjW5kSj8I/PaQO12yi03/iW0nzMHHhqd8ThVv2eJdffRCsZqGYqinUuxHv4y5BRePkZBo6lTWlf+o3K0LefrkTu1RxWgHcxmP13pa5fQwp6nw2VKnWClzXQ9YdNwDe5qT35uuOgepoMsPWhhOropDWYanJ3FurUxXafHcQBTgfJl1K1//eTEybEbCnj2j7XEU4lGsOywi8++C+dIB647guKI5QcwyfJ6N3WYtFmqcf6rGISwPTL9JY0fSTxHUhPBb8NnkXHDwA4YWUpmz8B+c90tCn3eXBt4UlXPpOXh42JNFii/uOG6NnpuZ3u7zXCMkKl60BBlpzcFvvQjgVMun0FxztSgUN6PUcaIy5Jz1Axu3l6RC/hKs/uPf5p4N9uFTdUmr9EgrHqGp59jetF7g/75pxHKLZviqrmhIU+JiJBFIVh1rJLWYiVRAobKB/qzJcgcJDrUzWLBleuUKerSGv118RC7UG+xYrmLfBW2cFRdOMBLBTDMcgKsb92bChKr5iB2RFCcfSAuaZXlnOiTbd8MhMTbFc4hW1sf33RYMrmGteqep6WkI87FQ4rT4m+xsAT4H9XWuUfyXtFzMebe7hEQJ5UdCcPPpq+Kq9fiGs++6QuN665MCdXbhT/2Qb2P8Mt/DDapynVdTaEYoaEChyRjsEmcVeqasBj5kZ/J4+4Ms+wRSxJiLPKuwE1NMUH+BNXhSxt+rp4l5xMjOb2rGZcS1dkHgp3q9zJ1XSfrg5hbbMhDosDu8QLsGpvn2173IVE9GEKoRkegIhK668v6cKbW8xzHYbTSUhBZJzNZ3qgh1bKtUbqbAh5a1ArkLsLQXJ2qPBCW4/hZ8raAFDiyrTImYbB5i7Y2i8QtkYH5myfxOJMcfeC/OJpdK9CDmrKemowIiOiSwU0eAnFdw5D2gF2ibzqj4wdIURnQ+7jUPN2CCxQopI6I5OGblTARddvekZvvEAd7b3pjaP0TiFSdJlJdzX8uGaTNH0/MMlSsbXTdzbEOTRHCkOizyMVsmOtqnfQEVCaO7szzYjUZL/6jTAAUuYNiXG9YywUbP2bEScVLgl5hDhx/1BI9M41E84PYv+izR+ykrkSiNjNPGA1zwmaI08Y3naVg/W8JlPvvyW4H62Hpg1/FXJ2RnuPkjzOVFwTPK24NYg/eyQLiMniwkKBvlPrUTfSmnwMWutFjD+SCjw8QqAPAIoazGtaLqUCuKEhpCVoWxTFxfxeilZPEPge5Ukxrv7KGQ3FCanQ5OV3Ya6mJsujgq7HdzmUqVw9DJu6qb9tpaahEMm/yaOzApfn1fv+k/BU3VPiL+6334p6ydSh0cvAIkip+tmpzKwmoAb9pUiInO/JwEeU/5Rtg2t5FMiRRjMyT8fqrFr6brOcxPqqyQ5hH9ZPAua9Lr6obPa5faXPuXSr3nVySL3iYq8os/JoHOgshUo7lI5i+pWKLJunogmlHE4uBb82kJE0+iFuxOH0PLm63ul5jIF1uZZ2K31DO3xZULXSKn9TCZ25BuTS+3tKBJ90DRcVT3ELAOwJVYoP+2XXywWp2iR50tkYSe+cPov1fjHd+n2xAkGSsNH0QIHWYhX+VPwbQIS/h7hgO3OJ9hdfU8t9GfaZjbPLHW9Cd3mr9uouZSzGTx1GnfFwBzvyzNVVVOUCzZmBf6L+Ys+0evB5ApVdBF/ebEqqit4M5VTUZ64ARVMbLHB2Tvh6RZth7X0o11xFogIq9iOGzYDhcoYJ64UsKooaD+OliMjAKq85/8ACnB4vJ8bVEghMkfCxbPibIJHvM4jxgtBXDCAA7dbVVk83KIN+LSLoQ0XIyExo+P4Lf3LlANCKgbVtcUuMyYX+oxmFvo5JkgW3SLueTw5I0a/UPqclh8rzUZrhXwbvPSDRxdttvofP7TnumkfeQ45Wz4KzmiFGLiYbPwCte8DGfVv1f6q+UmjhRTLOEob2wGWb7Z+nBn/2xTghdm0dKF//JDgcmqFyIICDPXuf3RnCLYlqgcThjYmjnS+s+egWpN0k8uyHAjNRyGb7TlAmgmgaOFltZQarpxO4Y2qP12Cm5J4mOregE5Ba8okoXKafUQgJWT2krHWtkja8BqCv3VB8OYa/d6GWbqYDpanrr8reeShau/gQMVal2g1sPkRQQ08qog/Hnwsrhu68qq5+CW7Rq2ni8PrzO3xtBMOTBbGZygu4oDJR3x9c9iCGMFPKR32Et9mXCfBmfVK5uW2YuxqzLGW7G4mNaSfZALQEVFs2vYJqoaIR5JOTCeAL1Y+4WLDBHLAT3y7nvf5oVTWjZsFMCGAJN7PRhL04ZNGNP5XaCJW4urvjPz0rgt6ufP9/6NXSigOjr8JMSEVXATMPZxaFDJJKdyLPZA7NUb/HT0mPE+U5KIMZiMlFQiNYhoNQzOWWFVllTJV2266Z1J95ytDdAbEDweeXfjuFupaONa2BHsZPqyGbIyleH01Q5R63iHYw0nz2mghSZeTCE92SG+cN2LJkk2yMnGVBMuJJvmCGLlJW4gIjrqu2QtO/FD8NTKOrD86CyEVUO/2tkQwqloxbI3Mme6ZkPlqGk/HDOzHVeH/qrrtf+7hXHRVmFHihFnpm7iZ7g2sJwX7sgtyfF1XG+AmQ32TJ/Vqke/YL6p7RLT+D5E03bSatViJ5AGE041ekB8E+UqW60pKz93A7WAX+BVh2UmtzDKlx1avT0QFOhMxzYSCFTGb08YpBZ1cjlktj7FvxRkfUoFjRTEz5TKo5d5fBkkvpfG+W3FI0pMGhj7o1jKKsVPH7wjCVorN9Rd4SYOek8Srrubus71uKucttEDX4tCO+g7LJ6zWq9kL/S33USppTMBYKCTR+eErXbhYXAtPIb2cYPTWwE2KhrWkmOLej/FpZzB4aaw4H0TCHWhnmQ93RQW4ppKVHBsbCYps3tvv57pACeRkIiIQPGIb5ptq5TDG3IRzI0v3Wydqqb0vLf/U3ONEIK+yo0s2l+WIWDL+/STgTRRaiuLF3bN6DflobqAKMOe27CNAensXVrNBET4s2Nl7Ax4eNI72e9TjpjpzCKrmGFAvc2AMCNGIiM4D/Y7KXFHYtDCVIAmGwnsWJCnogFGVBUnUQ2p9lTJn02Sp5f1zLyWaVBE2qOKiMZUdTqPjeAf68LJKI+2C0XZ4OJl/+M8iWJeZTNNbvGoRi3/kZD64vmyWEpXDlfIDS5CluOOPGn3FTiVt1EGxrdQjsi+Ey/FNU97yTUvTfVSld/JqHOMVwWobKqdC+KDpYbLtQqvCiQRGOmkqiVfpbu8hCrYSuUddm8AKBYn5Us25nSbpAnhxX0nMw0pDGCHMDjCvgvamPVSj8ekv/NvWek0MjFCV7YT4TYl0nLLe/zGpBSdUfr9mi2bYIuPtmE0d368fgk2VukWANQdaWqZj+Alwqvg4MjjDTGFgR66G1PgZFL8YaRghqZPerFq+dLciOJRCvl6AI0AgvS1jJguYu4kbTHNDm2OO3LmveFh9w6grk4zRy1GLCopOeZeTpimzx1P8C14GBL3x+qcb3rF0aTbzEgsVPcRIjp1kbs/rfuheIAX9VtNxU7eLgMr6GVHLIYag9M9Uhlge8pZxvLse20m5oWloK4sx5X11Ipsv91YTvoicZPq8vQWEyh9RljaLOmtayGTkvh622x82CQKiKpBLzF1maKKE8pl+Nw6ja1K4lyVn0cdy5hubfK+12D2XpO0hDU1gCfFd6ynwZMZdNijWRiF8XEBEG8FDx2NF14gv3BYFFzuW/QJ3p2J8uC2iZS3EhMhbV66bq/jozOQssSnN6XsTCjTd8kYE6a2ZbUkjDfq/I6bfOwgSrfa2oeqZcIim+Yua5XlY5CF6sUlY35GUwNucsqDEySGYf8tDcpDf3R7NsiSeWhUGkjklc3d1K680A92Dw/0J9fFyYz+dejvsXZ00jkGk7pWush1t+sR652OIQ34FwJXOhgCAQNkjPUXK4PhuWcrfx0ZPMvvril7qyrmHw/70qLmZCK8TYHQCILBL6WTcaXUOuZMgf5t7YRJhFo5oTaGwXuwV+nlRWlj9e4BRZ46xKm9+o52LI1q1MZCX9X3upm32xmuTzm40dwQOuqVEdfxPRegwnuFRzX9NDA/GGYgRSthGLtIa9hxbCZ0FFReGJs9uRmNlU5+/PLlaFHKRZi+AlsMBgjC/jWsuTdz2BAq4aXbG+G0tzk857J4kHJPMRY5HCtkaCboOPpg+2DcdBafUSqq3UfFfgGVQLidbwt/NT/g1uni2Js5eWsPFRRucrP45A3B0FJQ/zF11zbk2DZPCCtESTYfDb8FrpJe78n4u4AIS9DgrkqnLaAU0qAlRFF6TsOK2xirmKp/0Y5auvyE16XikNdKIV8GcafCPq2gI7v0+SmV5wrwnaWSX5BMlOJ+q/BHs4SYL+gv04cuWKUKSI1Sv6+sxS/Xof5uFSH+yx7dwoLjtoxDM+BKHWp64ZZHy7CTSBfYi+ePl7naKYeuQgNuEVtxjr8mYtudYEmfBCJIkH6AJ6vPTO3zTBbFYupp21bywy1PLvu5PcGkjB3Gc81ysVDE/XYMCvkssr8ZHUvSyItAtMfh/PsM5ZauRHVoyC2Fbrqyon5l+U3uWiArojLutd2SMocT1a4MWLsLZAiAOvQDW97kUDjvyJ6XOerD8ULaZhXjxfMXBr5HG8AE+DR3O9vun/OVS+IpYHV3xg0+LQvrH1tuQ2QaSw37ZNsZVGKfLPnHLU9Ci3m44n72zqvD6ZrrpIc1Y5X5L15DV3p3LEW+Ez2Tkwvr8BsNKx5jOlCGyNQ6Z1CRYsctzGk7deupqHQRNM4CozNdzUcrFXr9kfkfGxzO56+G7vkbzmIQKpQ6x6sW51xo2vJ6z2sUSsA3BY1c541PyuYchDaG2kSyJDw4UcGL4jrCkKtVhYVOcSzi3Wu3iNb3ZzlJhyA9DOaGZ9xkSiTqajMwKDLnNJ4ygNKBE6XYZrgIDY2OIxN6fXAq1DZIGJaEIvmA4diojngb7aLvz7aIWV6LzOvMEqwLIn8wVflsYF5SViEdcBdDxVCDYOefvSG22patk9oNJbF9i/l9ztgKbAXSmylk9KL8A/s3+Txq4PXxR5bO9tF58fwsz3Hl+VOS+EBuI4APadOqTcwNk9bWpYRahXBLyXD2JK4K0dwRF6WQq+xJx8OUBKpN0O2SXdsCAFcfBgyd/ZwxJTa4wUHhpon2/VJFansXb8ypp2ZwWnvsxx7dm09kbOqKAVespUdis6fCoEWCQ2cu6FOXyYUorW+eov249ax7Rw4JSpdUzJAJy9jQXx1KWM0RzfjPBYTAuLh3m4kiHbAeMXMwCdz9Dx3rgS3SRxYHQD02lHnlWV+mUXwyYT3S4sDZt+wDHFmWSbNbXkc4Rfa5A2hhF36xiAYC08X6Zo86CxAs2evFEIfJJG5CeMdFhXKSXHvs5NrQCeGEYpIwPcT1z1snuvacnOcit8i8rpQ7TGiV05QowYWznEwD2NzAOdVVffVsIusv0YxxUZanBzAoHczfcRyqvJ521anI8qSQGiiJwBTabCRgE7CVyaDDHnpn6WwAPPchGMECdqbRq9QMY9vCw4fGxeOAVxF8JfcE8odJkgwSTwENRNJu02kCJXSjoMO8sQuuCjwn5ljtNJHul1l9cT9fSoqHPR7rCzb6hLDGAhwf/WNd7tgzaLZdYjkozBLd2VZdbMoj7fg6VEaThnYVy9HMu19tMeFUlaFJqm0nrN51/nFpkEo5DM4PEvvuEnmIfhZ316JNStWIi3i1QOnMQwME895+ygIfbq3nwZrRuX6N+n0LGQciCzZ48EnpeDqcF+S/uzO9IGfOC2jBbo8G9zm0ieYUG8GzvzDBc/7gNENTqmhNhNcGULpgOHfdVmZa5UFs4hlcxPvPrhFukoORiiHkAIbRiEIyWv3QbFK6UDCu/2l4iyLe9L8iUr6dByle3rbhIVUIbVNxpfVUPQ68iXHpBGya3LfDOyJRRI3IHiqYMeBBFbtIxIJlPCWxWUYEU28skgZuHUW9fqqC5/qJBKpaNBTHnU/w2KJMh/JLE6lwPVpw+pRwtGhBZ8iMoFQqCIITrhjz1oQpgK5X2kbfiAIxqeYeTOU9vuTLaA9b0jg48WvjQuD8pgICUOh2GkUV2X+/3rTlGvQeZOA7FIx5rJCQrcAYcTEBTILJVII8YRpbvSZhFihkP8baSbtnimSlSQTawH4gfrJG27A+QRPloSbC7h/KRYPNw1yNCwJXcHo59jDuK4ma3oPjZetC45F1LEKhb1pj04gEFRIa3mMTjpbOfLq7CSKUNC3kjghLZtPHdbTLsWZUR77+bitSvfcsV87dtV/k45F/3NiLvIvZpf51H3MViRRq+qKhciAmDnz3kLe2fuPCpudzlciKG4nrv9rehGEKgLOmzCqsBA3/diGCI+bgf9F740P5nmEYmhKKeASRzPlGlfS2neDl1Vf0MTrJuHwobVg7HKlZVRDoAuNYiQmO+SVLlLLOVizY/LLNDH21e+kGprukhpxrDmHdhnChjuNxsAMemvRLuWRF0r7483Z5TCq2Dy7cjLdTKxeHxufa2uYWvAtFQ2uSsmkvabAeva2K4aHx1qBkWJyVKfhXyKbbAAk5zqaoghGPxGDkZ3uYEAoD8cIarFlGzIxYysWHLwZLxdpYdFCoGctP7uUCGrOR+LPyd9MfOqRhYLMbeAx9e/iPhm/olGX8auo2QCTingGp/M69nMGGUSMuP+ycisExpWIBybzYn4qBspnvGL84Fa0Y04HvgIqFPYmMsOmEYUtnkj6NxWIgF/USZ38hGfyNPOv5gWDa1hYq0ZLlC0jnyZh/xy39tGJd7h/9Qy7KICbjZdqs3PP4sx1BNg2xCfcd5MuiAxV+Tcw9In0WAwFGBcOm7PezmEEbJOGQKZlh/MlWQlKq51zTg1stwWUeCbNZZDDQuysSg+i7cpdIBiyYhGp58zOeGj1UV0aTTCIlN/hiTQm18KK4bSWLaY621RHrroQZCYOpffxMq1hdct2yxerjOd/3o+d0StxL6jy1VkmOR9PwksLAgWmI2DTRO5QKKt5Jmg12+xaW4u82VHmf9KZg8t1pkWXSjiyx211QFEdDV4MFf4OleelDQyCmKlFfQcIwPorjDhQ0f1Fgp7MlyYGhFpAtUlw4LJPgIWImUVUZIU3bkJec05YdzgzdVgRTaz7rcoB4WtDLHTSHTJDxcQ4+NC99wuQACiXWNept73X9QwTkyhUXvihGxu1q9h+dcXDlpkLNFWOGReaLwVu/WsolAY3b+anQxyQkt7Z81qBoyeKJZCE4CPjOnp8COp1Feu+zRjAz2xkhs1V/L7Mh6e60ybOUkMGBRwmA0q9QGYcgqAWoNF6TSvgp8DMAPtGWHnyTOugunGr4NjSo29Py3Nju1VakoNOp4+7WZ1I6UlmaZb+xI6ys4blqIxZrdNAR1CMUgCFZWO1nRwBbgIyqFcEVhVQZIDc2rKYfIH1VNXNe2HRQteJ784SUxkWTlmAEcLJe7azi8ts+gCRJzdt/qABTRdPi2asQxtOtx4BEIdDyu47fvZnI5pK+DnVlFyoHvvAX5k3C5RKpP5bm1ntzznTC8rj0bkz0vVY6CLvK84RNqixuxpNg5Vju9EDuRSPeQVLKQZHeZ/WwHE5tVVtdDL5QXitXcnEigJV6Pi7WAWjKjxQFQLH66FKcfwwG0EWtk0hN9JG+BGNmq/9XSSefPmqEM+Cqg1zeLOzFzqPXWl+vgtI74jQgXjdxllJLu3MEUWblluJg4ZeMsJrEAuqrgMK76tf4UlcWOif1qgYxzQeoLf8eg3Yp8qckiotgw9tG04MAYHdR/vWrBW08T9Wj5FeFNnl51qGHJUP6p3L1gFhuFFI5kq4EvlWYJoE6l8H40mP2GjtJmtjFtxO7+5tYj6aQfWOI/u1eJtwAYs/u5VoVkbIHz88XJSuEK4PMY3I+OFBrj9Dd6Jy515J9870S2F0dhSsGlgkwwWkibJUZAC7Bw4D/O4psDyqEDbvh8Tbt5DlX0YhBztKiXwqDpflhcYRVzeij2O2wnNUwayQSq/LOmhBwVrqhbJgwaSLrC7Q5wtxr5Fy2PKA2pUpQdGLrPRGTJNpduRZXhLaYHmX5oR4OOrzWmHtrtAuZOPWc4V4KCZB3BKkrVIwv0BQqXraeYUi3BFg/OfjRY0aD1wlKPdhPtHFvjxLUQDABGSq85RjbShxAUjeSofqMR2mlY2BerNOvnv8dyCizWrOzgwedZaNiMv72sqBQOPVdf2qpXimRhFJNj/gmPedP5a+GjHF+6YDlLpp0HSmTaN4mfVRaDNCu2f3ZGSu19MTcEvJHLkwW7Jb/JUejrWGL0kmTGnwk4gbCNC6lz0T96jPF4OUUVsUB3TbDjwCw6jfrY+8dQQFRHOY6nSnvmLXFBhgQO5shBFGMQZmc58i8SPOPP4TWBp5xkNQBa/bc1B6TAs8uaB3d7KSuzgW7zWC5TvHqLEvdlumfykZDw4MHIhACR+kHUz5zYhFws8XJpDiptLPPB7t5k9Bc3LYB26xeGTMnXFmDbwGQiX/OtgjF9mGLzgRLNLBnVzJiR635Id+MTunvjXcqBlBDv3iUngLNu4EEGiAm4hRXuwfttV+T4A2b/Af8jotkmpsPcLuzcuttoehc1Zoawzg4r9+7gG/v5R6LFf7WxppFWYlP+581fC3+2/gmLEH5u+snW9swLJYA9Bh4Y067kOm4K60UOOws6/WsWZeJXnU3M6zV/Cz2sM1tPi92anOkO48D38j0VTeztM0okkolumWUYdG/lsrXkKr0D3mPwPjoqHdGk2gO7MJgTuGENThGz5xPdSSwkKuGJ3iZiaWPdNURnhtwpWlO8AJOOUUVA+eN42xiIYYJXVxc2EITqqc7Ja3d0Bp5fCQdAVRnXft/v5vr2vF9GeFOUDcKrYmQ5uGCENc/FbuvJCs2OMfBpjDNYImmtkiKgg/YVt8WKBqzc8kaI8eu33LkpnR/qI5TVr9bPFp0IbLaB+uPPtd1P8oUrU0yaq2wNm21alykUfkA1P3HroAfwOvAgSMCYljG2bHsnwlpU3cPfUkkcIS50nL93+wF+tsg0U7yy6RaqF2rROQUPBhgn+bM6BeC7oh54KTj1Jo/qYL+3NySsKQa+ADWPxdtORGkOMe9+lI4Uu4P6nkP0BCOewUy4IzCx3nLZvUxIs2LsLzz3CZ7t7ZlPvOp4RQ2g+8SW6fwIVIZp9TXbPFG2ibYAk+7HbIZ88s8Y6MwbmcPTCNlfw6cSknbcWg921PdXbZeVyFzFGM9c+79lPgP6eQVG3E7yMuCFOFji7JImDWyUu1jX1uMcFiwrvqWIzINx6fHEsvHFSZhjj5qndTzE2NejDCaitKdfq+aO5G+kXYaeJZ4ERvzCQHkvlX9sqnSt+/mBAMZ3rn/4/hOq7xwXIYUS2Ip8jQ8aIO4F29NZofUyQpXzXVFn1c8nYFkJL+jYrVq/X9nHafCzRyukVA0TKdTFV8QLxteAYrpqF/CQq+vMyw3qfvEa2xX5Uznna2c1yyn3PO9Jwu7mDP6TgU/BR1uRdq+6hXLA/4w716QSZDYCc5NrwIT2LCSQHHW2KQhvDq5fFd8DtE++eoNUDP6hOrJ4dEZQepYX151wdgLzv/qjymylT7/BDQq29ztNPIE8oXLPydglVmUY9Oe+ElShfeZVaqxghNANjJfHm6qvt/cym8y9Gn1E3DuXW7Hy1lDSJ+4Rhnm43LuPllarNJU9AeWEd3apW2PHk/himcJNCYTu5vcDPjhDxahvxB7PPtw9BtAzy8I9T+f2z5Y/+vud6I4LzmV/9oFd2aGneztKci64AgXIYQCNhSu2KyfR1cBppRJkPaDKUXJRKMsPPaE16f1hcTyv6nvFhtnV+qdD7cIHOhy6K5HYXdNiCWwLFJ4SoMW0RDjyXldGRwl1NIFmYbYbtIwXiT9M7kIEcj4KcnoiyBb8hrQAdqOYQR1lM1TEadQIuoEE9AF5oW7rWTv2qOs+p3FVIeYdMaf1wU1wPWv9IQd9y+oGbnwcOb/3RbieXIsqVlgJ715YH+LBDiJjNfzX7nAkHOYA64Xx0iIasxwmVjhC6yHBhwp1eaz3VWLEHMTfdZBGMRdPLw8fLfMs/L82fnWsrpxmdzEhKZvDDerW6EBBWjvujCqbwQ4LoTV3eumSsR0RL7rSy7BqjDxFgCqkkiFVF3AZCKY3DNrBxZVw9m1lAbVll95zWyO/QhklHmo17hmCQ9O8X3KJ/PibYajVUAKrvm3XARu56Hhk0OcBlVzykltkDazuaC/eCD73WwxY8cqQ7sM1fwRyYVoTXzaPFkkcjq7CdE0kG6asoMO8NS+XG6j+IWL2k9GKByLU2+6HDvuc3cZpXoNTn+CoqZqzflPUEur3kwdj/1iaNPur5Sw3zbeG2TXFu3xXIPvMDZvyhhNXEx+v/C/6HSUvinfcQQrGOAT7mnlhjsIALptOx4NLxPdGeLRhVJC8MO7HZTAc/mwDZdbZNT/8MGVGz5BwryIm6mIoD7kXQRahGjg5N4lXpSM/iYDybjdPWJ+912wM9uZteMUFWA+c5OP9wfIw4RtuoE+qu2UK6zMCKBJkIHOahRye1C2PPyk3q1KTMIYZ7BYqFxHXMk7Eu3ZaIASleTEkot2Sq7l3JCRDtYpEscoEVrjnWEIAu3OKsGJqAN1BWpVNNyQgd4oKS/vqATq5xFv5Zfle9VWK5/KcGGVKuuyDai3EHXl2IUxwUyFwnf4zTKVcYcs+YQcEGJUS07Rgprmtkz/hhNLT3qt1CZeLNrEjhn5wuz+WZCMq+W69nPUsegc/5oYBaE5C0omfv43T3gMlMiLNOrY5MIe3/mBjL85Rxq2OJGgq6UXQ84vStLdsn/PdvJPb7mSV6ODaMS6h8COPIuaXCSXMS7kbnWPuym5n8h6eQ2dMIq4R3LXVhpnnzSS+RrKAab1GhnE+ZQA6PdVyhMvdxUN+rZhTnS68oENt/WuipAaL3R4HSl0blgab+9OzfaAsR+TTR8U5P5yZ36871LuMDPCmeBjogXla+96D5pAA+xQIXhbKp0IiBaPhuDqVjcbOO0zLqszrDpcmcmj3BaooQzZbLZ/dqEznZQ5Aal9keu1DRVJldDLY/ygFyGeGM6KBH0D+EzrfT7PylhD+n+TYbyy2DYqzwWb69HM+D5FNSyRsv2Ojc5GWvHaNmhy7Lo5uDjq7LXS+U6drVOOwjuPG4QSK6HcKoGk387XxYeTVZr43aItT69zrhs6sIrezzJGQD1teXIbH0Unxy+v2fDNv1gxdaetDFVnv2C27OCTgQwDKbB/Xv3V+kKEVjku7z2ThM4w9Ark1JCrwCA/m+l3+BX8IYjfSkd1PJtM4d1nwQ/Xj16QOBcPXzUZnTx1Kz0UUvuk96bXgITB61Frcvaf/+XlYztDYBX8sY+Zv8Trm38UNs3sLrhMp6fkMnTx81aL2I4nXyhjVK5SQDJdVtg7og7H8hEslLfrt1n4DiQO6+uk+oMrQGrG6QEhdILbVfMMCg6c2uqqEbEFczFLBEBgBl9tzrxjy/WLsnzunfqh3dDchN7g/i/klJa/ljSKkYhdqbuYYVf+JA9BN3zRAHSAEiMaSws7ykEG0w4pUXZNz0sQpX4QTAb2MISq2qMWX62VE9A/1kacaZrdubwlH0DpswdHHAj+Q783wphL2qzl7RgO7u3hvsbhlFGLSnN/69/Uc7/Q3ueN1CuJvuYtnihaR5CdBxulDqicvqbQJoQfyfZ0wL0bE4zLEQYNCUmx2K0Z1DM+c/EuMTS/bJD8CyOv055jbo4fCWAMzFfHOGNyPgUnx4z3SPUEe3BObZ/3/B1P6bO6wJTa3l55oTYST6wuJPVEti5Xdo8kuAxeFsZXSFZFIqvz09ClbCdSLOoYJTHC4Cz2rNolyUFonGOhU/btJf3QLcGTv+vDdB/BC9LqmF/HGMU3uIXBZ3+EQwYSEjPmsosa4Wjk9LMv8iNerQW9jJcYcwL6my7zUiLQXudXLgoBqBoJ69LDqQ1kjXQcduG4Yz+S0seL+KgLIfOKOkXKEqaCezC7N+i6Nz/jTgsuSPqxi8sL2wFqanpKbI96HHdSWUQfx0U42xn+HEZD27W/TK/2rVbU6cTroy3Kkz7qU72WJTRp5AxkFCF7lix7m1a+0seEBnGhGXa+SCqpTDHLintbxNdfDjTvJsS/uuOwGKOw0dZq5yqzIBdpkc1W2jwhcvtuPd67F3Z1qOkqF4dj3IVwJWW0zj98T5NoxpPEALXlJrz4bkHuOpNPYqr1+dSQ9jpwrUpV9TP4s1z91qkIhcwX4sRSpJ11ebDHN8Z9b0HrTSFX7oep/jcRqjD2jBQW3mVqnJMlwZuT4FCL7T5be579odpuxZZhiM5m7dL2h/URgPshwvUlNGHSDjEnR26wOvZ9TxjUmDNmtnsKWY36eGs61RwvKvfWPgEpmrFbI4ws4MrN9aqf2UaeQ/nAOXiTpIH1DQJ/uZs6dBZF8N306RAIwp2aaSpMJ8UJcUw20l2Z0IeCZrfHSw/H1WU9jH5ZQYzoMXZdURj8KVQAfLXidll3BI2r1eDaz1QR2EL0W8WgQU8olDtyKMLo7V666lJ7Dmy7+A0Oeftl6EjNDddVgIPFfQoLFUKt66JPM80taoarVMhk7xnDR+QR1XrR98lmSGZzxotCU5r4A+Un264qr8WvTn+HsSXpwvyxGwdYVOS7nw+A61s924bcu19VT7+5SYhiq9yVo8bQvxQJeQTg6WNoGuBzyEPUEzOvgKLaA2H2UhxiP4dxYegJmeAuBYd0AfJqi+lIsDmW5kPm9WcC4EVf1q9/xI4nRUsiQoxOB1VZ6KzHwfar+Gmx9u2W90Ut2UZ9J0Uiwg3Vcl/SWDhJPZr8gGPIqDQP9FAY6w/q9YJwwHbmv3TZqagpY1MNT6IGGD4AqeiPrXcd0lsmHKHZDGxYKPSiP8qe4FXXsrw38BM24gcGg0qnFj7/cnprHhdQ3PYSUSXq+vm4y9OtmPgzZX8BbxsguNuYGuLUtBbRozTFviyCWeFEYDlMwFYRqWf2M+AT0UHhC847Gy359SdIXZFcvXGs3gkaW/vEQ8OdzhkNdUzF84Dcc6itrN/d0LPougKd4AWvhDp07PSTsacpOm7sKIsOvwqP1pRG/Pba6Eot4Y7LOEIKLiUJ8nsmwcVa/oChT50zptuwl08917FuX782tFFWFieDQ3fAQZCDCIs5s96C8JdVE9hmYefgYG/1tRqVw9CnZBlo2BuQNMxDxen5SAnT4gj+mBdiI0XDbd+7OdctzfPTJMtUQqvcWoYhUaFLnu6C+11o3H3ajq3ZUNl/4jbkHvwOO35RrRM8X2799MKaul3/h3GEgto9i4qagEncvzN7JMv4ymEI8RMSFfkqkn6aBM+90m3o87UWGO9xtQ/0u6cj/nWJ6UAv0t9lNlhUQZuRv07RR0uTzj91rC/xx9VT++W97iDkFMvTa7FlyX01lr3oYAn+Am/qWCMYPxJ/IS7KUstvA0rlBg6l+aUbVM8uYYz+VLNUpCbI2w676up5OTNQWsK5EL5kfzVTPXuIrRQpuWqNclqRgkSZBfpj3eBh1I+9/Ps4ktQsP8PcI8h0PkAH8RWQTNkF7Bdq72CIKjcv5RU3ZpvnGRnxbnHbFvdgVb1fvMRPgVzHWMZH/N8jIhPc7fvnWmhkoRRfGbxMHsnrK9PVrqh8Y9hZsg/kO3Rw/HLx8Y4Fx6hDSbeeyMfYk2ouR6J/joQw7IlFZG3p3P3ILEma4sqVduPM9gLGiEPZBOz1KQGXMvo0ATaB3+gvefXFac+M5YyaXP54g2Bi2058oyHOrls+zypjiPP5QFGCl4cv+0tJb6arbwyGFbQbuFJlCjl8EqWsbMS3T5Tu1R8OUtL5reQD+HyQCr58Ckm4a0+q4FfWXHG16+btUvUhAxjmMFU3AMrc1tuO9pLFIQVH7hUVvv25FUFCVasDuKx3P9HO38j5gKbQZfneUMmP76732x7pBtf1Hjuz7HwNYa9XHlk17gDpAw0XshSLUgGJGJyVfWBRwRAuc8djArxpb1cfZsmBTBp2WSZ7a6V0hfE3BufW5sSeqiopvUNamj1HJbmm8p21UqsHuebYEaWMWhno8q4eVpN3y4LIh4eBAYqrvRHwJDmz+vZbKtdoyo8WYJtZI/OtDnhuW95hUu9K0I259ZleRlL6hWYTmShdcAIpcEpxJaCZwNe3iXg8BM0eqJ9VkaAgBIJQu4flBh4H5qrv+4AW7ToKJ4RF7xMDIpJx8EYDH1Jq/gyTyLyBI+unnB8vCLsb//mchS8lwB9sK1nvY6HjzaCKxFuedkHLOgudwExKQbRSqEzauUigLM3USasiw46qvobwv9dNc4PmSXqhOfUhlU5MmmUTtGN5gehcjluodvkrktqPzgcxG4wnlFvdFN8+g4IJQEWI3ItV1urciDLBytjJVaQuVvdWDzX7SU2U7KKHKXyJYkjO32GWULd0dphv3u5vr4fpOlk/NnUaGHhZagdPgM1jh+83ukIkMG5PFEzF/JSDNRo6TySnrEWHbqAfH/vC4CdxxYlmVnv62CKwPHbSt/VKSnY9ILYtz9JKnwrfnI4A8Mtvgeor5+VXJ2loqCUGzF8YkiGeGSRRg1Ucrsd06MjSuYl221OZMHbX40OMMD6aZ2t+F1gEvuRjlQqk/SCr5+pARECOaksmR5QP/d3kzTpqLrRvEhfCY9oIQM4CbnuwFrFeYXVLX/3iOFIS1McgCzE4V+zEcuSeMROJnsq+nHC1KSSV7JV7ixNXi/busUFhC1VHIg1zmef608oae640uu6Hw0mJtbKPcGz/MR4yGaX+EEZR/M4onQxjLyoYehRaDGVZNvR2vj7uj1UCLSIAV+xSrGss57/vDx7ovFIu4rNRzlGY34P8kjymO1L4Gt0zBn6dCBN6tXJ6350ZPSLGqEqOP8cpzZ3keILunHj62Zm16MSUFH2RXbM505rzz0a034Y5IFHsfhodmSbflqOOxURI00oZywj3NtXNU1fDvEUTziGBKiqV0fecV3E1HSjnGQ==" title="Mekko Graphics Chart"/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329390" y="1556012"/>
            <a:ext cx="11391034" cy="4864749"/>
          </a:xfrm>
          <a:prstGeom prst="rect">
            <a:avLst/>
          </a:prstGeom>
          <a:blipFill dpi="0" rotWithShape="1">
            <a:blip r:embed="rId13"/>
            <a:srcRect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2808" tIns="32808" rIns="32808" bIns="32808" rtlCol="0" anchor="ctr"/>
          <a:lstStyle/>
          <a:p>
            <a:pPr>
              <a:buNone/>
            </a:pPr>
            <a:endParaRPr lang="en-GB" sz="1641">
              <a:solidFill>
                <a:srgbClr val="FFFFFF"/>
              </a:solidFill>
            </a:endParaRPr>
          </a:p>
        </p:txBody>
      </p:sp>
      <p:graphicFrame>
        <p:nvGraphicFramePr>
          <p:cNvPr id="10" name="UniqueVisitorsTable">
            <a:extLst>
              <a:ext uri="{FF2B5EF4-FFF2-40B4-BE49-F238E27FC236}">
                <a16:creationId xmlns:a16="http://schemas.microsoft.com/office/drawing/2014/main" id="{955283CF-83A0-EF0E-DA6A-8ECFEEFC19A8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06401921"/>
              </p:ext>
            </p:extLst>
          </p:nvPr>
        </p:nvGraphicFramePr>
        <p:xfrm>
          <a:off x="8553450" y="1430741"/>
          <a:ext cx="3303588" cy="4677312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938893">
                  <a:extLst>
                    <a:ext uri="{9D8B030D-6E8A-4147-A177-3AD203B41FA5}">
                      <a16:colId xmlns:a16="http://schemas.microsoft.com/office/drawing/2014/main" val="3897694433"/>
                    </a:ext>
                  </a:extLst>
                </a:gridCol>
                <a:gridCol w="931817">
                  <a:extLst>
                    <a:ext uri="{9D8B030D-6E8A-4147-A177-3AD203B41FA5}">
                      <a16:colId xmlns:a16="http://schemas.microsoft.com/office/drawing/2014/main" val="2729753460"/>
                    </a:ext>
                  </a:extLst>
                </a:gridCol>
                <a:gridCol w="705394">
                  <a:extLst>
                    <a:ext uri="{9D8B030D-6E8A-4147-A177-3AD203B41FA5}">
                      <a16:colId xmlns:a16="http://schemas.microsoft.com/office/drawing/2014/main" val="829964771"/>
                    </a:ext>
                  </a:extLst>
                </a:gridCol>
                <a:gridCol w="727484">
                  <a:extLst>
                    <a:ext uri="{9D8B030D-6E8A-4147-A177-3AD203B41FA5}">
                      <a16:colId xmlns:a16="http://schemas.microsoft.com/office/drawing/2014/main" val="4033883538"/>
                    </a:ext>
                  </a:extLst>
                </a:gridCol>
              </a:tblGrid>
              <a:tr h="654155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FontTx/>
                        <a:buNone/>
                      </a:pPr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000">
                          <a:solidFill>
                            <a:srgbClr val="C00000"/>
                          </a:solidFill>
                        </a:rPr>
                        <a:t>Avg. Unique
Monthly
Visitors (K, LTM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000">
                          <a:solidFill>
                            <a:srgbClr val="C00000"/>
                          </a:solidFill>
                        </a:rPr>
                        <a:t>Change Yo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000">
                          <a:solidFill>
                            <a:srgbClr val="C00000"/>
                          </a:solidFill>
                        </a:rPr>
                        <a:t>Visits per Unique Visito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14307374"/>
                  </a:ext>
                </a:extLst>
              </a:tr>
              <a:tr h="331356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b="1">
                        <a:solidFill>
                          <a:srgbClr val="C00000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>
                          <a:solidFill>
                            <a:srgbClr val="C00000"/>
                          </a:solidFill>
                        </a:rPr>
                        <a:t>2.9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1">
                          <a:solidFill>
                            <a:srgbClr val="C00000"/>
                          </a:solidFill>
                        </a:rPr>
                        <a:t>104%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1">
                          <a:solidFill>
                            <a:srgbClr val="C00000"/>
                          </a:solidFill>
                        </a:rPr>
                        <a:t>2.2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2798715"/>
                  </a:ext>
                </a:extLst>
              </a:tr>
              <a:tr h="331356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>
                          <a:solidFill>
                            <a:schemeClr val="tx1"/>
                          </a:solidFill>
                        </a:rPr>
                        <a:t>1.6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>
                          <a:solidFill>
                            <a:schemeClr val="tx1"/>
                          </a:solidFill>
                        </a:rPr>
                        <a:t>276%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>
                          <a:solidFill>
                            <a:schemeClr val="tx1"/>
                          </a:solidFill>
                        </a:rPr>
                        <a:t>1.9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5808991"/>
                  </a:ext>
                </a:extLst>
              </a:tr>
              <a:tr h="331356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>
                          <a:solidFill>
                            <a:schemeClr val="tx1"/>
                          </a:solidFill>
                        </a:rPr>
                        <a:t>2.1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>
                          <a:solidFill>
                            <a:schemeClr val="tx1"/>
                          </a:solidFill>
                        </a:rPr>
                        <a:t>27%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>
                          <a:solidFill>
                            <a:schemeClr val="tx1"/>
                          </a:solidFill>
                        </a:rPr>
                        <a:t>1.9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6939690"/>
                  </a:ext>
                </a:extLst>
              </a:tr>
              <a:tr h="331356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>
                          <a:solidFill>
                            <a:schemeClr val="tx1"/>
                          </a:solidFill>
                        </a:rPr>
                        <a:t>0.9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>
                          <a:solidFill>
                            <a:schemeClr val="tx1"/>
                          </a:solidFill>
                        </a:rPr>
                        <a:t>37%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>
                          <a:solidFill>
                            <a:schemeClr val="tx1"/>
                          </a:solidFill>
                        </a:rPr>
                        <a:t>2.2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9603284"/>
                  </a:ext>
                </a:extLst>
              </a:tr>
              <a:tr h="331356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>
                          <a:solidFill>
                            <a:schemeClr val="tx1"/>
                          </a:solidFill>
                        </a:rPr>
                        <a:t>0.7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>
                          <a:solidFill>
                            <a:schemeClr val="tx1"/>
                          </a:solidFill>
                        </a:rPr>
                        <a:t>351%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>
                          <a:solidFill>
                            <a:schemeClr val="tx1"/>
                          </a:solidFill>
                        </a:rPr>
                        <a:t>2.2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9740943"/>
                  </a:ext>
                </a:extLst>
              </a:tr>
              <a:tr h="331356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>
                          <a:solidFill>
                            <a:schemeClr val="tx1"/>
                          </a:solidFill>
                        </a:rPr>
                        <a:t>0.5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>
                          <a:solidFill>
                            <a:schemeClr val="tx1"/>
                          </a:solidFill>
                        </a:rPr>
                        <a:t>-36%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>
                          <a:solidFill>
                            <a:schemeClr val="tx1"/>
                          </a:solidFill>
                        </a:rPr>
                        <a:t>2.5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1318298"/>
                  </a:ext>
                </a:extLst>
              </a:tr>
              <a:tr h="331356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>
                          <a:solidFill>
                            <a:schemeClr val="tx1"/>
                          </a:solidFill>
                        </a:rPr>
                        <a:t>0.4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>
                          <a:solidFill>
                            <a:schemeClr val="tx1"/>
                          </a:solidFill>
                        </a:rPr>
                        <a:t>-8%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>
                          <a:solidFill>
                            <a:schemeClr val="tx1"/>
                          </a:solidFill>
                        </a:rPr>
                        <a:t>2.6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0072655"/>
                  </a:ext>
                </a:extLst>
              </a:tr>
              <a:tr h="331356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>
                          <a:solidFill>
                            <a:schemeClr val="tx1"/>
                          </a:solidFill>
                        </a:rPr>
                        <a:t>2.7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>
                          <a:solidFill>
                            <a:schemeClr val="tx1"/>
                          </a:solidFill>
                        </a:rPr>
                        <a:t>-27%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>
                          <a:solidFill>
                            <a:schemeClr val="tx1"/>
                          </a:solidFill>
                        </a:rPr>
                        <a:t>2.3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8951185"/>
                  </a:ext>
                </a:extLst>
              </a:tr>
              <a:tr h="331356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>
                          <a:solidFill>
                            <a:schemeClr val="tx1"/>
                          </a:solidFill>
                        </a:rPr>
                        <a:t>0.8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>
                          <a:solidFill>
                            <a:schemeClr val="tx1"/>
                          </a:solidFill>
                        </a:rPr>
                        <a:t>95%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>
                          <a:solidFill>
                            <a:schemeClr val="tx1"/>
                          </a:solidFill>
                        </a:rPr>
                        <a:t>2.0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4639380"/>
                  </a:ext>
                </a:extLst>
              </a:tr>
              <a:tr h="331356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>
                          <a:solidFill>
                            <a:schemeClr val="tx1"/>
                          </a:solidFill>
                        </a:rPr>
                        <a:t>1.0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>
                          <a:solidFill>
                            <a:schemeClr val="tx1"/>
                          </a:solidFill>
                        </a:rPr>
                        <a:t>18%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>
                          <a:solidFill>
                            <a:schemeClr val="tx1"/>
                          </a:solidFill>
                        </a:rPr>
                        <a:t>2.1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8375748"/>
                  </a:ext>
                </a:extLst>
              </a:tr>
              <a:tr h="331356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>
                          <a:solidFill>
                            <a:schemeClr val="tx1"/>
                          </a:solidFill>
                        </a:rPr>
                        <a:t>0.4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>
                          <a:solidFill>
                            <a:schemeClr val="tx1"/>
                          </a:solidFill>
                        </a:rPr>
                        <a:t>82%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>
                          <a:solidFill>
                            <a:schemeClr val="tx1"/>
                          </a:solidFill>
                        </a:rPr>
                        <a:t>2.2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7182571"/>
                  </a:ext>
                </a:extLst>
              </a:tr>
              <a:tr h="331356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>
                          <a:solidFill>
                            <a:schemeClr val="tx1"/>
                          </a:solidFill>
                        </a:rPr>
                        <a:t>1.1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>
                          <a:solidFill>
                            <a:schemeClr val="tx1"/>
                          </a:solidFill>
                        </a:rPr>
                        <a:t>54%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>
                          <a:solidFill>
                            <a:schemeClr val="tx1"/>
                          </a:solidFill>
                        </a:rPr>
                        <a:t>2.1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9435430"/>
                  </a:ext>
                </a:extLst>
              </a:tr>
            </a:tbl>
          </a:graphicData>
        </a:graphic>
      </p:graphicFrame>
      <p:grpSp>
        <p:nvGrpSpPr>
          <p:cNvPr id="49" name="btfpColumnIndicatorGroup2">
            <a:extLst>
              <a:ext uri="{FF2B5EF4-FFF2-40B4-BE49-F238E27FC236}">
                <a16:creationId xmlns:a16="http://schemas.microsoft.com/office/drawing/2014/main" id="{6091870B-4A7B-8D20-B89A-BB18DF6687E6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47" name="btfpColumnGapBlocker358018">
              <a:extLst>
                <a:ext uri="{FF2B5EF4-FFF2-40B4-BE49-F238E27FC236}">
                  <a16:creationId xmlns:a16="http://schemas.microsoft.com/office/drawing/2014/main" id="{059ABABA-913D-8945-944F-0DD37451DF79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5" name="btfpColumnGapBlocker730367">
              <a:extLst>
                <a:ext uri="{FF2B5EF4-FFF2-40B4-BE49-F238E27FC236}">
                  <a16:creationId xmlns:a16="http://schemas.microsoft.com/office/drawing/2014/main" id="{20223511-0E99-0EE5-8E9F-2BFD21EC9FAE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3" name="btfpColumnIndicator570120">
              <a:extLst>
                <a:ext uri="{FF2B5EF4-FFF2-40B4-BE49-F238E27FC236}">
                  <a16:creationId xmlns:a16="http://schemas.microsoft.com/office/drawing/2014/main" id="{EEBC6202-4CC3-38FE-4394-110B8B09C153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btfpColumnIndicator155553">
              <a:extLst>
                <a:ext uri="{FF2B5EF4-FFF2-40B4-BE49-F238E27FC236}">
                  <a16:creationId xmlns:a16="http://schemas.microsoft.com/office/drawing/2014/main" id="{2A910A5B-08A5-09E2-F4ED-1C8848FB8D99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btfpColumnIndicatorGroup1">
            <a:extLst>
              <a:ext uri="{FF2B5EF4-FFF2-40B4-BE49-F238E27FC236}">
                <a16:creationId xmlns:a16="http://schemas.microsoft.com/office/drawing/2014/main" id="{ECFA5D57-11A2-A2F1-7A93-00B38612BA7E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46" name="btfpColumnGapBlocker878930">
              <a:extLst>
                <a:ext uri="{FF2B5EF4-FFF2-40B4-BE49-F238E27FC236}">
                  <a16:creationId xmlns:a16="http://schemas.microsoft.com/office/drawing/2014/main" id="{46124BC8-8773-CD29-0452-962218E0D2BB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4" name="btfpColumnGapBlocker753804">
              <a:extLst>
                <a:ext uri="{FF2B5EF4-FFF2-40B4-BE49-F238E27FC236}">
                  <a16:creationId xmlns:a16="http://schemas.microsoft.com/office/drawing/2014/main" id="{5110FD61-7D7C-D3F1-60D9-55BE63B66A1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2" name="btfpColumnIndicator176606">
              <a:extLst>
                <a:ext uri="{FF2B5EF4-FFF2-40B4-BE49-F238E27FC236}">
                  <a16:creationId xmlns:a16="http://schemas.microsoft.com/office/drawing/2014/main" id="{8D5A212E-9672-4337-C773-B7B5E3FFBB9E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136598">
              <a:extLst>
                <a:ext uri="{FF2B5EF4-FFF2-40B4-BE49-F238E27FC236}">
                  <a16:creationId xmlns:a16="http://schemas.microsoft.com/office/drawing/2014/main" id="{732ED053-8BB2-0890-1E34-29F238EFBA0D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099" y="-4230"/>
            <a:ext cx="11604519" cy="876687"/>
          </a:xfrm>
        </p:spPr>
        <p:txBody>
          <a:bodyPr vert="horz"/>
          <a:lstStyle/>
          <a:p>
            <a:r>
              <a:rPr lang="en-GB" b="1"/>
              <a:t>Unique Visits: </a:t>
            </a:r>
            <a:r>
              <a:rPr lang="en-GB"/>
              <a:t>Alpha Paving TX leads on scale with a strong YoY growth; closest non-Pave America competitor is Rose Paving</a:t>
            </a:r>
          </a:p>
        </p:txBody>
      </p: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1021681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GB" sz="100">
                <a:solidFill>
                  <a:srgbClr val="FFFFFF">
                    <a:alpha val="0"/>
                  </a:srgbClr>
                </a:solidFill>
              </a:rPr>
              <a:t>overall_1_131726425208223281 columns_1_131726425208223281 7_1_131726425206126266 6_1_132195350443818122 16_0_132600379903991539 28_1_132600380192568323 </a:t>
            </a:r>
          </a:p>
        </p:txBody>
      </p:sp>
      <p:sp>
        <p:nvSpPr>
          <p:cNvPr id="9" name="BainBulletsConfiguration" hidden="1"/>
          <p:cNvSpPr txBox="1"/>
          <p:nvPr/>
        </p:nvSpPr>
        <p:spPr bwMode="gray">
          <a:xfrm>
            <a:off x="12700" y="12700"/>
            <a:ext cx="72768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endParaRPr lang="en-GB" sz="100" err="1">
              <a:solidFill>
                <a:srgbClr val="FFFFFF"/>
              </a:solidFill>
            </a:endParaRPr>
          </a:p>
        </p:txBody>
      </p:sp>
      <p:grpSp>
        <p:nvGrpSpPr>
          <p:cNvPr id="18" name="btfpStatusSticker256186"/>
          <p:cNvGrpSpPr/>
          <p:nvPr>
            <p:custDataLst>
              <p:tags r:id="rId5"/>
            </p:custDataLst>
          </p:nvPr>
        </p:nvGrpSpPr>
        <p:grpSpPr>
          <a:xfrm>
            <a:off x="10102664" y="955344"/>
            <a:ext cx="1759136" cy="235611"/>
            <a:chOff x="10102664" y="955344"/>
            <a:chExt cx="1759136" cy="235611"/>
          </a:xfrm>
        </p:grpSpPr>
        <p:sp>
          <p:nvSpPr>
            <p:cNvPr id="19" name="btfpStatusStickerText256186"/>
            <p:cNvSpPr txBox="1"/>
            <p:nvPr/>
          </p:nvSpPr>
          <p:spPr bwMode="gray">
            <a:xfrm>
              <a:off x="10102664" y="955344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GB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20" name="btfpStatusStickerLine256186"/>
            <p:cNvCxnSpPr/>
            <p:nvPr/>
          </p:nvCxnSpPr>
          <p:spPr bwMode="gray">
            <a:xfrm rot="720000">
              <a:off x="10102664" y="955344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" name="btfpRunningAgenda2Level224096">
            <a:extLst>
              <a:ext uri="{FF2B5EF4-FFF2-40B4-BE49-F238E27FC236}">
                <a16:creationId xmlns:a16="http://schemas.microsoft.com/office/drawing/2014/main" id="{1274F87C-F4E1-4590-BD7B-21199A66DA47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0" y="944429"/>
            <a:ext cx="5014444" cy="257442"/>
            <a:chOff x="0" y="876300"/>
            <a:chExt cx="5014444" cy="257442"/>
          </a:xfrm>
        </p:grpSpPr>
        <p:sp>
          <p:nvSpPr>
            <p:cNvPr id="31" name="btfpRunningAgenda2LevelBarLeft224096">
              <a:extLst>
                <a:ext uri="{FF2B5EF4-FFF2-40B4-BE49-F238E27FC236}">
                  <a16:creationId xmlns:a16="http://schemas.microsoft.com/office/drawing/2014/main" id="{FEF7202A-CF25-4446-9FF2-94BA0B491E95}"/>
                </a:ext>
              </a:extLst>
            </p:cNvPr>
            <p:cNvSpPr/>
            <p:nvPr/>
          </p:nvSpPr>
          <p:spPr bwMode="gray">
            <a:xfrm>
              <a:off x="0" y="876300"/>
              <a:ext cx="2486478" cy="257442"/>
            </a:xfrm>
            <a:custGeom>
              <a:avLst/>
              <a:gdLst>
                <a:gd name="connsiteX0" fmla="*/ 986067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86067 w 1816204"/>
                <a:gd name="connsiteY0" fmla="*/ 0 h 257442"/>
                <a:gd name="connsiteX1" fmla="*/ 931347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86067 w 986067"/>
                <a:gd name="connsiteY0" fmla="*/ 0 h 257442"/>
                <a:gd name="connsiteX1" fmla="*/ 931347 w 986067"/>
                <a:gd name="connsiteY1" fmla="*/ 257442 h 257442"/>
                <a:gd name="connsiteX2" fmla="*/ 1 w 986067"/>
                <a:gd name="connsiteY2" fmla="*/ 257442 h 257442"/>
                <a:gd name="connsiteX3" fmla="*/ 0 w 986067"/>
                <a:gd name="connsiteY3" fmla="*/ 257442 h 257442"/>
                <a:gd name="connsiteX0" fmla="*/ 986066 w 986066"/>
                <a:gd name="connsiteY0" fmla="*/ 0 h 257442"/>
                <a:gd name="connsiteX1" fmla="*/ 931346 w 986066"/>
                <a:gd name="connsiteY1" fmla="*/ 257442 h 257442"/>
                <a:gd name="connsiteX2" fmla="*/ 0 w 986066"/>
                <a:gd name="connsiteY2" fmla="*/ 257442 h 257442"/>
                <a:gd name="connsiteX3" fmla="*/ 1 w 986066"/>
                <a:gd name="connsiteY3" fmla="*/ 0 h 257442"/>
                <a:gd name="connsiteX0" fmla="*/ 1146368 w 1146368"/>
                <a:gd name="connsiteY0" fmla="*/ 0 h 257442"/>
                <a:gd name="connsiteX1" fmla="*/ 931346 w 1146368"/>
                <a:gd name="connsiteY1" fmla="*/ 257442 h 257442"/>
                <a:gd name="connsiteX2" fmla="*/ 0 w 1146368"/>
                <a:gd name="connsiteY2" fmla="*/ 257442 h 257442"/>
                <a:gd name="connsiteX3" fmla="*/ 1 w 1146368"/>
                <a:gd name="connsiteY3" fmla="*/ 0 h 257442"/>
                <a:gd name="connsiteX0" fmla="*/ 1146368 w 1146368"/>
                <a:gd name="connsiteY0" fmla="*/ 0 h 257442"/>
                <a:gd name="connsiteX1" fmla="*/ 1091647 w 1146368"/>
                <a:gd name="connsiteY1" fmla="*/ 257442 h 257442"/>
                <a:gd name="connsiteX2" fmla="*/ 0 w 1146368"/>
                <a:gd name="connsiteY2" fmla="*/ 257442 h 257442"/>
                <a:gd name="connsiteX3" fmla="*/ 1 w 1146368"/>
                <a:gd name="connsiteY3" fmla="*/ 0 h 257442"/>
                <a:gd name="connsiteX0" fmla="*/ 1146368 w 1146368"/>
                <a:gd name="connsiteY0" fmla="*/ 0 h 257442"/>
                <a:gd name="connsiteX1" fmla="*/ 1091647 w 1146368"/>
                <a:gd name="connsiteY1" fmla="*/ 257442 h 257442"/>
                <a:gd name="connsiteX2" fmla="*/ 0 w 1146368"/>
                <a:gd name="connsiteY2" fmla="*/ 257442 h 257442"/>
                <a:gd name="connsiteX3" fmla="*/ 1 w 1146368"/>
                <a:gd name="connsiteY3" fmla="*/ 0 h 257442"/>
                <a:gd name="connsiteX0" fmla="*/ 1146368 w 1146368"/>
                <a:gd name="connsiteY0" fmla="*/ 0 h 257442"/>
                <a:gd name="connsiteX1" fmla="*/ 1091647 w 1146368"/>
                <a:gd name="connsiteY1" fmla="*/ 257442 h 257442"/>
                <a:gd name="connsiteX2" fmla="*/ 0 w 1146368"/>
                <a:gd name="connsiteY2" fmla="*/ 257442 h 257442"/>
                <a:gd name="connsiteX3" fmla="*/ 0 w 1146368"/>
                <a:gd name="connsiteY3" fmla="*/ 0 h 257442"/>
                <a:gd name="connsiteX0" fmla="*/ 1314682 w 1314682"/>
                <a:gd name="connsiteY0" fmla="*/ 0 h 257442"/>
                <a:gd name="connsiteX1" fmla="*/ 1091647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474983 w 1474983"/>
                <a:gd name="connsiteY0" fmla="*/ 0 h 257442"/>
                <a:gd name="connsiteX1" fmla="*/ 1259961 w 1474983"/>
                <a:gd name="connsiteY1" fmla="*/ 257442 h 257442"/>
                <a:gd name="connsiteX2" fmla="*/ 0 w 1474983"/>
                <a:gd name="connsiteY2" fmla="*/ 257442 h 257442"/>
                <a:gd name="connsiteX3" fmla="*/ 0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0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0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0 w 1474983"/>
                <a:gd name="connsiteY3" fmla="*/ 0 h 257442"/>
                <a:gd name="connsiteX0" fmla="*/ 1575972 w 1575972"/>
                <a:gd name="connsiteY0" fmla="*/ 0 h 257442"/>
                <a:gd name="connsiteX1" fmla="*/ 1420262 w 1575972"/>
                <a:gd name="connsiteY1" fmla="*/ 257442 h 257442"/>
                <a:gd name="connsiteX2" fmla="*/ 0 w 1575972"/>
                <a:gd name="connsiteY2" fmla="*/ 257442 h 257442"/>
                <a:gd name="connsiteX3" fmla="*/ 0 w 1575972"/>
                <a:gd name="connsiteY3" fmla="*/ 0 h 257442"/>
                <a:gd name="connsiteX0" fmla="*/ 1575972 w 1575972"/>
                <a:gd name="connsiteY0" fmla="*/ 0 h 257442"/>
                <a:gd name="connsiteX1" fmla="*/ 1521250 w 1575972"/>
                <a:gd name="connsiteY1" fmla="*/ 257442 h 257442"/>
                <a:gd name="connsiteX2" fmla="*/ 0 w 1575972"/>
                <a:gd name="connsiteY2" fmla="*/ 257442 h 257442"/>
                <a:gd name="connsiteX3" fmla="*/ 0 w 1575972"/>
                <a:gd name="connsiteY3" fmla="*/ 0 h 257442"/>
                <a:gd name="connsiteX0" fmla="*/ 1575973 w 1575973"/>
                <a:gd name="connsiteY0" fmla="*/ 0 h 257442"/>
                <a:gd name="connsiteX1" fmla="*/ 1521251 w 1575973"/>
                <a:gd name="connsiteY1" fmla="*/ 257442 h 257442"/>
                <a:gd name="connsiteX2" fmla="*/ 0 w 1575973"/>
                <a:gd name="connsiteY2" fmla="*/ 257442 h 257442"/>
                <a:gd name="connsiteX3" fmla="*/ 1 w 1575973"/>
                <a:gd name="connsiteY3" fmla="*/ 0 h 257442"/>
                <a:gd name="connsiteX0" fmla="*/ 1575973 w 1575973"/>
                <a:gd name="connsiteY0" fmla="*/ 0 h 257442"/>
                <a:gd name="connsiteX1" fmla="*/ 1521251 w 1575973"/>
                <a:gd name="connsiteY1" fmla="*/ 257442 h 257442"/>
                <a:gd name="connsiteX2" fmla="*/ 0 w 1575973"/>
                <a:gd name="connsiteY2" fmla="*/ 257442 h 257442"/>
                <a:gd name="connsiteX3" fmla="*/ 1 w 1575973"/>
                <a:gd name="connsiteY3" fmla="*/ 0 h 257442"/>
                <a:gd name="connsiteX0" fmla="*/ 1728258 w 1728258"/>
                <a:gd name="connsiteY0" fmla="*/ 0 h 257442"/>
                <a:gd name="connsiteX1" fmla="*/ 1521251 w 1728258"/>
                <a:gd name="connsiteY1" fmla="*/ 257442 h 257442"/>
                <a:gd name="connsiteX2" fmla="*/ 0 w 1728258"/>
                <a:gd name="connsiteY2" fmla="*/ 257442 h 257442"/>
                <a:gd name="connsiteX3" fmla="*/ 1 w 1728258"/>
                <a:gd name="connsiteY3" fmla="*/ 0 h 257442"/>
                <a:gd name="connsiteX0" fmla="*/ 1728258 w 1728258"/>
                <a:gd name="connsiteY0" fmla="*/ 0 h 257442"/>
                <a:gd name="connsiteX1" fmla="*/ 1673536 w 1728258"/>
                <a:gd name="connsiteY1" fmla="*/ 257442 h 257442"/>
                <a:gd name="connsiteX2" fmla="*/ 0 w 1728258"/>
                <a:gd name="connsiteY2" fmla="*/ 257442 h 257442"/>
                <a:gd name="connsiteX3" fmla="*/ 1 w 1728258"/>
                <a:gd name="connsiteY3" fmla="*/ 0 h 257442"/>
                <a:gd name="connsiteX0" fmla="*/ 1728258 w 1728258"/>
                <a:gd name="connsiteY0" fmla="*/ 0 h 257442"/>
                <a:gd name="connsiteX1" fmla="*/ 1673536 w 1728258"/>
                <a:gd name="connsiteY1" fmla="*/ 257442 h 257442"/>
                <a:gd name="connsiteX2" fmla="*/ 0 w 1728258"/>
                <a:gd name="connsiteY2" fmla="*/ 257442 h 257442"/>
                <a:gd name="connsiteX3" fmla="*/ 1 w 1728258"/>
                <a:gd name="connsiteY3" fmla="*/ 0 h 257442"/>
                <a:gd name="connsiteX0" fmla="*/ 1728258 w 1728258"/>
                <a:gd name="connsiteY0" fmla="*/ 0 h 257442"/>
                <a:gd name="connsiteX1" fmla="*/ 1673536 w 1728258"/>
                <a:gd name="connsiteY1" fmla="*/ 257442 h 257442"/>
                <a:gd name="connsiteX2" fmla="*/ 0 w 1728258"/>
                <a:gd name="connsiteY2" fmla="*/ 257442 h 257442"/>
                <a:gd name="connsiteX3" fmla="*/ 0 w 1728258"/>
                <a:gd name="connsiteY3" fmla="*/ 0 h 257442"/>
                <a:gd name="connsiteX0" fmla="*/ 1888557 w 1888557"/>
                <a:gd name="connsiteY0" fmla="*/ 0 h 257442"/>
                <a:gd name="connsiteX1" fmla="*/ 16735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989547 w 1989547"/>
                <a:gd name="connsiteY0" fmla="*/ 0 h 257442"/>
                <a:gd name="connsiteX1" fmla="*/ 183383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1989547 w 1989547"/>
                <a:gd name="connsiteY0" fmla="*/ 0 h 257442"/>
                <a:gd name="connsiteX1" fmla="*/ 19348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1989547 w 1989547"/>
                <a:gd name="connsiteY0" fmla="*/ 0 h 257442"/>
                <a:gd name="connsiteX1" fmla="*/ 19348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1989547 w 1989547"/>
                <a:gd name="connsiteY0" fmla="*/ 0 h 257442"/>
                <a:gd name="connsiteX1" fmla="*/ 19348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2141832 w 2141832"/>
                <a:gd name="connsiteY0" fmla="*/ 0 h 257442"/>
                <a:gd name="connsiteX1" fmla="*/ 1934826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2 w 2141832"/>
                <a:gd name="connsiteY0" fmla="*/ 0 h 257442"/>
                <a:gd name="connsiteX1" fmla="*/ 2087110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1 w 2141833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1 w 2141833"/>
                <a:gd name="connsiteY3" fmla="*/ 0 h 257442"/>
                <a:gd name="connsiteX0" fmla="*/ 2310149 w 2310149"/>
                <a:gd name="connsiteY0" fmla="*/ 0 h 257442"/>
                <a:gd name="connsiteX1" fmla="*/ 2087111 w 2310149"/>
                <a:gd name="connsiteY1" fmla="*/ 257442 h 257442"/>
                <a:gd name="connsiteX2" fmla="*/ 0 w 2310149"/>
                <a:gd name="connsiteY2" fmla="*/ 257442 h 257442"/>
                <a:gd name="connsiteX3" fmla="*/ 1 w 2310149"/>
                <a:gd name="connsiteY3" fmla="*/ 0 h 257442"/>
                <a:gd name="connsiteX0" fmla="*/ 2310149 w 2310149"/>
                <a:gd name="connsiteY0" fmla="*/ 0 h 257442"/>
                <a:gd name="connsiteX1" fmla="*/ 2255428 w 2310149"/>
                <a:gd name="connsiteY1" fmla="*/ 257442 h 257442"/>
                <a:gd name="connsiteX2" fmla="*/ 0 w 2310149"/>
                <a:gd name="connsiteY2" fmla="*/ 257442 h 257442"/>
                <a:gd name="connsiteX3" fmla="*/ 1 w 2310149"/>
                <a:gd name="connsiteY3" fmla="*/ 0 h 257442"/>
                <a:gd name="connsiteX0" fmla="*/ 2310148 w 2310148"/>
                <a:gd name="connsiteY0" fmla="*/ 0 h 257442"/>
                <a:gd name="connsiteX1" fmla="*/ 2255427 w 2310148"/>
                <a:gd name="connsiteY1" fmla="*/ 257442 h 257442"/>
                <a:gd name="connsiteX2" fmla="*/ 0 w 2310148"/>
                <a:gd name="connsiteY2" fmla="*/ 257442 h 257442"/>
                <a:gd name="connsiteX3" fmla="*/ 0 w 2310148"/>
                <a:gd name="connsiteY3" fmla="*/ 0 h 257442"/>
                <a:gd name="connsiteX0" fmla="*/ 2310149 w 2310149"/>
                <a:gd name="connsiteY0" fmla="*/ 0 h 257442"/>
                <a:gd name="connsiteX1" fmla="*/ 2255428 w 2310149"/>
                <a:gd name="connsiteY1" fmla="*/ 257442 h 257442"/>
                <a:gd name="connsiteX2" fmla="*/ 1 w 2310149"/>
                <a:gd name="connsiteY2" fmla="*/ 257442 h 257442"/>
                <a:gd name="connsiteX3" fmla="*/ 0 w 2310149"/>
                <a:gd name="connsiteY3" fmla="*/ 0 h 257442"/>
                <a:gd name="connsiteX0" fmla="*/ 2478463 w 2478463"/>
                <a:gd name="connsiteY0" fmla="*/ 0 h 257442"/>
                <a:gd name="connsiteX1" fmla="*/ 2255428 w 2478463"/>
                <a:gd name="connsiteY1" fmla="*/ 257442 h 257442"/>
                <a:gd name="connsiteX2" fmla="*/ 1 w 2478463"/>
                <a:gd name="connsiteY2" fmla="*/ 257442 h 257442"/>
                <a:gd name="connsiteX3" fmla="*/ 0 w 2478463"/>
                <a:gd name="connsiteY3" fmla="*/ 0 h 257442"/>
                <a:gd name="connsiteX0" fmla="*/ 2478463 w 2478463"/>
                <a:gd name="connsiteY0" fmla="*/ 0 h 257442"/>
                <a:gd name="connsiteX1" fmla="*/ 2423742 w 2478463"/>
                <a:gd name="connsiteY1" fmla="*/ 257442 h 257442"/>
                <a:gd name="connsiteX2" fmla="*/ 1 w 2478463"/>
                <a:gd name="connsiteY2" fmla="*/ 257442 h 257442"/>
                <a:gd name="connsiteX3" fmla="*/ 0 w 2478463"/>
                <a:gd name="connsiteY3" fmla="*/ 0 h 257442"/>
                <a:gd name="connsiteX0" fmla="*/ 2478463 w 2478463"/>
                <a:gd name="connsiteY0" fmla="*/ 0 h 257442"/>
                <a:gd name="connsiteX1" fmla="*/ 2423742 w 2478463"/>
                <a:gd name="connsiteY1" fmla="*/ 257442 h 257442"/>
                <a:gd name="connsiteX2" fmla="*/ 1 w 2478463"/>
                <a:gd name="connsiteY2" fmla="*/ 257442 h 257442"/>
                <a:gd name="connsiteX3" fmla="*/ 0 w 2478463"/>
                <a:gd name="connsiteY3" fmla="*/ 0 h 257442"/>
                <a:gd name="connsiteX0" fmla="*/ 2478462 w 2478462"/>
                <a:gd name="connsiteY0" fmla="*/ 0 h 257442"/>
                <a:gd name="connsiteX1" fmla="*/ 2423741 w 2478462"/>
                <a:gd name="connsiteY1" fmla="*/ 257442 h 257442"/>
                <a:gd name="connsiteX2" fmla="*/ 0 w 2478462"/>
                <a:gd name="connsiteY2" fmla="*/ 257442 h 257442"/>
                <a:gd name="connsiteX3" fmla="*/ 0 w 2478462"/>
                <a:gd name="connsiteY3" fmla="*/ 0 h 257442"/>
                <a:gd name="connsiteX0" fmla="*/ 2630747 w 2630747"/>
                <a:gd name="connsiteY0" fmla="*/ 0 h 257442"/>
                <a:gd name="connsiteX1" fmla="*/ 2423741 w 2630747"/>
                <a:gd name="connsiteY1" fmla="*/ 257442 h 257442"/>
                <a:gd name="connsiteX2" fmla="*/ 0 w 2630747"/>
                <a:gd name="connsiteY2" fmla="*/ 257442 h 257442"/>
                <a:gd name="connsiteX3" fmla="*/ 0 w 2630747"/>
                <a:gd name="connsiteY3" fmla="*/ 0 h 257442"/>
                <a:gd name="connsiteX0" fmla="*/ 2630747 w 2630747"/>
                <a:gd name="connsiteY0" fmla="*/ 0 h 257442"/>
                <a:gd name="connsiteX1" fmla="*/ 2576026 w 2630747"/>
                <a:gd name="connsiteY1" fmla="*/ 257442 h 257442"/>
                <a:gd name="connsiteX2" fmla="*/ 0 w 2630747"/>
                <a:gd name="connsiteY2" fmla="*/ 257442 h 257442"/>
                <a:gd name="connsiteX3" fmla="*/ 0 w 2630747"/>
                <a:gd name="connsiteY3" fmla="*/ 0 h 257442"/>
                <a:gd name="connsiteX0" fmla="*/ 2630748 w 2630748"/>
                <a:gd name="connsiteY0" fmla="*/ 0 h 257442"/>
                <a:gd name="connsiteX1" fmla="*/ 2576027 w 2630748"/>
                <a:gd name="connsiteY1" fmla="*/ 257442 h 257442"/>
                <a:gd name="connsiteX2" fmla="*/ 0 w 2630748"/>
                <a:gd name="connsiteY2" fmla="*/ 257442 h 257442"/>
                <a:gd name="connsiteX3" fmla="*/ 1 w 2630748"/>
                <a:gd name="connsiteY3" fmla="*/ 0 h 257442"/>
                <a:gd name="connsiteX0" fmla="*/ 2630748 w 2630748"/>
                <a:gd name="connsiteY0" fmla="*/ 0 h 257442"/>
                <a:gd name="connsiteX1" fmla="*/ 2576027 w 2630748"/>
                <a:gd name="connsiteY1" fmla="*/ 257442 h 257442"/>
                <a:gd name="connsiteX2" fmla="*/ 0 w 2630748"/>
                <a:gd name="connsiteY2" fmla="*/ 257442 h 257442"/>
                <a:gd name="connsiteX3" fmla="*/ 0 w 2630748"/>
                <a:gd name="connsiteY3" fmla="*/ 0 h 257442"/>
                <a:gd name="connsiteX0" fmla="*/ 2783033 w 2783033"/>
                <a:gd name="connsiteY0" fmla="*/ 0 h 257442"/>
                <a:gd name="connsiteX1" fmla="*/ 2576027 w 2783033"/>
                <a:gd name="connsiteY1" fmla="*/ 257442 h 257442"/>
                <a:gd name="connsiteX2" fmla="*/ 0 w 2783033"/>
                <a:gd name="connsiteY2" fmla="*/ 257442 h 257442"/>
                <a:gd name="connsiteX3" fmla="*/ 0 w 2783033"/>
                <a:gd name="connsiteY3" fmla="*/ 0 h 257442"/>
                <a:gd name="connsiteX0" fmla="*/ 2783033 w 2783033"/>
                <a:gd name="connsiteY0" fmla="*/ 0 h 257442"/>
                <a:gd name="connsiteX1" fmla="*/ 2728312 w 2783033"/>
                <a:gd name="connsiteY1" fmla="*/ 257442 h 257442"/>
                <a:gd name="connsiteX2" fmla="*/ 0 w 2783033"/>
                <a:gd name="connsiteY2" fmla="*/ 257442 h 257442"/>
                <a:gd name="connsiteX3" fmla="*/ 0 w 2783033"/>
                <a:gd name="connsiteY3" fmla="*/ 0 h 257442"/>
                <a:gd name="connsiteX0" fmla="*/ 2783033 w 2783033"/>
                <a:gd name="connsiteY0" fmla="*/ 0 h 257442"/>
                <a:gd name="connsiteX1" fmla="*/ 2728312 w 2783033"/>
                <a:gd name="connsiteY1" fmla="*/ 257442 h 257442"/>
                <a:gd name="connsiteX2" fmla="*/ 0 w 2783033"/>
                <a:gd name="connsiteY2" fmla="*/ 257442 h 257442"/>
                <a:gd name="connsiteX3" fmla="*/ 0 w 2783033"/>
                <a:gd name="connsiteY3" fmla="*/ 0 h 257442"/>
                <a:gd name="connsiteX0" fmla="*/ 2783033 w 2783033"/>
                <a:gd name="connsiteY0" fmla="*/ 0 h 257442"/>
                <a:gd name="connsiteX1" fmla="*/ 2728312 w 2783033"/>
                <a:gd name="connsiteY1" fmla="*/ 257442 h 257442"/>
                <a:gd name="connsiteX2" fmla="*/ 0 w 2783033"/>
                <a:gd name="connsiteY2" fmla="*/ 257442 h 257442"/>
                <a:gd name="connsiteX3" fmla="*/ 0 w 2783033"/>
                <a:gd name="connsiteY3" fmla="*/ 0 h 257442"/>
                <a:gd name="connsiteX0" fmla="*/ 2884023 w 2884023"/>
                <a:gd name="connsiteY0" fmla="*/ 0 h 257442"/>
                <a:gd name="connsiteX1" fmla="*/ 2728312 w 2884023"/>
                <a:gd name="connsiteY1" fmla="*/ 257442 h 257442"/>
                <a:gd name="connsiteX2" fmla="*/ 0 w 2884023"/>
                <a:gd name="connsiteY2" fmla="*/ 257442 h 257442"/>
                <a:gd name="connsiteX3" fmla="*/ 0 w 2884023"/>
                <a:gd name="connsiteY3" fmla="*/ 0 h 257442"/>
                <a:gd name="connsiteX0" fmla="*/ 2884023 w 2884023"/>
                <a:gd name="connsiteY0" fmla="*/ 0 h 257442"/>
                <a:gd name="connsiteX1" fmla="*/ 2829302 w 2884023"/>
                <a:gd name="connsiteY1" fmla="*/ 257442 h 257442"/>
                <a:gd name="connsiteX2" fmla="*/ 0 w 2884023"/>
                <a:gd name="connsiteY2" fmla="*/ 257442 h 257442"/>
                <a:gd name="connsiteX3" fmla="*/ 0 w 2884023"/>
                <a:gd name="connsiteY3" fmla="*/ 0 h 257442"/>
                <a:gd name="connsiteX0" fmla="*/ 2884023 w 2884023"/>
                <a:gd name="connsiteY0" fmla="*/ 0 h 257442"/>
                <a:gd name="connsiteX1" fmla="*/ 2829302 w 2884023"/>
                <a:gd name="connsiteY1" fmla="*/ 257442 h 257442"/>
                <a:gd name="connsiteX2" fmla="*/ 0 w 2884023"/>
                <a:gd name="connsiteY2" fmla="*/ 257442 h 257442"/>
                <a:gd name="connsiteX3" fmla="*/ 0 w 2884023"/>
                <a:gd name="connsiteY3" fmla="*/ 0 h 257442"/>
                <a:gd name="connsiteX0" fmla="*/ 2884023 w 2884023"/>
                <a:gd name="connsiteY0" fmla="*/ 0 h 257442"/>
                <a:gd name="connsiteX1" fmla="*/ 2829302 w 2884023"/>
                <a:gd name="connsiteY1" fmla="*/ 257442 h 257442"/>
                <a:gd name="connsiteX2" fmla="*/ 0 w 2884023"/>
                <a:gd name="connsiteY2" fmla="*/ 257442 h 257442"/>
                <a:gd name="connsiteX3" fmla="*/ 0 w 2884023"/>
                <a:gd name="connsiteY3" fmla="*/ 0 h 257442"/>
                <a:gd name="connsiteX0" fmla="*/ 3052337 w 3052337"/>
                <a:gd name="connsiteY0" fmla="*/ 0 h 257442"/>
                <a:gd name="connsiteX1" fmla="*/ 2829302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2884023 w 2997616"/>
                <a:gd name="connsiteY0" fmla="*/ 0 h 257442"/>
                <a:gd name="connsiteX1" fmla="*/ 2997616 w 2997616"/>
                <a:gd name="connsiteY1" fmla="*/ 257442 h 257442"/>
                <a:gd name="connsiteX2" fmla="*/ 0 w 2997616"/>
                <a:gd name="connsiteY2" fmla="*/ 257442 h 257442"/>
                <a:gd name="connsiteX3" fmla="*/ 0 w 2997616"/>
                <a:gd name="connsiteY3" fmla="*/ 0 h 257442"/>
                <a:gd name="connsiteX0" fmla="*/ 2884023 w 2884023"/>
                <a:gd name="connsiteY0" fmla="*/ 0 h 257442"/>
                <a:gd name="connsiteX1" fmla="*/ 2829302 w 2884023"/>
                <a:gd name="connsiteY1" fmla="*/ 257442 h 257442"/>
                <a:gd name="connsiteX2" fmla="*/ 0 w 2884023"/>
                <a:gd name="connsiteY2" fmla="*/ 257442 h 257442"/>
                <a:gd name="connsiteX3" fmla="*/ 0 w 2884023"/>
                <a:gd name="connsiteY3" fmla="*/ 0 h 257442"/>
                <a:gd name="connsiteX0" fmla="*/ 2884023 w 2884023"/>
                <a:gd name="connsiteY0" fmla="*/ 0 h 257442"/>
                <a:gd name="connsiteX1" fmla="*/ 2829302 w 2884023"/>
                <a:gd name="connsiteY1" fmla="*/ 257442 h 257442"/>
                <a:gd name="connsiteX2" fmla="*/ 1 w 2884023"/>
                <a:gd name="connsiteY2" fmla="*/ 257442 h 257442"/>
                <a:gd name="connsiteX3" fmla="*/ 0 w 2884023"/>
                <a:gd name="connsiteY3" fmla="*/ 0 h 257442"/>
                <a:gd name="connsiteX0" fmla="*/ 2884022 w 2884022"/>
                <a:gd name="connsiteY0" fmla="*/ 0 h 257442"/>
                <a:gd name="connsiteX1" fmla="*/ 2829301 w 2884022"/>
                <a:gd name="connsiteY1" fmla="*/ 257442 h 257442"/>
                <a:gd name="connsiteX2" fmla="*/ 0 w 2884022"/>
                <a:gd name="connsiteY2" fmla="*/ 257442 h 257442"/>
                <a:gd name="connsiteX3" fmla="*/ 0 w 2884022"/>
                <a:gd name="connsiteY3" fmla="*/ 0 h 257442"/>
                <a:gd name="connsiteX0" fmla="*/ 2630747 w 2829301"/>
                <a:gd name="connsiteY0" fmla="*/ 0 h 257442"/>
                <a:gd name="connsiteX1" fmla="*/ 2829301 w 2829301"/>
                <a:gd name="connsiteY1" fmla="*/ 257442 h 257442"/>
                <a:gd name="connsiteX2" fmla="*/ 0 w 2829301"/>
                <a:gd name="connsiteY2" fmla="*/ 257442 h 257442"/>
                <a:gd name="connsiteX3" fmla="*/ 0 w 2829301"/>
                <a:gd name="connsiteY3" fmla="*/ 0 h 257442"/>
                <a:gd name="connsiteX0" fmla="*/ 2630747 w 2630747"/>
                <a:gd name="connsiteY0" fmla="*/ 0 h 257442"/>
                <a:gd name="connsiteX1" fmla="*/ 2576027 w 2630747"/>
                <a:gd name="connsiteY1" fmla="*/ 257442 h 257442"/>
                <a:gd name="connsiteX2" fmla="*/ 0 w 2630747"/>
                <a:gd name="connsiteY2" fmla="*/ 257442 h 257442"/>
                <a:gd name="connsiteX3" fmla="*/ 0 w 2630747"/>
                <a:gd name="connsiteY3" fmla="*/ 0 h 257442"/>
                <a:gd name="connsiteX0" fmla="*/ 2630747 w 2630747"/>
                <a:gd name="connsiteY0" fmla="*/ 0 h 257442"/>
                <a:gd name="connsiteX1" fmla="*/ 2576027 w 2630747"/>
                <a:gd name="connsiteY1" fmla="*/ 257442 h 257442"/>
                <a:gd name="connsiteX2" fmla="*/ 0 w 2630747"/>
                <a:gd name="connsiteY2" fmla="*/ 257442 h 257442"/>
                <a:gd name="connsiteX3" fmla="*/ 0 w 2630747"/>
                <a:gd name="connsiteY3" fmla="*/ 0 h 257442"/>
                <a:gd name="connsiteX0" fmla="*/ 2630747 w 2630747"/>
                <a:gd name="connsiteY0" fmla="*/ 0 h 257442"/>
                <a:gd name="connsiteX1" fmla="*/ 2576027 w 2630747"/>
                <a:gd name="connsiteY1" fmla="*/ 257442 h 257442"/>
                <a:gd name="connsiteX2" fmla="*/ 0 w 2630747"/>
                <a:gd name="connsiteY2" fmla="*/ 257442 h 257442"/>
                <a:gd name="connsiteX3" fmla="*/ 0 w 2630747"/>
                <a:gd name="connsiteY3" fmla="*/ 0 h 257442"/>
                <a:gd name="connsiteX0" fmla="*/ 2478462 w 2576027"/>
                <a:gd name="connsiteY0" fmla="*/ 0 h 257442"/>
                <a:gd name="connsiteX1" fmla="*/ 2576027 w 2576027"/>
                <a:gd name="connsiteY1" fmla="*/ 257442 h 257442"/>
                <a:gd name="connsiteX2" fmla="*/ 0 w 2576027"/>
                <a:gd name="connsiteY2" fmla="*/ 257442 h 257442"/>
                <a:gd name="connsiteX3" fmla="*/ 0 w 2576027"/>
                <a:gd name="connsiteY3" fmla="*/ 0 h 257442"/>
                <a:gd name="connsiteX0" fmla="*/ 2478462 w 2478462"/>
                <a:gd name="connsiteY0" fmla="*/ 0 h 257442"/>
                <a:gd name="connsiteX1" fmla="*/ 2423741 w 2478462"/>
                <a:gd name="connsiteY1" fmla="*/ 257442 h 257442"/>
                <a:gd name="connsiteX2" fmla="*/ 0 w 2478462"/>
                <a:gd name="connsiteY2" fmla="*/ 257442 h 257442"/>
                <a:gd name="connsiteX3" fmla="*/ 0 w 2478462"/>
                <a:gd name="connsiteY3" fmla="*/ 0 h 257442"/>
                <a:gd name="connsiteX0" fmla="*/ 2478462 w 2478462"/>
                <a:gd name="connsiteY0" fmla="*/ 0 h 257442"/>
                <a:gd name="connsiteX1" fmla="*/ 2423741 w 2478462"/>
                <a:gd name="connsiteY1" fmla="*/ 257442 h 257442"/>
                <a:gd name="connsiteX2" fmla="*/ 0 w 2478462"/>
                <a:gd name="connsiteY2" fmla="*/ 257442 h 257442"/>
                <a:gd name="connsiteX3" fmla="*/ 0 w 2478462"/>
                <a:gd name="connsiteY3" fmla="*/ 0 h 257442"/>
                <a:gd name="connsiteX0" fmla="*/ 2478462 w 2478462"/>
                <a:gd name="connsiteY0" fmla="*/ 0 h 257442"/>
                <a:gd name="connsiteX1" fmla="*/ 2423741 w 2478462"/>
                <a:gd name="connsiteY1" fmla="*/ 257442 h 257442"/>
                <a:gd name="connsiteX2" fmla="*/ 0 w 2478462"/>
                <a:gd name="connsiteY2" fmla="*/ 257442 h 257442"/>
                <a:gd name="connsiteX3" fmla="*/ 0 w 2478462"/>
                <a:gd name="connsiteY3" fmla="*/ 0 h 257442"/>
                <a:gd name="connsiteX0" fmla="*/ 2310148 w 2423741"/>
                <a:gd name="connsiteY0" fmla="*/ 0 h 257442"/>
                <a:gd name="connsiteX1" fmla="*/ 2423741 w 2423741"/>
                <a:gd name="connsiteY1" fmla="*/ 257442 h 257442"/>
                <a:gd name="connsiteX2" fmla="*/ 0 w 2423741"/>
                <a:gd name="connsiteY2" fmla="*/ 257442 h 257442"/>
                <a:gd name="connsiteX3" fmla="*/ 0 w 2423741"/>
                <a:gd name="connsiteY3" fmla="*/ 0 h 257442"/>
                <a:gd name="connsiteX0" fmla="*/ 2310148 w 2310148"/>
                <a:gd name="connsiteY0" fmla="*/ 0 h 257442"/>
                <a:gd name="connsiteX1" fmla="*/ 2255428 w 2310148"/>
                <a:gd name="connsiteY1" fmla="*/ 257442 h 257442"/>
                <a:gd name="connsiteX2" fmla="*/ 0 w 2310148"/>
                <a:gd name="connsiteY2" fmla="*/ 257442 h 257442"/>
                <a:gd name="connsiteX3" fmla="*/ 0 w 2310148"/>
                <a:gd name="connsiteY3" fmla="*/ 0 h 257442"/>
                <a:gd name="connsiteX0" fmla="*/ 2310148 w 2310148"/>
                <a:gd name="connsiteY0" fmla="*/ 0 h 257442"/>
                <a:gd name="connsiteX1" fmla="*/ 2255428 w 2310148"/>
                <a:gd name="connsiteY1" fmla="*/ 257442 h 257442"/>
                <a:gd name="connsiteX2" fmla="*/ 1 w 2310148"/>
                <a:gd name="connsiteY2" fmla="*/ 257442 h 257442"/>
                <a:gd name="connsiteX3" fmla="*/ 0 w 2310148"/>
                <a:gd name="connsiteY3" fmla="*/ 0 h 257442"/>
                <a:gd name="connsiteX0" fmla="*/ 2310147 w 2310147"/>
                <a:gd name="connsiteY0" fmla="*/ 0 h 257442"/>
                <a:gd name="connsiteX1" fmla="*/ 2255427 w 2310147"/>
                <a:gd name="connsiteY1" fmla="*/ 257442 h 257442"/>
                <a:gd name="connsiteX2" fmla="*/ 0 w 2310147"/>
                <a:gd name="connsiteY2" fmla="*/ 257442 h 257442"/>
                <a:gd name="connsiteX3" fmla="*/ 0 w 2310147"/>
                <a:gd name="connsiteY3" fmla="*/ 0 h 257442"/>
                <a:gd name="connsiteX0" fmla="*/ 2141832 w 2255427"/>
                <a:gd name="connsiteY0" fmla="*/ 0 h 257442"/>
                <a:gd name="connsiteX1" fmla="*/ 2255427 w 2255427"/>
                <a:gd name="connsiteY1" fmla="*/ 257442 h 257442"/>
                <a:gd name="connsiteX2" fmla="*/ 0 w 2255427"/>
                <a:gd name="connsiteY2" fmla="*/ 257442 h 257442"/>
                <a:gd name="connsiteX3" fmla="*/ 0 w 2255427"/>
                <a:gd name="connsiteY3" fmla="*/ 0 h 257442"/>
                <a:gd name="connsiteX0" fmla="*/ 2141832 w 2141832"/>
                <a:gd name="connsiteY0" fmla="*/ 0 h 257442"/>
                <a:gd name="connsiteX1" fmla="*/ 2087111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2 w 2141832"/>
                <a:gd name="connsiteY0" fmla="*/ 0 h 257442"/>
                <a:gd name="connsiteX1" fmla="*/ 2087111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2 w 2141832"/>
                <a:gd name="connsiteY0" fmla="*/ 0 h 257442"/>
                <a:gd name="connsiteX1" fmla="*/ 2087111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1989547 w 2087111"/>
                <a:gd name="connsiteY0" fmla="*/ 0 h 257442"/>
                <a:gd name="connsiteX1" fmla="*/ 2087111 w 2087111"/>
                <a:gd name="connsiteY1" fmla="*/ 257442 h 257442"/>
                <a:gd name="connsiteX2" fmla="*/ 0 w 2087111"/>
                <a:gd name="connsiteY2" fmla="*/ 257442 h 257442"/>
                <a:gd name="connsiteX3" fmla="*/ 0 w 2087111"/>
                <a:gd name="connsiteY3" fmla="*/ 0 h 257442"/>
                <a:gd name="connsiteX0" fmla="*/ 1989547 w 1989547"/>
                <a:gd name="connsiteY0" fmla="*/ 0 h 257442"/>
                <a:gd name="connsiteX1" fmla="*/ 1934827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1989547 w 1989547"/>
                <a:gd name="connsiteY0" fmla="*/ 0 h 257442"/>
                <a:gd name="connsiteX1" fmla="*/ 1934827 w 1989547"/>
                <a:gd name="connsiteY1" fmla="*/ 257442 h 257442"/>
                <a:gd name="connsiteX2" fmla="*/ 1 w 1989547"/>
                <a:gd name="connsiteY2" fmla="*/ 257442 h 257442"/>
                <a:gd name="connsiteX3" fmla="*/ 0 w 1989547"/>
                <a:gd name="connsiteY3" fmla="*/ 0 h 257442"/>
                <a:gd name="connsiteX0" fmla="*/ 1989546 w 1989546"/>
                <a:gd name="connsiteY0" fmla="*/ 0 h 257442"/>
                <a:gd name="connsiteX1" fmla="*/ 1934826 w 1989546"/>
                <a:gd name="connsiteY1" fmla="*/ 257442 h 257442"/>
                <a:gd name="connsiteX2" fmla="*/ 0 w 1989546"/>
                <a:gd name="connsiteY2" fmla="*/ 257442 h 257442"/>
                <a:gd name="connsiteX3" fmla="*/ 0 w 1989546"/>
                <a:gd name="connsiteY3" fmla="*/ 0 h 257442"/>
                <a:gd name="connsiteX0" fmla="*/ 1888556 w 1934826"/>
                <a:gd name="connsiteY0" fmla="*/ 0 h 257442"/>
                <a:gd name="connsiteX1" fmla="*/ 1934826 w 1934826"/>
                <a:gd name="connsiteY1" fmla="*/ 257442 h 257442"/>
                <a:gd name="connsiteX2" fmla="*/ 0 w 1934826"/>
                <a:gd name="connsiteY2" fmla="*/ 257442 h 257442"/>
                <a:gd name="connsiteX3" fmla="*/ 0 w 1934826"/>
                <a:gd name="connsiteY3" fmla="*/ 0 h 257442"/>
                <a:gd name="connsiteX0" fmla="*/ 1888556 w 1888556"/>
                <a:gd name="connsiteY0" fmla="*/ 0 h 257442"/>
                <a:gd name="connsiteX1" fmla="*/ 1833835 w 1888556"/>
                <a:gd name="connsiteY1" fmla="*/ 257442 h 257442"/>
                <a:gd name="connsiteX2" fmla="*/ 0 w 1888556"/>
                <a:gd name="connsiteY2" fmla="*/ 257442 h 257442"/>
                <a:gd name="connsiteX3" fmla="*/ 0 w 1888556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1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1 w 1888557"/>
                <a:gd name="connsiteY3" fmla="*/ 0 h 257442"/>
                <a:gd name="connsiteX0" fmla="*/ 1728258 w 1833836"/>
                <a:gd name="connsiteY0" fmla="*/ 0 h 257442"/>
                <a:gd name="connsiteX1" fmla="*/ 1833836 w 1833836"/>
                <a:gd name="connsiteY1" fmla="*/ 257442 h 257442"/>
                <a:gd name="connsiteX2" fmla="*/ 0 w 1833836"/>
                <a:gd name="connsiteY2" fmla="*/ 257442 h 257442"/>
                <a:gd name="connsiteX3" fmla="*/ 1 w 1833836"/>
                <a:gd name="connsiteY3" fmla="*/ 0 h 257442"/>
                <a:gd name="connsiteX0" fmla="*/ 1728258 w 1728258"/>
                <a:gd name="connsiteY0" fmla="*/ 0 h 257442"/>
                <a:gd name="connsiteX1" fmla="*/ 1673537 w 1728258"/>
                <a:gd name="connsiteY1" fmla="*/ 257442 h 257442"/>
                <a:gd name="connsiteX2" fmla="*/ 0 w 1728258"/>
                <a:gd name="connsiteY2" fmla="*/ 257442 h 257442"/>
                <a:gd name="connsiteX3" fmla="*/ 1 w 1728258"/>
                <a:gd name="connsiteY3" fmla="*/ 0 h 257442"/>
                <a:gd name="connsiteX0" fmla="*/ 1728257 w 1728257"/>
                <a:gd name="connsiteY0" fmla="*/ 0 h 257442"/>
                <a:gd name="connsiteX1" fmla="*/ 1673536 w 1728257"/>
                <a:gd name="connsiteY1" fmla="*/ 257442 h 257442"/>
                <a:gd name="connsiteX2" fmla="*/ 0 w 1728257"/>
                <a:gd name="connsiteY2" fmla="*/ 257442 h 257442"/>
                <a:gd name="connsiteX3" fmla="*/ 0 w 1728257"/>
                <a:gd name="connsiteY3" fmla="*/ 0 h 257442"/>
                <a:gd name="connsiteX0" fmla="*/ 1728257 w 1728257"/>
                <a:gd name="connsiteY0" fmla="*/ 0 h 257442"/>
                <a:gd name="connsiteX1" fmla="*/ 1673536 w 1728257"/>
                <a:gd name="connsiteY1" fmla="*/ 257442 h 257442"/>
                <a:gd name="connsiteX2" fmla="*/ 0 w 1728257"/>
                <a:gd name="connsiteY2" fmla="*/ 257442 h 257442"/>
                <a:gd name="connsiteX3" fmla="*/ 0 w 1728257"/>
                <a:gd name="connsiteY3" fmla="*/ 0 h 257442"/>
                <a:gd name="connsiteX0" fmla="*/ 1575972 w 1673536"/>
                <a:gd name="connsiteY0" fmla="*/ 0 h 257442"/>
                <a:gd name="connsiteX1" fmla="*/ 1673536 w 1673536"/>
                <a:gd name="connsiteY1" fmla="*/ 257442 h 257442"/>
                <a:gd name="connsiteX2" fmla="*/ 0 w 1673536"/>
                <a:gd name="connsiteY2" fmla="*/ 257442 h 257442"/>
                <a:gd name="connsiteX3" fmla="*/ 0 w 1673536"/>
                <a:gd name="connsiteY3" fmla="*/ 0 h 257442"/>
                <a:gd name="connsiteX0" fmla="*/ 1575972 w 1575972"/>
                <a:gd name="connsiteY0" fmla="*/ 0 h 257442"/>
                <a:gd name="connsiteX1" fmla="*/ 1521251 w 1575972"/>
                <a:gd name="connsiteY1" fmla="*/ 257442 h 257442"/>
                <a:gd name="connsiteX2" fmla="*/ 0 w 1575972"/>
                <a:gd name="connsiteY2" fmla="*/ 257442 h 257442"/>
                <a:gd name="connsiteX3" fmla="*/ 0 w 1575972"/>
                <a:gd name="connsiteY3" fmla="*/ 0 h 257442"/>
                <a:gd name="connsiteX0" fmla="*/ 1575972 w 1575972"/>
                <a:gd name="connsiteY0" fmla="*/ 0 h 257442"/>
                <a:gd name="connsiteX1" fmla="*/ 1521251 w 1575972"/>
                <a:gd name="connsiteY1" fmla="*/ 257442 h 257442"/>
                <a:gd name="connsiteX2" fmla="*/ 0 w 1575972"/>
                <a:gd name="connsiteY2" fmla="*/ 257442 h 257442"/>
                <a:gd name="connsiteX3" fmla="*/ 0 w 1575972"/>
                <a:gd name="connsiteY3" fmla="*/ 0 h 257442"/>
                <a:gd name="connsiteX0" fmla="*/ 1575972 w 1575972"/>
                <a:gd name="connsiteY0" fmla="*/ 0 h 257442"/>
                <a:gd name="connsiteX1" fmla="*/ 1521251 w 1575972"/>
                <a:gd name="connsiteY1" fmla="*/ 257442 h 257442"/>
                <a:gd name="connsiteX2" fmla="*/ 0 w 1575972"/>
                <a:gd name="connsiteY2" fmla="*/ 257442 h 257442"/>
                <a:gd name="connsiteX3" fmla="*/ 0 w 1575972"/>
                <a:gd name="connsiteY3" fmla="*/ 0 h 257442"/>
                <a:gd name="connsiteX0" fmla="*/ 1474983 w 1521251"/>
                <a:gd name="connsiteY0" fmla="*/ 0 h 257442"/>
                <a:gd name="connsiteX1" fmla="*/ 1521251 w 1521251"/>
                <a:gd name="connsiteY1" fmla="*/ 257442 h 257442"/>
                <a:gd name="connsiteX2" fmla="*/ 0 w 1521251"/>
                <a:gd name="connsiteY2" fmla="*/ 257442 h 257442"/>
                <a:gd name="connsiteX3" fmla="*/ 0 w 1521251"/>
                <a:gd name="connsiteY3" fmla="*/ 0 h 257442"/>
                <a:gd name="connsiteX0" fmla="*/ 1474983 w 1474983"/>
                <a:gd name="connsiteY0" fmla="*/ 0 h 257442"/>
                <a:gd name="connsiteX1" fmla="*/ 1420263 w 1474983"/>
                <a:gd name="connsiteY1" fmla="*/ 257442 h 257442"/>
                <a:gd name="connsiteX2" fmla="*/ 0 w 1474983"/>
                <a:gd name="connsiteY2" fmla="*/ 257442 h 257442"/>
                <a:gd name="connsiteX3" fmla="*/ 0 w 1474983"/>
                <a:gd name="connsiteY3" fmla="*/ 0 h 257442"/>
                <a:gd name="connsiteX0" fmla="*/ 1474983 w 1474983"/>
                <a:gd name="connsiteY0" fmla="*/ 0 h 257442"/>
                <a:gd name="connsiteX1" fmla="*/ 1420263 w 1474983"/>
                <a:gd name="connsiteY1" fmla="*/ 257442 h 257442"/>
                <a:gd name="connsiteX2" fmla="*/ 1 w 1474983"/>
                <a:gd name="connsiteY2" fmla="*/ 257442 h 257442"/>
                <a:gd name="connsiteX3" fmla="*/ 0 w 1474983"/>
                <a:gd name="connsiteY3" fmla="*/ 0 h 257442"/>
                <a:gd name="connsiteX0" fmla="*/ 1474982 w 1474982"/>
                <a:gd name="connsiteY0" fmla="*/ 0 h 257442"/>
                <a:gd name="connsiteX1" fmla="*/ 1420262 w 1474982"/>
                <a:gd name="connsiteY1" fmla="*/ 257442 h 257442"/>
                <a:gd name="connsiteX2" fmla="*/ 0 w 1474982"/>
                <a:gd name="connsiteY2" fmla="*/ 257442 h 257442"/>
                <a:gd name="connsiteX3" fmla="*/ 0 w 1474982"/>
                <a:gd name="connsiteY3" fmla="*/ 0 h 257442"/>
                <a:gd name="connsiteX0" fmla="*/ 1314681 w 1420262"/>
                <a:gd name="connsiteY0" fmla="*/ 0 h 257442"/>
                <a:gd name="connsiteX1" fmla="*/ 1420262 w 1420262"/>
                <a:gd name="connsiteY1" fmla="*/ 257442 h 257442"/>
                <a:gd name="connsiteX2" fmla="*/ 0 w 1420262"/>
                <a:gd name="connsiteY2" fmla="*/ 257442 h 257442"/>
                <a:gd name="connsiteX3" fmla="*/ 0 w 1420262"/>
                <a:gd name="connsiteY3" fmla="*/ 0 h 257442"/>
                <a:gd name="connsiteX0" fmla="*/ 1314681 w 1314681"/>
                <a:gd name="connsiteY0" fmla="*/ 0 h 257442"/>
                <a:gd name="connsiteX1" fmla="*/ 1259960 w 1314681"/>
                <a:gd name="connsiteY1" fmla="*/ 257442 h 257442"/>
                <a:gd name="connsiteX2" fmla="*/ 0 w 1314681"/>
                <a:gd name="connsiteY2" fmla="*/ 257442 h 257442"/>
                <a:gd name="connsiteX3" fmla="*/ 0 w 1314681"/>
                <a:gd name="connsiteY3" fmla="*/ 0 h 257442"/>
                <a:gd name="connsiteX0" fmla="*/ 1314681 w 1314681"/>
                <a:gd name="connsiteY0" fmla="*/ 0 h 257442"/>
                <a:gd name="connsiteX1" fmla="*/ 1259960 w 1314681"/>
                <a:gd name="connsiteY1" fmla="*/ 257442 h 257442"/>
                <a:gd name="connsiteX2" fmla="*/ 0 w 1314681"/>
                <a:gd name="connsiteY2" fmla="*/ 257442 h 257442"/>
                <a:gd name="connsiteX3" fmla="*/ 0 w 1314681"/>
                <a:gd name="connsiteY3" fmla="*/ 0 h 257442"/>
                <a:gd name="connsiteX0" fmla="*/ 1314681 w 1314681"/>
                <a:gd name="connsiteY0" fmla="*/ 0 h 257442"/>
                <a:gd name="connsiteX1" fmla="*/ 1259960 w 1314681"/>
                <a:gd name="connsiteY1" fmla="*/ 257442 h 257442"/>
                <a:gd name="connsiteX2" fmla="*/ 0 w 1314681"/>
                <a:gd name="connsiteY2" fmla="*/ 257442 h 257442"/>
                <a:gd name="connsiteX3" fmla="*/ 0 w 1314681"/>
                <a:gd name="connsiteY3" fmla="*/ 0 h 257442"/>
                <a:gd name="connsiteX0" fmla="*/ 1423687 w 1423687"/>
                <a:gd name="connsiteY0" fmla="*/ 0 h 257442"/>
                <a:gd name="connsiteX1" fmla="*/ 1259960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423687 w 1423687"/>
                <a:gd name="connsiteY0" fmla="*/ 0 h 257442"/>
                <a:gd name="connsiteX1" fmla="*/ 1368966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423687 w 1423687"/>
                <a:gd name="connsiteY0" fmla="*/ 0 h 257442"/>
                <a:gd name="connsiteX1" fmla="*/ 1368966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423687 w 1423687"/>
                <a:gd name="connsiteY0" fmla="*/ 0 h 257442"/>
                <a:gd name="connsiteX1" fmla="*/ 1368966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575972 w 1575972"/>
                <a:gd name="connsiteY0" fmla="*/ 0 h 257442"/>
                <a:gd name="connsiteX1" fmla="*/ 1368966 w 1575972"/>
                <a:gd name="connsiteY1" fmla="*/ 257442 h 257442"/>
                <a:gd name="connsiteX2" fmla="*/ 0 w 1575972"/>
                <a:gd name="connsiteY2" fmla="*/ 257442 h 257442"/>
                <a:gd name="connsiteX3" fmla="*/ 0 w 1575972"/>
                <a:gd name="connsiteY3" fmla="*/ 0 h 257442"/>
                <a:gd name="connsiteX0" fmla="*/ 1575972 w 1575972"/>
                <a:gd name="connsiteY0" fmla="*/ 0 h 257442"/>
                <a:gd name="connsiteX1" fmla="*/ 1521250 w 1575972"/>
                <a:gd name="connsiteY1" fmla="*/ 257442 h 257442"/>
                <a:gd name="connsiteX2" fmla="*/ 0 w 1575972"/>
                <a:gd name="connsiteY2" fmla="*/ 257442 h 257442"/>
                <a:gd name="connsiteX3" fmla="*/ 0 w 1575972"/>
                <a:gd name="connsiteY3" fmla="*/ 0 h 257442"/>
                <a:gd name="connsiteX0" fmla="*/ 1575973 w 1575973"/>
                <a:gd name="connsiteY0" fmla="*/ 0 h 257442"/>
                <a:gd name="connsiteX1" fmla="*/ 1521251 w 1575973"/>
                <a:gd name="connsiteY1" fmla="*/ 257442 h 257442"/>
                <a:gd name="connsiteX2" fmla="*/ 0 w 1575973"/>
                <a:gd name="connsiteY2" fmla="*/ 257442 h 257442"/>
                <a:gd name="connsiteX3" fmla="*/ 1 w 1575973"/>
                <a:gd name="connsiteY3" fmla="*/ 0 h 257442"/>
                <a:gd name="connsiteX0" fmla="*/ 1575973 w 1575973"/>
                <a:gd name="connsiteY0" fmla="*/ 0 h 257442"/>
                <a:gd name="connsiteX1" fmla="*/ 1521251 w 1575973"/>
                <a:gd name="connsiteY1" fmla="*/ 257442 h 257442"/>
                <a:gd name="connsiteX2" fmla="*/ 0 w 1575973"/>
                <a:gd name="connsiteY2" fmla="*/ 257442 h 257442"/>
                <a:gd name="connsiteX3" fmla="*/ 1 w 1575973"/>
                <a:gd name="connsiteY3" fmla="*/ 0 h 257442"/>
                <a:gd name="connsiteX0" fmla="*/ 1744288 w 1744288"/>
                <a:gd name="connsiteY0" fmla="*/ 0 h 257442"/>
                <a:gd name="connsiteX1" fmla="*/ 1521251 w 1744288"/>
                <a:gd name="connsiteY1" fmla="*/ 257442 h 257442"/>
                <a:gd name="connsiteX2" fmla="*/ 0 w 1744288"/>
                <a:gd name="connsiteY2" fmla="*/ 257442 h 257442"/>
                <a:gd name="connsiteX3" fmla="*/ 1 w 1744288"/>
                <a:gd name="connsiteY3" fmla="*/ 0 h 257442"/>
                <a:gd name="connsiteX0" fmla="*/ 1744288 w 1744288"/>
                <a:gd name="connsiteY0" fmla="*/ 0 h 257442"/>
                <a:gd name="connsiteX1" fmla="*/ 1689566 w 1744288"/>
                <a:gd name="connsiteY1" fmla="*/ 257442 h 257442"/>
                <a:gd name="connsiteX2" fmla="*/ 0 w 1744288"/>
                <a:gd name="connsiteY2" fmla="*/ 257442 h 257442"/>
                <a:gd name="connsiteX3" fmla="*/ 1 w 1744288"/>
                <a:gd name="connsiteY3" fmla="*/ 0 h 257442"/>
                <a:gd name="connsiteX0" fmla="*/ 1744288 w 1744288"/>
                <a:gd name="connsiteY0" fmla="*/ 0 h 257442"/>
                <a:gd name="connsiteX1" fmla="*/ 1689566 w 1744288"/>
                <a:gd name="connsiteY1" fmla="*/ 257442 h 257442"/>
                <a:gd name="connsiteX2" fmla="*/ 0 w 1744288"/>
                <a:gd name="connsiteY2" fmla="*/ 257442 h 257442"/>
                <a:gd name="connsiteX3" fmla="*/ 1 w 1744288"/>
                <a:gd name="connsiteY3" fmla="*/ 0 h 257442"/>
                <a:gd name="connsiteX0" fmla="*/ 1744288 w 1744288"/>
                <a:gd name="connsiteY0" fmla="*/ 0 h 257442"/>
                <a:gd name="connsiteX1" fmla="*/ 1689566 w 1744288"/>
                <a:gd name="connsiteY1" fmla="*/ 257442 h 257442"/>
                <a:gd name="connsiteX2" fmla="*/ 0 w 1744288"/>
                <a:gd name="connsiteY2" fmla="*/ 257442 h 257442"/>
                <a:gd name="connsiteX3" fmla="*/ 0 w 1744288"/>
                <a:gd name="connsiteY3" fmla="*/ 0 h 257442"/>
                <a:gd name="connsiteX0" fmla="*/ 1912603 w 1912603"/>
                <a:gd name="connsiteY0" fmla="*/ 0 h 257442"/>
                <a:gd name="connsiteX1" fmla="*/ 1689566 w 1912603"/>
                <a:gd name="connsiteY1" fmla="*/ 257442 h 257442"/>
                <a:gd name="connsiteX2" fmla="*/ 0 w 1912603"/>
                <a:gd name="connsiteY2" fmla="*/ 257442 h 257442"/>
                <a:gd name="connsiteX3" fmla="*/ 0 w 1912603"/>
                <a:gd name="connsiteY3" fmla="*/ 0 h 257442"/>
                <a:gd name="connsiteX0" fmla="*/ 1912603 w 1912603"/>
                <a:gd name="connsiteY0" fmla="*/ 0 h 257442"/>
                <a:gd name="connsiteX1" fmla="*/ 1857882 w 1912603"/>
                <a:gd name="connsiteY1" fmla="*/ 257442 h 257442"/>
                <a:gd name="connsiteX2" fmla="*/ 0 w 1912603"/>
                <a:gd name="connsiteY2" fmla="*/ 257442 h 257442"/>
                <a:gd name="connsiteX3" fmla="*/ 0 w 1912603"/>
                <a:gd name="connsiteY3" fmla="*/ 0 h 257442"/>
                <a:gd name="connsiteX0" fmla="*/ 1912603 w 1912603"/>
                <a:gd name="connsiteY0" fmla="*/ 0 h 257442"/>
                <a:gd name="connsiteX1" fmla="*/ 1857882 w 1912603"/>
                <a:gd name="connsiteY1" fmla="*/ 257442 h 257442"/>
                <a:gd name="connsiteX2" fmla="*/ 0 w 1912603"/>
                <a:gd name="connsiteY2" fmla="*/ 257442 h 257442"/>
                <a:gd name="connsiteX3" fmla="*/ 0 w 1912603"/>
                <a:gd name="connsiteY3" fmla="*/ 0 h 257442"/>
                <a:gd name="connsiteX0" fmla="*/ 1912603 w 1912603"/>
                <a:gd name="connsiteY0" fmla="*/ 0 h 257442"/>
                <a:gd name="connsiteX1" fmla="*/ 1857882 w 1912603"/>
                <a:gd name="connsiteY1" fmla="*/ 257442 h 257442"/>
                <a:gd name="connsiteX2" fmla="*/ 0 w 1912603"/>
                <a:gd name="connsiteY2" fmla="*/ 257442 h 257442"/>
                <a:gd name="connsiteX3" fmla="*/ 0 w 1912603"/>
                <a:gd name="connsiteY3" fmla="*/ 0 h 257442"/>
                <a:gd name="connsiteX0" fmla="*/ 2064888 w 2064888"/>
                <a:gd name="connsiteY0" fmla="*/ 0 h 257442"/>
                <a:gd name="connsiteX1" fmla="*/ 1857882 w 2064888"/>
                <a:gd name="connsiteY1" fmla="*/ 257442 h 257442"/>
                <a:gd name="connsiteX2" fmla="*/ 0 w 2064888"/>
                <a:gd name="connsiteY2" fmla="*/ 257442 h 257442"/>
                <a:gd name="connsiteX3" fmla="*/ 0 w 2064888"/>
                <a:gd name="connsiteY3" fmla="*/ 0 h 257442"/>
                <a:gd name="connsiteX0" fmla="*/ 2064888 w 2064888"/>
                <a:gd name="connsiteY0" fmla="*/ 0 h 257442"/>
                <a:gd name="connsiteX1" fmla="*/ 2010166 w 2064888"/>
                <a:gd name="connsiteY1" fmla="*/ 257442 h 257442"/>
                <a:gd name="connsiteX2" fmla="*/ 0 w 2064888"/>
                <a:gd name="connsiteY2" fmla="*/ 257442 h 257442"/>
                <a:gd name="connsiteX3" fmla="*/ 0 w 2064888"/>
                <a:gd name="connsiteY3" fmla="*/ 0 h 257442"/>
                <a:gd name="connsiteX0" fmla="*/ 2064889 w 2064889"/>
                <a:gd name="connsiteY0" fmla="*/ 0 h 257442"/>
                <a:gd name="connsiteX1" fmla="*/ 2010167 w 2064889"/>
                <a:gd name="connsiteY1" fmla="*/ 257442 h 257442"/>
                <a:gd name="connsiteX2" fmla="*/ 0 w 2064889"/>
                <a:gd name="connsiteY2" fmla="*/ 257442 h 257442"/>
                <a:gd name="connsiteX3" fmla="*/ 1 w 2064889"/>
                <a:gd name="connsiteY3" fmla="*/ 0 h 257442"/>
                <a:gd name="connsiteX0" fmla="*/ 2064889 w 2064889"/>
                <a:gd name="connsiteY0" fmla="*/ 0 h 257442"/>
                <a:gd name="connsiteX1" fmla="*/ 2010167 w 2064889"/>
                <a:gd name="connsiteY1" fmla="*/ 257442 h 257442"/>
                <a:gd name="connsiteX2" fmla="*/ 0 w 2064889"/>
                <a:gd name="connsiteY2" fmla="*/ 257442 h 257442"/>
                <a:gd name="connsiteX3" fmla="*/ 1 w 2064889"/>
                <a:gd name="connsiteY3" fmla="*/ 0 h 257442"/>
                <a:gd name="connsiteX0" fmla="*/ 2217174 w 2217174"/>
                <a:gd name="connsiteY0" fmla="*/ 0 h 257442"/>
                <a:gd name="connsiteX1" fmla="*/ 2010167 w 2217174"/>
                <a:gd name="connsiteY1" fmla="*/ 257442 h 257442"/>
                <a:gd name="connsiteX2" fmla="*/ 0 w 2217174"/>
                <a:gd name="connsiteY2" fmla="*/ 257442 h 257442"/>
                <a:gd name="connsiteX3" fmla="*/ 1 w 2217174"/>
                <a:gd name="connsiteY3" fmla="*/ 0 h 257442"/>
                <a:gd name="connsiteX0" fmla="*/ 2217174 w 2217174"/>
                <a:gd name="connsiteY0" fmla="*/ 0 h 257442"/>
                <a:gd name="connsiteX1" fmla="*/ 2162452 w 2217174"/>
                <a:gd name="connsiteY1" fmla="*/ 257442 h 257442"/>
                <a:gd name="connsiteX2" fmla="*/ 0 w 2217174"/>
                <a:gd name="connsiteY2" fmla="*/ 257442 h 257442"/>
                <a:gd name="connsiteX3" fmla="*/ 1 w 2217174"/>
                <a:gd name="connsiteY3" fmla="*/ 0 h 257442"/>
                <a:gd name="connsiteX0" fmla="*/ 2217174 w 2217174"/>
                <a:gd name="connsiteY0" fmla="*/ 0 h 257442"/>
                <a:gd name="connsiteX1" fmla="*/ 2162452 w 2217174"/>
                <a:gd name="connsiteY1" fmla="*/ 257442 h 257442"/>
                <a:gd name="connsiteX2" fmla="*/ 0 w 2217174"/>
                <a:gd name="connsiteY2" fmla="*/ 257442 h 257442"/>
                <a:gd name="connsiteX3" fmla="*/ 1 w 2217174"/>
                <a:gd name="connsiteY3" fmla="*/ 0 h 257442"/>
                <a:gd name="connsiteX0" fmla="*/ 2217174 w 2217174"/>
                <a:gd name="connsiteY0" fmla="*/ 0 h 257442"/>
                <a:gd name="connsiteX1" fmla="*/ 2162452 w 2217174"/>
                <a:gd name="connsiteY1" fmla="*/ 257442 h 257442"/>
                <a:gd name="connsiteX2" fmla="*/ 0 w 2217174"/>
                <a:gd name="connsiteY2" fmla="*/ 257442 h 257442"/>
                <a:gd name="connsiteX3" fmla="*/ 0 w 2217174"/>
                <a:gd name="connsiteY3" fmla="*/ 0 h 257442"/>
                <a:gd name="connsiteX0" fmla="*/ 2318162 w 2318162"/>
                <a:gd name="connsiteY0" fmla="*/ 0 h 257442"/>
                <a:gd name="connsiteX1" fmla="*/ 2162452 w 2318162"/>
                <a:gd name="connsiteY1" fmla="*/ 257442 h 257442"/>
                <a:gd name="connsiteX2" fmla="*/ 0 w 2318162"/>
                <a:gd name="connsiteY2" fmla="*/ 257442 h 257442"/>
                <a:gd name="connsiteX3" fmla="*/ 0 w 2318162"/>
                <a:gd name="connsiteY3" fmla="*/ 0 h 257442"/>
                <a:gd name="connsiteX0" fmla="*/ 2318162 w 2318162"/>
                <a:gd name="connsiteY0" fmla="*/ 0 h 257442"/>
                <a:gd name="connsiteX1" fmla="*/ 2263441 w 2318162"/>
                <a:gd name="connsiteY1" fmla="*/ 257442 h 257442"/>
                <a:gd name="connsiteX2" fmla="*/ 0 w 2318162"/>
                <a:gd name="connsiteY2" fmla="*/ 257442 h 257442"/>
                <a:gd name="connsiteX3" fmla="*/ 0 w 2318162"/>
                <a:gd name="connsiteY3" fmla="*/ 0 h 257442"/>
                <a:gd name="connsiteX0" fmla="*/ 2318162 w 2318162"/>
                <a:gd name="connsiteY0" fmla="*/ 0 h 257442"/>
                <a:gd name="connsiteX1" fmla="*/ 2263441 w 2318162"/>
                <a:gd name="connsiteY1" fmla="*/ 257442 h 257442"/>
                <a:gd name="connsiteX2" fmla="*/ 0 w 2318162"/>
                <a:gd name="connsiteY2" fmla="*/ 257442 h 257442"/>
                <a:gd name="connsiteX3" fmla="*/ 0 w 2318162"/>
                <a:gd name="connsiteY3" fmla="*/ 0 h 257442"/>
                <a:gd name="connsiteX0" fmla="*/ 2318162 w 2318162"/>
                <a:gd name="connsiteY0" fmla="*/ 0 h 257442"/>
                <a:gd name="connsiteX1" fmla="*/ 2263441 w 2318162"/>
                <a:gd name="connsiteY1" fmla="*/ 257442 h 257442"/>
                <a:gd name="connsiteX2" fmla="*/ 0 w 2318162"/>
                <a:gd name="connsiteY2" fmla="*/ 257442 h 257442"/>
                <a:gd name="connsiteX3" fmla="*/ 0 w 2318162"/>
                <a:gd name="connsiteY3" fmla="*/ 0 h 257442"/>
                <a:gd name="connsiteX0" fmla="*/ 2486478 w 2486478"/>
                <a:gd name="connsiteY0" fmla="*/ 0 h 257442"/>
                <a:gd name="connsiteX1" fmla="*/ 2263441 w 2486478"/>
                <a:gd name="connsiteY1" fmla="*/ 257442 h 257442"/>
                <a:gd name="connsiteX2" fmla="*/ 0 w 2486478"/>
                <a:gd name="connsiteY2" fmla="*/ 257442 h 257442"/>
                <a:gd name="connsiteX3" fmla="*/ 0 w 2486478"/>
                <a:gd name="connsiteY3" fmla="*/ 0 h 257442"/>
                <a:gd name="connsiteX0" fmla="*/ 2486478 w 2486478"/>
                <a:gd name="connsiteY0" fmla="*/ 0 h 257442"/>
                <a:gd name="connsiteX1" fmla="*/ 2431757 w 2486478"/>
                <a:gd name="connsiteY1" fmla="*/ 257442 h 257442"/>
                <a:gd name="connsiteX2" fmla="*/ 0 w 2486478"/>
                <a:gd name="connsiteY2" fmla="*/ 257442 h 257442"/>
                <a:gd name="connsiteX3" fmla="*/ 0 w 2486478"/>
                <a:gd name="connsiteY3" fmla="*/ 0 h 257442"/>
                <a:gd name="connsiteX0" fmla="*/ 2486478 w 2486478"/>
                <a:gd name="connsiteY0" fmla="*/ 0 h 257442"/>
                <a:gd name="connsiteX1" fmla="*/ 2431757 w 2486478"/>
                <a:gd name="connsiteY1" fmla="*/ 257442 h 257442"/>
                <a:gd name="connsiteX2" fmla="*/ 0 w 2486478"/>
                <a:gd name="connsiteY2" fmla="*/ 257442 h 257442"/>
                <a:gd name="connsiteX3" fmla="*/ 0 w 2486478"/>
                <a:gd name="connsiteY3" fmla="*/ 0 h 257442"/>
                <a:gd name="connsiteX0" fmla="*/ 2486478 w 2486478"/>
                <a:gd name="connsiteY0" fmla="*/ 0 h 257442"/>
                <a:gd name="connsiteX1" fmla="*/ 2431757 w 2486478"/>
                <a:gd name="connsiteY1" fmla="*/ 257442 h 257442"/>
                <a:gd name="connsiteX2" fmla="*/ 0 w 2486478"/>
                <a:gd name="connsiteY2" fmla="*/ 257442 h 257442"/>
                <a:gd name="connsiteX3" fmla="*/ 0 w 2486478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86478" h="257442">
                  <a:moveTo>
                    <a:pt x="2486478" y="0"/>
                  </a:moveTo>
                  <a:lnTo>
                    <a:pt x="2431757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6" name="btfpRunningAgenda2LevelTextLeft224096">
              <a:extLst>
                <a:ext uri="{FF2B5EF4-FFF2-40B4-BE49-F238E27FC236}">
                  <a16:creationId xmlns:a16="http://schemas.microsoft.com/office/drawing/2014/main" id="{EDF430C5-2770-44A8-9123-4288A67E0B8D}"/>
                </a:ext>
              </a:extLst>
            </p:cNvPr>
            <p:cNvSpPr txBox="1"/>
            <p:nvPr/>
          </p:nvSpPr>
          <p:spPr bwMode="gray">
            <a:xfrm>
              <a:off x="0" y="876300"/>
              <a:ext cx="2431757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Web-traffic</a:t>
              </a:r>
            </a:p>
          </p:txBody>
        </p:sp>
        <p:sp>
          <p:nvSpPr>
            <p:cNvPr id="33" name="btfpRunningAgenda2LevelBarRight224096">
              <a:extLst>
                <a:ext uri="{FF2B5EF4-FFF2-40B4-BE49-F238E27FC236}">
                  <a16:creationId xmlns:a16="http://schemas.microsoft.com/office/drawing/2014/main" id="{8EC26F4E-1D64-41C0-9D48-73CB25E96ED1}"/>
                </a:ext>
              </a:extLst>
            </p:cNvPr>
            <p:cNvSpPr/>
            <p:nvPr/>
          </p:nvSpPr>
          <p:spPr bwMode="gray">
            <a:xfrm>
              <a:off x="2351636" y="876300"/>
              <a:ext cx="2662808" cy="257442"/>
            </a:xfrm>
            <a:custGeom>
              <a:avLst/>
              <a:gdLst>
                <a:gd name="connsiteX0" fmla="*/ 93477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34771 w 2313135"/>
                <a:gd name="connsiteY0" fmla="*/ 0 h 257442"/>
                <a:gd name="connsiteX1" fmla="*/ 88005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1 w 934771"/>
                <a:gd name="connsiteY2" fmla="*/ 257442 h 257442"/>
                <a:gd name="connsiteX3" fmla="*/ 0 w 934771"/>
                <a:gd name="connsiteY3" fmla="*/ 257442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54721 w 934770"/>
                <a:gd name="connsiteY3" fmla="*/ 0 h 257442"/>
                <a:gd name="connsiteX0" fmla="*/ 1109946 w 1109946"/>
                <a:gd name="connsiteY0" fmla="*/ 0 h 257442"/>
                <a:gd name="connsiteX1" fmla="*/ 880049 w 1109946"/>
                <a:gd name="connsiteY1" fmla="*/ 257442 h 257442"/>
                <a:gd name="connsiteX2" fmla="*/ 0 w 1109946"/>
                <a:gd name="connsiteY2" fmla="*/ 257442 h 257442"/>
                <a:gd name="connsiteX3" fmla="*/ 54721 w 1109946"/>
                <a:gd name="connsiteY3" fmla="*/ 0 h 257442"/>
                <a:gd name="connsiteX0" fmla="*/ 1109946 w 1109946"/>
                <a:gd name="connsiteY0" fmla="*/ 0 h 257442"/>
                <a:gd name="connsiteX1" fmla="*/ 1055225 w 1109946"/>
                <a:gd name="connsiteY1" fmla="*/ 257442 h 257442"/>
                <a:gd name="connsiteX2" fmla="*/ 0 w 1109946"/>
                <a:gd name="connsiteY2" fmla="*/ 257442 h 257442"/>
                <a:gd name="connsiteX3" fmla="*/ 54721 w 1109946"/>
                <a:gd name="connsiteY3" fmla="*/ 0 h 257442"/>
                <a:gd name="connsiteX0" fmla="*/ 1109947 w 1109947"/>
                <a:gd name="connsiteY0" fmla="*/ 0 h 257442"/>
                <a:gd name="connsiteX1" fmla="*/ 1055226 w 1109947"/>
                <a:gd name="connsiteY1" fmla="*/ 257442 h 257442"/>
                <a:gd name="connsiteX2" fmla="*/ 0 w 1109947"/>
                <a:gd name="connsiteY2" fmla="*/ 257442 h 257442"/>
                <a:gd name="connsiteX3" fmla="*/ 54722 w 1109947"/>
                <a:gd name="connsiteY3" fmla="*/ 0 h 257442"/>
                <a:gd name="connsiteX0" fmla="*/ 1109947 w 1109947"/>
                <a:gd name="connsiteY0" fmla="*/ 0 h 257442"/>
                <a:gd name="connsiteX1" fmla="*/ 1055226 w 1109947"/>
                <a:gd name="connsiteY1" fmla="*/ 257442 h 257442"/>
                <a:gd name="connsiteX2" fmla="*/ 0 w 1109947"/>
                <a:gd name="connsiteY2" fmla="*/ 257442 h 257442"/>
                <a:gd name="connsiteX3" fmla="*/ 54722 w 1109947"/>
                <a:gd name="connsiteY3" fmla="*/ 0 h 257442"/>
                <a:gd name="connsiteX0" fmla="*/ 1419135 w 1419135"/>
                <a:gd name="connsiteY0" fmla="*/ 0 h 257442"/>
                <a:gd name="connsiteX1" fmla="*/ 1055226 w 1419135"/>
                <a:gd name="connsiteY1" fmla="*/ 257442 h 257442"/>
                <a:gd name="connsiteX2" fmla="*/ 0 w 1419135"/>
                <a:gd name="connsiteY2" fmla="*/ 257442 h 257442"/>
                <a:gd name="connsiteX3" fmla="*/ 54722 w 1419135"/>
                <a:gd name="connsiteY3" fmla="*/ 0 h 257442"/>
                <a:gd name="connsiteX0" fmla="*/ 1419135 w 1419135"/>
                <a:gd name="connsiteY0" fmla="*/ 0 h 257442"/>
                <a:gd name="connsiteX1" fmla="*/ 1364414 w 1419135"/>
                <a:gd name="connsiteY1" fmla="*/ 257442 h 257442"/>
                <a:gd name="connsiteX2" fmla="*/ 0 w 1419135"/>
                <a:gd name="connsiteY2" fmla="*/ 257442 h 257442"/>
                <a:gd name="connsiteX3" fmla="*/ 54722 w 1419135"/>
                <a:gd name="connsiteY3" fmla="*/ 0 h 257442"/>
                <a:gd name="connsiteX0" fmla="*/ 1419134 w 1419134"/>
                <a:gd name="connsiteY0" fmla="*/ 0 h 257442"/>
                <a:gd name="connsiteX1" fmla="*/ 1364413 w 1419134"/>
                <a:gd name="connsiteY1" fmla="*/ 257442 h 257442"/>
                <a:gd name="connsiteX2" fmla="*/ 0 w 1419134"/>
                <a:gd name="connsiteY2" fmla="*/ 257442 h 257442"/>
                <a:gd name="connsiteX3" fmla="*/ 54721 w 1419134"/>
                <a:gd name="connsiteY3" fmla="*/ 0 h 257442"/>
                <a:gd name="connsiteX0" fmla="*/ 1419134 w 1419134"/>
                <a:gd name="connsiteY0" fmla="*/ 0 h 257442"/>
                <a:gd name="connsiteX1" fmla="*/ 1364413 w 1419134"/>
                <a:gd name="connsiteY1" fmla="*/ 257442 h 257442"/>
                <a:gd name="connsiteX2" fmla="*/ 0 w 1419134"/>
                <a:gd name="connsiteY2" fmla="*/ 257442 h 257442"/>
                <a:gd name="connsiteX3" fmla="*/ 54720 w 1419134"/>
                <a:gd name="connsiteY3" fmla="*/ 0 h 257442"/>
                <a:gd name="connsiteX0" fmla="*/ 1669650 w 1669650"/>
                <a:gd name="connsiteY0" fmla="*/ 0 h 257442"/>
                <a:gd name="connsiteX1" fmla="*/ 1364413 w 1669650"/>
                <a:gd name="connsiteY1" fmla="*/ 257442 h 257442"/>
                <a:gd name="connsiteX2" fmla="*/ 0 w 1669650"/>
                <a:gd name="connsiteY2" fmla="*/ 257442 h 257442"/>
                <a:gd name="connsiteX3" fmla="*/ 54720 w 1669650"/>
                <a:gd name="connsiteY3" fmla="*/ 0 h 257442"/>
                <a:gd name="connsiteX0" fmla="*/ 1669650 w 1669650"/>
                <a:gd name="connsiteY0" fmla="*/ 0 h 257442"/>
                <a:gd name="connsiteX1" fmla="*/ 1614929 w 1669650"/>
                <a:gd name="connsiteY1" fmla="*/ 257442 h 257442"/>
                <a:gd name="connsiteX2" fmla="*/ 0 w 1669650"/>
                <a:gd name="connsiteY2" fmla="*/ 257442 h 257442"/>
                <a:gd name="connsiteX3" fmla="*/ 54720 w 1669650"/>
                <a:gd name="connsiteY3" fmla="*/ 0 h 257442"/>
                <a:gd name="connsiteX0" fmla="*/ 1669651 w 1669651"/>
                <a:gd name="connsiteY0" fmla="*/ 0 h 257442"/>
                <a:gd name="connsiteX1" fmla="*/ 1614930 w 1669651"/>
                <a:gd name="connsiteY1" fmla="*/ 257442 h 257442"/>
                <a:gd name="connsiteX2" fmla="*/ 0 w 1669651"/>
                <a:gd name="connsiteY2" fmla="*/ 257442 h 257442"/>
                <a:gd name="connsiteX3" fmla="*/ 54721 w 1669651"/>
                <a:gd name="connsiteY3" fmla="*/ 0 h 257442"/>
                <a:gd name="connsiteX0" fmla="*/ 1669651 w 1669651"/>
                <a:gd name="connsiteY0" fmla="*/ 0 h 257442"/>
                <a:gd name="connsiteX1" fmla="*/ 1614930 w 1669651"/>
                <a:gd name="connsiteY1" fmla="*/ 257442 h 257442"/>
                <a:gd name="connsiteX2" fmla="*/ 0 w 1669651"/>
                <a:gd name="connsiteY2" fmla="*/ 257442 h 257442"/>
                <a:gd name="connsiteX3" fmla="*/ 54722 w 1669651"/>
                <a:gd name="connsiteY3" fmla="*/ 0 h 257442"/>
                <a:gd name="connsiteX0" fmla="*/ 1829953 w 1829953"/>
                <a:gd name="connsiteY0" fmla="*/ 0 h 257442"/>
                <a:gd name="connsiteX1" fmla="*/ 1614930 w 1829953"/>
                <a:gd name="connsiteY1" fmla="*/ 257442 h 257442"/>
                <a:gd name="connsiteX2" fmla="*/ 0 w 1829953"/>
                <a:gd name="connsiteY2" fmla="*/ 257442 h 257442"/>
                <a:gd name="connsiteX3" fmla="*/ 54722 w 1829953"/>
                <a:gd name="connsiteY3" fmla="*/ 0 h 257442"/>
                <a:gd name="connsiteX0" fmla="*/ 1829953 w 1829953"/>
                <a:gd name="connsiteY0" fmla="*/ 0 h 257442"/>
                <a:gd name="connsiteX1" fmla="*/ 1775232 w 1829953"/>
                <a:gd name="connsiteY1" fmla="*/ 257442 h 257442"/>
                <a:gd name="connsiteX2" fmla="*/ 0 w 1829953"/>
                <a:gd name="connsiteY2" fmla="*/ 257442 h 257442"/>
                <a:gd name="connsiteX3" fmla="*/ 54722 w 1829953"/>
                <a:gd name="connsiteY3" fmla="*/ 0 h 257442"/>
                <a:gd name="connsiteX0" fmla="*/ 1829952 w 1829952"/>
                <a:gd name="connsiteY0" fmla="*/ 0 h 257442"/>
                <a:gd name="connsiteX1" fmla="*/ 1775231 w 1829952"/>
                <a:gd name="connsiteY1" fmla="*/ 257442 h 257442"/>
                <a:gd name="connsiteX2" fmla="*/ 0 w 1829952"/>
                <a:gd name="connsiteY2" fmla="*/ 257442 h 257442"/>
                <a:gd name="connsiteX3" fmla="*/ 54721 w 1829952"/>
                <a:gd name="connsiteY3" fmla="*/ 0 h 257442"/>
                <a:gd name="connsiteX0" fmla="*/ 1829952 w 1829952"/>
                <a:gd name="connsiteY0" fmla="*/ 0 h 257442"/>
                <a:gd name="connsiteX1" fmla="*/ 1775231 w 1829952"/>
                <a:gd name="connsiteY1" fmla="*/ 257442 h 257442"/>
                <a:gd name="connsiteX2" fmla="*/ 0 w 1829952"/>
                <a:gd name="connsiteY2" fmla="*/ 257442 h 257442"/>
                <a:gd name="connsiteX3" fmla="*/ 54720 w 1829952"/>
                <a:gd name="connsiteY3" fmla="*/ 0 h 257442"/>
                <a:gd name="connsiteX0" fmla="*/ 2091241 w 2091241"/>
                <a:gd name="connsiteY0" fmla="*/ 0 h 257442"/>
                <a:gd name="connsiteX1" fmla="*/ 1775231 w 2091241"/>
                <a:gd name="connsiteY1" fmla="*/ 257442 h 257442"/>
                <a:gd name="connsiteX2" fmla="*/ 0 w 2091241"/>
                <a:gd name="connsiteY2" fmla="*/ 257442 h 257442"/>
                <a:gd name="connsiteX3" fmla="*/ 54720 w 2091241"/>
                <a:gd name="connsiteY3" fmla="*/ 0 h 257442"/>
                <a:gd name="connsiteX0" fmla="*/ 2091241 w 2091241"/>
                <a:gd name="connsiteY0" fmla="*/ 0 h 257442"/>
                <a:gd name="connsiteX1" fmla="*/ 2036520 w 2091241"/>
                <a:gd name="connsiteY1" fmla="*/ 257442 h 257442"/>
                <a:gd name="connsiteX2" fmla="*/ 0 w 2091241"/>
                <a:gd name="connsiteY2" fmla="*/ 257442 h 257442"/>
                <a:gd name="connsiteX3" fmla="*/ 54720 w 2091241"/>
                <a:gd name="connsiteY3" fmla="*/ 0 h 257442"/>
                <a:gd name="connsiteX0" fmla="*/ 2091242 w 2091242"/>
                <a:gd name="connsiteY0" fmla="*/ 0 h 257442"/>
                <a:gd name="connsiteX1" fmla="*/ 2036521 w 2091242"/>
                <a:gd name="connsiteY1" fmla="*/ 257442 h 257442"/>
                <a:gd name="connsiteX2" fmla="*/ 0 w 2091242"/>
                <a:gd name="connsiteY2" fmla="*/ 257442 h 257442"/>
                <a:gd name="connsiteX3" fmla="*/ 54721 w 2091242"/>
                <a:gd name="connsiteY3" fmla="*/ 0 h 257442"/>
                <a:gd name="connsiteX0" fmla="*/ 2091242 w 2091242"/>
                <a:gd name="connsiteY0" fmla="*/ 0 h 257442"/>
                <a:gd name="connsiteX1" fmla="*/ 2036521 w 2091242"/>
                <a:gd name="connsiteY1" fmla="*/ 257442 h 257442"/>
                <a:gd name="connsiteX2" fmla="*/ 0 w 2091242"/>
                <a:gd name="connsiteY2" fmla="*/ 257442 h 257442"/>
                <a:gd name="connsiteX3" fmla="*/ 54721 w 2091242"/>
                <a:gd name="connsiteY3" fmla="*/ 0 h 257442"/>
                <a:gd name="connsiteX0" fmla="*/ 2360546 w 2360546"/>
                <a:gd name="connsiteY0" fmla="*/ 0 h 257442"/>
                <a:gd name="connsiteX1" fmla="*/ 2036521 w 2360546"/>
                <a:gd name="connsiteY1" fmla="*/ 257442 h 257442"/>
                <a:gd name="connsiteX2" fmla="*/ 0 w 2360546"/>
                <a:gd name="connsiteY2" fmla="*/ 257442 h 257442"/>
                <a:gd name="connsiteX3" fmla="*/ 54721 w 2360546"/>
                <a:gd name="connsiteY3" fmla="*/ 0 h 257442"/>
                <a:gd name="connsiteX0" fmla="*/ 2360546 w 2360546"/>
                <a:gd name="connsiteY0" fmla="*/ 0 h 257442"/>
                <a:gd name="connsiteX1" fmla="*/ 2305825 w 2360546"/>
                <a:gd name="connsiteY1" fmla="*/ 257442 h 257442"/>
                <a:gd name="connsiteX2" fmla="*/ 0 w 2360546"/>
                <a:gd name="connsiteY2" fmla="*/ 257442 h 257442"/>
                <a:gd name="connsiteX3" fmla="*/ 54721 w 2360546"/>
                <a:gd name="connsiteY3" fmla="*/ 0 h 257442"/>
                <a:gd name="connsiteX0" fmla="*/ 2360546 w 2360546"/>
                <a:gd name="connsiteY0" fmla="*/ 0 h 257442"/>
                <a:gd name="connsiteX1" fmla="*/ 2305825 w 2360546"/>
                <a:gd name="connsiteY1" fmla="*/ 257442 h 257442"/>
                <a:gd name="connsiteX2" fmla="*/ 0 w 2360546"/>
                <a:gd name="connsiteY2" fmla="*/ 257442 h 257442"/>
                <a:gd name="connsiteX3" fmla="*/ 54721 w 2360546"/>
                <a:gd name="connsiteY3" fmla="*/ 0 h 257442"/>
                <a:gd name="connsiteX0" fmla="*/ 2360546 w 2360546"/>
                <a:gd name="connsiteY0" fmla="*/ 0 h 257442"/>
                <a:gd name="connsiteX1" fmla="*/ 2305825 w 2360546"/>
                <a:gd name="connsiteY1" fmla="*/ 257442 h 257442"/>
                <a:gd name="connsiteX2" fmla="*/ 0 w 2360546"/>
                <a:gd name="connsiteY2" fmla="*/ 257442 h 257442"/>
                <a:gd name="connsiteX3" fmla="*/ 54721 w 2360546"/>
                <a:gd name="connsiteY3" fmla="*/ 0 h 257442"/>
                <a:gd name="connsiteX0" fmla="*/ 2520846 w 2520846"/>
                <a:gd name="connsiteY0" fmla="*/ 0 h 257442"/>
                <a:gd name="connsiteX1" fmla="*/ 2305825 w 2520846"/>
                <a:gd name="connsiteY1" fmla="*/ 257442 h 257442"/>
                <a:gd name="connsiteX2" fmla="*/ 0 w 2520846"/>
                <a:gd name="connsiteY2" fmla="*/ 257442 h 257442"/>
                <a:gd name="connsiteX3" fmla="*/ 54721 w 2520846"/>
                <a:gd name="connsiteY3" fmla="*/ 0 h 257442"/>
                <a:gd name="connsiteX0" fmla="*/ 2520846 w 2520846"/>
                <a:gd name="connsiteY0" fmla="*/ 0 h 257442"/>
                <a:gd name="connsiteX1" fmla="*/ 2466125 w 2520846"/>
                <a:gd name="connsiteY1" fmla="*/ 257442 h 257442"/>
                <a:gd name="connsiteX2" fmla="*/ 0 w 2520846"/>
                <a:gd name="connsiteY2" fmla="*/ 257442 h 257442"/>
                <a:gd name="connsiteX3" fmla="*/ 54721 w 2520846"/>
                <a:gd name="connsiteY3" fmla="*/ 0 h 257442"/>
                <a:gd name="connsiteX0" fmla="*/ 2520846 w 2520846"/>
                <a:gd name="connsiteY0" fmla="*/ 0 h 257442"/>
                <a:gd name="connsiteX1" fmla="*/ 2466125 w 2520846"/>
                <a:gd name="connsiteY1" fmla="*/ 257442 h 257442"/>
                <a:gd name="connsiteX2" fmla="*/ 0 w 2520846"/>
                <a:gd name="connsiteY2" fmla="*/ 257442 h 257442"/>
                <a:gd name="connsiteX3" fmla="*/ 54721 w 2520846"/>
                <a:gd name="connsiteY3" fmla="*/ 0 h 257442"/>
                <a:gd name="connsiteX0" fmla="*/ 2520846 w 2520846"/>
                <a:gd name="connsiteY0" fmla="*/ 0 h 257442"/>
                <a:gd name="connsiteX1" fmla="*/ 2466125 w 2520846"/>
                <a:gd name="connsiteY1" fmla="*/ 257442 h 257442"/>
                <a:gd name="connsiteX2" fmla="*/ 0 w 2520846"/>
                <a:gd name="connsiteY2" fmla="*/ 257442 h 257442"/>
                <a:gd name="connsiteX3" fmla="*/ 54721 w 2520846"/>
                <a:gd name="connsiteY3" fmla="*/ 0 h 257442"/>
                <a:gd name="connsiteX0" fmla="*/ 2360546 w 2466125"/>
                <a:gd name="connsiteY0" fmla="*/ 0 h 257442"/>
                <a:gd name="connsiteX1" fmla="*/ 2466125 w 2466125"/>
                <a:gd name="connsiteY1" fmla="*/ 257442 h 257442"/>
                <a:gd name="connsiteX2" fmla="*/ 0 w 2466125"/>
                <a:gd name="connsiteY2" fmla="*/ 257442 h 257442"/>
                <a:gd name="connsiteX3" fmla="*/ 54721 w 2466125"/>
                <a:gd name="connsiteY3" fmla="*/ 0 h 257442"/>
                <a:gd name="connsiteX0" fmla="*/ 2360546 w 2360546"/>
                <a:gd name="connsiteY0" fmla="*/ 0 h 257442"/>
                <a:gd name="connsiteX1" fmla="*/ 2305826 w 2360546"/>
                <a:gd name="connsiteY1" fmla="*/ 257442 h 257442"/>
                <a:gd name="connsiteX2" fmla="*/ 0 w 2360546"/>
                <a:gd name="connsiteY2" fmla="*/ 257442 h 257442"/>
                <a:gd name="connsiteX3" fmla="*/ 54721 w 2360546"/>
                <a:gd name="connsiteY3" fmla="*/ 0 h 257442"/>
                <a:gd name="connsiteX0" fmla="*/ 2360545 w 2360545"/>
                <a:gd name="connsiteY0" fmla="*/ 0 h 257442"/>
                <a:gd name="connsiteX1" fmla="*/ 2305825 w 2360545"/>
                <a:gd name="connsiteY1" fmla="*/ 257442 h 257442"/>
                <a:gd name="connsiteX2" fmla="*/ 0 w 2360545"/>
                <a:gd name="connsiteY2" fmla="*/ 257442 h 257442"/>
                <a:gd name="connsiteX3" fmla="*/ 54720 w 2360545"/>
                <a:gd name="connsiteY3" fmla="*/ 0 h 257442"/>
                <a:gd name="connsiteX0" fmla="*/ 2360545 w 2360545"/>
                <a:gd name="connsiteY0" fmla="*/ 0 h 257442"/>
                <a:gd name="connsiteX1" fmla="*/ 2305825 w 2360545"/>
                <a:gd name="connsiteY1" fmla="*/ 257442 h 257442"/>
                <a:gd name="connsiteX2" fmla="*/ 0 w 2360545"/>
                <a:gd name="connsiteY2" fmla="*/ 257442 h 257442"/>
                <a:gd name="connsiteX3" fmla="*/ 54721 w 2360545"/>
                <a:gd name="connsiteY3" fmla="*/ 0 h 257442"/>
                <a:gd name="connsiteX0" fmla="*/ 2192230 w 2305825"/>
                <a:gd name="connsiteY0" fmla="*/ 0 h 257442"/>
                <a:gd name="connsiteX1" fmla="*/ 2305825 w 2305825"/>
                <a:gd name="connsiteY1" fmla="*/ 257442 h 257442"/>
                <a:gd name="connsiteX2" fmla="*/ 0 w 2305825"/>
                <a:gd name="connsiteY2" fmla="*/ 257442 h 257442"/>
                <a:gd name="connsiteX3" fmla="*/ 54721 w 2305825"/>
                <a:gd name="connsiteY3" fmla="*/ 0 h 257442"/>
                <a:gd name="connsiteX0" fmla="*/ 2192230 w 2192230"/>
                <a:gd name="connsiteY0" fmla="*/ 0 h 257442"/>
                <a:gd name="connsiteX1" fmla="*/ 2137509 w 2192230"/>
                <a:gd name="connsiteY1" fmla="*/ 257442 h 257442"/>
                <a:gd name="connsiteX2" fmla="*/ 0 w 2192230"/>
                <a:gd name="connsiteY2" fmla="*/ 257442 h 257442"/>
                <a:gd name="connsiteX3" fmla="*/ 54721 w 2192230"/>
                <a:gd name="connsiteY3" fmla="*/ 0 h 257442"/>
                <a:gd name="connsiteX0" fmla="*/ 2192230 w 2192230"/>
                <a:gd name="connsiteY0" fmla="*/ 0 h 257442"/>
                <a:gd name="connsiteX1" fmla="*/ 2137509 w 2192230"/>
                <a:gd name="connsiteY1" fmla="*/ 257442 h 257442"/>
                <a:gd name="connsiteX2" fmla="*/ 0 w 2192230"/>
                <a:gd name="connsiteY2" fmla="*/ 257442 h 257442"/>
                <a:gd name="connsiteX3" fmla="*/ 54721 w 2192230"/>
                <a:gd name="connsiteY3" fmla="*/ 0 h 257442"/>
                <a:gd name="connsiteX0" fmla="*/ 2192230 w 2192230"/>
                <a:gd name="connsiteY0" fmla="*/ 0 h 257442"/>
                <a:gd name="connsiteX1" fmla="*/ 2137509 w 2192230"/>
                <a:gd name="connsiteY1" fmla="*/ 257442 h 257442"/>
                <a:gd name="connsiteX2" fmla="*/ 0 w 2192230"/>
                <a:gd name="connsiteY2" fmla="*/ 257442 h 257442"/>
                <a:gd name="connsiteX3" fmla="*/ 54721 w 2192230"/>
                <a:gd name="connsiteY3" fmla="*/ 0 h 257442"/>
                <a:gd name="connsiteX0" fmla="*/ 2504816 w 2504816"/>
                <a:gd name="connsiteY0" fmla="*/ 0 h 257442"/>
                <a:gd name="connsiteX1" fmla="*/ 2137509 w 2504816"/>
                <a:gd name="connsiteY1" fmla="*/ 257442 h 257442"/>
                <a:gd name="connsiteX2" fmla="*/ 0 w 2504816"/>
                <a:gd name="connsiteY2" fmla="*/ 257442 h 257442"/>
                <a:gd name="connsiteX3" fmla="*/ 54721 w 2504816"/>
                <a:gd name="connsiteY3" fmla="*/ 0 h 257442"/>
                <a:gd name="connsiteX0" fmla="*/ 2504816 w 2504816"/>
                <a:gd name="connsiteY0" fmla="*/ 0 h 257442"/>
                <a:gd name="connsiteX1" fmla="*/ 2450095 w 2504816"/>
                <a:gd name="connsiteY1" fmla="*/ 257442 h 257442"/>
                <a:gd name="connsiteX2" fmla="*/ 0 w 2504816"/>
                <a:gd name="connsiteY2" fmla="*/ 257442 h 257442"/>
                <a:gd name="connsiteX3" fmla="*/ 54721 w 2504816"/>
                <a:gd name="connsiteY3" fmla="*/ 0 h 257442"/>
                <a:gd name="connsiteX0" fmla="*/ 2504816 w 2504816"/>
                <a:gd name="connsiteY0" fmla="*/ 0 h 257442"/>
                <a:gd name="connsiteX1" fmla="*/ 2450095 w 2504816"/>
                <a:gd name="connsiteY1" fmla="*/ 257442 h 257442"/>
                <a:gd name="connsiteX2" fmla="*/ 0 w 2504816"/>
                <a:gd name="connsiteY2" fmla="*/ 257442 h 257442"/>
                <a:gd name="connsiteX3" fmla="*/ 54721 w 2504816"/>
                <a:gd name="connsiteY3" fmla="*/ 0 h 257442"/>
                <a:gd name="connsiteX0" fmla="*/ 2504816 w 2504816"/>
                <a:gd name="connsiteY0" fmla="*/ 0 h 257442"/>
                <a:gd name="connsiteX1" fmla="*/ 2450095 w 2504816"/>
                <a:gd name="connsiteY1" fmla="*/ 257442 h 257442"/>
                <a:gd name="connsiteX2" fmla="*/ 0 w 2504816"/>
                <a:gd name="connsiteY2" fmla="*/ 257442 h 257442"/>
                <a:gd name="connsiteX3" fmla="*/ 54721 w 2504816"/>
                <a:gd name="connsiteY3" fmla="*/ 0 h 257442"/>
                <a:gd name="connsiteX0" fmla="*/ 1886955 w 2450095"/>
                <a:gd name="connsiteY0" fmla="*/ 0 h 257442"/>
                <a:gd name="connsiteX1" fmla="*/ 2450095 w 2450095"/>
                <a:gd name="connsiteY1" fmla="*/ 257442 h 257442"/>
                <a:gd name="connsiteX2" fmla="*/ 0 w 2450095"/>
                <a:gd name="connsiteY2" fmla="*/ 257442 h 257442"/>
                <a:gd name="connsiteX3" fmla="*/ 54721 w 2450095"/>
                <a:gd name="connsiteY3" fmla="*/ 0 h 257442"/>
                <a:gd name="connsiteX0" fmla="*/ 1886955 w 1886955"/>
                <a:gd name="connsiteY0" fmla="*/ 0 h 257442"/>
                <a:gd name="connsiteX1" fmla="*/ 1832235 w 1886955"/>
                <a:gd name="connsiteY1" fmla="*/ 257442 h 257442"/>
                <a:gd name="connsiteX2" fmla="*/ 0 w 1886955"/>
                <a:gd name="connsiteY2" fmla="*/ 257442 h 257442"/>
                <a:gd name="connsiteX3" fmla="*/ 54721 w 1886955"/>
                <a:gd name="connsiteY3" fmla="*/ 0 h 257442"/>
                <a:gd name="connsiteX0" fmla="*/ 1886954 w 1886954"/>
                <a:gd name="connsiteY0" fmla="*/ 0 h 257442"/>
                <a:gd name="connsiteX1" fmla="*/ 1832234 w 1886954"/>
                <a:gd name="connsiteY1" fmla="*/ 257442 h 257442"/>
                <a:gd name="connsiteX2" fmla="*/ 0 w 1886954"/>
                <a:gd name="connsiteY2" fmla="*/ 257442 h 257442"/>
                <a:gd name="connsiteX3" fmla="*/ 54720 w 1886954"/>
                <a:gd name="connsiteY3" fmla="*/ 0 h 257442"/>
                <a:gd name="connsiteX0" fmla="*/ 1886954 w 1886954"/>
                <a:gd name="connsiteY0" fmla="*/ 0 h 257442"/>
                <a:gd name="connsiteX1" fmla="*/ 1832234 w 1886954"/>
                <a:gd name="connsiteY1" fmla="*/ 257442 h 257442"/>
                <a:gd name="connsiteX2" fmla="*/ 0 w 1886954"/>
                <a:gd name="connsiteY2" fmla="*/ 257442 h 257442"/>
                <a:gd name="connsiteX3" fmla="*/ 54720 w 1886954"/>
                <a:gd name="connsiteY3" fmla="*/ 0 h 257442"/>
                <a:gd name="connsiteX0" fmla="*/ 2055269 w 2055269"/>
                <a:gd name="connsiteY0" fmla="*/ 0 h 257442"/>
                <a:gd name="connsiteX1" fmla="*/ 1832234 w 2055269"/>
                <a:gd name="connsiteY1" fmla="*/ 257442 h 257442"/>
                <a:gd name="connsiteX2" fmla="*/ 0 w 2055269"/>
                <a:gd name="connsiteY2" fmla="*/ 257442 h 257442"/>
                <a:gd name="connsiteX3" fmla="*/ 54720 w 2055269"/>
                <a:gd name="connsiteY3" fmla="*/ 0 h 257442"/>
                <a:gd name="connsiteX0" fmla="*/ 2055269 w 2055269"/>
                <a:gd name="connsiteY0" fmla="*/ 0 h 257442"/>
                <a:gd name="connsiteX1" fmla="*/ 2000548 w 2055269"/>
                <a:gd name="connsiteY1" fmla="*/ 257442 h 257442"/>
                <a:gd name="connsiteX2" fmla="*/ 0 w 2055269"/>
                <a:gd name="connsiteY2" fmla="*/ 257442 h 257442"/>
                <a:gd name="connsiteX3" fmla="*/ 54720 w 2055269"/>
                <a:gd name="connsiteY3" fmla="*/ 0 h 257442"/>
                <a:gd name="connsiteX0" fmla="*/ 2055270 w 2055270"/>
                <a:gd name="connsiteY0" fmla="*/ 0 h 257442"/>
                <a:gd name="connsiteX1" fmla="*/ 2000549 w 2055270"/>
                <a:gd name="connsiteY1" fmla="*/ 257442 h 257442"/>
                <a:gd name="connsiteX2" fmla="*/ 0 w 2055270"/>
                <a:gd name="connsiteY2" fmla="*/ 257442 h 257442"/>
                <a:gd name="connsiteX3" fmla="*/ 54721 w 2055270"/>
                <a:gd name="connsiteY3" fmla="*/ 0 h 257442"/>
                <a:gd name="connsiteX0" fmla="*/ 2055270 w 2055270"/>
                <a:gd name="connsiteY0" fmla="*/ 0 h 257442"/>
                <a:gd name="connsiteX1" fmla="*/ 2000549 w 2055270"/>
                <a:gd name="connsiteY1" fmla="*/ 257442 h 257442"/>
                <a:gd name="connsiteX2" fmla="*/ 0 w 2055270"/>
                <a:gd name="connsiteY2" fmla="*/ 257442 h 257442"/>
                <a:gd name="connsiteX3" fmla="*/ 54721 w 2055270"/>
                <a:gd name="connsiteY3" fmla="*/ 0 h 257442"/>
                <a:gd name="connsiteX0" fmla="*/ 2334192 w 2334192"/>
                <a:gd name="connsiteY0" fmla="*/ 0 h 257442"/>
                <a:gd name="connsiteX1" fmla="*/ 2000549 w 2334192"/>
                <a:gd name="connsiteY1" fmla="*/ 257442 h 257442"/>
                <a:gd name="connsiteX2" fmla="*/ 0 w 2334192"/>
                <a:gd name="connsiteY2" fmla="*/ 257442 h 257442"/>
                <a:gd name="connsiteX3" fmla="*/ 54721 w 2334192"/>
                <a:gd name="connsiteY3" fmla="*/ 0 h 257442"/>
                <a:gd name="connsiteX0" fmla="*/ 2334192 w 2334192"/>
                <a:gd name="connsiteY0" fmla="*/ 0 h 257442"/>
                <a:gd name="connsiteX1" fmla="*/ 2279471 w 2334192"/>
                <a:gd name="connsiteY1" fmla="*/ 257442 h 257442"/>
                <a:gd name="connsiteX2" fmla="*/ 0 w 2334192"/>
                <a:gd name="connsiteY2" fmla="*/ 257442 h 257442"/>
                <a:gd name="connsiteX3" fmla="*/ 54721 w 2334192"/>
                <a:gd name="connsiteY3" fmla="*/ 0 h 257442"/>
                <a:gd name="connsiteX0" fmla="*/ 2334192 w 2334192"/>
                <a:gd name="connsiteY0" fmla="*/ 0 h 257442"/>
                <a:gd name="connsiteX1" fmla="*/ 2279471 w 2334192"/>
                <a:gd name="connsiteY1" fmla="*/ 257442 h 257442"/>
                <a:gd name="connsiteX2" fmla="*/ 0 w 2334192"/>
                <a:gd name="connsiteY2" fmla="*/ 257442 h 257442"/>
                <a:gd name="connsiteX3" fmla="*/ 54721 w 2334192"/>
                <a:gd name="connsiteY3" fmla="*/ 0 h 257442"/>
                <a:gd name="connsiteX0" fmla="*/ 2334192 w 2334192"/>
                <a:gd name="connsiteY0" fmla="*/ 0 h 257442"/>
                <a:gd name="connsiteX1" fmla="*/ 2279471 w 2334192"/>
                <a:gd name="connsiteY1" fmla="*/ 257442 h 257442"/>
                <a:gd name="connsiteX2" fmla="*/ 0 w 2334192"/>
                <a:gd name="connsiteY2" fmla="*/ 257442 h 257442"/>
                <a:gd name="connsiteX3" fmla="*/ 54721 w 2334192"/>
                <a:gd name="connsiteY3" fmla="*/ 0 h 257442"/>
                <a:gd name="connsiteX0" fmla="*/ 2502508 w 2502508"/>
                <a:gd name="connsiteY0" fmla="*/ 0 h 257442"/>
                <a:gd name="connsiteX1" fmla="*/ 2279471 w 2502508"/>
                <a:gd name="connsiteY1" fmla="*/ 257442 h 257442"/>
                <a:gd name="connsiteX2" fmla="*/ 0 w 2502508"/>
                <a:gd name="connsiteY2" fmla="*/ 257442 h 257442"/>
                <a:gd name="connsiteX3" fmla="*/ 54721 w 2502508"/>
                <a:gd name="connsiteY3" fmla="*/ 0 h 257442"/>
                <a:gd name="connsiteX0" fmla="*/ 2502508 w 2502508"/>
                <a:gd name="connsiteY0" fmla="*/ 0 h 257442"/>
                <a:gd name="connsiteX1" fmla="*/ 2447787 w 2502508"/>
                <a:gd name="connsiteY1" fmla="*/ 257442 h 257442"/>
                <a:gd name="connsiteX2" fmla="*/ 0 w 2502508"/>
                <a:gd name="connsiteY2" fmla="*/ 257442 h 257442"/>
                <a:gd name="connsiteX3" fmla="*/ 54721 w 2502508"/>
                <a:gd name="connsiteY3" fmla="*/ 0 h 257442"/>
                <a:gd name="connsiteX0" fmla="*/ 2502508 w 2502508"/>
                <a:gd name="connsiteY0" fmla="*/ 0 h 257442"/>
                <a:gd name="connsiteX1" fmla="*/ 2447787 w 2502508"/>
                <a:gd name="connsiteY1" fmla="*/ 257442 h 257442"/>
                <a:gd name="connsiteX2" fmla="*/ 0 w 2502508"/>
                <a:gd name="connsiteY2" fmla="*/ 257442 h 257442"/>
                <a:gd name="connsiteX3" fmla="*/ 54721 w 2502508"/>
                <a:gd name="connsiteY3" fmla="*/ 0 h 257442"/>
                <a:gd name="connsiteX0" fmla="*/ 2502508 w 2502508"/>
                <a:gd name="connsiteY0" fmla="*/ 0 h 257442"/>
                <a:gd name="connsiteX1" fmla="*/ 2447787 w 2502508"/>
                <a:gd name="connsiteY1" fmla="*/ 257442 h 257442"/>
                <a:gd name="connsiteX2" fmla="*/ 0 w 2502508"/>
                <a:gd name="connsiteY2" fmla="*/ 257442 h 257442"/>
                <a:gd name="connsiteX3" fmla="*/ 54721 w 2502508"/>
                <a:gd name="connsiteY3" fmla="*/ 0 h 257442"/>
                <a:gd name="connsiteX0" fmla="*/ 2662808 w 2662808"/>
                <a:gd name="connsiteY0" fmla="*/ 0 h 257442"/>
                <a:gd name="connsiteX1" fmla="*/ 2447787 w 2662808"/>
                <a:gd name="connsiteY1" fmla="*/ 257442 h 257442"/>
                <a:gd name="connsiteX2" fmla="*/ 0 w 2662808"/>
                <a:gd name="connsiteY2" fmla="*/ 257442 h 257442"/>
                <a:gd name="connsiteX3" fmla="*/ 54721 w 2662808"/>
                <a:gd name="connsiteY3" fmla="*/ 0 h 257442"/>
                <a:gd name="connsiteX0" fmla="*/ 2662808 w 2662808"/>
                <a:gd name="connsiteY0" fmla="*/ 0 h 257442"/>
                <a:gd name="connsiteX1" fmla="*/ 2608087 w 2662808"/>
                <a:gd name="connsiteY1" fmla="*/ 257442 h 257442"/>
                <a:gd name="connsiteX2" fmla="*/ 0 w 2662808"/>
                <a:gd name="connsiteY2" fmla="*/ 257442 h 257442"/>
                <a:gd name="connsiteX3" fmla="*/ 54721 w 2662808"/>
                <a:gd name="connsiteY3" fmla="*/ 0 h 257442"/>
                <a:gd name="connsiteX0" fmla="*/ 2662808 w 2662808"/>
                <a:gd name="connsiteY0" fmla="*/ 0 h 257442"/>
                <a:gd name="connsiteX1" fmla="*/ 2608087 w 2662808"/>
                <a:gd name="connsiteY1" fmla="*/ 257442 h 257442"/>
                <a:gd name="connsiteX2" fmla="*/ 0 w 2662808"/>
                <a:gd name="connsiteY2" fmla="*/ 257442 h 257442"/>
                <a:gd name="connsiteX3" fmla="*/ 54721 w 2662808"/>
                <a:gd name="connsiteY3" fmla="*/ 0 h 257442"/>
                <a:gd name="connsiteX0" fmla="*/ 2662808 w 2662808"/>
                <a:gd name="connsiteY0" fmla="*/ 0 h 257442"/>
                <a:gd name="connsiteX1" fmla="*/ 2608087 w 2662808"/>
                <a:gd name="connsiteY1" fmla="*/ 257442 h 257442"/>
                <a:gd name="connsiteX2" fmla="*/ 0 w 2662808"/>
                <a:gd name="connsiteY2" fmla="*/ 257442 h 257442"/>
                <a:gd name="connsiteX3" fmla="*/ 54721 w 2662808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62808" h="257442">
                  <a:moveTo>
                    <a:pt x="2662808" y="0"/>
                  </a:moveTo>
                  <a:lnTo>
                    <a:pt x="2608087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2" name="btfpRunningAgenda2LevelTextRight224096">
              <a:extLst>
                <a:ext uri="{FF2B5EF4-FFF2-40B4-BE49-F238E27FC236}">
                  <a16:creationId xmlns:a16="http://schemas.microsoft.com/office/drawing/2014/main" id="{9671DFAF-3814-4EF5-B635-4CC6EB4FC078}"/>
                </a:ext>
              </a:extLst>
            </p:cNvPr>
            <p:cNvSpPr txBox="1"/>
            <p:nvPr/>
          </p:nvSpPr>
          <p:spPr bwMode="gray">
            <a:xfrm>
              <a:off x="2351636" y="876300"/>
              <a:ext cx="2608087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Unique visits</a:t>
              </a:r>
            </a:p>
          </p:txBody>
        </p:sp>
      </p:grpSp>
      <p:sp>
        <p:nvSpPr>
          <p:cNvPr id="38" name="btfpNotesBox703484">
            <a:extLst>
              <a:ext uri="{FF2B5EF4-FFF2-40B4-BE49-F238E27FC236}">
                <a16:creationId xmlns:a16="http://schemas.microsoft.com/office/drawing/2014/main" id="{59D10735-2228-C5BF-EBC9-C2456D6D77F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329390" y="6339282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Note: LTM: Apr’24 to Mar’25; </a:t>
            </a:r>
            <a:r>
              <a:rPr lang="en-GB" sz="800"/>
              <a:t>YoY change refers to % change in monthly average no. of unique visits in LTM (</a:t>
            </a:r>
            <a:r>
              <a:rPr lang="en-US" sz="800">
                <a:solidFill>
                  <a:srgbClr val="000000"/>
                </a:solidFill>
              </a:rPr>
              <a:t>Apr’24 to Mar’25</a:t>
            </a:r>
            <a:r>
              <a:rPr lang="en-GB" sz="800"/>
              <a:t>) vs. Previous LTM (</a:t>
            </a:r>
            <a:r>
              <a:rPr lang="en-US" sz="800">
                <a:solidFill>
                  <a:srgbClr val="000000"/>
                </a:solidFill>
              </a:rPr>
              <a:t>Apr’23 to Mar’24</a:t>
            </a:r>
            <a:r>
              <a:rPr lang="en-GB" sz="800"/>
              <a:t>)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800"/>
              <a:t>Source: </a:t>
            </a:r>
            <a:r>
              <a:rPr lang="en-GB" sz="800" err="1"/>
              <a:t>SimilarWeb</a:t>
            </a:r>
            <a:endParaRPr lang="en-GB" sz="80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7874A45-232F-355E-D1ED-C6A06F4E9197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8712519" y="2122471"/>
            <a:ext cx="3151878" cy="2346207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292D7A5-5577-F87A-2A5C-20D92A7718A8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38" y="946635"/>
            <a:ext cx="252287" cy="251574"/>
          </a:xfrm>
          <a:prstGeom prst="rect">
            <a:avLst/>
          </a:prstGeom>
        </p:spPr>
      </p:pic>
      <p:pic>
        <p:nvPicPr>
          <p:cNvPr id="11" name="Picture 2" descr="Pave America | Concrete &amp; Asphalt Paving Contractors Nationwide">
            <a:extLst>
              <a:ext uri="{FF2B5EF4-FFF2-40B4-BE49-F238E27FC236}">
                <a16:creationId xmlns:a16="http://schemas.microsoft.com/office/drawing/2014/main" id="{AD65C6F3-6404-E458-9EDC-1CFBE1E9DB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0067" y="2572305"/>
            <a:ext cx="926487" cy="96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 descr="Alpha Paving Industries, LLC - FRIENDSWOOD CHAMBER OF COMMERCE">
            <a:extLst>
              <a:ext uri="{FF2B5EF4-FFF2-40B4-BE49-F238E27FC236}">
                <a16:creationId xmlns:a16="http://schemas.microsoft.com/office/drawing/2014/main" id="{BC52B1C8-EE47-C1C7-6554-0D2BBB629D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2353" y="2190173"/>
            <a:ext cx="465160" cy="224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0" descr="Contact Us | Quality Paving Services | Brothers Paving">
            <a:extLst>
              <a:ext uri="{FF2B5EF4-FFF2-40B4-BE49-F238E27FC236}">
                <a16:creationId xmlns:a16="http://schemas.microsoft.com/office/drawing/2014/main" id="{1C2864A9-44AE-73E8-251A-51C4908657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3856" y="3190380"/>
            <a:ext cx="722157" cy="2026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2" descr="Turner Asphalt Reviews: What Is It Like to Work At Turner Asphalt? |  Glassdoor">
            <a:extLst>
              <a:ext uri="{FF2B5EF4-FFF2-40B4-BE49-F238E27FC236}">
                <a16:creationId xmlns:a16="http://schemas.microsoft.com/office/drawing/2014/main" id="{F993F036-BD56-72E3-CFFD-D55CF2C1B42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968" b="40222"/>
          <a:stretch/>
        </p:blipFill>
        <p:spPr bwMode="auto">
          <a:xfrm>
            <a:off x="8795962" y="3545006"/>
            <a:ext cx="897943" cy="177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14" descr="Working at Cincinnati Asphalt: Employee Reviews | Indeed.com">
            <a:extLst>
              <a:ext uri="{FF2B5EF4-FFF2-40B4-BE49-F238E27FC236}">
                <a16:creationId xmlns:a16="http://schemas.microsoft.com/office/drawing/2014/main" id="{CD73531E-B87B-27F9-9219-FAACBB3826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2513" y="3847753"/>
            <a:ext cx="667859" cy="2053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16" descr="Pavement Experts in Denver, CO - National Pavement Partners">
            <a:extLst>
              <a:ext uri="{FF2B5EF4-FFF2-40B4-BE49-F238E27FC236}">
                <a16:creationId xmlns:a16="http://schemas.microsoft.com/office/drawing/2014/main" id="{B15D09CA-7049-3A90-98B8-F425AD675D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2666" y="4147245"/>
            <a:ext cx="981952" cy="2687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18" descr="Rose Paving Merges with Atlantic Southern Paving and ...">
            <a:extLst>
              <a:ext uri="{FF2B5EF4-FFF2-40B4-BE49-F238E27FC236}">
                <a16:creationId xmlns:a16="http://schemas.microsoft.com/office/drawing/2014/main" id="{77592899-53D9-2393-60E1-9A8151EC56A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88" t="27030" r="19071" b="29133"/>
          <a:stretch/>
        </p:blipFill>
        <p:spPr bwMode="auto">
          <a:xfrm>
            <a:off x="8940620" y="4497760"/>
            <a:ext cx="630841" cy="244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Atlantic Southern Acquires Property Paving to Expand ...">
            <a:extLst>
              <a:ext uri="{FF2B5EF4-FFF2-40B4-BE49-F238E27FC236}">
                <a16:creationId xmlns:a16="http://schemas.microsoft.com/office/drawing/2014/main" id="{E3447DAB-4731-A17B-0438-E7790675CEA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984" b="28085"/>
          <a:stretch/>
        </p:blipFill>
        <p:spPr bwMode="auto">
          <a:xfrm>
            <a:off x="8820027" y="4842384"/>
            <a:ext cx="886569" cy="194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6" name="Picture 22" descr="Asphalt Construction &amp; Maintenance | Sunland Asphalt">
            <a:extLst>
              <a:ext uri="{FF2B5EF4-FFF2-40B4-BE49-F238E27FC236}">
                <a16:creationId xmlns:a16="http://schemas.microsoft.com/office/drawing/2014/main" id="{40A6A680-0A8B-2B0A-7D7F-8F02C216AD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7075" y="5162050"/>
            <a:ext cx="723105" cy="24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8" name="Picture 24" descr="Paving Companies Atlanta, GA | Georgia Paving Inc">
            <a:extLst>
              <a:ext uri="{FF2B5EF4-FFF2-40B4-BE49-F238E27FC236}">
                <a16:creationId xmlns:a16="http://schemas.microsoft.com/office/drawing/2014/main" id="{285DF24A-6458-2AD8-17FA-EA4DD10121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2662" y="5507075"/>
            <a:ext cx="822960" cy="2314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0" name="Picture 26" descr="Nationwide Commercial Parking Lot Management | Let's Pave">
            <a:extLst>
              <a:ext uri="{FF2B5EF4-FFF2-40B4-BE49-F238E27FC236}">
                <a16:creationId xmlns:a16="http://schemas.microsoft.com/office/drawing/2014/main" id="{492A5E02-4687-1ED8-1CF3-C81E237C26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6685" y="5858759"/>
            <a:ext cx="757076" cy="202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9E806546-DDCB-51B0-BA58-4254AE5C8436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9007218" y="2838974"/>
            <a:ext cx="485843" cy="233395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81C55DB8-4DA4-5B23-8AD5-CCD9C0E95060}"/>
              </a:ext>
            </a:extLst>
          </p:cNvPr>
          <p:cNvSpPr/>
          <p:nvPr/>
        </p:nvSpPr>
        <p:spPr bwMode="gray">
          <a:xfrm>
            <a:off x="8474715" y="2116646"/>
            <a:ext cx="232435" cy="2341683"/>
          </a:xfrm>
          <a:prstGeom prst="rect">
            <a:avLst/>
          </a:prstGeom>
          <a:solidFill>
            <a:srgbClr val="C00000"/>
          </a:solidFill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CA" sz="750" b="1" i="1">
                <a:solidFill>
                  <a:schemeClr val="bg1"/>
                </a:solidFill>
              </a:rPr>
              <a:t>Pave America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8307426C-E162-EE4F-D46E-DF26009EA77C}"/>
              </a:ext>
            </a:extLst>
          </p:cNvPr>
          <p:cNvSpPr/>
          <p:nvPr/>
        </p:nvSpPr>
        <p:spPr bwMode="gray">
          <a:xfrm>
            <a:off x="8474715" y="4469911"/>
            <a:ext cx="232435" cy="62966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CA" sz="750" b="1" i="1">
                <a:solidFill>
                  <a:schemeClr val="bg1"/>
                </a:solidFill>
              </a:rPr>
              <a:t>Rose Paving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90F49A6C-68BD-9B97-A2D2-CBCDDC466DEA}"/>
              </a:ext>
            </a:extLst>
          </p:cNvPr>
          <p:cNvSpPr/>
          <p:nvPr/>
        </p:nvSpPr>
        <p:spPr bwMode="gray">
          <a:xfrm>
            <a:off x="8474715" y="5109921"/>
            <a:ext cx="232435" cy="655227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CA" sz="750" b="1" i="1">
                <a:solidFill>
                  <a:schemeClr val="bg1"/>
                </a:solidFill>
              </a:rPr>
              <a:t>Sunland Asphalt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046A7BF-28C7-2B41-6DF2-D09382A7C2AB}"/>
              </a:ext>
            </a:extLst>
          </p:cNvPr>
          <p:cNvSpPr/>
          <p:nvPr/>
        </p:nvSpPr>
        <p:spPr bwMode="gray">
          <a:xfrm>
            <a:off x="8474715" y="5766200"/>
            <a:ext cx="232435" cy="406411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CA" sz="750" b="1" i="1">
                <a:solidFill>
                  <a:schemeClr val="bg1"/>
                </a:solidFill>
              </a:rPr>
              <a:t>Let’s Pav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548884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think-cell data - do not delete" hidden="1">
            <a:extLst>
              <a:ext uri="{FF2B5EF4-FFF2-40B4-BE49-F238E27FC236}">
                <a16:creationId xmlns:a16="http://schemas.microsoft.com/office/drawing/2014/main" id="{3D7FCCED-D76E-19B5-7047-E0C6ED51B3D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0011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84" imgH="486" progId="TCLayout.ActiveDocument.1">
                  <p:embed/>
                </p:oleObj>
              </mc:Choice>
              <mc:Fallback>
                <p:oleObj name="think-cell Slide" r:id="rId10" imgW="484" imgH="486" progId="TCLayout.ActiveDocument.1">
                  <p:embed/>
                  <p:pic>
                    <p:nvPicPr>
                      <p:cNvPr id="8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7FCCED-D76E-19B5-7047-E0C6ED51B3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tfpMGChart150436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njPEhjUiUXcADKRp21sDU+MnKpFfqvg431dAjfmT6tDp1wm0JEHr9+GCsgAFdCxfNSFmBmE9Pzs7RluZslftOm4g+E15z+FZzywW+cg41+xpxr5O5CwXaM5siEMz8pBgqftkvHfqd08TIFiONxr9BqkjbtA+EzPaw07T/W0FdpGtg18l/MDbJN4bFknhdXhzB8tSNUgD9r4dyEalI3zbWoOp9VPyCmGYxasxMCND7NJ2MxysFYOmRS+WtUxpXQRFut7TM6EDOWl8XkYQu8sJ5FOpcJaHzBjUX8QLVeKURDsP4bp+1YgdQu6ddlStjkTkZ2okI3rOCzyPQlnEWQJmgNRLd+mzzS6ac5D6Blu77hsqWGE255KtMeZW+XASddCDwESLXMvbyQNApwh8rGafye2NmB0gqbSs5FlbCUoxex9Gg+L2XoQLzRh5+HHj1kZ8jDtROjjyJS7hGZSgd4FeXrGfiQSBogxKmOIIMMDlWhHIVS4Kq69wZ8lX6T8dqxz1y8PJJ6+AGe28mhQD7r9mWnXVHzXuBEpwoMGFocrUcAYlPHG982JmaMibZLRUqhF0Rbx/KBCQGmwK/iyl3WblJXhLN7rfrsExw+W0Ee+Ww3ryfDo1u2eIMxHxZahBc52rTrHcLDBjtRSQd2NvFRNy/TmXS5mB4+rHg7aaFeiWs/VPzPykGI8tT3ZelF+Ko6SbqeqWxdUS/G7Sfj9RAsztgNrbGB203H6wu6ogimz65VnWm1TtUV+SLLjq77k/6c1oDWY5f8HV5a0R0zrMvpMMtYGMogoAeKPBS4tJiMQcwqpi5e4unOnssnBwG+5d/RENfvkVWgdTpykbXVzBW3l4aEONaDTRuBfNW94sHnJwi/I2xnHKCmu9caFnD1WxDcpv8892T7wXJR/mA3o2X6Z/EGuClewXbq9ERyC8dlpD3XtwmHbDLLB7L+vI+D83cGDLAm5Bcu/J46GmgJCFodGU907WmQ7YbJ1eDMcwpdqcwSz5to4rbXoIS1FJxcAAGS8UPyBmOh/aEuxIvpMvyyI9E2TWXxSqUUmaKPG41CA8QMHO6GRXyYXBUG5HYalzunpCKWB8aDnx/KLwOUJYlz8W78OOq/S4eLwLDtVtn/KIlQAWRdlTEXfHjQCDZZE5sZXwqtwyP7vxhO1PKlwSBVzYwIZ9xG8oeIPI/UfxRkeMmhgqco35gpYx+kE+T9g4nCGnUuPNEPUOaaGGbWBXmKQDWT2Rm0fj4UWaix5+SFSqpXF1sNZ2vdramxDsWs5rou9PW4c2RHsLqqkWe8L3GEQnLcWIj9FFk3vPDw6SbMEizvJBpsW0Bt+3y5HiSWiHwu+/FdWwT8eNTZaUcZQICK/HMFzeB3j4z4mN6OGZ2nKwkHWWUU78cukW1Rkf4+KvhyRTZ3pcJ0SDTH11TwqlHo+TVEHM7QO8p84p6FCwO/q9S/J/EWZ5+DCBqMQm6Ju5hTVhdswPjkNd3sRkpN5Gev4KuEM4eyhw3KewaPpWITrC8zNi5qeBoWIt+hgYriT4mZXs8vHdBUpoFWIJjXQDT2Cc0XpQdzAKsZ0J29/mCyx08OxC0Cic4ADpF1jFIse0uEHLPxE0jc0JR/Soy05kkcx+/xREsgJkv7LEmXsUA6yIR5a7KfuGihJc6J08f3TEZlzm3NdNQgDXa2hJSsQ/TqTBkaj7R3PgjLX4Ml9shouiokRSZ5j38IINv2xgSxLGNMBtWB+YiAEBv84ldwqlqACz7PGNRO5uRpZlVdWHemjp+/RNtjL5nkRbGrXUD7EFh7L+pWoLY+kSFiCajXRq1dwXQ7ckVoRPcH4vWRwAKStD2ztYHKlEyfyIGnXDzeKd2QMzxRBgZ4jvmgCbnDjEDb4YT5S4FLN02qsx3gjLMmXtZ7i7MIZqJUwYUrFEu8pFWaEG4zqKKYa0x/B/bujr8XZpyac0ReqAXiWvOntO3gaYnoe3cqm7VkeGqhLbho5POb/Gs3Dq7OuWv2vRUZGoc5Xs7MKgJHEt+RmBwJ0gUcPo+WFqvqRRVlU4kCzvFasndKJYg61IUfiA4rcWFrlOwX+7lZkHTGw7hcXUyus92BmBln59q04AJ3HrCn/hycgtEZRKt6kstaDLP/9tdMdpb3ZaAQ35XkgBLCcdu9AMlaneztHUjdOsyolM8u7mTuUpsjk6v0HsZHrHmjeeJWb7CgGrgOL2A1izHhsvrQkqIvo0s+bsT+kg3bLJVIvnUch58a5c1197EE+HpRqigH9CHiPNyXrevlwUi2JuLdE+V6kMv2rzenQgx4rZ3a7irdj4rHJbiydCk1AOnjoyhueBdYnoUvHdXPcSgues2z2wSoE7na6RlL++QVqP9GgVOQJONgVUdYb42MkVA3nfQM3nt5mEoEHy1ZwfoOEUrDlFDefSwGiLa+8JnYj7DvbVDFPruy+5kh9GtOz0ok6Hh2cpkkNaScr4YQQ6laUdDQcjq+EOowMiKNm9JaSaXU8YTANrpMz7jVRz86NDYf8JtvWbs2DvLf+0rtHSJL3ytioJJvWbcvAKaVM8UuZbIkgohbwhtoV5fgZu4uyZJgJdAvEawchveZqJMeoGQN15di7cZVdAytWmf/CPKtjJ6m/FpzTwTISMijVlYeu0HOU8COkLksE9NGUMvmYsX1z7NKZzz3tJsWoRL09p/z4Edmiwhee76XbuD6Qtli181ziZ3VMGdKMkn75Wi2D1gJh9OtjhKHOWg2s8SFL4QLawV2VNsHQwGpZEAKVwXMrQKaS4Wf4AvDUv/91kGRBsQPg6MNYldlg1yqvogznl5JcUWuiG6/nJYoeqlr7rgLoIbEzUKzimnydkkQpZirWhVSfrYyIy7QR4+FmyJ0DiOQwYiUvboPsfH9+c1BFzjbprOY4RJNXYpRUigha6WGdUfUhS1aIVrXqX5Lf9ce4JqqjBGMUAf2HxFCvAgeQkNkZrXGp7iuTzpQvnImogrYJCS0zydIasSOw0jElegu0ELwTnFrzO3pRaOn+5StuGQWF5tQp+ydto3pn65V5mro5ZL02chdxA+bRLA2h70reC+Qj5z8/3oZXGmOMqDxkT0Kh0xAQnMWNvzJj0jQUSeToRSGdvogPLCi0xoH8fxEIWelR3NvIBmLfL3yWTy19AjXiqSCA6cUdItOqL/7LGkrf2LxJLIePdf/ITR3asq+x+Mh5rCmwcoAn0rv5ddcjUW6os2+KmI1C01YV9bGM91DS5l/FdbRWJv+FQz4jfodl0efZjhcecnuXLHG30rrpHoH6WOUtj/qSxP2HU4xr5DnF8idEuAcqheZ4boAhlF8WMkgLDCuvt4OCCdSL42BClAcivNAUGTwdBU1RUQY/BJCJZolqg/ZtDj/7njD68CdS+f8dAy0R2zkhms6ovpMbN8aS4C8rMl3vXBHKzru61oQcyCt2fKDQAy7UQPXD530WeYwDojqjDDLinOsxYZMDwHpn4Z+iEx2TjADNgyTSWBNQzBLBP0NicRnhdKM+zpr/yVxJNJuklRNa7DCbIyXKh6oaA8wMxMkiHa3lc1EGA35ULrDhZ7bXePdeJfIxap3Lq4Frw3+S0Pkh/tEZMddfyeVg8ee9x8HX9FZz6V+tQell6t7SU9cAeCY3guuSkcYKbys/qns3SBw80fyDgGklzj08Lu0e6aRPUbhe1ZBeMWgZux+8ONDi6ygJvQEc+duvvxTMUatCTtXG7BIxZzlapktgmRVC4NyAN67970K70KPTGF4ml92nv2+47dkI7MQ6zc8CKqFbnh2BYBJePYVFGhSi2bnlS8WcL35oT9hcz+0qXOhCTUz2tWopt87Noz4fdjLNWT7FnARb7U5UJ57AA+9LbHi3CunBOPStMp/nQjIBD2oWmQN1+/HdCL+lI8R54ANKaRELNfMkR57zBExhDHiOYANN/B9orc+80FUfpSqjnpXNw4wboio+BtteUp9g7yWs33GP2ihrYASzervDwcGLCD3twvLqawHZkReHTpIfeSR5/NbDcla7EzRWFwCvssY1jnotxQdvdvlOhezWRVABF1Rr+co3RMcXrgsOAkReWO88Q1iDgrvLOEOXrasdYwDF0z1GE2TZARcCWBE9ETFV7OFsGrWinHj6XovzuECexgFtbHkdBr4ihwSd+YrQP1D5xPpuuaP8qgfN7L9sSsj87C6TVVTBzxTjbB+0yafHtM7l5klrV6Hq0L3AxAmIo6DqLxzj0g8Cex71qXxuLSZV6um6cFqpmF/fo2LWa9NFXo6RyMsaOuMTVp6dTF2JYWWrgaNGQxF73GiCMCIUY/pB9ywh6LWwwNnyx7jgBRcCzWBWY13hP51Xm4HPo/OazcP0B4QfevjoaD6ErDn0cLHFDApo3uekbiyGHdxmxBB3R1/hk7Js0WW0hwQp6Z4tXiJYp3WYOe+VWBGFtgS/VZqVD2Uud4KkKqZYlog13vkAvZkTIZEwylm0K1nn/2X83sU8zzySksZk6C2fPJL0xfFFPQLaQM2Ns3PZOgqUfMpT7JYDPe92CMmZKRl/qpofJZL/O6SnZK+iH+Kg6v8KubidsPGYukduRQabJf41/IgX2BRR3o3FbV9VA2Bb1zEZROZpk/COV3wnjg57pw6YFDQqy3D6t+PPSDTH6ND7Et6yri+7p2FDDZZ2QbX+BKJ6sMEbDpdysBuG/7sXmtlvpjwUYpUIpd2Htxt25ZobwUc+UzNS22MwdIA2JGCV4kChywm0p9X7xC+a1WcgXloqme7tooskw2dQn54/e+G2c+tQPifjYc3LXdQndiVoWvjt3dsPC8vxZmFLGL/S0K1d/G/AKJp/OuZrNufQRDrVA93ZLhgtcYXuwMNV2esEd7/Ov85DPshrJ+0XzCbl9Ku18W/l9vjDzU6ksTi9IPDDJN1He0TOo+WUiWKxMdph7KRny8pU0WApEyrNyPWEmXIatGF7o/jGEuet7zG+VzMNStPKSYBy+kacZoEvjWsDIHtmFT6mS9bMlca/w395UQvgSPWUl/vxP+GmLdq7HxqXnKgskqnRVOaOdngktsmEsOIYURd33zUwVgq+bzZs0qChIV2zdVZS5CKF7G9+nZuryWbNZGN6xkG4RAbTZs0jKnD/MwrqjOA7m9R+Yopqe3Gd+GbHMna0Sb3mNewK9lEUB4hqFSNhuz6K5RTqh98epEI7LBo78UTnEPlSli8gascUIMVeOk/nKXXQsnn5jUDUQaeG6RTX+uanQG8f3SYrlo2Wg6/SK+7XSvyGKmDyrfxRUMlpo+10WieLHxzYkRQByd43UfVINHRdn4v+womdYacK4kI9Y/R3wDLbxp2BOFLDiEEjRt8BJDh8757CnY4ZKNP2DG0EAab2GPKdzBLGZHbf6KRyNCtUwzPWfKVlpcExfQQd+ZLCkbwM5ZKaceQMxK9LM/dY+fe7ExGGJWD4+1nkzRdwa+V3nqeYp7onJ+Dn20HZqZjOCc7uWK9VXYVpqCMu19lMKIKgoqw0wRm4527347wF9sN/JtBnFVXIC2CcacZsUFqJclDPDQWunuygFzSjJSUqST78xQ+45JK/zfgk7tNgo9hNDcLXNFPsB4jWehe726zOoDrlUk1Jyf65xTFKHJStpMSUuS6iLvTmWAlUSoV+h1k93pRd+iPE+B/0VPIyavFM1Y3BpWnT9I31tL7AF6JpKGI/ffS5woaz12RdqrpfxiSk5gHdJjrLHBg9esHWyMxQ6dEt8PYNlWiuGYvrY6cHZBm7PzYX2mYuStr4zLUmbvl8moBdtkrckf6lXa7Nmnb/0QqAElIc0cPSf6eIEAb38z1ZhPbZyUlGcw8D5rFcg0v+QtM1r0q9lGrMxucPqpCMw9BnGrZR7cNhjVfkwycbWbF6poXcOnuFX8PluN0lFficeKHcMJjsLMcD/iKWDTEhkKX/jNM1eoS6BvHCnbQDWtz5LqQdRM7vWhhWc4IanN3oeRgjJdAWRdLNq8Dq1wzp+ACufqhNx/tK04YRPYGm9TXSh5KAilhlhKkmoNxJ6vKUotBXkLt2ht+aPWQMmM0RaaPFtSduD6p0+eA5GQYnjIV1+wmnxrwriDhQsB3LJQx583jwqOWydqY5r96dUbYjt3ebvERPH5L6djQyBKWxGRX+oMvAfRwNflGH3yBTBeVpIuyMKHP6dPMGaU7d0DrlUC3otARxFH0AUJ41SELdIbmqpLjm6+YetXMtS+Rrc2XioXOrdp+3zRNxcnWv8QaCOVy5Ns2uyclGpsJL6r+PXCQWxuA7wKdU4YPO/3ZqADoXG3it8gGnONX94jM5wh6vGQmFVwGCIyqdmKwXdEfyyYgby2oSMwNh42ksSXL4WntscGQVgYlLq7VQr16nl7C4TUJgBsgXJuQ4SBHPi+WKlCkXKn5g7bzzPYDLiPBAZ7lTJPHTuJWaTkRdQhuzULEzhB/SBi7e3KeY41Ldf5k/J7e/nbMUHNRdjvvA0yw9NzTvghwYUcb7pItusGOQpkPTdMChk7pcPgCd3q1aM7Kl2prZKnrSgmxeXYFW2Z/dDU++ZLtoKhftNWAdv/9vupZfwHaGU1KRc0m737VrvG2YrQla+xX7D8cLPTvTO1U1hsGF4SC/DXL84peYvyiiPa6fCWz85qncfuujjmjXCl+syCGTVsoDRLpIZ/5n61g9OxVSJ0Yf2LLI12KYpHO56GPI0eQIPxoObRp1+zGhx3pr+CAc2G03Bwt4WRHcOR9YocIR/8Fe3MBEFDFhOtxUAmzwH90BM6PNih44MwFtEqpGrRUDijpYut1cFlICIoO27/dVtbj03dVsy3aPwR4gEKuC7tG1NBWM2GxVytVpv+raQYu27x5nW8bxAr3lAIgEVAh6cCHemX+H22y6nUGVQhIBRmDMK9s5Z7oNuG4obd8J2X+t+jF/jPAw0WqJ7HwlqZsBvsqeb2zehjRbTWaPGxBWE8lc3p3aVXeDRPbrrt+B+Soa11aRYncySSsC8ZeLQpaEMk15sOltBttxHobzKkWFfG9u0YxP+r/BisStJHfQ11GRVpsp/NP25xYVRufxSYiDAzc47mFuDE6NEO7PZ3AuFIundN1Yf6hQ5qgvqTDxKe4CuPssNGGX5IKEUpJjjzhlX4qCGC+oAYRUn7N8PCO7gETF+HvufNFFCr8hXURLoCuNrWyQJBtJIAa9mZgSRP5nrQRU20iobqs/60YnY7WqclPkzwEEMZTNfoAF3iVpLfEoEr4CrUfPqACkdCDOdy1LIOsNmXGBC+3NlkYqDuDY8DLAQNXDe9hiqnkYeM4aSnGCvLrZfP+lyyoKlVoXEsYPXKP3ie+JD8kCIqXJh1qk+bCnLgpaAsiPU3DkAviu4ohkLxHp5lByU65rdie2AcRvp/20u/4aaVrPavoE+u8cNQENi1T+iW9FjreoIoxB71ie5lSg+vTqGSc338Hdg5Z0N/AqklXjN7meIx1JknFtp2f5EWPhKjtlXzurmHb4JwiZ2cZ2GLTbCJW3SHibUzRe+gVXgNwyYVMFhJMaDVKffgANBdfEiPLRSqgEz9s7q1o7prLmVvgBYqiiDSQkVwV6BvYHB/WAsnay9SGtyGcb5xSet2SP5pTA9U2Nxb6DXfFQ7SFF7hcvUefdQWp1kwwXfi2dPCUygI863EMVDdQ+ouRYiDyDgJVBihybdX17goVlUv66X3zRIad0vdcWDtCGy2STExSuhduhNoaHje5aVhObY0jeow9Agxq8RpJcvBVbxX8AnFovIJ6rVXho2Dfb1NfrIqvQMaq+by3X7ME1UIvhy64XQEqVJmVAbRSYnR3uK/cg/Jy9gPJ7PI9GXYPnNZa3vz0qN0ULxCUyoGIjuGRtYmMBmQ1yJDPnbW4M1HYuxsAoCcr025WuNS4Ynl30bd9ymcw5fB55ri8vblGTpUndeXjFPqeqlZiNJBx7MPcCIoayaBwc5W9URnKTP4VKf8svE2BnMy1i4q4b533fFNCvEZH94wc5sx0SY6N/5EqrdgagZNmJlvT0LtiVqtDVyesJaCIAolVhARBbJcKB7r95I5s86CFqlpI6m8xFT5Rs2X6tdGg480ranZmG6K7wlE5oqUJUj0+X+ulBu3ge5ZWpC62I70/6vZzjOY0mIyPu4E5BY1agTFtyA3SacabzJy/vRi7EVXnExyaHZwPihwdtCjiUS3bNmuZZ+qvW5duuoRE35o3/ADSy7CuH4Isf/hxzpodFQnu4AWUt8+COWA0HnDtWBVGZgBz1e7ftN1DqfxseGZci1/RjZ84yoUHfckQG7JTyC2lrzWel5qxAzW2MpaMGD4DgUVvI80ljTVlA2KINqR/ezoX7I30tceRLXutYYh72Pe/iL8CI810RNGruG2MiW/rP+KEuCXXxTaXdpkKdRivN7Mhvt3JyLEDAR5UrBYPawYWiAcLYVzgQxaevsqzQBiIm7qtG8AMx5l3LzTV9G3qtOYDJWK+xguuwLYb/WH/1hSy3tqFN8imgE4F8iSKylYiLv6GrFeUdckEdlLSsToPinAJ5Mb9W6XZ+1e2nUr8EcCcfFwxi9lK/4D77yIVuA3f76HGQxBfHVl7O7CE4lVgpYeLfoy/0GdOReU6u2SBS2UIPdpEQkWHZCylO42yDBb1zitZ54NJiocR0kDIpaLDpONfooQ5Ji4goZBfLK5Ps++mbKi6CsZLVUCCEgvT6IlY3MGu4whbYSBQCaC5kuN6wgGJn6gBDh+Z9WXbLYpen5t6YCWZ6lrQcOKelNqeoDDVig1ySOVRaDV7XCIFGCGn7FjIktKUkp+pxBwQ3qERNQQPL1eeaDau9RZaCmtcPCTgZ53DdUAaBLt0Q74oq6FlO11B7MQ4v4n+5Wf8dBkN9i/dOh/M9SV5wh+XAVFgxnksVOhVLWksLk1eirkcIAU++K0oNsH1T/9eO7ogSUBdSdTimSzShqxg72zocas0gpWNQX0FQsCRfKml+Anytp8UbjUd0XneKscLp51AFIJRNk7FOiSEO/oIJFnL4LvxVRUEarEhazWdIqem4QuQs1Gi0JOenWPH5HZLn3WRsGxSswmZWEkXAmTAl8JNP6E+eMVKIn0EaUttPNea/gWQfpgTDXR2DvFr8S9rQxOss3eEArVOhBa8FWUsP0hFuFU4Xds4NKZPTpTbSJG8Z7CRqqBQu05egHmLkgKjIO0UmOJ+v19PB3hipURvEd2J4oEBXIJBcvLb4yxTrg7C+dmGr2Ad/lDLOZPqcHJ6kZDNfmc0Hk82SlQmv85Np5oAxYa0Wmm0XMwxxNZ7ELqDukSluf8B2MO4ny2nNwjGGb/Eh1hqAM9pCL5TeLlT/q8NqiYCUcJ9psGCOqFgGN8u6zEP+6GyOKTR07pP5yK2qLV+JExyjGnthaZY7rueHsH9iV96s08VuU7jX00Zl169uhlxtZDCQlOQWbRYs+rcDy44H+8RtW26L+4tyOyZUkFHZkUkT1sjzwpAOoH+CXrI2OUE4quxorxatXPPuy8nUd4VWW+f3doFGNBpgumaD4kSYZ1nHH5UXXAnMINnVhG7wQxDcZG5/4BqFiWf5/L69i4tKUCS7GzdDi58SgXLUB5wUpnTb0PWXxMcCKwBYtRuyg3fz8hNzhBHOYF+fMU4lffYLEjeyRwWOAK7AbtIh4p3WquKYd46hymOpYyAxqEffCMA0ppFx+JnK4of/9qV4tnzsBstR8xkqfNbFswZSy+0Sx3NSE4P/qIZLrON+Da/RISTQeaHJpi7P4hsywNOoSQk8Mxgr37MumG2NWl9FAPnGfAIoW37yyU7mjTkQO3QlixJLOZixV1UuYlowG2O2K9YpcniDIb9I3S1r1qAQ7YtlW1pv3KVtk2T42rdBPj6EUEQ2ogsAghBN5dWHXxNkgAX1r9EDwv7d37AssuwSu4MB2V8/XPBSXhxAs6LnX7y0xg1HsaGQUhVqBKSUWJnNUGKGFIb1RZJvYFxyNWltkdtBy9qxAFBobot6UuCzUD+uCjcCWYpPByd3sTCRBFOkoVuT8q39cBpa74rnY8tVk1lZSLle/hs2PbzMENWUOQuMLNtBCleyfPhR0p5rOTpW0r71HALm9Dg3OOyf2DPXTFWDVRURZ19P3pj8Rq2hGfderqn+xpNkeyZp18lT0L0xA9KTqFlqW6OvoMmSNqsUKcpuxPYbXN9wQnoKpch7CcjUvqYwgrXi7h3JklgV9BtuUVVDLC88d1Rr6a8dQ0GrqFTsHVeVxjffjtfEvUoFoQWz+/BUCq+wb+qag+lOgQ4pQMSSLB1I5zEHg8WBpIlfLFCo1tAFO2/8WdoDgvJZikENr/6CqmkRWY787GZ0r/8W6Phhj9en3LAeRAEJZWe1ZNt8HQ1cg9iSLOUV4a0CalNbRb9q6nQGxqf5nDyNA+MhOQy6gVxYhLsuFXIa5J94w22oeedoUvgzHxqDORiIl5Lq4ZD4cnm1XvArPIclm7n3mkKXlM2vxN3Xar1v7nfsyrhMELjWwXq9UBUAMZCrRqtckJI8eZ60wwJrPQK8BHaanzZsHPiEKTQX+P83wFR6gjYS5KvuYsnmqs3ui32iyxE0wcoxR+jQ3l89KqIWucJnsaVsjGFMuqu5NywONxtpfzAQmA3WIB28MU5cbxVQQi3jBJkoHwfXfEm2r6bThjOi+JNpOnGH197FJBqGscdeqyOtVqOeNc9OVJ9mHV2as8RXQYWHLROLO/IGGDIRuLZCiNkjZCyVoCcEgmpa0tHlugbwQ/uCrvfTYXbjWydr5eQXkQGCt9accaEJuuCQ/NiuHpocYwXPVkvcRaZlHqK4NzvkLv3vg8uPmGJ4w1L7HFp6eJNyRfoiSXsQpsXdWgmPq+U53KlATPFTtOQTqg6O04vNIa4B+DfNOHtwViQ50iwgUi9oVSE9/3szCG9ew0lZMJFy/r11XOkTkqFayhLh05xNrCcwbl0/OmxvJTb3yo24gaVevxNUASEtJGQYABn33kCnA2wYpW5uP4KJamk7IJSycHSaf2c1FgmCclGB2oWYVqXBpCvA2ypMeD+uSe3G8QZTSR+MoWMcVdWUaHw47jyZmRZrJYjr2J1d6zWVfp7PwaFqjCi0uTemx+LHPE2mxlhJMMivM6QRCa+3EYxmG3XW9ELJLWPiaH/zRKqaTFOcaMBU1vP9p9SWhJZx8tGuVdHLnrYpFDVEAkZt8ru9C8dh93glxRQwJjxUU7iguLX6/kEKU7PyUwTJdW3IHOQ3WzJRyqVUWnqVJDlf3IsXxgZRGk40czBSzqNb7SXXOZ+DmsGpcdklfuekFHocabTuSIauWKggUONrjmIZ59uBGTEjph0WVt406xM2U5xsh8qoV1UDnNqQwNvTVraHaLVXSLDaIenAMk3j+TxaA4tww2HgBKxsxnvNCOEsutV3R9are8Bwa56CBbOuGGl2VS4MZAr8YEQT2v4ZZ/mWjYkgTnpmZsjreyoCSGEei+pdbnrNucTzZDXI784SLgjVHIBJVb4VwOP7ikUBI45ezxtiBNO2u5oIx8rQ5PUkpzSucv2sPYoE7xvnBcc2X8Deyc2n2FeqPV1m41KM4AoD+acbV0fbgClvPbBegS2m0tMKPiMqOCApVuFhTw3sENhWNZtrZ+MmafTRLgWP8Jfn6W4WDvdnkBgEQM/ldtSzjOZdc+X831RQrFNn5KjFZvb1A2UYwwfeaRc5ITvqxsAg32KhRep7xVXFQ1Nmh9ZR4wKke6lCK/WTAWAZ7Rf0YbJ+W52zcwWT50EystTrrvW2jfj2SOoxb55fE0OVGY0kZt1H2lLfmu8VihDaAt7bIOb2MtiG2O1tD+45O0rVSXOxUffFbpfg/QYeLtWyAL07zoy2TZn8SlvWqHhIFzFw+KAFSWQPIrEPMA8ytGvDYvO8zQ+ZxA/g1UCseCtvCdUygaFrrQQ3nmU9IcvhFYH7YQLYGkIXq8dvOxZOJMcUZSqLMe6qOmug9pbjB0mkVCTXUs576APGIKso+FbfwTeKo/zx4prmQlMmCxbMNHLnmLmb4g7/eZk8ukGsFduNRDoXVBYs/zlfygbaje/AcpqUeF4UHjdmFYW7dV2dPZMp4VJq3IjtlS3UwOybOBs2bisgqC0vaK2I6MMLAj03J9u7srGteWUf6VndorpRAmAz2NrOBcZkeczIgoFC+NZP+Daat/oMkGp7q+8ALV/206sBvypDsYOHJZnTs3QDEpauMhB38eTuNJ0nlsJStJryuB45sz1rjadFelnjfCJAhNoqCVHe+WsolTnrne1EBZRlZq7F0ozxioBuRQgFa7j49lbWhboBZyocBA162S7OY0kJq6bt4BOpajediyJ0tSz17uMK1DuBhwy++LDrV1AcHtnkJjKIy4ZhLWq+AT4MLGmqHeu5r3HgNOVRFw3fM5BJ1EAXrmPd51VEVvoURKbjExVgp3Ui8stAbPQSwciCW/yFlsKNXQ5akm/qsx+gHiWolQ5UW5nm/Jr8rt4B7d0WmQ2+BnS70t+UmcG+dUif7lLB2CX/NvGXYAWYCkbcfmyPLcm74ErQWu2ABh7ywBI+Cd8ssFhkeQg9SUHt1RUodKOPh1LLzl7CJG1KUouDGd3Ac68/+b/P28qlepUA/Eckc2ETs7aLL92V9SdRajWXOfb9LxBufTyc7BSv2oQrICD7KOptteSuUGYG5+5zcP6OvN/mI7hBUDykBBDu+BToiDijnyD8F1wLDFezJCUQZjXAcWM8ALLa7eid+Lk6iPcqtIL6+artc6zXXGYNoYdaqViUQONwQL0NzGtvGnbuWlZRkWSPLwa2vxEYi8/cD44CNqwZEUe1qmJol6P08nXO21nHh0ec/Kvrbok7hYQew9PLEtIsBqkNK9i8Ov6G2CAsrpit1TsN1LKyAVIsaJYvivsb0Fen9j1YhxmlrVLf4lsUzJpI3SYq7+Ik9pQMFY1rsT3ZaKhrhhLq63GL+E8N2Cryi3mtU6Xqw8XbnKBLBuqg3HfvZXhNeGkcRjhuLLqh3fGAIZimG6boixzELEk3lZMOo5xbnxixs163PHTISPcloY9YnN883Y/5HWiQZjutX7g+rfMjnkRLoOOHu9mEuXDqlU39Cy1NuJY6Y3j+mSGhQnMuQmxakEb94yH/px8nSlOoAXBM3f2eQPAh2Ki3WVevP5Rqe+YiP8s5+MCwdW2ZTnhypTQrQ0BghPb5BGris4AWPta0zeunL7UEsLJaoEL43VTX18jr8MS2m1WzBa5AQbyrFUAvqOoQMVXc09/Ce6CrZnFrZj0MHA6dAAuqDQchIvlh3UTxwxUwSFtb90DwzVtqNcl0agr5kMmqbjf8Sp+swdXAXKGaC2hLsRi2Odlq2TrbeV1AhNXQGpREdXFgOyWUJnJ6+1TGq1bAGy3OFqy2dj+0UlyIfjSWVdwkn08R0WrS67Td2Jj1ipHESls2dakRNZIE4/Mswmmkr+WOsIoj9XrtAc227aOQX4sbZmD/k4cn7qp6tqYewCqnj+FUtUkNmxH4SZPtMAB9oYSLt/s4QTpIaoT/RqU0cj/+ypUZz7fD+riF+CExRVt+0Qa3mAKCq+5DUiiC1WOQVuZb9Lfe4ASuwoBGAh9fJwPqjBeFuJX2t57Xk35ydSnvxplJO36sUb8OiHwmkvlZDKjOKYzUBE/jxmt+J6NyHOwZogGg/aeAm5HEZo5nh3I5J4/v+/grNeOzhokLhZlOaau5Hyfk0tzof6dc6IqNwSnnCFVoee2JgQ0tXhWeiNYuObAUwfPUlmHjoNP1X/PJiTz/Eqd5MzZROHD81FHwXgOS90ufAIk4AZHtqAUnC8RwuR77etgDudVekAT5u38oFHK2mWGlNxSVqGo/lQiBhh8/Ds4T/XyeKS3rI03Z6oW9tOL2wvb5msO3imrSvjHjdQZpgogG6VKTW+HbYa3p9zx3M9nByVhVM/TMjnnzL/AifOB6w2YxIZFUPuuGJm5BW8eU1f+8BGnEKACK6vdr35yMBUX5ldcBtTndpzHR7WEQcipuDzMf/JMiWbw7nRPcBX43kp2UFp+qcfoazON7hnLadNJgyjpmRMGBqYREMWP1vNOZyteyjk4tu10WIQvLeYZqcbp387Xc2467f5Yu8djJxdlHeJRHuvbITna3BdaedKH+x1IWhWP7BexirXJlPRU7hMwFgZzcTxqWj8xEOJ5s+3Z2naSbT3MWotALOnDxUPMYmhmNQ1VMvUBCadpPfCM5uYVvr6BBH75HATbOzq4Z0+hxqB8ZH1xhsra2YfRmSbCi3jh6qggmsj4g0IZZv3/0YVnYNg3olEuOINRVtke2wASspow3yGkDX7BPP8Q34RwDJx955LQrKa9Zt3QdDtJwjKNKh6RRp/ZN/RVKJ2xyimWc1tMqk0+8oL38xlml1ErQuPYEJIkAi+3gfkwq0tbEXBgl1qtNExLMflWijE78kmpBJlgQmKlyVDLrIkQky+z6XDmf/tFQNjpAiD6sqjzJbktZwvcZJ7eS5isJU5q7XoLfiFVAOOI1cakvhrkb4Wc2bnt5/JWR948QC0poK/QWt6O0aQBn1kWvITZAHrAWGTbJBOpOjxuk3egY91gbXOZHxqMyBJsNAAXasS9M0VRz+BDW6IdIkEI6oPAJ+BvxD2hSu2urIaVTyM4n/V9QnKPBHcMVsOMADtVquvxMwR3AbZ+C7pBJQ7zWK1X9mUB0/KtOnoKSLbm4QBkraBo8zi3pZWbWk99tqyK/p7ruAjmWgX3fervtBVnwcBPpoQpDbvMkY/B/V2ajD7lbAP26BLec2Br5Pk+0muM49SKWcGSxxpA8B6zw6o/Dl2bTFDTCS2vWjGFYDbpEnKkDDx/q6BtuCUY/M/+u9cDlWjTqNXUh7Bheny5p1f9IOhrSHleAsbenh6i6Ts15kfgn0WDzboIAxS5f3IK/d+BIajVzF3XBGWxyoFhLfZ7aGVd/LVfOFbzyslASFFXZPhNDLLFoIEeWTe54Srw5HkxxwERtZGj1Mz3QRDRGbDGeoxz5AZS+/YlpN3vQCwRAcwOVxQ14uZ0Hxeod1TcVm0xAQleXmtPJHytHK8oomqXmAe8/vVyxFoeDlFK4Cny+3pUJTO7vZ/1m4IOTnO7+2CZWcs7bdrIsvbyq75U1UrJKsiLjqQHZ0FmDqC8xrlcYVQqXWsMZLPaOBLIQTui73SbIPwrjIEJrc0BXoQyYUWLBkzu3BZ/WBymbTC31A0BBI5zzURFUWzvYT2hJJiAeGdXad7U28hrO8/cq+FbeMawG2i7G/6V7P+om8Dzx9DjXERmQO7b/00Le98+oOlsSP3u79ISPWx1Db5AaqzZDQbArEa4N31Xj5zkNFRaxi943UcceAulQzIYGYDbeUjraBmn1bviGhvNalbDTgbIXNebLRXAGYCBgKgPwY6S6RpY1C40QooHNb7X9d9UhtTYYO8+hAwoEScLW0xGW72IHWodlCETAFkujhsGmg9LdLPF4WXAidPGhzeIIM1sfkEBxSVPP+yFx1cFaSNRKrQ3ahRq6qj0OXCH8ibx4SVi3gagC6reGIJwsHqDSOYoRNd3HZlTDWnjiuh+6xulZZiKadXaArKHxoQ18XIxJDLPp9rAtmJbstq9r/GKhtWFBwrPcqrY+ZXISeSAUyAg2geTkSZPBUAvr2/Tm5pPmCD/Udfx5mTvH4WOdurGi/AZW+u+jkGxebg6n66DXvtt5t6wUBaXZbLgTMhkk9xCeP0HFWtIYkahT5ExgL69dPluQOjkJRlrorkQmSfXSO2yVx3PKBXdahKreKKUicKnbzL/Vh0wiJkhdxQqobrTDYYsTib6CEP5EHbdOeEuwYbAxlkk01PHXjxCXtbwrKm1uhMd6BLBb3vDfrZDo/rAWWQ7dyUXIAdlKnNoNoAHMorQfiixoKUO2bqku3Z9lzpgkueVsl3lZNMihcaNsI0LUVg14U1gGrNgS4DN/vR0cijQOuFuZT2dAomU1P3YjNVhzKiphEw8jopD0PTfYsxOwWUli6G7wDx0XALoL4yM/EwPn5AQhKae5MDjzoNsT11EFjN5+zVIoaaE0hAn6TR6ek4CG7mzyGcLtdz+Ccn2USC0dCP4tCKJtHAA1FRUrfIB8HuffRkR/OYRvgA5RXY+BKY6KRBahZM6/y+A5jh8nsByXgSpLyZw+1L/8frN6/VceGWo2wsWsaGR4vFR6aVRKnH9/7zlJ5I7PKCTYfp8KTjqR8CQ69aJK5AfOOVaSApIhJ9FeEo2eBFwBVhOfBnxaC4+Eyl5MV2HoHQyZBaEo8S11uDEuBFY0estZlxpmmnCkZ4ULZJMk1YrTiWb5fOxtg9ENRU/i9CBJF1gwr/UodSuIEcm56QsBE+al2Pmc63k4WEqADD+OjONdwAHySPmSBtkZcnW5qSORx8FvHkuxeEtH1V8hwND8cwrUwZYE1mRaJ3N3xyCQGe4ivaUq0QVqKpeFPHmRq3WWJMPpDgFy9odq1yIWqJvhg2g3qb2Pd9t9SpwUMcQVFD7LbkKr47drzB1OCMcsrlkzDb/u+9euxiM7xjXT0vQYq4myl86vB/8oT9Vl3CHDfl9tPG4qkUoSKUtkndgOO2A42TFxjJKk+V4fF3lIujGa6O2HatTgvAAJRllUtitCFQButwbXYg41mShsuhIy6T0ZphMabiJaCEQgzKJOzs5SG9sXsV+8+UTZ18JJPLaQxCARREeKTovRLNyqi9gVLFM/71IbDw49Gd+P7KxF4/e0VZp7UIBHUzoE148U3rE1cPuNmKpBge1yt9xoprUVt8OuiuskERu2ZVeW9ZRf9ug61H4etuX2jFw3EmglqyTmIQIQLolobQ4CEMf2aAIfwGB9XvAkk2TfVcm2BMEP1n1wcop5TrZKYqWRhhFTb3bdl5G5oKdtF7mjfmXJ5iqMp0PQQyWROUn71xkU+3t/wH/n9kGCup14Fc5s43TimWR3nLwQpMxrCQJhAsFYwuwz9wpY3r0wkA9eXwuqKsPOniv6VvYAUmn3/22uGzGFUIJJvtNx2HwlA3B/pmtI5UWhwgcYRm68fVADJ2aapFtgW8yhKSffKBo/UzjKJewPYIK6aRdw9Xpa6gU/Kj8CVsTkeEsAowU2mrlnwxZ12QxfQFzNPvcLV0pJgVty/KHapNkSmuLPWL140UQGHFhn7gMMp5eCeOwfIHyRvIeoT7RP53JFq4t5oHOxgF+L3dLw/4ugWr/3ScE/Ygy6PZ9N1lhCyx1UtE3PEE/U9mx27VJSgTVfXyvNYQcpiBoEc3AwyUifpMaEHxik4O4ybTDDBXoHAkcf8xE/jDs7ytEjPv5aJ7Yqcaxq8viRecn7/fvFo47Wg+iSfu/8Eh6YFTzMYxbqbkRM6GO3XYMvJjCtZp60RkPWrrIBnI83e+7owuk6We8QCGUU59MKIN2T49HHSR0G+7tA9Z+h/N7+d2V1D97ixEKXiq8ERQ+4Mzz0S1fdl45+UBnCiLfQSH4UkvC1/bxGR0ClyJambavvQ4Vz3fUS2RnNW574TMvBaDMChFEZko2FOyFpxHAM/oanMRoWg2/YqUouSU1aro7BiMmDUqw5tjpFDc0XGiYAvi4v87kH+mhI8ypPFN/sMIVJb6MHCmft+mw44n00nPr1tJZIRLfTyEiYa1t4vNqzOi7kt+tM6kWBL8n0V68n3mY+8LHlgcomxauu/+6gALCVX1DwpxL9/JwD6OmedS+sZ/0IPeLJzUC1cdK5OtrJzZYNU2cua825Of7ZBIqcRWCDC8Y1Rc+Z6g6sIGhEwPrEdPatkKEIJDNGt/bANRXiZ//HU/pssF5GbrtwsebnpK1eHAfpSBfGc/VZrw1wg/mkPiyiPr9+0/yjU74kyF0pu5mjvKsmEXv1uxgMKu8iEP3h43TLE8G+veKSadA6ZNZmHxAaIBfMkSEZSlFYP/25MulLQV60yosYxHg6Kzia535e1avnOKa97wSvVePReY6iCJWF+0BsA+emGZ3SAW4lYc3JQVZq566haQEGLM7koAZnvlSSPD5ypc97x7eXvf6XoFc0t0ME8wB++lEH5BmKuovGo+J/7Da/f1YHMp9YrfiHjZXiSpSIohEBodciPaJoTlCVJkN/e15D4I0DMYWrvsYu6ePIOaKooCPZreshDsPKsefTCjsMoce8QLyYNGlHapmjuK/v3akrNnR9HILRhdKwBcD3wLR9pKGZWeU88yDzMM3FF9dlyL5Y/Tly8CgCvbDGD+je0YTXQL5jiCzCohX8kwDhHCRKSXaRcAHI8HuiTuZI1ydPjKugWIN8/l5CIn71AZWaL+o6ekiA04XB6szONgPGemIyu5ZHgZuKw/U38EALHMcOknOa2+ZhfmJd/Zy4PAPhnpMBbf8pOl9Tq99CCqNuhxjX8kBe+zvw008HtqwOi/5iQIHstTD475RNRQ+YcfXm+IUnaTxtLjcNevEjdNnzi7d0HBLM9divbAgu4a8262hhiP1ZK4dx5k6hCwz22MXPMUBA9DtscTa9el61ffjEQmbkUZxsgFIqgqSzRjMjYvEMPpgo+IT9e5wugRnqy4inbcWknVvRJqjefRMaVl4rLt9i0r7x52RQV/3OrMwMxEFkILLpsjWYYwg7wgbdpvhRlo2vBOOJVLLlAWa+Vc/ZsVhxH6cSWJ2ZX40oQO0xhxSPoflujWtLir3c1b0bhICc3DZ0UWX2ueEOke0n3v5DkjJorS68WCKx9AujE6A5f/UKlXgkTZziQfKXsZjYfWRtLUAYL8+Zhf5FVZ8783CcXiPwKLR/mbKZ1JV/s/hrxKa1sALBa0u2DoLEQrrkPUciglXgvWH5hHJanLyJiY2OoSX0cS8qbmV49PFpcHKTVOeT22hZb/XNRyDmj5IatH3FDeKefxDCVVoEDwTXPAH04huOUbwp4Lew1NN6XH3jfVLTpjIlTWse7Qe6dw0ybbkGWw2sgLAXUJYtIkGuRdAt4DoHG00fvdl142LHfAVzs8/qYCRUMuHsMQH9VTFkfDoCyWwP14XYTfnr76AlRaDRiDGXQcYgV3pM/ARm5eyE2aNsCLWAMtRcjRTTyGfalrsoB0is9B1PTSvgh5DYv/NXPpUA3xCadvRHignYIEh96aTwnc6GtTq9K+rS9tfFO+JgWsIr87xIarisI7aWWVKoXa0WOgxV+Gb75XBSxQFSPR0/+2+QQ08t7nqGEJtPqzVtSo4ga8xdvVXeYZ5qsKvtHKtFYzZR7S5e41I6htehKQsfrzBpAkrllhBeXCQKbhfOFUhmpWwvx5WLqWKgzJv43g63omYdn7jJRVMDe8WDJJKPO8e1CPxy5fA+uz28XxL8sU9m9MqWhZpz+gvumrVaTNeJwT4hkLV8Xj5Q0Tb3U8LeXsMmByohxDVM/WqGk6cAg5+2t3upD56zmva5eecX+NvS6A45e3jCTS1Rg9F3tWiOoQC8l8hQc8RvkDTMDwF9RIcUDyl33cOaGRRA7FtrmAOyN9nyY7VvTuPPX3t0mm0fsdrOIbjHgG7wBCS3RyuiQ1HmYE6bQPy9zfv2XS8ihkc2E0ZBctDUv+nfy6ZU2laaXLMbEy1ysYo129SxoN8nls7Aoy+8qibgOMa+HTZLvMb0Y2x/Rm9hTuldOvO2dMl19DPaLImcjvqquJw7MHDXX0O2uMZDt5lKfGRSszyGx6B0LAlZKDnerBVYa6ILcd/vd3hjmiz7PgMUBMEMAm4yL25kX6hTE0xJeukLolu2z5ttty6D8O0hYw+sRMuYBtLZGhkU4i/MtHhWE0a3LzrDPofRTIs8B6RHC7DhwwEIHTX2A8O5LBaShUdRl0zYeLgLMGhRoWJADDIfkJvhhHv47eliJ0fKzFijohBiHmCu64wOJlZM8A8fC4YjvRnrk3uv9ZLPZsydTTP6iFaIXK9bzgV9qngWm2j09Vaq4Oow9uxL6hS7e79/5JBBTAhrdKxOxAoKYICM4ItuvTdheDOC2Znop0eZ5BZSksA48VSBvA4zaH806+ibvo7AHAo8qPSCr8rKaerD1jJ/IcWdTnLZhG4r4VJ9umr03+C8hQtQuhMyWj/M5YmmP+3xwLm+GrrqIfxfnM+32ArAMx3X6GKXFVXcWxSZow1gg/6csKvUesyuQB/MBoHaFK1atwnaObZgDRQkPqpzoqr5EJcDO2bqOLVjmbwQLMvzVueloVDuHWVV84Y/B1oiNLOs+BtPYEXb5O9KWqcTwG3DEYeeVLkkYPmt3ERJ9GWPZ6BRARHIakQFC9+rW0tL/BYfcvpyY2wtToSI/HCz1UzfaXeCsUqAlWLAChQJ0a8T+FeciJXpHPBoYBUHDtFM1k/7bgZZENB+ayy3b97JU9/2XHS6HYMKp6Ue5Ie7NAzijlqezBT3ijbr5zPjQdBYlnZ4GMMxVXMZxMZXxiDnfWWLJj/cXGY/AWTh+hN62+EmCM1TW7xguLqo+Uy4ZF2HPqA0WOPW8r1K59lvhIOpz4eD9WavWDgt1r439SrrV37yoiJXd65Cwr5rgUJLSq3+gNXAer3CdtdgcqoviEaerg9rppO6hARsZbqOu7otpfHxuyMpYEbhsjZjkWN7GyHbJpnisVBY5qRDWE+ovmQp8weLKfbaMZUzQZJlI9L+gAE9XrB62sQ1e4SKPWqLM3b9On/u54IhtETqqVlvmYBxTgeVzPUEYvXzG5n1Lns3UNSdRok2qZgifIr2W7BiscLLHupYmqXIkHKUtkPvQ7hNDDurASt1YBeIf/wo3F/W5yUSdwhsBgtxlmf//qEIEWq8gT5wwmXHJ1rdZYafonPEBmjQsQ2QLCCTWpzxSVQJel//Fh/uKKtLJdYNiOpeSl45hSU8/l3QkiMPsy9LVrPj+SFIWUTEwCGA9TbLwwmqpHinxilt6hj9/wZaF0SAiZfb+J2XnpVSMm/TAV9KpUrYYNTMe0A5VrxLBjWqubZarL2QDM7DglObGCZKgJYP4BLWoZTibtAa9lNszMTVAWsiupYSTeZaP9UBMA4UVmHAhLrCfcICdnA/qqaZSkPkVXrjviNtOCNN3yGLkshUOQMQYwMRNW9CSULgvybrsISv2q4AA/s2uNWQQidO0xe54taxjHz3oOUgLCZhUe7aSZ3DlkhncHsqmfUlTKd97iYA/od8G/+KTu3diUyCkyu2JOxI6na5nrj2SQRDMi302Y4eVe2s5AX27Zx9puIZ4+yo02ksVclXdGmX/RRVSkIRnjuyoGpKXEzH3ga9whL7NNTzZuV/wGV/2/miSWXfVeLFs0Qv1DwyVej25DBe/OoZw4OY0bqBN2A0fegx9zLXPATr1o6sja/nYatIFYz3cn9X7EVB2PvYlLpkja7tcDTrwz4xR2VZIYK4sCLOoT8a+V23XVcragkeKAvqSoPaokbUEUFR/C9AgmKI/zN1Ze6L5c0fyXZextYbGYPkVX4l9v3Em/DSTf0VMyXdBIz0U0Bmzygk8L2zVlblJ+LLm2tMisPgd+6bh/EwxhgtKDneFdZJoe9BSv650R4yGeEl3Luk5HsEMDxyKRUAS47GQAwhZMSH90ZAEbhNm+ojfF8O+8A5uo1heD2h/B4/Du5jRxlOV46p8XZD461jGLyC+t0h1DTuAbhUQFkGH1PEQHWL4ee7k1XX6zi54Ub4RhqMIfu9F1eEeYQkr/Pdog7AmWUkLfFW+Ek5MPstKMa6GcdcfZaDAQbHD0pcqTN8vbGRfBQaXB8cFmHKOPVI1Ze/iZr0PRubi8WSk4VT2EZhgpyV8reqU1/LYqi/AU2msBN8+yx7EIcIDvUA/yPrdt7FnuYG2pLIdb+9gnEb3SQiKxyTZHNLuS1IJL2bziViVwSQB4VgzWP2czrtAp1BMtcCXWkQu2taM0e5+mxfxT+ryFgyaLmmtaRwpigo/AuN42V9Ki8ZSUQtVGP6+bFP8buhHYdeq6dvcmTA7y/LtIkaUpRohcxpFchx2IDJzH5cUvwECuOPd02L/ngU+IyNDWL9cgJHE9Adk6dvLOtGLeBqNx1FzxTFE4mibh92DgRSSOZwuJyUsn6qruPVP5rVhyTVyPHj1Vu7YPyxJIpNWNlhH/3MaWjEbV65jUx4IDT4gY6K8+BnFzDAJoPrtVyimRzYL6juJ1lEA0a9Mr0DFyWCHhqVDiyAQgquuo5CI8l2fGkylnDT8Dq1CPoALkqDkId3PZ2647qC4HxxyA98ZR3mROlKGyI1cQ54D4HbUB10rylmYMXSv3S3DUpGZbHaDSFGIL+xNq31W7apRxVIqs+72P6P39cbRnbpOZb2QXFKSWF5R8TdV/JhlNcM73SDcBSLBZo/vuP7UdZL0E8RBfKN/RZB8s+3wBklz/1aGz5OeklBGKDllIJuGGeuUkP3qguwuFNzqoWL0IeOt32D0/dla+vD9Y4RqBOCZrDpBATSu6JZL0GAA0bbHtoUvgVV9ginUy1o6MBh+LNK7CzRUtU2V/ii45jpVM5ejbQ8vD2e9eKcyuqlK0erMPohMY8RwxbPPUIsz6CBNCez8QJ3etpMCLkLkpJHawN1BaJcvx33STQjlDUAPsxXg4Dtj5ysd8uITYt/+PrkkWtyYapvJkrY/ktUqokIZKtV5CLg+C7W/Herbb3fWVnbtxyY9teCB00v8dbZ+DjmuMuaS/lkuJ+EcjYBKF2F8oobjxZPyD1keiz6SQc27Edf+Wkkk5EGzeVz08DMa9+wG3s4oeXWD3D3FdlRdM46uGP//JQLrkje7aFl3oNGDHp84CHXDI+okIdbQosDqtQ/ob8IPVgfP/amzS++mgJO/ZgIm6hhuEV0JbcFk0aB016dIN9ZVBQLJabIhXYlMesNFWF00DxOK6n+CVdz95SJhOYacojfU9MfH8suE65UwAb+ow5EodLW2RXxrBZ/eQBwVz4uskptUVlwq92NqLYUd4W5zxVKbiBW7vlk36n67rb5WIyxA8ZoQsAvJNJugHXXfRiF/jNue29YLWXB913dkqykyRKSw1dkpe9VJvbEePpuji/H6wQZHU8LclfWY/hkSXkLY299ap+jyt74pqseCJr9Rql8xFY9TtVWVSvMNI9IRoBs5VQvpXxefhPGJHZJOIJjvZFXxe61e+z94kK0RZRJCAhTo1e8UhLwWwGSvQyPpgTfcaCMrHlvkZ5UuCUjcX1iz61btkStK3/4HBjrN3Y5yhUPLfBNRgHW91C4q0I2pop9yeqNr44aR3CHCF7KHVMAnVJHY78zhIJzB92bByRnd6B64+cg+/eL0U7QkHnG7qbITlhDFJE2AzhVR6GF/dzfWgp5bWzzkJQqWDZb5t+IjXdlKtGVY3n8jArehEMomL91VhPoNdn+BtgYeXg7XtKe6k3BSs3dvN+Q/cE8FV3ZQQuhgZJXqNyuQd9gNNLxiMjWJjDeWAM/dBtMpI4OAgyQPB1McRABlRnTdkzvlxRsmsVJl0puwAQCuBTRYZfFxDx5MOH2w3eSxjdJhS1QnDq00NWlVgg345IdjAnlxS37gG5YRVqVI2xISkfDMc6tLjd4YoOZgE+A4LE2GFximMHw94NNcprDK3K5sKSqjfEDOzMiy03Q8NTvwoY/ssElXFfO/ms+VOAoOBW6BmovJ469Vzlu3QyQp3ZPZYumMFdRRqMpQShVgkCrI6GqX14VaRuB0g6OuEeNWywT+f/GlK+ozA6q5Kjiz9lw+X0osV+txB8KdMOowGQ+4C6Ikswv+yopquYI/9f+ASaN7PV2Jv0+cebZGBXfRnSWKaR7ib7fIqSt+sqG/cR2PAZ3zwEOiry+h+9ieGxNb4hBw0eIG2QHlSpd0nAUS33JfGgeL/6kh1Ml9ScKLbHjsO8HUn1g1xyXDBSqtsTIjIF08wtp9v+aE0xmJ6LXfk45ekpG2LSq6dhLOcDVKW4nunmMVpjWz0Uw80xfA/BfyQ72bPbSvK+KNMNGu4c+Whb27b97rJTIakg7h1Vcl8KxHopmeGg7hdbXmKBFIGSKDp4A6at9KwXyGWqq4mKn/cYTseU3vLD8mplkeQYFM+tI1DK7qtwrrn201nlAhCAIbnvLwq/d40CqAZsjE1yUmvqYPKuIpdTdR04nY46qeD9qGiuoWuiTrTkj0k3Ukmcdlft39w0gGRe7klazQnPngPMLMLa1LFDnGyZQTxHVvEC7qzzd+j9h/tJwCaERbiVJXhKnywrgnVVosM5sWqzMmK3zUGa5vVIe000LW1WaETYbLYsjB8igW7+fcx33Ka58JPcr2lZmkuwkpdagGIj+ghLcA1yn/EyrhRo+1PeMJpkbh4TCTro0++aGFkFBPIkmogCmIR/osL6+I6UIXa1R9ao28D4YGM6LXG+SuFDsdbdeDQgQCB1ns8aQpGX16VYmJcop9dizkM89BRatG6emopIybZLARUhyQNe1IWrUVPnwt5iXzMbyn1IbdqeXhrxFoRxtMQR5lo3hM4KukbQYSJ5wmBuDXixMU5PPapEbmkqId8HijX2Q4Wt9C5rMDzxRwgZfaEuKcoLe64CS798ptprJkRYgGRKV50uJqtelH/zoYoqJQhc7ErmT8H9ZHNjuD1fE3/5/CKh56xUptRh9jb6OYbblybLhgL+RIZUfPnKl3NSWx/tm26bf8t4QYg1XJ9TdZ2NWamWMgmbjoLisWayHUcCHVWOdaVFzdoCmv0t8021bpRIKQPawx7wjD76ey9lb7xB49pqudfXgEmfzMpE9gKHr8NPadoRPNGUUxYynrCOUlzhHfzTR6e07uh56vYaTjNebygIDFm74DfM4PYIKHaCbY/l7knSKeCB0PbEwoBxOZddTFRTtqVOUg9sJ5vfwLT2592y7Xnbib5QMIuspkEbnPBWIiE000LQXbEwvRpPAv8RmhVYQlsFCC/fsfEWoMuxAoErGAvd0+Wk4SwV5yfJHKFQZBmd8jbfdFQcteFQ1HhrRrivd7GinnVQUXOLb74q5N6oVLNqplK73d4SxWZQNzBBF7QsDKAPAa9Yzln40Re2w3zv1KZ0+6dRUUtjQXgDQ1WdCpgDtQOfYQn4wMVlkgmSvLexy9tgDNhSHP1LhKePXfMAB1nL+UaeFKgbdh5cY/9NBhta7HWxU78BPBb0QOX1LZHVjZzoELofRhs9hYIktdx22mO3Uyj9GrO037ca3epTTN2DGT57ztMYG3jU6ZfMPAQtcW+7oZpiTJLDQrN7BaRnOUikoQnTY3iticNmmxDJfhA0DXFtTxoEu/Qkkg37FULph6DAXhVFhpCwRvHrTTNDilruOd+wGFNHJzQtloKC5AV2c1OamL95QMXybOdd3Q5F5l4Uepct09HXMnkUlET46bX6i6qor7OOGpSnY36kWypAbsTURObE9soVZTjH1+XS2cmp1qwVlJmFxf+oWKLL1faiFF3Z+KoF/E2AIXyzJ5l620RxkZQDAfE2pMQJjfc3kNrS5WHZxdiZXUo5+re7Y1+sG5fLzHJKXytfkCm9yL7ohwMrbRgHGWTw7auQMbuVMSvXhFEBBurKcEW4etUi3ivDYcjXFwuI93YkvG4Pz0jeTmGucjpdIEGpoiV7PuXpUz3WkGtSoktyItkhGeD0gVYL9UBXLW4nJGUQLFSc33c1mt5D94QFa+o5cqz2i5M60RIapLE2XNW/CV+Yg/Q9BMv3BSRHvWtk0MdBw0tnAaDalxJjt964ZJIExHawm18BEU5JI8mEO6RUCCIbHN3iOpuQsce1eveoh80Y9tAilvys/F06N23blau1YEJAu3V+DU16deaQOUy/OYovag58lDzwLlYPod2Rf2CtDGPRsnvRB9wvyVmVEExTwKXTNpJCPelrys2PQ7UNT8GFWmlgUan+09dUnPS8ogFXdscBYPx98HtHqS/vhtCtVV36Tc11I4Z+KYKC9PsKguyx5fgcwH8mkiLuefzwoIU1lvInXUUOstPDHErtBMUUMY/tLx8aABtpBvwoTvrnnvw7aWSwl+w+W1TXWr52iBwXrxFeVDDTtN30o0aXiotWd9N5bquY2vgTQKUjpV9mGIuDfeigGT6Bds0JOb0rYcd00in638p/0rIywa0z/lbKHNnqnSCqWwEPFgNcTPrgQfpmMjgJys9QhH61qdpiEz9yeH7c9XzCs/kpSHMBf7Q2+LVBKuWhgMoY2S9nqAq1KHT4gggzW5khFqg2KzeVGxkvxunvKYoy13Az5szVMMLjUMgh6hr70GsEqNwRhk2RvcB18v/kjs1DA3zJQDoPSJhnfhwy+lLQV+e7KfQK4GqER1+Of/lKafyGCXFob3BHpGcyjd22SOpREREA2rRU2mftlW8YSFlMoyPBdlfScUfIWadGtgka7fHN0rk+lnFouKkjeM+SmDtWSYWxvxaNzmcB2Mb6ZZ8BoDuGSDkBMC4lYlCAwoEJ9IMWKYcU9/9O5Cs59r+ZjfxFFdpnx5hsqAoPkds0+xzy6bC1exUH43Q6dfsLGXuP6HOyjsd77I+YSjGfHqEeP54PIBHJMYl9AtijVQPQJl0FY1TWp8uXmgqz6KwDWmpbCVv7a9vq0FpgyDPSe6FdRSzWtzAMN3KVwH6wxVu5j/3RZ6L54kpHg8j86Tu3IyfJvTAFsC6o8ApgIjZMX5RwNKD3MmlQJjDYS4pyCtm1iN33w8qKgjkvMYLtjBLbvIcLXSsChkQyYXBkvhrmnodHZNV7Qb5SCWKTX0OZkN698U93cD56NRibkinnnuAYtStkhXZWWAwUmUrAPrBkSOgg3CBFyxYFC1NZe23G0kmA3ASlpsdlJfgppqHIeOEI3P00IbC09JyndKu7zCR++JLwTzdwPZfuCbaRdK9NuLusQ/ST54v0xDk60ePbJlWCbZjEgnoXYjcvQdberjIwoJQ5W61fF96Z7ubjUuj5U6vX+OojjhFabwowf9unKrywZiOW3DvbOsJhXK7QH0nvlJVUa8F24wQ3BhwxsG2Sl09qt+kNc77yfwDql3YU3+GwPaGM98RBq/NTuEUFVxNQJ/EpmXjodRh35X1EJk40q3Nqsv62KsvXY2yM0RL2Qj5/7eIKMbJGxP7VFD5IYEOxfTnL6vlL5XzEEFu8dlOhzOA8sKRwZLgxJNx6TBSGHv8r2HN2eJgczSblu/0UOWQn/FPmHUUUwhoXh/OdjnL17mPjtx8LEDE6ZBorm4eCeuHXUf/K04OLuyjVENjvmlyTq8nGvXBXEcAiW99GItfHlX9KdVm8877QDARSpll3gX6iV/p/M1gPcR5Q1IalxzOhJiH5VqC+kWwlpUgzGp2ArZMicRyZyKBFY+MKsNnoS79X1UYY+IlxPRuz/OUzUBRH+FENNohJzJTs1iLfRyRaiumS2BR1ztNTmjnYHXZQJX6WJ8h6EdJr7LQxUNs9zm9gQb8dH1pnVBbamOWSn1oJr+vnuCMTBSS+fB5/yqhroJhLZDVQTw9nNIqHItl3h4uOk0Tk6kZJGiHUTKVHfdieRsvYLINKcq6pGTU9JzGxRlpZhD6D2xRXA9nA1wNLLXw6Ltq3YqfA9VbeDBenWd3qJEgSkutTSnFm+iTCs6h0y7WTIvjY2xK3ZXKtgkfxrBbjd9wihsGL7DTfQpND2O8p5qy/YqathoaxOrsP6fRSk29TGlBz6S+ULlKNMblCldX1eqxQLZKhwEIXD4+ST3Ch6cjN8TwG87vmvNJE2JBb21mpQSG3OLO71dbEWDXecS77Iw9LjAjwhK7t4KadwbsvcHtWtFZPQidnnNzbte3jVWtrB2GVMbt/qpmljI/WTXHoJgJ4A5v5WK849CUDpl81iNc7BUTte7GNbFlMksn2Z9NfH7uOfT/NTyU2JYKVAv45hUUyBXJ3tox/NKSv337+ZJior3+uBOM4gYfmtw3XlfXpsEfinHWARG3RmSWkNW8qiWWF+dI7YE9hl7p+zUGWMPDyGdoqyaLIY6JsdCoEOxd0AlmNKtHRk1cyazCd27dKzXb8e2DOMXgLBS3C0xLq8HMDt+pxiiSgAFevV08RMon7JcTmEsoL2q+TnjPS7TmRc48HIMkx8RZMClt2hOfDtHm+8qaG5CP/tDXJE8RCbQkPH5ZZFTiyJQpjhXAmJERBQ8iMvGTR+0bUEv0ltdn4OociHBzsUBTBrtVAIagLqQ1d8S+BPkRDZcl2kVICmPlIw/VKAxjdR3OslIZpUvkC3p5WMgevbSgNAt1SN6Wy4gREd3kWdF6IozBQyDDSGGcVmDH+PBJovk0/ABnSwRDnIrWtVGX11Eu1Em5vPaI/KYTe1eDKyRaDQ22Jx5RqBuamaD4I7Bl1jmFYLMDwvZnUAjiUDsoe/F1UeraVC3MxeDJVVM4q35cmvXEjI9zWYLpeUmD1NVe3sXVOfetuwDilbh9oyelvATGcYGZQdg4biZcOTOXqAJn+/+2ipBsAAVYOzHhyII9HBl/kgh38btj1PrPa6iM0POf8BeeZUErIBWi2Y8uqm0WE75JpIeHeCMxR5RAwEqvLKpDIjD5WTyKGr3w2v7T/9FPdP34f8MqgcZbplIe2YUR9CHmtHqOUUH6K85BFSBsT7BYDy+VhRrzb5TavYJr7iKPiPjYuQGGqhps3Vs3Ketft1EQhD8gbY9V7W0a6fimjlrXIIjb0aSXsnEQhIKkXN3kkjNtu2A9xTo4FydNT6jG24GTXOMmmh/hpSM+lfHBbT8JozvqMxtfCzrWyQf7AAVoxziwDTyqP+z/FM8KA56zzF8BEeXorL6+mygNzTpdE/QzwE9wpGMGlEgMcLNfno6BXwkdnVzJA5LWAgWmsIzkAAmq9g8crezR/2ziATpG9tHxAVCrY0lHp527zHbPBe+KaKk34Abk+7v8OINzJeVck0Sl/BU8w9Mpl0TW4NPzd8zlw2lgdUb6GZB90T/LY7Ii4bGtgY6Jm0R4dqkm8gnJ3W3UbHhl6S2blJqHT4aIcRht78MB3GXD3KSnZB8eKblDpoQsEQ1X5E3OvkIp0c521hEcBZVFXqEYCzCwWqhEj8A0kkeXpgubWuoWDudrUpoQo+gxblJA7js/IYgbFklkCNXTXkT9rZm8vB+JLiPgUNMTzFMu8zDXsH3nMHsballQQ9pMBzqozO7Pfy12CuDlOIOxlY8dUaxnr/1ftEx4k5Woxw8EvbME/LZ5SmAbeuMujOdCiEWFViYKLXqo0L2hiiOlKwNRmSeEtmLVPvzimWI67hfSp8DoI2kS+tm5QN+Y4/sGByn7WaMn+c/B1k/lbPQEKCFHMVm83MH4cUklI/IrzcJZh8mtykU5nM0DUm/ff+xtEVlV/yl4hWnPj9fEalJMwrmdRzt6r5IFGNP4+Ez7K0oT3eKOI7u95gVNfFtPHK1/heAl2IMCSf1Tr9xXr7118tgi0Aut+WsE/u5e3/tIW9kHTLCRlEVEIpVZXIMLG4S2wbbOJ6htXLsBpej0DAUhxJ+wAYFlErb0ZH5I83ewSxYO4GjLVklpaz66VPRyZ/JBooCuhvr1enLuJP0vUA7n6dp/M9Tqe+exViCyt4YSSogHgDJ3Qx/qDF3r/9vMH22hiNDe6nPu5p1jBp05tnmjsPZfyyMJNrymRYWlt0t3cWuvunGQV7F9irltWt9MdrwBXtGhXfjSMEusBi3oR9TMHqCXIdoVQK8ai5GgDAC+t7dVdQT/3tkrvqWhSw/05TcQUpc5gGYJtbdCwmHctG7qu1ULvvOHCag2WVQ4wCWgcf7zlcOICuAsfja1kEK6YQG+RqCND5glQ48jvuLo/UmMv0RCN/Gijy/fwZIbtMAcr2lNlzYzQhw0sKzyKXaUR27Y/N/OV1Qji9oLhE69DhjUKwH05Dl0F7XLXDp4shVMGPm5s90rfOCDyRqLvWYOdwdzuijEH+sY7EeXx+J65bkIeYshxhwrF8X+lRH4MqMlvUXK+tOUMXXbc3QUeaD6tvmGST1ougUbICBuSS3urvqixy0HVXvkr8TXmOkSeIWTTfEQ4oneHRHLXCYUBi18LKnwZaqoZBg6PLp5CNwE589OZFteggs1KN5+oK9yhT5hGkAdaQF011GynwE3O9UT+/sv1KdOqJN0V2iieA9sqeib7fRSsSGEHk3gpSKgWZ3Oa7170kkb0apLXML9JhdPEOmd7nqw3j5O38p/xyD9881p4mo8qrxAwRGdsvPvUjQ1qXLNwuuYdtee6sBBC5UDpqY7+JNM2uy3Ri644gTOA5hAx+qOLPo6AFlBjVsHltSuDQgjAKHwdq5HhQjIJRJTn1utttXnK+TBDwNizjEp0xYpfqVCbryLzDGFxZlqb6/keGwHnlTezeZra9I2sfAGJ3vvJ+i523zO3Ph6jJzTeOerfmgoqn1/A2Kqb4H7Avfan/su5P8l2lIqd69fOLxzNUW28cVNdv6rG+RxteRs56YI2ao0Yye+U2odNd6XWGr7yOsc+zhb7wdoUpxcqOmfkGKAFe3TElfshIDUFJi8u+5+0HqSgFzz34MBBOqKynNWuNfrQ99OGXhgMC+piTBQoXiFpRVsKc86Hj6Hsbv+k7CM4ID81SQJwOa4OsQidnCWKU0VU6T1P0h7pWrKTJwYElaWcwrpwjTfLmdw87aZ0MjbmA83IEUXkc5cXOqF85WWs/zDFjhIVumJ/c65sq52fJGYTHY/lTxldKONRjYB76fMHj91CHspHzdriS1iYwf3JaDAgStAXn/QCdzd8Gs5anPS9QBWzHxVAwulCxO9kpZxpjx33qs5JgBm35zdh+fSqtm3qRiV8K41xgCJpHOJzMdo9EI8H7p1XHsTp79fX1IU3Wz5CJqm6Nks6kFh0ANORl78f36O46aMJYs11phG1NZO7wMo/1h+R2AmLUCBaA7PKr9civSMhOnWxV7PLZGJ3iIX4bCCfFgitluTwwxlru1D/GS17/dcIL8tjjjk/FWN8gwi0EgqyKDm6OOQvLWSE5VqfQHmBq2oDEdwN/bFcU2DYpnH2aRE3vODya2p1RP2iGyfZQxQ03nXjuZkMbnpGZx/4IXaH/ipxkhd6HyLnsRbXeXCOnXQonSXysHdGzxIZhi7JhWPxGYUKRErTS0pbC/l6Jd+L1yh0TyhlhqZhJR5UMibegl3E2oxXsmmljeBN9Cv660AGkynjXanY3B0Dv7WOCdTmhP0PiC9emuMJBiOG7Q144y+QMaXOTxCCjJ96HkniuCqPteoyCzUi4SP511wKCmNXe3VNEGE2KBwn94Infcemz/2GbR5B9M4txCOXQVGznDklCY4wpNgTJhO4876YD5+rZjBk5gyrFstVqiOKfAqCCXHYR1euVvt68IYmwkkrduTi4rmSkYHuoQgJdOhIDwcuky8uI5DithsVGrGOBbaftUARcmPPxpgPeut9oVN0lPhUWkbakjZSMOJV9L7totcSJm53skndQ3w72LsGlmFcgSpbr/mDsI7LJ6Bn1h9LZfm46xdFuEcp5frgaE0ioLiWey0ySlhF167yyFAbGHNvAPsfszSdtYdMfMIC3hW12MOYXNdi+vkMzeYqpq21AA/WmBkQnixXfCC/W1zudYSHAKlIMH0v5bX2AGGQ7HB62Znw9jaW47vpBFe/Ce/+bqqSNjQYtfo+Xqi2/9vp9Iyg2y1WD/KeTuw2v4nWpYlZBAeKhx+LTVHaXIimhKKo56Euo2JCdazishINn+dNuVMOBOgxxy3IRiUqn6bBC/vh0Hbcvgd+KdpiTq7MOrcKaBwZRh1rmFjee84Wwk6YOYCshtEx0RjRdT1/zFa4ZTEttYl9gtlHOOPq8c8Z/OQg1fZz7OMU4BxQLGZsk8t+OYIPcVvlbReWvMAwLA/NHb7nNfZmVWgCBOqoBZyc9bny3GdJ5hc4KR6WEDNZfkRRDOYm9EPswemaEwuu9g2qlehx1FK8XAHHxDbmvyeIBRUiyr0vRp/8TIjxUaGTqpiDzjDKnlT40S4CEQPOHi3W0o4lZi3peYOgzyyoCLT2V7pYzytPeNglNmHZbAMCZYnK/piMMRUHaOnnri+FL1lQzF3BomWuo4j38F9FuqeMhjPlYQPE/aBYb/giJLId1d6XF0G42Vq1+XHEv3xzgGo+cJjtLPY/TwHFI2ikYmlP1gZAzUSq0pJZrJeKC5JdXTxzzvsX3hJKdQkaSnp5iG/dw4qBYavSKVKwYoSVXWNwzwHKoE9pUtHJBuNOk+oro80VqJ4kW+fvJrebW4JfMAEnu3dMoCZpiUf14WL8s2hSNbVRisTMqQESpJLKMigZkd0KGimIkVXQg4EaT4tw1JKWdIhgE8AZiOq7oKbPW3psTG/wNnQxD5+2usXu7yB0bUX554783vS1AjYDV8NDetsIwWxNaibiA/to7IVTu6jyLRotUJJV4QdkqZyiJmOJ8NG4isMBjtLrfaBYu85Prms2QW6IVwKWFAcI1U9XQOu3I56oAXNtkpGH/WegZCWoyC8e6RBPy0VClstKkqmgX+9SX5FQy7lhFSL1pWsz5F3aM+UlQ2WIEWaX7DC7fckll54R9bPIjIX5cFkPx+9+0JO3NeRjukieeZsyN+0FxRbO0C1cj/gEn6fU5tqhmWRQOPEtmeYNkiVt7BfhU+AKOVRxGB7iKKrGlk3diaQwrfptIyF2GF2NhBQ3xj4FsLy7WehZwhLccy/L7K8h/0Mx8L5T297H4sUENQaPMWB+4NqUCR/qoHZKEk3uBK6PVaHPiPNNcDOZy9MishYgVMWrrOxwWCjr5dCQxlZZdJyfYEcF8dShYBhOBi8wWbhSK3YuxOBdJcWxSOEt2yP3NCwM7tfNQkweFZoUMpp52MXdtlIo0bpV8Lzxs4928q4R6GdOYNZv/J7wz3xLB5Flh7WMlYYi8pFE/RcTQQ7RP4bLbUGRwZ/g46n6N/OVXeKHVy/MMtpxwBhegqcorfbPTjL3d0lQedQsnXG3ZaT3UgdTSN3PJq81Nez2u4OY/Uh1cMo514TjvsSuH//6FLwW1hTo/3QsRERs0lg6s+pSiVeZQyxIyyO1I1m8rqlkUR1OuGpPqx/SGaL790JegHP1mYY/zRPHkdi7ponmRrnc4ytidtFF4ZrFe9W/9UxMa0Tb8tIdHBfc4TlQ141pDPxNeB4xTOtntIssnJ1GoebLV+svboC0NGGo1HtijKVpOOnOBuR3LtLkh/IWOUCiUxWlyoK54uv1ho7dfww0DrIpkRYM5IrtyVrxxram1zcOXatfgtbxPMbdQ1tFSjVWoOkkfubWV7BxvDl7L15Hsm5XXp0f/GxR/9oYoM+Ir72is/tbfVyXPjqWJwzDZQqX3pTsn0WBtXaZpIa1mLQwKt/XpUQRTVkJfc0iBLU6mdEiiNmanwbDXSV0uwOBY9GemUUDJ0PDUD2rIy+MY5eMYZvydHwcS1ifnbunwp3EdIDzHPtjdKiQ/z6RFKTT1cKXn0nFPxo0dDuLUp+Dyc663xdnMEJ8L4pAnRRlBdrtFpnlYlZBVprPF/SSa0vuuzBxfTQZQcQ/9k/CBKHPJBOgoRwehbP6cefluyQv2K7SDHK0uaYqq60W4tcV+reQcscfLiprEkjONsygHEpr9HsfwC8jYwr9tXmTyEeaGmeOoV6eJz6S19wCdq9YOdiLXbH5gpq+7Y3XvIe8YaII/bZUgimdmsgYvUrUEZneRwuGom+4AxhvjeAj2SZtkAqXBsYGd56PL0Fkj70m5hvxSibWOE/98NPDlbRNzFwULBH384THM9pnpcPSUkqu+iB/irJBETbIC63NDwF0TcyHv2rhFOA5UpuuejbK9bmHXWquxKfg8PvM7Ns4pKVyBdu/FpTt3VVWKZVFfhyFK0n9YXrFH8LhXjblrcmqxiqNXQ85TZEhR3a4wlfMMGWHqLOPtXFg/xPPee0aaRaRogT/iqMSFRHxhL7Hm0U5YLgYtTkAIR+eiOrrLaq17+upI10KnVulHepeu+ceLaspSIY1wI827rtUurwHn/imkTdeAr+3YHXENgjvpUmILWEKsPEmI50g/AIrMNBQiwb8zHssss1wE/OBS32UYK/jzPp/W6H4BHtTCPyHzSAHYoeXG/YhALqoiNMPco6lLcxM+2Mj3Uz4JrfHb9SUA1B7aZlm8k6yohC2VJ4TfIqyI4NimYUrwTLEU7mGTCb0wFGYH6kIl50SdjbB4hGIF8pVOCyvE/awe8+kR5j3R1EbikFrzrBVU4c0IFcPMqAvsJ0yrxKOlmz8iUQ3/TXcnnli/RWZiqqwiEIQcrSE71mzsJ2wy1TsSLIFSDdcevvRPaJdbZHpLTwcfg42ysTE4oo5ppRyqpL01NuPQUZTrNx0TIHEN68RtsAxbQ09fqfA0nNCmHPOp82MlAK0T/+nDpL9jUuAV1swrcOtlAFfDqp3OHqArDdZ0bqqnsEq91AbglTY0/Qpf2hy3N24hVxg2sVzur2siQr+f3BXkI4pnNO3o+KXgpspONdZOG4jhUpr8aCMvENMyehvdr6x60fAwlv3XYt3YBqNuOl9SpjxYLxnsBdgxfs2EXzsNeNOG9YV7kEwooowQqi95ZZuje/VAmrrxn/77/IX8+wmTm04/bYLJE7jPXLIG3mY/lco8xxe9lLxDiHA577ieMqDgL1zoB9RYXXwhpnB/c+MbKvSLK7Sqxeus7rVjhtzz0Q74/MLuPFNBASER7gArYxuHzVuBtAXCm5gcYDh1WQ7WP4ELFa8rZ1FC65Mp2r1BxpGxXtqZK+FkIvarRh4/UywxO4nNUbrfQzfSzulTho0x2cLheSzCj+rrSwq6Fqlb//93b9xY5b6/Mb9KzSG69LAlIrWoBhYfym8wFGq6wa82pd0puzQaiBQeWGQE+UovwB4YBRjs9v3rdP/2XRhuhaK/Hcvm/kHOA+WzNMlgxjCLSSj6tRuWnXPjFdFYpNbvAd7gABXcW6ugL61lhqzU3m9O774ThWrgk5FLYTneyVE00WfJBSh1P5dGRMxq3WeVCp77EJjfw7fVFC0EHsJNSpOuOKco9mIJjNlHV5y0mTRvvXjB42RYtNcy5NOrzw5UphS63VWCBilfpXlR88J3l3lH9fE7EbtuU73N/2aAa97Y/rVwcajKv515LGzeIRFOKDJZ8Uvq/KDaxZruBw4dZQCyUxqvaesAQXZgO4uEfjtgeYr1/6hmK+TtvsCK/nzODlPhKxbNrpEaNI3wWUjy4FHNu2z+EEmF6cZOxL900q10U4FZsKRzOnwXQ+LQnhKyX1z15UaHDq9qHFkZNz5EN1brYsoEZIVKlhUIszHPek+TUrWOf5jPBYvXZ0IDQzm6QtXld0pYUNpWB49pHLy2tVkethiRTN5qhU7NgjHPuX6Tpsw9NJEl5yK6Qqj+PDmY4m1La35ep4x6rcc6aJhuQOZQ/TXC9sg59v13LpKIbS3qAKWO/UBkEE3QT05gjcsF8khYBxg7YKqZCZJOU77MntG0YeKUoODHjEK0HKKNM6DxiXzuT7o00KLB75h4n5tdePxP7tp9Ef1yQiXNCvTDtGIpW49MTjGKf5trjSgEaFihZgssyEqm1F5CxAWK1DWJcEcv+FXAsM0RFhxKq46Ov5y3WJHskbU00zDDbn/M1MNvq8+PZmwwW47EkfcjixxvGIkyjWdIe/gO6nnpyxhNMjGfg84UXb1dx+tGAQz0oOSBxsQ9QIpRHQbgSElZdHGXvIRHl9q4xUclO1WpZ9h8L31Wi+a5n1wcpVhRol1OCzR/oJTKNjIIWx8Rt9o+m1SdQumCYNn8hIThLnUZsAmbB5GAzs0kK+95Ta8JcLfIeahlttJA1dnVGXxQW0EJXYs3MkJefba5sL0O1bDv4rd3RZlzPG2yDbRBFw4KwiSGco7mCl1YQLljA1y/cgsP2WBdReRD0vLDtFYW2qFKPYa+rE9DIlhGzYS/e3Jl2bjrZISImSPWcURqyI1Mb15+YEx397gODeDYg1ruvypTLstiPoiC5u9wffg8w2HJLJ27cljhyQvkT8MDdEqXD6TtON+XDYVEg4y6MD8yx7LdRnOPWQsA1LJ949mAJCfMOAK8FI8qMDlVvLqIpBAjK24QRFf+l2KURO9Aj+uIPN3t5xC9Uk5GExHBLl6/lsHqeZhHyYLybxrwZ7ihWtcrqccprKcIO2TICIhVJFnaZ6DB401nl8vjoeb8olK3oBan2uI9qkCsEFekXkW2S/iNByeCg/F9Ss8Ek1rcm4+11IhKdUUOj4BBgx+ZnmM0tWK+jnu77P0LUCdJ7o2iSoAyeE0T86hnlxwuwP6gh30MKyjQAx6tVpiBrxiIWJuHjDSIZiEYsK7T5kLIY1ioV1M8gIWOL/DNZAo2Q4x+sULCAS57oTxmHwm5LsV67s3KCI/Md/N3Osnfx1WYaPVLg69xPLz62jKuxWV7IB2g7he6Nv91K6WPuVAHwNUwG6BIph6PFOJZQOWH7wOUv2wO2eGO4o8z4sGDj/S6m5rJoq/5CjoyR2zWVERHMvKBc/8yzyK53rFReoXAQyTlVA+9+IcgEsXfpiT7ty7D7MJg9isSa0gxI8t2PgwKtDw4VaOq3P+Dvya3x+Vg1GfKbQJ9ZvbB6awkAPLNHok08GMYoRlvOKetv2oyXr/CrBUieJh7b2i+FcR+bbMxEHqXUq8oy2aKXuit61BefeA8xJ82hGL3RDlJhmDJQ0FrZoqOcfYDpGvcrOzWe4KJ0LHCCwCo+0Qehrx/3VD3EiAnWH4GfEOzi/UFYtUugx/uzvutD+epGj1RSqJSf+FF0QJmiWGMkBB4yXGg7KqV9cbI6boI3+HeQvPsWpMFRb4Cg/dvwjxjzUhNyFjIpRe4Zb1Mca/xXKoimEyBf41/wtDnb528H8AQ/IDrfr4FiJvKha5o84E5fJjOyPQCdKN7nb07EydR7fGl1FDeK5RcWGKXXnKdurvuw8qe28iJE9WYbQq/jsivwtI4m1OXKRNMaiHeFt/hku08qYMXJr3y/uIx/wRDhC+an4FcNa/lerLixfb3HwPkb0EuLnHB0QXRbf5LH/GRuYRi5tMKtMJhwKPJV0Lb7H1b2wP4n9aHWsAsUTV5LeEiVPRXIPI+M7OHdDSDHIdoCOfHFO5S/kDY0l7qEN32WDBEmi0udn9iiGWUdoH4ipJHC2K8W7eUzoN0+CVgXWBRKCHChjGeUpVAEc4uDoLvGO4O7svt7c2v2ZIW7lvXTJ32VbTNW24GjyZQocLWnupogg695SPD0zIt9aKdvxS+ky/+IpdAO1zDJNBaosOIkCCEWNdYzF9VYBvM8x3lbjeRKbcPZiSmVUn3WrIqTUhWJOK8bS9hIHYBoSgGbrNKu8eIjXvjUAE1yU7/Pta9GJS6GRyiZLVe8xdybFlq+TxwzB31thfYnANZ4/p8MYc3ZUx0cYSlnMJeMA7ZvHvMXyM0M+SYrvIurf4Kf1FAuhk5ch504m3hDTRySrOIM88L/yoC0obxn2MlGYUOaV5JfZEjj3188/BdwZ0ubaAZeotQop8zjRtSlDU9TMJI64rcmt+BcDCVWvVCc3N20JetXgXga8o+C0/zX5O4BGM53DHg9n5iXoENQabRlS6Cl9VrYpah+hucZoQ22yv4J6B4gJmR+PRHi4hYG8fJ9EZzKof6X88c4POJ/+wM8BvUTrknSVs1lUDaZx9GLGjt9cv0cb/IRr+ya9Peem8Dvq2urF/lhSMySqszZ/5jbkqD/c3FKy4luGfXiPa7GyrkSUZU3IG1fuugQ5z4fziNwZ7uIHzBpe7smTob36/M3Y/GR7ApgluMt+AE2mhupbYKY2xG/U10rH5XWTRdfCNlqGuKaFXfrdQL7d523OuAjEvFxd2oORuwU9SdjR8hzjE4pQpFGNgSv6RkfbZXNnIP2cUyfVf56+5uW1NXbtKnCRG8jrNMzEsPrv6sgLldxuNmn84/0iYZ+RUowrtoSAhH3N57w46A40g0AjmqmWKaS6POaoEmvStgmfupnXIsXYFBDjDBe5O6Kqw1c+qHHA7HZhaYLqjMg8B+4naw2QllZMDouUO946Y5dSCM2HAh/Sv7y5vx3yn9AUZZXtjKPECHPCt0qIREOkeVfJzZvZgT+w/vZKuD48x1GYeNjWUiIPlRcB8OirmXLB7Z6VvefUJr405HIHZkdly8Jypuq1nwvstSjolDR/lCNrdOdyin/ad1CQF9uzPS355YoBUDKm9TZGjXCrBRkS7BZ34J2sl8JkOzpLtAHS75yzJf+GKICe3h9AQPQVSwQLPUp2kMxGZkrZ4Pu68W4kGqzkhNm9pSlNNSfb46bfJkY1NVZfjftJMz/k3EEeJ7kglBoA7JZfbHeVq7G7VR16WO21dkauk7ufopnZ7u8KjLZz/eMtnHcBuPYE9ZgyUrfZ7M8jzDQ4ZgytWxo0e8DWEgTyA+FxK2lBUKEpX8x5Tuhmb3urmY2r06LfR4HdSAc2NEj+7LMss+DYSRRR4AVskl4ZWXfmZQ/YrX02lETcJe99AK8MoxhuA5gP8a1uu9Y9ZiprtuwhNA1Mqkyrr8b/AOMvVr09l6kuDrSgqdMRP4fZpXgJFJBmUFeRgE8S2taEQS9+svTJxcQG5JlQTVOpRyg8s1+f8H5kFbaX470dMGzWidkOk1w0+wqpyXl3qX86Gzk2wy23qadhyStopBXp/ejqDT7Wx5RYBzj7XWqhXlhgVeIFQaR+WHNcewg8vefwEJq83Pzswv1QgDMk+8QTTlW8sOqxORA7Y5cGDDIg6quiEV7zua9IIu/IAudJgnGO1TReDyMjfzy8+Pvy3PJ4/Zl8Hm4Hx5uTWSoVcstAW/1WZHCGZBpaFQAfv61inKzG7ADycDMoxegZOOorxDOBhP/Q4sio0DAd2mxT55OaU7nGQMOjf/JXyGoYzA8F4tNH0un71smkFMlEDs5sVj36Eqm3M6TI3UZtD5x6iWbBGl/k2uLNEDEmqA7+xDRyFIkls3QmfgP37S5KqFQjNopWEiUzcgGqB7ZjP5w+E8XZItiwu3TO5E7mUHqwrsFVrVTzP2rWDREdk9H8X3r/3I9lJCQ2JmyTJIk6nMoDkyyXIlMdEYtVhvEmn9vwcpbdOSn/DUcs2pX+z38JpM5BMW5kTW10SjSu7/YoTKCEUtHhnJUoxniEHH5u+EQgJkaLsfatnU4OW3ixgb0idPVJ5LmaxmwLHNumgGl7yG1Aw+Hos6mp6v4XpXWwLw7DaB40ehh9Jz2tckTu9jKctIw1ywa9g8xd+Q2gPSFQbEeUGYP/ovXS6vP0XoiB1UPnq65SCzEYpquyftjL1ilLUbK/rVpnBoWQiFo4j5sSV9ur/QJI6YDNbDpBlC5QOl35+TXF5eRz2xJNkOD9rBwbO1w2740zob33bYiGScNdVJlrOClOo6bwxYQOuP/yRr2iiynOK7qb4Fm8nD949Nekv2m29G9B8lTRMKIp5Jtfn2GS4eDykCcQG1zumSvaexa/3xYzHVPzRlm1DmWTQMHNmIjvnh1qZ66c9joGepvfLpbfPB9zvEZ233ZarlCnA5HP5M7j0aAFsh6TJW8rIynaGr+T/tK8GFIlycJ9rzUP/K2G7c6w4Tl/+W2rHfhPYHR+HticQCJ71824uOpI5+FQ3/t2AqYJ4GWTOGLRChoW0jKyMwHG6UNDV/kcnLYpPDd+YPH7WAmEpqlFbGE2dEoPsxG9bZG6u1bo0QNrBuv3+6CRH1mlMc2LEAW9zQTQOzKuqcpU7zFcIyPZlZY6QERoRvSdUOTqbsh9bhmA2SYLkO6CZ6sh5VM3WSUyCMGFz4ZCuO+qU/08dDR7cPaL/PyXMj7H4AJAHSSuEmzrtqFnGCna/gjO1JNr9zcwP2cb39/6nP3om01F33u19v4uKICgTqBfwp6YD5BDgxbpOY+qzgpQx2B0BzmYOM9oGrIKbWXmcZFfApmQp+x3X97OLUJZr5R97UTtcvtsdWeeDn0NsnP7Iv8DEfknaLysC7VFW89jgrNW3McWCP3P9cz9BSQgiRoUJghPLwSQI2r0AtekAgksvRy0TB9ZoLmCNNFEIb0D9dNUn0b8bPN2BNHiaPHH7iFSZUedcMxIezGgRvIJcp+3haw6tu0xXrL/OglbO9czgcPX2eCHjQND11D+lIAgJGAVgqiTD5YotPh9fftCLXWgc3Q7gZLw0urpvmgGFMG5u9WOYckGoJznTmoEPwEKDA4hOewujjFs6/YHVb0s76INlTqzOP3jE3AEZ9dqC6GliwaIhu0oCcA9ouW2mVIl3gtn0XmT+ystS4wzoWds9Tog3v/dtRp29v892NtEyR5lau2LKYqfxXpAhHjKwmlsQz2ZFyxp1V5xl28+zmV//ANqdGg+JRXcPf6vUMtz2t4i7LyKHxBkYXhG15Vey6ytD82M5ntXHJxWS4Ow/8xsm7iKM5zNdSajhEj9kYjwoXNqWjkmnwsf5JT/Qkb+scDYYy0yjt5uMezzpwFtxssIqos669y5bRmOwnLk5yVcQZBWQ93RsN/ROGCw6hkihyycE+wcAo+nM1rMyRXkk99UI9BhDcitS8n2zoTQIrux8Q7mExyfGchUuBhwMXU8nP/Ps2LWgyyuCoV1TAkhcPdN2QySbT+PTHoDMufkZqPU4Z4sj2AajnbscHPW9UMcRReswTid+aQzDWB0vWUAsQRlYlIFFteLJXaxklWhzEq3yzbM2yN4/M8LHcFRnv6uYV3bMRr7zzuiWZvkTx/zWJzXA+RZTttJrPt9wWWUEErlwyKxhOYmjLCcCSqoHHeDy9XnkDUS0HDElyKwsLirAMWRopkEtzTifsYF+W9jm3xyxn+vgmR4ms5QWi4zOXoP+kkQx+5g/wayNh40BcQGBW7wt94izJM3uhn/si2qbaheqtLnbT0pBv+HTKJJgc1qRHEBh6fTzTkCdxfZjb7rReHcPuztwOHZ53DsigwVp7dnq7clY8APXm+7r2iZdR6PJ+Swi8GjCbOPeI/NzpmNDXac5ZI7xKo5Yt5v8AjwDp9BqPLH5YaG6pL+pPp3pw2dcoNOYc4ac9MGJj/rMKqiVDrtlsJTcd5A3M64mK31GqmgzXNEEKHNLW+kbUwV7sDwUGM03SocXu4kRoslw6/6oiaGGHhNm0dR0wB0r4V/+wbM4Wa/27k7jORTA0Y1+MZeEGLE+IzJbP+BCXkh8P1ZYuvsoHW9ucXqdyoa+EETnUeQkYXMNL+zsCHQE+JvSEmJbG4wd8kLk/+7X7Oyahf0N6zQRgE48B4A+CnGbl++Rt16z8Sur6DTppE7/rVJZdznba16KZ1lhS52ntustJS1ZNMpjj/cysTuqb0v3mr2+f2iHLhv+FebXx5gtueNbeqd6hm3i79P3cyKP4iN8WZUUTG7/qKS4eGk5ORD9vKmFJiuCDjosdtysTbEjx0uSW8EVjFTJ8fzGqjkSFJ5zRJU9lg9EoEoWmgXUqyaPOirKghyfajL4b63HqqQ3XlMFnXsNtSkRnwnb+wTM0fSLeO9gc5ejrLzBO+l1qVEe/6j2/32DKdZJK7GWCieUf6NlGegipZZ+DXFPYLxw+UK6IrEG+iqo1H4lDZG1RXwgrERh50ZS3loBahQmglcvrtQ9oK0UQIyxys+TumMJxbDKaPScI65rMAvps1dXGGCyNcCqOFooVw/Du39IKSswaw9fcAi+Z7WyFsn8jvBnEOWvwll+NlzD0Kn5CqbPl7g+Biwpu21kjAtE/zcKtRTkni0w/5Qej4h/33bh4kIajiz8cuAwfuj0n/d07w/MokeLsWFbYlwYkintjeLCy/+w1nNOKo7bWB4EthqLzywjoqIqMbBruneNDlbp5HLHeZOo5q/HZ/KCRH5g/B112b9QeOfQ7kdL3LTKsA4xNmxqJqMJVXVPaIPf5d/pETQsYRe/z26E7iamKrHGRohBQmtTrDQ/QhACZmazBeJ8jE8F0iB4mUNB9MZ9QGM81el7yIolknAdv5TwLfbyl1FbrUBfO27GvriuMZz+/EiCfY2L4yJW0jjbd34H083MxVYW0/FiQKzg7gAY9xH2mBNxkkLt1aewCWNoQfZn/5REDJOFmQym/x8wPvCwSWjwdfE9w1DKwXxuNApdqHwBWuzaFchu8RRREF1HME6c+BAF/uNdMnNO3DOyR46yZ6XUNtdfy486T/qPI867imebyQTfMURPuwIcfQD8sssupeS6tm9S3Uc8YSiipggIRIWT+S9MUY/ut4AygKgIKth9WxyawffLD+71ZutOG/zhcgEZ3yTPPOutwmBMzzbzflsrgzjFw+FQ2Y9vKOGgB9jSPy3ksdvNcAV/TuI1KikJEjAD6tBi+hHfCO0ve//mT9ck0+ekVQrVEoItgSDefkvzneWQGXQlRijXgV9L+pPRgDXrlapGZmAsHVyYG3PCMGL3nzqbRPdSKUk9LndpKz767aH5o/ml6Z+28N3k7csCnBdvdMg0mXNMuU6r6RsC3Ri+2cAGEt7iKsCCfctbuGcp8/ex6ktri5PCb962936OYCJicIUbyQUyZZaYQQMUyZd+WWMXrv8d1OrSXluL38iXC36vuZcEbvpNP7j/3wnT+GaSp2vVmbld3BTta18qd6vFIzuXmvJKioKmoIoG6kDTB8A40Y/tXwqJo3CIGTmVmwUWODj7hlveJ+5otrda7ljmGbgrpnZh1IqEderbBt3GdO6uO+AFyZufi1/WvEIFZiaQRnPC6cbtiQdXwWj5CaJsyqp1iHZvA7THKgIUbRrUxR32SXN58rlh8LQWtOv00ts/ozXV1sp1FYZrG4hfSu9jDg4PB+O+3EzmD7ObsQLM1hRjMqxer456sPPO0FDriO+XnC6jyYJFMpIwYlFoU9xp1vvvgek8EKv5GJw4ReSlYcu4UmvLvDU/vm1K47/HJ0rp6yNqAuSpAx9Ap2RzKhK+25OCS+YWdqFpVlUh7oteOBmkpZQkoqylaG3adC6KE7ynEivYxZaniMPPUHZvXSR/m05uFHYrIM+K40ny4jHX2d786BziLGwF9fepOgtLBclgxMdfXLvZEa9zutom8KEen0qFtT5Dxjo4VjU1NskKit1wN5sCIpKVyQXCskEpKv6QoYYVUYSIW18HOO0Vrpj6lYuVEcaan/lMTHH/cwAAfE5HS6TUVnn5+GgQ7b7R8T6rytP7wwbtaIZ6NQrreFSgqNYbTs2qiBUKoP4LCxSD8eh0Zmqxtuw0z4zs7cDOhuYhtAZ8TUDRjRfLJI56TucyZKDjn5HYKJcLt7TfQ+zgxHpBtUYgLke/GAwtkCtnLDMCaENFgEfehl9SvYPFYFJmSAEDdmfcAGCSZCalp3nYimqVZjQ35YbM/jeXbB6EmHbcSsuGSCgDFOTqO3Ndke+uPPfbvDCCbs4hcCA5ECYjgVixeye5JCwH+34VgLKs8MewBsc3FdLp/XlbGPm4kngXEcaiqW/fgBNHBxXG9u8C7j4FOBTsFtteWnag5xwMysFjI1outi94KumRqPoq+AwwjzjZgvvxEt07XrWQGTIRMUyeSqgNWG0Y4/BpEmCpmhy6rMzoGai7Q++7CAw/wWejYx7WBULWQSz1tGY4IPZFJLXszIj24BxjXvK5gFggj7l9oW7ui1RgSKmzPHATDAUqmCdZD3rQZ+UW87rA6iYEoqgrQ1pNNt6srcgsiYG906qq4D8wj3JTU6R3ZG4v/5G45+tv5G15TXg90GSxf1hlWyUZZOeJLWYgQG2YINNvXKQTn0B0EOLcD/CU/4d1NDkMTt72+Hp5zLOZHj1TFEx/2EkDCboWyKT9sxmtwWln0HoEsXyjBsFkVjeSyQ8k5/BnBZbL24FcMm5wSnAGGNWumUfJwmqu5Jq0iKp06T/HSzEFJwvdN2W2ZLFv278yRRwY8caTdfDXfvPmV/Oq6StdRHN9FfW5zPfMqmowwq6n/T9Cd5yk+zLbfaj0rNXOAlN2beVcdhtHcxdrikhWeIkH/csTsyG0DJoIP9YvL98svwJBNQyPoRr+JFkRKv9eK9ghz/yLe0Zcts8K9qNp2kOEkkHpD3PUx9iMMAyl78VmnIGEPeDyZa9WBRKQrvsF++P3XpqWx6Jq5MGAyxOGQVyJoYWO7GUqYjq6g2tzl7r36TWRF439Uq0/yvh0ocLAz6jnMA0oCPlC9Op4m/vJij63wxDL0OcE/hRrmKSAJ5vXATfc10DoYQDibEd37RTIjzAK1HhpCzXvRh+zgJL6H4s3+lR08j4IUjrIhEq9JXqY7LWloBR8FPqkw3Std14t+xviOwvL3BlG8h3VwOyJYpM1dMD2rkfdi9tycTCYlv+NkWVMHnR8/0Kk9riOBcJlbA36Do12vYITSie9SZpQQv3yVTE/oeDn/AqyfFGx2B9NeJemmE5z/ErDWLXl1gTqVwyWfE2SAgwVuDuGGcMd7DJs5jHvhuWN/mOyiT0JwcpLg676TlWehpKZzaS1z2TZUk2lNe94qcE5G+nPtm0lrasx7BnOh51BdlULK+lkfvyHWoeuGf+zcNTEYWOlrVihKzzQLSITe9Rl3y22BSd0rzPoEc8WUz38eKTV+Odse4CRsT3fzBFVNziwwHGSL5RMkEXeZthxsxpbQiMa4YXpby9TrA8anPQknkFb/eMjn9NTRrJ3stsyKXnu0VY1eb1L3GoODaGO6Q/7ACb+HNv8ax3qhZ3oVwaANN32YWYyU1aZyGSVQrpBF3HXWIqHA/y3e8LoS6gmIZmPossETklL1lmWhv+dKbt0+qIK1lqk9XQFxVCiDpOVNnN3XIOI8Xp9rTGZPyxM7SfEumoo37T3SK/fvFXu3bMRY62SWdZkkeJFAqu9Drsd8v96OZnQlwNvOdSzD18gCq3bAMFxOydGWtzD3PPJc9kP54jiHGw3SF0FeP9d+UadYm8iBs2/lVLS3SSjEmN9LzBPH8eXlR9mA72hbmQhEQ3MYo2d8lDx2v/pry7rtzM+zwsAE7EjvFD/mgBjdV2mbWCIjBli03KBBgXJE/4F1PCycMIOzSvPF6lvC4VWINxnpDbVrYShiFn8/bCMa3EcGdzqbI4AyCKWdmn2HE7QlcTw1YAvuEd8Hq//HvxO9qZ60trE9Qr+NO6679vgOBqrgPkLV2XWrm5d8B2dYYE3mKjV2/4JgHxK6wbMAwb7XRX54MY8CRoAdX4Q+rcQ+1Ekl8lL1uwF4+tXkKhKlV59KnHEMxaPBdgOJTkEStSZbISWYcOTIr83mk2f0cJ/HCDv34FvRruTDaWPIOz5vqzYKO3jrjCBdC0XAhd11ernWu48wmFAF8WONH8cQF0r7VxlQvGeoQ5TWsr1T03xFo83MqsqboAJoGqteGgpIvxxneOiDRHfi1pu5V2FD3CcZudWa08VCsDJUUMCrFnSNdqF0od3vf6n1Dd24HJVDAPMRcqOLcgRQVhKimupe85XbODYNmNMY5wAgCPk1jcP+y1ABam90BuXTfS7a+LQH0fN9Og2P4YTtC0uIjenmiz3+6BKMpQ+QtnG9j4SxEWpi0io5FLhW8aPbTRr8lrP079yO5/54zkSMMZJKevzrWuydWYDgLbFzPzL5tQNhGIHnkgQ9BDMI5En9qgFgLSTC9cqiSAjMukeE+rOq9Uyg6MJOZ6DXxz9cQAQ5rgQU6Z3P1a746VpKNktwXRssFu0k24zuf+Mx5CRXRXi/pEoMi89yQMIsLwAefTj0b2reSqtZjiwA86MoBHzbcBz95ppplCzrJoeHVffivUTsIapu5FUb5kRhG1XYhH757JPTlrMp4de8pUVNfUSX15v6RH2d/WaMe8W+rINJlcoJbG5J1PrN9rxfLfxdl0wWHD4Ty7GhnGufMwixFqSCTPHWDBKyHoImaFSJIb9GzGVjx/jUGLsPfIRX022gVZ+Y7V+i7kWcyueLX15ArxxFTNlLZhbWLaR3bwOiBva87wexChD5NjICnmHatyGCBWD3rEUAwWbm58UCQefvIhr+rRdEzgDpMhSP5X+KRZmGvVp8cWZEZZRxFl3D94WNtlWd8Zfz/f/e4gKoRCmsgk2/piTInPoXIAYgGYVpqJDOZDsrO8At4tSvZ9dJJJu/1EV3P2WIxE6m398/bOrp8IdovbuJQg/cvKCk90wkG3cwukgTyBAP/Z8AZO9ieGP/b3p0WeoTnMhwR9p0L3wQdZtruEtUcHSp+uQiiKHBOM/G8hFFIUHt20SpUD16dcb9O1eQDpD6I1wbfTiCykWwqbjY/QDb9v2PyCfFLCTMEJxgT+6qrL64FiODEg1vTjOsnOxVGvK5Fog6Bg5Xp3wIAc+DeBaRnDORvWFV7owTBOn9681mlVWtvHeP/ntN6Ouudogm0d6DG3ZPuyBAamSjCsv7O1HUoh6o7VJ7JoBwwz0WAFDw2Ly94JhbIRsog/7i730fMdpwpfhPd9FraEG08GGuV7VI2Y2HFpdT7GDxDOHq1h5AhMltLH5Nkm6J/T3xDmM5lnTtgRVoRRr8QjcGS4XBSI3DpMnOfdiObbQBiBA8YbuzXxv/ho9EP/0VUcxZWQR5+2UfzRw72Fu33PBP7UjWiy4Y2u2rUFiLWkg+djKG+RtW0O3ERmrIRiWig2Cckppf//MyjwDnxwOxIViS6AZWlo085f9uHA6vTBUKDql60sGqDBXOFKCC1YoCOty9VZSoKHl37oBzpYbqbuPH2WOfH+Nf9/d0Ub9+YbF7DYYiBMKO/wqlm8yVJIWpCHurHdDX26ote8EThzVohdT2g/5Rwkxdfs5eP25Vb1MiUTlCE42t/8HzQyRwyZYsSAbvTtNdC1F5q97vRq7ruW2M2V4p4O2sRTkH+aMvGIvoaBdYT7AexF5iHJPr93AXaunj/KDb5te4LeXoGch2lwX3HyTzkdW1GTePgPFayaNUznUUTn0nX2jmlMzTVhCwSKVKervd+LLqTXiSHWtWIir2RI57EiHJNTrU4hyZTu9r1sXV3Ni5QguX4Cc3lUlQ/8Lzevsd94FeACbAkd0mTk8lKwK12uuOFovOjStFxnp5FL5zHzl+ErhpwpP9msQF+4zSBjALqgnc7vldePjuZvyWh1lIxn/Gw/B/LZP+qDxEXEhmHKQlfojo3xGoXT2XenwATd3KY9lPDu4bmq6yQF9wjE0I+b1svva15kYEgsSYwE7y+pYONxwcUsj2yGw4O7lARIw3XWP7C1QmyeAIM3n/1qbqvi/m9/aGbZmbOyY8PvqJSB6Si/9qY64Ke1bbOXCHefe+LqlWpmtG7fi2R5VEqJf4/1iR1xukbBltbwjn07zE5wNP4ITraGWTPpRuvIrYVYihshAolM+2jZd76H+/yigmlGD8NaQsAYloLh5Asl+gaQ5ntdNGM5Jf1/5Tdupgx56oK4o6Axc+DW43jU07vtlf5iv5H3zpjKBmmUtG251InoZeJ31brfDlQWUBIKlVNAqM18mii7o5tNVsm+GkUQd4MghVrui3eyHaNmlxV6gN8agcGROrqYP6mfSn/MsScMIOCKfjLLw48/n0yC3r4EhgHFUAg4ZGG/AR4nrciaNS+8JUNJgrXX3U+ndvTODS57sX9rmqj12H4MF9ew8S1u4WDgUY/RItVweWWHfgoYaef3BKa2jUJ321vQR0rV+6Tyv5hI4oSFiykjn9GMcpCjIBHlNRxwy52UKOkcMk2t5NBQ1MHSC116FwpM1lb5eqscRqJisEHMxTDfqYxRoHiwpu4DnJv6PCoEg7jqAhzAIpf/sNX71QwXq+0ylGzE+1D3bhgVGsy3TNRM7sn9XaoL5KLuUdWPo3ClYD2eOB7VNNptRJ8E4sye6j19WWjbZVDEYkAUMoQVyslWUdqBviOLn1CPRDgkuWEx64lv/cTVOEqTei6gYT7GhELpZxrdveBcw5zAKc0gA97e7neWnA3Khx1w71LV5gxXvC9dtcbdX5ITyqKwvPf0tRkOYwMlLAsnR8FBV+PwZCka7Gdc97vONQxAXfQDS9Vf0h9t2THpcAk6DMEFmxF7cNvTxV8a5BN2jc9pPcy2Swny1S2SA/mpG/c/+tNYLsbvX9BjcFOn5xABy+W6qtDeYLEGkWXpu5Ew/88WmkXz/oP4Ed/MVr2TY9BRkqexkX96O8tGrd5wdOcV59jq41Zr9noboNoH891/tr8uH0QJ+fij0ncExbzGarsQ3PhD5rIObroRC5zRAUysAkmtMjctbI98p9lfDFSkBsl6fgb7flJwrDQQB/OI9I14ZMBUTHV5roHKUXv6yLpinq7ED7uGVihN1GHeg0RHPAulX34La0YuQx060Eyyupc+LyIyFOxk6YGmpsIHIWo5HqwcYDkRtCIxNAHb4If+rGJDcjjN0KDaza5HhfrGjUmdAsYKoiIRkIwYFIF6l88AASXH+by6/U1SN+CVAsUsuCk1bhjC2GrQbcLDuK+AmnlbhdqlO4jkQn1SN16jIzS5sHT+d5usV7sWSpsz+k2s08P73p49QGIxM/F+LTWNO+xC/3n3eW+6qLNBCbjfn4X6vrs3fk66UHWs7vAxsap/OJEv3pViQLJL9iND0mMSf6eSkuUaXmEemuzWO5SAGQ3sFaVt25mcCU8+M/xMy2x+7Ztu8FLStUYUeXbbvJjvq8//RcXy5x7pHah2vkzoquGtOF+3qwqKg5BjZkMzFH9Y9PBGKfEj0AGmXOOW98fl72lhRGxrapJaz99u0d9kjA4MG2qGGhVVkBUCn9TpTBmPfd0E9fzdsKE70vV5RFagGWfm6kslEnZxYTRoWG0AuDB7LhSnXtn2eVitLGTT8ZQsuDN4lkQANpXSdKryYC2B+3ydiy5DMSvBWnnOg33fp0+8KeyquC1PDj+2KRuDeXFFvAxe6R/w6YK6uS2+Ordnjy1si3+UFFIzd6qRRFnyWHdntiicDNdZ2V2gigkD0Biz2dWdmFbRam7nzkC7krNAzwFdLm/PWKd71KuRHUpEfP4dlvY2R2jUdtI8c1fOU4K1c5SCI8FkOh+4fLI6veT9H3JDo7GYQDUL7s7uTBtIp4rIvFBIIcDofHnW4+Mpkx77F4t07y60tBDqX/qZWXGtSAk9KL9Eqvq7aeJgIcN4auFWxuOjl/LwCJkciIE7psTyKEVmetemiVI/es7JGOjwiymEkTHCLjEZn3Yh4pXUvCza6RkBxx/vDRauC8+c/2d1jfzQlVzLMu2H61KM4W39MngLQECrrOF2boHKZg/Ojm/9LzI+03taUh3LsD3r9tN0xbUxoVyWd8jtT6VPt2xQ5dI8agz+Iso+GRNLSnMx4ByBIm6O9EuXoTybqs8z6P4ykzm6Sih9JufDlKnEM37jTmAJZHMK8dlfcsGGDSWKS0ajUbV2u6GlQSUuuQ/tWi9mxONhgtaffXDhA9TeeSzqlp6oUkgAvhiEPuWh2JOnmmB6ZgkQ5lH1Ra5WqDu9qD5d0/PCBDAo8e0LBdrqHhsBXUR6oJahlCL0RZKjVe5jcAvTgn7kBuTFH+L8zozSxj345ULWUdjK4p2k/vFo/fInTVbrVQkub24bQFFO6lLrA3aWR/XZFII+UPMwD3qG99bKODjLEqURhC/TNvR7Ypxemftz1+PbJwtxaqRePe8DbMMdi6S3c0d/PVV0DFkxIFwtf05uDlxCKoaY0/h6IEHRtrek4z8K1KMzL3emwI0Z4bKtxSMgo6ulhDLNu9EhjGjEUITk3PqF02ojUU0py/igG87n/IBxbZPwm6YjtjUItt2/N+PS/+93FHdUf1bD5/kg0hgcsCJLIoXXqLUHj36cqwDxZjP86R4QNPqrX4m8qRNyzYJF4qmifO2nc3QFbNn+e4x5guXLKhqIvh4aBjDqWZTc6pXY4avQ2oUxuJJVA2192cb59+pfb+H5lLuIvHj6m8nmgQ9mGHj7ZQ4y9tc4EC/qWXAeDJYAv9Xd+0qB2v7SkeehbKmrJs2UHskT36r8xHP0RKIwo1u0IxBgrXNytfhuWguCPV5q9QIQLP6RSQYoWVlVdVl4ZJPeOOhmq3WlmugzCO1v34iq6glZx21Q3R2JupbPrqI/3oPDdXWL9eN8dZe+m3yGMctlv8cbmEEtO927jBrib8oD4Vdgjtc3aR9DP8wM69F0Py9dWvQKt7GdIZ2x2UVbIOAtepGn/Dkb/rbxviJ1/dccacyABd1vXHr+ybmF3tlDfzX3rT2UiVkaTnDQu5KumkL8CqDHGpQvP1zhZfk//Q9TQc8i/fChE2QH247+KB3r3p5stMgEvAawmbyKLf0An/b/Xde6cfsyfG0qIkJnqL4sPji9c0Oci6a26lFuYk1ptyu/Qbxpb31ezAqa4j54ZLDn95437drbdgYO00skRxubO9Eb28qQ3hJp8yvLKoTwuNKje4I6cTK5gAy72NDHde2ezzXeSRe9H9/BvnTqJCHi8ftOr6t6SHcUR2qonDr41R/wCks9hY4LXD87Mq7zWq2buT1G4w5cSmOhGuSJ1qHX36I7i9lsnYhmmKHKz0JnwUgS9VMLuLeLaXgYWvLndKBNJ83XUiOcTdN8qSGWRhpNFTOO92siWHLAsVuU4JKqfjIkkPtTIRhpSantz8twSu3ofox/e6jvpzgYlH4tCmQIz7dFukiTc4+n/d6MFjvN0cm7O/HAJA+XoBJte+3/zPN/v8ZRpKMZNSB81pviGz39HJsvXhbQ1c78PyadkO0OcGgCQsw1ox0M4pSwFK/LXmB5HcihgUJ1NoCTDtWAXQEftK0APvKhvvDd+FiG43mDK7q3H1mLVR2ZcqMbuh5DL6Yvsz6LGQ48geRQpfxPdFceyaXM+nCox9YlMcyDNP6pIt858kC4YZ4T2u+iqBsn3RJ3MU0be6p3k9vnZ459b0j5/qnW0df9/hgoN4Ocph7/pBolj3cvSXZf9IwnCF5eG+IVJxIPP9ebD5rttYV1SnTkTdDQJv3EsUY+bRddOnDOzRDYzIPySxQMtIjsuYjKh/kuJJtNkcXv+TrGycAwnGdMPNc3cXKW+NUrp7f6MUkmgZW+V0fFnDQzqz2YxzKYDnHeqRSzfkbOjckuW12STkzDL1xRqGPg5GnslUlFyrwyGkzCkmOYCUMS8gpGRw+eXD2v1+0+pCDGEDl5BADsPJzGeFL49csLU7qP5BelIxK81GQFCxVWKfV89ANWNAsR2E4oCvbA+CqNmgt04jvoaxhdHRX2qBpWJdXws6KBcKfGa/bdZQ57ff4G1Z/5lnyF+8U/HPZuvGxL89DaCASvprkfIowGGEY0ARotSs/4Pp7d0nfqn0UmxDU+i5+sEcWEM1z1LVqQu00c0qKG4lapqzpgY/MG1obDm0r/C43FruhRd4dUbsfbJf37ZN+eWgzGZayFwN2rU1FRBmXY39b3UVi/tzBlkKqDyONafJeMPb6CRNTc50wATqJMMkWw7emTtSLWdZoIe+YmNjiKAhmgF0rRaWazIkS+yr8+piABqcYZ7TEf1RRTRG+lGQ0d+93TcVLYcR6KAxWNUwKx3z6Mcfo2gy/nQEh3id5agEvNHo12onDjpbibw7VeVIrHevkUHooWBOMCevnOMjLMbcstKE3Y2kD9kNT+ZzzUXnUvUJMq0v8NinIzNHCIsR53iASb5Bqod67ZEuUDGvtL1pwHvVnS5DP7SMlnHKAjU8Fyfr/rT0t9+M9zUQIHzORIExABU1fNlTg7Eh/DtTef6wLo27wuYW0UcQs9Ni3HWuJD/KRAufs3mz6TZKwfhT0jEmjnaeEpOVmr/Tdg9fKG/AL2GdjEim00LC1Oj1kfdcu0PYExHQYvZS2+ZPhTUKxUWYO+A3A1N6n5LLcbUtNd1nm+lTB2BxP3quUx3EI0riX9rhaHqpKGb6hG9qa2PmpvhsbEbPdfgi8/tJWk6zrsqb8UB9sr+/d0oX5np6uLcJcN0hD0i0G6cvRwgjJ5Byt2XziwQJ1e4HFUfl7c3hfNpysKVK3YRrdSPHQiNA8ck1OoQ6FUm/mNRnUXQZSt5pDLpqA2TYZscRQ5tu7jXfhszIAzmBRJgMgxUx/7JwU0tWXtaWwWdRz4C383xOtPPttKTx9ZrQQR+4srwfbvm53KuajKA95IzvqCyzdC82NKS8hP6RRoJ8SyqnEUQ87HVQN20bhnUVvBeowcKEZTizmxYiNbDRZ6LgXRZ3IzfRoF31GkwQPoXzty5R+K9LEZyp/CYirRbHtxaxHMMF9IiJLaQ4LPIyeVQUhghkX7f0EZcp8l0Mv4MgrONyFFcLz4FdOp48vhSCMIVTHLOgeXTvy+bhefGSQS0AR9awmrajey1X56zB+YTMVLJNDRlUIL0VVXcHisHoIx8LfOo387JIqQVBjaLb5wm4S/jj15N74RYiTcSLdlWVD+nQMGzGzkfFFt8T19Fy4VEqSi22YJLDpf9pIi6YOFDFF27/6qZzkgh98kAstg1SDx6/eOz4vse4xwBSe2gUBGeF1hwVBeqFMGuW3O4qQ3BDufXjFw/s/aPELN43HY7UWx2vVICQMEO2Lyjx23tseEFvR0FAugtQNBLeJ2rmEi1GbRs6/BfXHYscCj7MVM6RLAk6wRRTwLTGOIgk/rVMLFWYj53sUz3hDDDqi08Yc0o0ZdFnHvgv/i0C7tsDosNZvl2b7zzrQ0i9RA0gL1t/n6mgqbYgJNQL4dga7FJBxOzXBA7KQXROIvKkrrMWBXnTtaUe0QDo3PdGKTFY6L+BxhZN3EbP8PNpKe1guVP6/E0OCYFpsNnMt41lJBpGU83KhJ8vHRJ7Mv1JfVoMpJzFcAiWcj/NIv7/WNL9l8CHPcw+rkF+SMvxbLrvrOFy9/Usjz62fJCN1esMlQjQ+X9GYgZB26PbGthJ90xYnUnGzxeES2cnWopJFTaOD7m4bu/bIBHPtZ19j5cjR9pbPKpiWC0MMXBfVk2/tLmFZ+HVqktmi301grZbEtTj2Z29YzKUoF/1GJtRo0eZlCucBBXDg5FwbWYqfVmYaOY+9E6ga9TxpyCqzhtq6GB9/yY9fCi6yM4/559DiaRcQNQvkyF0esgXqyPtzZJ8MnkEIarHKoMye8zfYMz9ZRIc6/Qct580QHM1ZPQ/RnMrVGhyMcQc4KyiPayTE0mZWGEyphNGnOnyc7Q6GXLQSDLm3wRQaL1iULxbtZUmoDtUpaKK0fgmW90Dea94CSmirphyOrZ+i5jpS6oFIxNtXXvFZyP5yUPLGPNeaHTwQYBoMuNcuFwkvb4eSL6/UWMB6z05iMokqjiqz+0yzcmO8VL2dXvmVO6/UKGUz+DDJaVxzkyG/6BCpycRmwiqHDCXljPCSpfZzl4HzTJaiSap+EZ8F6suqThsMzOwqyfMC0sxNKaILCm7moWRKUIyrO8LVrOnCZ1CA2uMAlQP2SojUKqe0bUWuTlKrWw/IXQiJk2pIWNrdAyIv4YLFIU7u/+3oOLbyLDC2GZHFQnoyHqnKII+KorqIVDsUMpTkPpk+O5i2Iwfwk0tc3u9mEvQwTqJ+vaSJAoG2eik8UfqbqHNas2k5vh6FYUBPuA828mQ8tyu5UcFNRoH9scSJPDkzosSvDMyJ3jYYwM3mxniO12QneKxG2MYO1j8V6qnevITkHvORQD4JyrDAn8F3GtCgzT2RzWVDwEOXhd+JQAk4B3cfGEjX/fWplC4IiXfyz4dKkDGUOPWCUZ7hYlLcFy3GLlB9gMlfr6OKIR9qT3jvdK4cN2vOAFMWesktWkWI315RRK/k1TW8duCU47h6F7hOQ56RREhobH7nI2JGmIhclmIkhK/lIR7iIKpMTLPm9BS+x/yJD49eMzB7elwPVYgs1Evgk2YHK+RvbFHVqQ4lVmksiOiImlhzLuCyJU+8ij/Og3340abYh5FHMAAjAGPaJni/9GHygY1pP0NShbN5kSlP+INXQACAHP6Wrilzw/GWWrxv8PxRG2yiJlLAyALIOMVpELW/HG3hu4EoOkIyJH92NULX+EVyX9+0Q9FwNe4IWWmZJ1uIdey609SqdIU0V69eOmEv2tSr7/u6wuu1WDqBv3DgcIuPV2Qsl13cVw2sq3MGc56LN35KpgJcPMQI/bXw/BwKElivvYJ9QqyN3NDx+UxX+w7UJen8oBfI6DwJ3hT2T7LBTScnLiJQBTRlmghK49PWMDWtPUTJWd9W5ER2mzq1O1evs8U6PiOJYRfBi+NVzTtoPSflgt1DT9FqDDytF0bikhQE+WwKtfhCOEStq+xt0B5pXMecetxXPepFHaZg8JTVLi0kYRqem25WdqoXiQALYxLRvzmORPZcnNjBAI+tYYGGug0XnApOxnPWuKUTqH45+4Ha3H/Ys0IWnOslKQ4zBKRTxiK/bsnBD6xeBTxcMkuGeq7bGjBNn64AKiBg6kFVxW2xN6q1L1m2TUCwFeDpFEAd8OtmS9Ddgia7CBVZzow6P56PGbQqb76dPADn6hdjFW0iBjKU9zqhwqGZPmk5OJ7T+vcEWi0luE+cg1/lB1g6qKNnDytonNq0OLqK8b5ZNUcm0m7nTy6fPAyZm+/Uye6QBHN0SNzFy4BvKfROmbgQJAU45kH62pak5D7nNKKWNppUhxOFRaJlWJUntidNid2jZZZAdB1AUYzICWbCJB06t9Wo74ZQzlnDZUcfyq4/jG7ZGooDtWM9OXNMXc1odBwxLUZSEHFXi6lR3XnjNYIyOTVy17pskFOGoRE2FnaBJwS1X+c6pzS75zBl9vwZE7st/yfv81UrnZncFPawgPiU2vm+cVjq+/gLJNCltp8d+x2PhhcDHLQvM4IRYsI4u+28UEhcc7e8MAoWXc7v8TGHthJPfjZYDdWlQyREedPvhsEO3XvnxnNUQzHH6uOx4lsAWxe/UerTNBzctv17YTR3a2d/rE0QU7C4a20zGHjvyZTXdsgtyU/wmGYxlqyrsd3JG52UT/fvrIRRwWavLGMIALYxftFY7ZmczHKlIUrhR95uyyMuLY9G/O3qbyjknJjnrveSp7/hX/6CQnBGG2xwempBi9g9aV/duSIndH+xAFvbl+Fs1vXWWjipZGJCISMRr1V2EfbgkdBexzxz984+Z/vvUYNF0vQt3kmCVXRLYPlhZ6A5Mo8kQfMdGyfM4iegcYzhjxdeH8QoU7qCoY8tj2BMJVjwHkG3RcLcogN1BuNAb5TKFf9+7xFmt3epEAs9Q4L6c7K26UxDj0HKKu+tsRDgVlk7++PRe0WfwBSs5brbF7MPmnhsoHIZzWjAw/Eo/I2eyMQ5aed2pu8B2mz+lo3dO+/ABDdK4n8pIpODpdKDdTju3cJXj4BCfbjLNExTcGi9Le3LhpR1Y9s5w8CtsNjh7vEQk8ipsqA33Itq9K5BS1iCBtCGJKN7dzwo62JsXxDfiIEM7FHDuRCaAZ4Tv7xjeP1n7EhqIv/Q5sHm1DHEqt2hrSl707heIrRWU+rYiKi20udiymmb0CX9XZTwQmrW1L0mXLg6gCc5MNVjsltU+GbSGN1irXiqYIgzw0xg/yc650y2BFQ2IZH4TJxRx5cp58iWRD9Yp+8E2FZMBbO1ClRMOjB9+FWRYMKCoavpnL3kXZ0PvJaBX3q+B2rJ8eaNBJUdjdMEvrupZ9IJaC4N5QOyx67YG31zn883OJrc4MQ2PXA6WGERgd36JFpeNltdaca6CwWweZ8gdGffTMsrfGVC2tBgCUhFiGKMeLciAsgg24uF7bXKWePrJU9LiTlvjMVGzqaDVFvGxNBCqmKyk+elrlt+GWAU0aEmK70eiCdlojz5FHca8QUpfMLIbctmNH8eKbIT6ZeXdFksGAqQibVBy/QC12GGpBQWadcTPzm0tVGwbdCSI9kiPWZLG9+qJer58BFbEfkmOwIy8JoHZfuIVWaotf89KWGweWJI08K1DGnw5BpvkTUohHtSeV0oXEbBzgjfbPiQfNqE9nEhIzJrzcQo4EeoU9odXDHLj77Aam2MrUW1ImENge2XvXKb7qzY86osVITiT9dCBqMFx/vHMgDFepRwbP+xeaKCCQKE1oqfUl56sPcFvYYwGG152Ly6fwF203jS+daE2j8FUYUvTQ69xxLc2/5JGdN85ZioyChVqRie3tAptUyblfSQLZFaS2dCvxo1/cTlpAzR3cMP1nTwryJhztQ92A/bEGTo6uxzYQS646mlkv1C37uPR6rpBcYHuWsXuDKCDRpnmvQR6qwQC0Y5wgxCh9oCo3qVS70JMDdMKQyyIWnWpZE85ml9JRZWl2hfelhUPBCC3ztNT1o3NGYloR4jzxkvz1wTpO6J3E3sO7JvxlqyfCnRSS0p2t8ZhVrzDcpF/RszZuvs0VQH52+3znFfO4HE1ysrm8g1hray1e9Si+cYUKiW4zDo2Y9dokI/ZgJOiXDqUVSyh4DwL/HlxOHVqIPvb+hoH6Z3LZG3LpCo8xNEZAvbS7QmLoKtFbLmjd7PwepFpMfTbs7+6Yc7KDJf6acR328DQcl4Jk+oHpKdu4n1V8i4Xyr4q/RjEx1o/TbVekY/ygpJRvH01Xh5avdr5+/O2ZCRYb5AP8FaVF+XfDei6xIWVZUgVlTv5FINDSU5kPrZ5gAB5f0HcVSaX1QqkH+0VAaQtC1DcONK5SxQDKGl+lLEGhpXIOgeOIwyhn1nH+WszkBimTyDgVXQj3MmrrdS0cK6JS5wUbb+4hbcw6nP56nHGKvqYhPp/vojg1omscWr1UdHZiG2HhM/qc9oLKsrFeUotZjcgsxkxoyt+oEroKAGY6LE1cpDero4WeNFi/hLOxy/LEINS/EE2xzrlDMgL3wLo7WjvqQ4ogW049hB5WONCH+96JQQXoEsDVRBtuOHzll6vzO4TuUtdOR3FUzR60MBPwem3K9SKyCj5SRRX3Vzfu+mD1Y+pnzsh6y7KX4OEBtDXzjuQfp1vry96CstkG9afHJL40jpUYO0k3WaG1P9K1OuHJqnFrbgle/0qgmOgbXrrLDi79oUT+BrCBMssbjNF9iev4yiihDUTW9+qZ+FpNic6F8YVKHnhtEHh2GIcknZ0teXWsGd0cu1FgPc7wpoc1qd75tCJUp9r1bZgIi04cVCx3hCcPLYCuKqu9rbfGB/ZURFqlzB8LXYLlOlL+pIIhI6U4CdRuzEfXwgSnbchvQkBPu0HGXG6JhC7bbxaQLc2p8smLuuBQZB5I8PsHUyOlYInzNy1s3e7EnXTqRPWiv9zyvUnd5WfBp8Pv+eIAxsmqzRLFMoCTG9QHwVH2XepYKrWKyVP8vBazHfAtnw0akC0yvg6ZmXuzrcKv+5KtMGZZrMQfwZphAc5NvIf65pfNyERD+XDGMFMzyG2n5UXmx3bmEE4B97yV9Kko806FF9Ww4RFPMEemUsTzi3gqKltH2QpomhoQ50C8UPHu072VGNUoLd+mBphQSYvRzLoG170E4R+M98/hS1X8hAirpyBwfuM59StAZG4Yok2WdrgQKbRCmlyFSCFLfZLLUDwwXfYSEZYd+z5iFnkL8uAzlHqVknBhRMu+DalX+IByJk4UJyOz61eLlLXALtg40FBQyaYiUIeDslRhxFzfm97NErJ269QtaNWTF7qpv2OXvQN0Wirjr1WCYkUcC7TKtqkurfXMamXQ/2saE6Bd1MyvJTlwXpjnbxjIIAKtzQrpCXZf1LLfqf/IoegHKEb1TK9hTaOsKoM4uQH15kBwGJua47m3YPFRsu6KWxL8gbW9ZcCMx0MwfktTjVfiX2XhrtWRUvzdrl86QQ16ifOTPFOfO4zxgYLZRRvTdqMOCtscG5AjSh5lQ7shi+YwOqe0ipsgSqBDZeEARgZoRe/zcbbzlWBmZ4AZh+vcE9lxaHS0I4Nhxc7TbvrOOB676jG7xygWWxm4CPtPJ+7VuK2Cec4m05tWxha1v65Z//6KbWSRuiCXazJ5K3FvMG3+uUaL//c/W9jSxLQvbnZwvQvhqb1pJC0LlFniu/hzKgGewJgyfgUkuCk40URRxa6byKb6AbqZBmNbJdzgHe1cnov3/Iz3wH1CIsfdlfikqu44SCyIbQFoU74VoHCl8kc9hjDJD427eerU8DHdPSFKTmN3JPLWYzubxUSuy35sSUPyVqmtnQ98GVM1BKoYddDdbbcWJneVB2+gDUDpoRQ+oXVk3DFB0aQNOyxwahVYey158U20A5lBgx5nqWuA9az7/YxtCwCWGzvxjazC2bLhdp0BJdvmgIRpHPGjykJHUmSmdYG5BFph1LGsn7K7CcjEcQciIvG5y04vilYnBN1UwTSP5t2stIr490f80C3I02kptOQ9tgc4Q8JZfd45doh3dJp2/fKvTmkQ+6qlPCX14DBwKhzMTiDO3IUhnwKyovi3VKfWyX4LdS2j8IFwxjtwUWbZJ4v6ojmPrTPy/XV3kp3z8sa+IoxRKbuqU90xB+ZwXS2ySuYsEHAY5hjlrqlktRowj6XUWOkiFSMj+QBYrth01ARPkY1L/s26apstd9761Y4fSNUXLAiSHX0VyTQoXZ2PUAd/BA9JEZKe7xNdc+BuMprGOOFFGZig4t4nqtvOMgU5/esImg+tB/dhKE0W03mgCFR16Vv3Z9+tR/EmFMbt20L42zUHCuKkNJ6f1qZuo+K6J0lfDtU3tCln2MXmWTyMa/LbqEe2cyJTSq6d16sExoZYhZC7i8PfBtOJUQcCoksst4udfDW0QHdV3IgaovY9IAMlA3tyEnH2dbzrJtom0fsrTW+KIHfOgKB8NeRQAWQHYpy0qziKKE7evDXCfhzPaZhFKitcQ5FlUiTyRFeIazbxQuJScnXGWm39wghmm+UOGzrDimwpFPrkqAmwezKhvXALIQVgv7IMRUf9gswpQq9Kl5y9UmtBDzpNOgypTacIdP8CN+dVDCrwkdFOjT7BsdkWeWsW2GkkzOCZ8kWTsZScmqaQJaLCnbLjeOgGy4tBS7uks8EOkRNn6Mjv8s/fcssWkFHHzpAgqJTvbJ18/rat+Ei7Bhr4jcX5BdBcN2NzEeoQ1okUYNjvvvZ/5DxBQFgcXy4jVMpYH9863NAxEuIIsZheuKU8agHsSocOnbmzPqLW64xFGdmFGxT1wh1vSRkvwiqSkcA6YWXXC/38CwnIspe4KgNXusVix5q5x2mjJCvHW9D/TOtFpu5H5pYjPdqY0rRPNt0IruqP8Euia9qPOkflVkoWzQHLKYHAwxGRt86LhW7jQJQ4LA8IEAKaHn9PS6fDb1PmOw4Yc86mtH1rZ+gisRxd7V+eYw4cdDe7sSc33UiFZ0p96Q2WDnDYphgWi5/Iw8i7YVUcSntobhIDnkmQweXaa9EbAsIe6TIuWIvDOTL4u0SQwOfknH2Or/qs72vgkJqNlt4ffK7v7hFX25qiuVYv3fSNvCPgn6mG+65ucsuYjAhOPvJ0HWo3XUuQQVFejJJLwigVbl1IBec2dun/HS8PGNKJLbnjbjVFjfDX9XUqafxBwIFstNRSTxwmUiB3Aw7rqrYVBk4qHOyTZSNU7o+YpYpl8Owmww6m0EkwXHW5QEngEUt2d3kq0tK+LBjBr1psXHsi2LgRD5j249hjLMw8DugbwJPgoVHq8kX3WbK8TuHyboPYv6Zn7HK+ojs1LNYP4rk+YAavPA//+5RLgdv8sVVu/qhNgH8U9/+OICx+K9ZZJYgfkTE+1U/vGszDjRVsbd6CeglpbQcEpdFMuJE4IwNJKY7VJS69qeMNTGZXguWp39EZwb5oIaCB9MB0nHcBN9Y2AsbHf/05JFt6NtER90WCfPZzQFHX16XfphxbrEXXMWHA+BxcUe5jY3kX290Tgs2BduunC8U1tIfmRi9qTN14pRT+VxcffQKiGmE/46scoB6e+DVyYBpiiHzsyHImgzoNhlJAyTc1Uh6Pi+7WOW8FR8YcDGdWNtYzTAr/HCEEX/injLT/2TdLMzbEAYqfoBtWcFUIZGkDj/QArl8lXcAXRMaeeNzY1LdouUs0x6Gvm7OTbXHD6Q1jMuffZ9QkGvSdSG4VEixKIaOrQUEMVdJKOtkwu6bwquVKZhViEXqWpqcARJ2gQAwrPNnCotyvuSXUnQuwo75Q8lhnzD4opDbIDTyei+O0dUZDphvaacbumDhvAgkn+Kyt0OxDUpxC2Tw9bveWf916h2r+DOZ8kSyNM0N9XQ/J0kFogkeeLfbOdLBgioKvj8ov+7v0pwjLqDYrE5QrKMhK+v6QJpuE7ynIolmZBG4Fo8XOl1v7rcXt5E/IQw0l8hjit8B74gpmucqQBeJHwgt3LuGgmAFyMzB/emZq4o8iFmVDhyjLoz1E6Y+EJa3IvbjjjRf7oZb9aK9XoL3fz+ssM/VDjLoaxymkQRmhZUeb5iEKH6VDsrld9gXySGJKgXsijgu9GawdGHPFG4SxrofmdJiBeRysFq3oditqAjDqamz6/m4Lmhbm2pNvTFRf2wuKAQlChmsP/+9y8eigDwOjcgObUpqIN941QI++eik74+k3/OkLM2YRtuDKfaJcab6SDeJUheUc6vCGZNnuKFro/5BFFxXNlSBCR3ADYehEpvGn7KsxtLtGuyJSDwSlFvKsZloO08RdEN688TKNJIHWodEElBkQfVd4sVW2j+YvMOaLhZa2XQ1T9IRKf/euWvoqekayHKdI8fwBPd8a6cV9bv8OfD+zlpTxHrrqZLfLiuNLnnskITF5V9nHeWnhGfOsMUae3dZP7nsvaJ2/xMDGLyWhl+OdG/Yej5iLb7q4iFzgafPMO9408LQoefDrIuouoVQh3xD+ZTNbw/Knf1lPnvjoOcTuMD+/joV0XNBIx/bycd8mn/0xCTKYGvULz79M22RqaSQppP9iqWEYydwyzav2ZZFL1r1Y+KTIE0JNsxkvKX6/omLMhuBiwTNNkDrbrCsNizjFEL5iPV2bbtCXjELBoEmsNurw5cmlTEovYo3bRv4lae8xhLLTUA5jwd1BJAIoZxLz+r/KX4v+IOG/ocC2Q49rJ6arl/MrHayXS4dC1cEAbTKKBqwFwqXudLC23Zi5f1/TJBvvowwelpONwuAHtZF0PI9WuFGZN1XemF5BVuttFjC0W3MtIir8XYkaYMZFAvU8QZWmhAmbCWLW7qBU6UA4us/vWW4+7OaiWAuXXWvf6dKtJTp4L4D/Z9GvL5ikVMiqv3fMlfXy6P2dvTA+FqQ/QnVEt6zF2c6JE/Wmw0RegFGjFtZY+At1VVQ4vm4Y7kYNvD+q0k2INV7DG1G+G4MTUckwlPXiqPN30gY1KRMe6xkVBe7W6TZAoH0mMD/dZojRPsEbaqyDjH1BmhHgSD8DdeCY+zyiAbrY0HB19geUXIMqeQLHpDZUYn+EYjiEv1aKx5CRj4EYkaPcVEpcFGD7Ro1hpNI/nZyMUMXX26GZNT+dsMPjvKV1IcLb6Ub1pzioGeCVFyPd5wXm7+2gf7duMIPxdoBSMcHqCp8nJwy8NgGWm4TCahijBgRudqzxJoDmHGPQQA+2dANL1OCGOww5QM+V2z2iFj5Fg48lnQF0jlXXhMC5a8ddtX9Qn5BBfEW3oYwd4h+YO3vKMTPbIIo2MMW4sBSVkUvN95A9DKLGzkkQRFqgQv4AlBDEFCyKrcbRdSMUfaoq46dA4+CjhulAoe/HFq8v3hFSj5usMdybGohv8GZJXNyyJr3kQm0QW6KkuS8neqBBAWzf8l1EVdN8tmrTXaPT+9D+mxai6VxN/bhmrJBifylYMLXDP0slOat5fgI+LaUp6Rio64z+7SZ8mFSbY0UlwifM8Hzd28Hw+ZxWBA9MkJGDvChKJxxLYetMtfWfN8XivGFoocqZqV8dgJFM0v5jlklHDHjLpxK5TZXRMpYe3z86iiPCYI24r3X5s2OqZfIwfYh86dEoLOID++NYDWuRHwdaDQ3lEYxWlBquPCZ2t/KbcUbIB5LPHffTTFriXjFlkuBUBnDc8BvEBmSKpGdJ0Yr2B2ZTF3KT09m296F9hlR6kvtI28ucJK/tKGTUEwAxfozcZGJiM/2hOEat8/XDxt8CEEncsK4b/bG7Nh06foEl/gAFiZHaFRZ3REYIwXxHmE3oRT8vF+ov9pNyFWFHjnYQ7XoZDjWCd9UWlBUAnM64uINzQqOxDMg6FUf1tCsCKeftfM17EGtCYFeflNOWGX+EoGW6hw439sWorbYSVxlJrFvS/2OPegKf29KGK7kUHxLFkM6dbph4i9e08UZpIKx/xduQwdK9WkmBXt+t4A7AZiih3zn3jha0Pry9obCtuMpLPup8xSFeK2uvOs/NwtLL6l3FS+Sa5Vemo4RjtKybgwH4rlczdl/vV7AlqVV/j1cNeOhVUKE5eipEHSRCH9SIIgr9LpTtKIhrdq8WCZx/Tgv2L0DlzLxVhuzwX6TyMTvwo8C25oHJV5bZKH5/SDpZfUHEg6dg0DlZuDBwg4iZBBZOifEUJ7bfFw0gqqklaHT4bqKrSNUlDx1e7mX46QfyEWZOZ/8oVGmt2sj4JslfQQ9nwNem8m/GErRP6wi0vFfmPEt+AyW/UihPbBDDgVdcTVwgf53kYvj/2X1M8po//XMNZpgEAUQXSIEdJm87osmz7He3g/qB+cpq73VppnwXu05gh7OQ+GKxz0pgmZxkPoJGa2B0NzKGmyadSXB2EHTwI2kp4mj607/pGJRe7j+xCwITQmX0KXvwBf35EQZ6ylWOsdj582hSbL9PknszpQHOgwTs3JyL5jOygDY8M5CECQ6NytzFDq7VkvamJSLQ6EZNEhdT9LV/xaw/zl+EH76KUn4rOFlwOf2GDjiVXpMIKtqu2TShSUEOPV53/vqRX0aK76ZopDRxlqaRKpXL/VCgZlGJ5Z8V447TH1jmptABeHwuwTmOOlEiA0UvxoFedf+WPuvNj79ElC/fOibU8QDtA14O95Hb/UYPgMZZsR9XmvhUr4qUcvZUIY3qLdCqmwQ4Q5BvFfupBDrAl76ZXBqxweBy96+QcntQwfBhLsz5t1UgSUcUJwds8IJSFc6ATYRKVT844UdCZSen1hcPvsuYiTXvqZok7GkKMy4zSPNftrUfDca6ZMUAJBDW/NokN4TjqlthMmNILKhXC2PN/Wu7qBTBxS5flL8u6fzpMyJ6TuzN/Ezwc4UeBRd/wKBdJkKUS1OhzWNPWUx7fN3Ok+NL5JeMgqYa2NGVWPps1lVwvkftg6BZae+GkYSC06KT23H8yMA1mtoX3IhoVupoiTSGNlwuc0at0fLrEDcMwE3LZaxsl/FANkjMovECIk/CxSNppME9m0PXnXp5g5Jp49dysa7F94Js8qYGKBxcyA5VPFRm4ETHZwuYvCRTh3J3bqrKgIPWxdS8l2/2oQ74++flvSLTRBAgthwilHJ0cMMgb+U7JAAurwW33HKsFSFFEgNl+rb8aed1vWs2Lv3ft+LNn/3RdH1I2R683C3zlZZgj5bK+M2zgMBxQqER5DoZVECaMH6uEk82MzN8t9JzzKC5uEtfE8YILIFlCwNKX31liebIDw5NSeok3//HyO4Lr3dUWngZDghmvQpm4QH7ZKCgXNJjuy+9NnY1R2O04aLn9FOwF5X15Q6OjDdFOMnrJ4257m3EeF00FGJkUKsh9Q55KQSeJDIbBfaOTMJk5nGhVEFDtcwOEpO3p6bjS7nPd6OWB8AcOvi7c/pbdR72Ym0y3XkpuBEUMhD7Vlhga+XJqNWchPPo4iPUkUJ7AIbuDY/WEUMLHfkxxwhE46BfQGwxHpb/DZEcyk5JPZRQVKgwMdA8FdtFlLNXAjgLUaVQNygW11fw9X4vZtDW6HTNpXAkN0WF3T47upCLQWk89XrLyPmc5ASnurFOl9BMxg8MnPdMeuXm0uz38i4zVhzjoz/nwSjzBgXKADXUGyT+qcaYzrEu8Vbt+H3foGI+XT4e6AAj623gjBMAchOXpPDtuUtn7nCS2H0QNOEjAvJOReofglZWfZyHKz1U0eMCSZgVR8RtTA/k1nwbPcg4HCqxrsCzffP17YnjIPjEtGI7EbLrCTLjOjUMOBzsZ7cbXg045UAEzSVXakExLzb3HUjDUISjV/LNM2HS5DCbe3Z6IIJV8QK0hVU+9yhHdaVfgWlmUNI3jMDUssThEolTcLBwDFUmCwYca3lbUdYb0sUq/lacqeDzhQMxBDOxIARqIx+IqMLAep8PWQs/ZFFOKCQLcRuzLL7mUrQ0r9F9/Qchg01q89E7na/2GyI05fXL8n9vXU3WvDLvV+F1hILN5tZIx2e6x8Axz1viNgiQ3waTgxpm4aJSNqLk8260pLvN7+eWAoBqOtbkS1+BfaZXAl5xwpqMw6WmMmt6l+AKKLsXonHe4QZawueADdifxz5jqnveiK2uOk0CpMEC037zhouHUXYU9qJcuiCOghgZ/aXIKoNNNn7RvcD29ohZssqlUx6nswUgranR+H6AQ81QMkKTJ9u01+ngIl7kae27gozEQKn13SRhiBYOHhXB8hEwKRFSMJjNn4JQh1PrWSb60khQiBP7POZ1hcNNUwSMkK7+QCgMLDgcHelBEw33SEq6inuqjkUVrCL7cQse47mABKtiQ1xF3/pNuKfGyLQ8jE/krjoV4/E8ykWst0q+bdgPZETCQ5M9+fYaiphz2NrZsKXdWdGNIMVb3m8oXQ6QiQt6RQr7Q1fUKGV7vkPiT1f2rBryU4mRdC6/l/Jemd4y2jJCkFKbIpWEfq0IYJSsh7U8FHaPq72stX54FvGwFhoxyH9+4gNbSHq7oqMkSZqC5kmb2otmEBS2WsqMvY0svJ3wYgQvBkXr95qWd/aBT8V57pJV6G5tXyXTL/FaRfAok9bTxtG8tG5xxEzN8NnUK9kM2/iGRm47Nn2PigvkDtaJxNLtmJz2YN1//XOH0hpK+bEij7id+ItjCRmKFWwOYslkgmzH/5EJdMAdl0cDlb5xIlnYmARDsakPmRCkgtOz9ksf9Ix2tlxk0zauu58VczTOFRIE74NZPV6a5hkZ4Ns6DiKR8jZgJ1I4dmnR2t3m0Xssfzmo4nOoNkvEa20ra2KCV9FNu+MAI9ZMRSo8/efh98WL8aYL/O8+Ri0G/TBRquGp3025wuxqhoY+/ARHxlqpnWQQeZHs5V8mdGtBLWE48rVTvUhHnkHLwU9adHit6kXKUIliTetyNlWHniDPwE+axMJY+mGQ0GUzY9bh7IXlVNLsPHcA8ueOGxRVPKDGgubXqloloeMEQoA5dG6T7e9E7KX/Zh/+uLfmbfcuWCsolFXOh8nFosxmt6keO4pe+8LHC78P2DOF4xXqCqDW+IUFOcAg/CKl1/l1pvIR9TesVgfYxU9QGtBI7kAppnKL04bTzN7JWtM8yAppS8YAiCSG9CA6q0QCopR0F+5rhWx5ygKf8fROBP4skx6eMeMhMuO1R5xD5GouaPvSJhDJAeBPbpGdkYkLTsYCcwMMPj+VWJ21g/eTSCmlJIAt/ugbnAgxPSOuB8Arnjkl/ebcMkVBEn+SP3gst4QLe4f4sq9DwWmBvoSu1HxwQHW6+cllE1cSCp/JiIXZxq9zlMVga+4rE0MLTmc/XOTnnQakyjUVaTfWkEeQNkQkCZwspLG0qQ8cB5cGrWOdZ8auBOQojMEa2phzMBtYm86TSGi/HUGiIGZsJf0QygiFQTYTnrZ5y6Ol/xOUY5eaQ55bYJDxqqykHDsp1gi4AB54mTbYjsbrA2jzXj/igVSJwAxjC2vkltxBlTOMg70AdfwS4ICvRBCuPP7JXukaQig8Y3jiW3roNeIJGzETj76S9sFrwtzblBfq4m155A38xpkOIeA3iQsgWA+QRlYb6/B5uBBSSxTFDdlshkwHoG9I+8mPB4qBTgdUtEQxcMUenIXIiabaqzLxTUq2yPpFBPApGhcOf29fXroY7gHty3KIT7FPK97Td8LGT9CjAW5Sac8x+88RjKBazYtaJf/NTxeYdUTR5k06HL1B44vbOSg0neld5RZj/Qr05Q1i97P5oLBfI6UVCeVVKeJVwO/f/WMe71MKaxQJHCFCAjVh5qmJjsQYkmKAo1Qn4hNesMnAVm4uOrtyBHEiHzuvXUISFeSmhIUcvwOauj+EIurRnXleb3ITHM3EwJtjUmmVnyiq4A116pEWdGs7Y9KdiHfwVhJcReH0vM8i7+GDUDyGBWJUn6SIRILxyYRiABEiDQVJVOMTJDEpZynOiT96wKKLMrp2zEoY2bGwLdNxxxJBozz94F/4pa4FBqqOAYUNkT01K42OtsRRl5B2RTbJVmPO4f4l0sQUzMlHmHNRAkM6zBOkcwP3yPGE2kZKwbYM7bJJuQ+5C8RkhnflL6xWdwm5h27Mro4mdQKWA3utYn+qMVg8OKAN5nV+ZW0BS9EUEEKOGgg/DRfzA/luRsBaZ95Gs+hGKIuCWD5p6XS9vFwjtcss9ir71cymf2cZgE5msGxZcNiF+Dg0jCmL7cUNcQpj3Qgwyx39RoFUPl78XulT6WIZ4Kkp4RwAS7iU/GTlqgLkQv/Qh69OInDQyL6cbY7ecYKsVsmu9vXgbNxH3WIftabT18gzbptWlP1UXfBN/kraqVXd7RXcc3GjQfLY71qMzlLNt7kk0KlCipE84un3vjIszHQLSUIeWAN4p1pmFQZAGrRHPl4sg7RJmId69aizSp1/nAXwN94xUBrPzQd/PwfSHAWegVLxXhguokh/NjTKOsgnDuIZ4XFHO4EsIdEjD+GGnwLCzNEpctl+gZBq7vl5JkE1Xba8LzKusaL3F/nikVnmNjBOTZGZnTsYImtXlgmWH5EsVcSRRb9aUWpYk0aYRBPNsszS/+hXY9ifQFtWDrd51QjFrYlW4pOxoKK3g1iFCQ+uI47pcLg9GaZituCgVy7iQUcTnomklPm68oSmKe2xND1tJERKAx1Bzhe9h5d2iBHC7b6zYvdf14NNRaNhxIoyV9Z4rsbjgESUNSx3qhblQnG4HbG+7FgH1aUEX8xnlmU5iXDc3uL3FNJmEfQ+ATwPPTitBKKVX3bRoaORPKQ7jUlA/ZJrTtkFLO3xWf2KGdB7oiHyYMKrwYLJ2oXPRW9uRziPr/0hCp9uXw7s7BudQo58nP/0W702/B1Vlmb6c+YtTeOzr+srDQ5B2/qLJTGAbnmB5EWj/PJWkIWaOhUlb+qIKXp1JIM3reGI8fV7Zdizovar+mv0aIl2Ftxe39npHv98GYOAa5vrpc1inpRYDKQqNUrirnFSwW4p5uJEmylt3kIaNLoPYPMX59XF7ZEwDNTX4K3IaioXfvAjDdX4oMHq3gkV197G2OeUCahbjzZPVWVPcrhHGcea6u3DsBiHR+rJsXaAvRxxRjZbsmU1AQunuoAPkLCN6xPxNiX4U5m5x1Zxfb8RQzgszoZkdWcOPmFtV8e+KXOulFzgctEu+fxCDwJRDhCnJmNfJMFhqhJI4rjXvO7PDuA2lUO84qya7vXCJ4Py7r+LaEkDwwLpyLI3BB4yFrnfBPkkuxTCT7TTHhlr9XJZtWe+mHIAgsjA4814jd/CwHkL8UVyN/Ukak8+5Fx3RIOkkN9hHIzsbFVaZ6WYpRGMn+nPrpUr+KKMIBC0Gvdy2BP97mJEnuDC2BQQzp8nU4I5RHyq95skt2ff88p89afova02759DzobDI7WIdKFPFFthr5+lN7aJylCClWvCg+jSY6pKDqN831qox2s2ke7FVD7FoNr3RJnO1hYRa3NWrytqUIptJpetvhJvcTQfOutWT92QguTZzZ2qbmesVf8k5PtGTlFiW0f0x7furYUU8htvni8t3m22xKcjqdlJxIGDihCKVro0Y77WN62FQBzf7O4Ct8aS9zwH9axuwSXgyVimh2l6YFYms8nslJsuQPe2fU9KQGvTQqXBRnpSfiERuzRbNEoR5Ohv80pgawnz3cUB2RMot2MkhhimF9FMINIY5ZRfdLMbUlb8wbANHdmLMorJfQfS3GQSO20sDmnmmzK8eTiSlRY7wbneVERxjH3IoicuFfLhF/BJ8Jx5os/TY8gkDc0og59fHwP/S5A1CE1/7gKDSD32WOSH2+kQCxOcWqtyigehortx5eaHgeGp9K3QCEClCp8C0w6FczcDAUXaEzCUrAkxfneIo5mo53mFrlekqUtCR4P4zVhhBdc3X4zSGiXm0aV9uz7wEPgg0esV14K/vt/Wb9LkP3vnppsEtk8x58Ct2KpVz0Izu0XaWuwHxHSoivIBY0Pn3wh3CodjlebAIqLc2zq0CXatqhFuNToHa/AuQtv1ewjNgaX8Up100VENZQSK7qHxibfaqz8e0CSJD3c8lvC4i8uGqbcxH/31Ys3yJNvDQAxrppHC7rc97IzFW4GhYtoC7kXOc28KEHwghZoXdj0joIgRDOZuks243TXagLCqetfoYNb3Bkd3UPSCyoadfCkTftpXRCPyHlk/HZYfz9LyzSflzNnMrL4bzZ7aVa4d91XVivypQ9Ceierp2QKAyDnase/s9z5xmVCH76paZLF5/q7EiyBexFU0sNsl92BlxGI957j6+EE6rMVlW9pxjQYK2+G02HZ+NG094JSLNeAztzNJ8QitqGPg/S/bXNEQVXyySsvRdddWTXwMZrqnc46kCTnmQmBJ3CT+zPypsBRmyS9w9Fa2KGSZUyQ5sY95PZd0oYMrZwrOmvqNyz3V4pP6CTmvraEyXYZL2ybqf3f+ARGy68vC26gknIT9ha2i+WEPje3F1809iJEiaqy7Zu8Xlw0Hdc68/nZxHehktb4MgL9TsYu222Is7iJMRi1ah6Zp/0NxQfNIZBEEem9HKspFdKzfw3RpW/Z3yEw3xquO9xm203CTyYDuZL3Kew0EFQGZWX3HOivqxOZ9NPwyiduA7iPcKYGaaJawzttBfZfMSrlopFEAz7b45ABnS+BsrQd2XJn9NS+P8JxNGZMF63rZWC8FH1aMebBr8KEGQTj/a8VHQIU8e/Y6Mcwgg8BcYf3SBg8MBu7nN827SZfTpo0kIL3PUfGk0+p7qgqxwk1aYRwTCwwI11xNbrnuxKewpkZf6LX4YVOXAmQckmiupf8/a7WGr2zBkqgUE10agVx6LBhxVjC6Lg+MS4bs6VpJqQ9DUUP//kDjDKkLUq2E1V4wpz97OS4IEDtKwmIHZr+ay2FYAsJdi2YZ6ox0d2wK3kP8cUKrO1wJlNv1D3KDlvP2qZ6PmUkibz5Xxe5F/8zdZLdGGfWhZ3PZx/LRs6piNX9Gokz4+B6Fo9COw8B1uPVJnpld37jdgibGdakK2VR5PZa0OUeu3NJkbs48CVdBLOi6qs1j+Z7EmecDjIIOG11hiuqF7DV5JlQX/KGPCvBN/m2EBt2ZJWbh/aZ9D9v8Hu1JDvKF3DotsNJCBD0/j9H0UpUNIBBRaizGlFc/S0Wsbwefullvfttdc4Y2sxyjNvoJSdyJYixS3XywlWopHhYdFU5ebOfEpfzAsv2ymCfHgXF3yKRh5p/qAbEQQc8XLU6/grn2ntVtBYoz5F4Srkt98n+tD0RS4yQGxDNvOTP+UUz3qX/AwaR/3HLOJ9EWsGSu/lxchbTD5pDiy2gS7y2jCMq1Nv285IHaZEWRqfMIQYcsA2P1QBiGAOgqg6ZzOSkDDtLLJasivZbZtlCB+HbOHOgU+KUttoJujhnujf1Hmyog8O+bG//mGBrd1p9U5VULlJq8yA6p3cyJLPHxaPl4A0eeF2DEqGWywh3hAG9oNPMkfJGGA9+ZZ1zDfn9OhD2kZhKHmgqQl0ikAygD7uJsWus59iuRWDjpoFsCkBARE8cPPNoBkZr3/tD4Dq239ERV3ZMaD1lsMu869LBbuL6iYX1tt9Wtw97m6jN71dh4U8bkhNVU+H2gGkmmfh0fM/MI9o+2+oL+rUx0a2BmLDYg6n8QdVi+VmFqC8Y0tO32o9iO8had2EiE4U1Id90ehUV6kdPmXS/Ku8hxUQVBf0avahZf1B5ASqxN9cG3cO0hpyyF9QjZeZU43Dsjp3SAuY373OfvkGdJP6UwyH+7DqZU+MgCPHPx9ar0SrxxGTqZnKH3IZP9J27kCKdVkZEZOSz9alym71PdszUroU8zqyWet4AK/xknCZphCM1EnPXFegofxPv6Hey5U41pqeoTO4weEFmD/4biN0ojhTEqvuHl9pRCZa0hF1hC6Cvs4H3gxd/OKqEYe3djseaGGyL+mNAoPXhFnzWs+vpyr2qsF6MNLlh+n8nXpzDw9916HjJuBNx/3QfJpoomKB0TDWzrFBxHsZvqZJrv6tEyaHnlk/SB1CLK8ilu1CWHJThaFvM6q54rBbKo3PsTQC1nlxlhinX2HDjnhUt7tuvOeAf/xNidEMKZv8Iy4vbw1MqQmxkGTwILZ5rrwtW+qau6OPoBGr9K7NMbzCIChZjP0eO09YcxAoTPxHhOlxqu0HWC4olbtWbVhflCzumQlMiUutQ657ofsuoOYTcsOxNE8y5VW4L9PEbo5BU4knVfVGguCoPGNfsdoW45kPVL2JkkfKkOaEeApeC5AgU7ba6p+M+2FKm7NBoUeDJLTTwO2hKb3aLY0lsDzBKj9qMp8ur16N6oeuM2bSQbEVXKP3KvSYB+RF5E0NSqPg5TxEVbFJwEygyoZFapMTnbfZXIUPClfKlj/EsSn1vv7yIoswDlNYQJI+DCgfQTM9dEHpqi21xyzwfCt0XGjsFJQ2lL1YAgPenl8nt0DfsYXI6dP3nARGmGLb3lgYKHHVH+Ofyoi0roi3l47jQu7XpA5q1ZJkKJ1nImQrkDffLElNic+vcrh3rzOw+F7vR8xoKrMo1+X0V5rPt51cvRsi1xe6g3/b31VSVAqNS8voZ2ejeHTxJoOHLyPA5gx1XsymJN+mXIxURZ7xiIAip3cPzqik8r5Ev1EmG1qTZnT2rTQoBv+KFLEn6TIhW+4Oelll9dQNfJiqPdLVr+8TMwiVQcnuxmdZD47HeaGeAsaYnf5OBZsXBpM5zQVgzSxCUXIB2ooU/wEm2szG7U9Bp9D6ks2iEbPkZFY3l5oW/8I114IBF81/kia/toQeUArCgi0XdUghehSq5k550HtMUTlBDt1VkabKkF8umxrt0OkI71h5clmV/dw8104d3hnmp15FV5ap6MMRhT0DjFsjYWz1Fc67kLRQng/gh46cW74JsZb8nT7m76pMMGrTc1Ae6gZ41aLI7iaKhrkboEPVObA7/CbmtLYkZ1NWiS2aJqmqTmS8Bh3XMGvSA0M2RSo4l8Kj4BGZ/5pQXsVBcQnqfFbMWdfDz6GXmwlHa7wrvo+cP9pk9FowqUQ0oNydIwRCePHcZrEDWjwGgf++SNJdJOl3ad4HZVCryFjWhc+LuI5yI2bJjwV76lCrbnsWOXt/kl4gkxic0JB36JldGQMIGzR8fwiFMOYtlB4sh7HHIFQRr2xraZMxenikst17L7km3dNHage7A3+iPrkF2gHqXHLSrXaBj7/fEM4je/Fo0zpuuPieDqI3ZInbd0Jys3wwXCAvcS+ZKnlO24sJ8ujAc4A5GnlItizoG2O8vR6RKl+E85+SS3aRH57VLv/okne18yrfH4q/YYnSjYVk8GvG+4v8GY0aY4WnUOP1UBYkYVwc2dMFPTSOs5vg1nJUsPNNOHeQ3mAYVWm//o6aNrsopuhSou8KZzmdRbtj6wR42zfwU4AWCrDnBWAhdsWJMvCSXDyTWPqqMDIfmZvVyEBI7ZqXN1jJ5Sxavi7+cDqqQDYf2O81uQmUob0GvOQqUzKCW8Rv9jWU7Z5gYzcYCRLUuLw+rvOw7peiEQmL2XTzZdLaafwIFigt8kEm5+CJyH+Coi54+QsHSm1g8rYvo36Pb5dHt8+BtAVO2IS8HQ9SNHOxtRtdh5Zj81YHWJKtsr+OaaFXKkEW4WfTMHeTcWik02WPpN4em8iQ2D8D7EaslRu1OcsC8S4r9n+3ejpDASC34u4TY3fH99fUCosb7DwoVlMTTkDjDE2vk+OVrt8NvWNuA7S/HfGmd+kZ8IApJlrhmdBK8N+gG7HgcUPekpLzHXiFGvxfEJ3hIttegjBFimhG2AOUpssQNbLI6nkByAgMm9UkkfxoP/xOPec8QiHy0LYhvb1rBmA7pAXj+ugaIOiY1wCdEqD1UzOmrha4SAoxEssB5TNPYgtbO9F7Bf3mCnaDum8fRbYCDguCyWjSHToEBBy6n4VY+/I+oUBSZCrfehHs3ZEkh2dkgJ36h7ZvadO4zkQkk5Z0LpaRz+rKC2ogYf0TfWhWMWXeEViAXoGOy52llnK5trFdOCouLKpdnRXQuuL4jP9UIxR8igyCDyiNYQCTi01eM6DpG6bZsjrWJIk4oRpJl11jB9lGXEGNS6rB/8u8I6di3N1WF2DPFzqeTsavy1/+l+d1PmFRLmlZeFrzQsq8zF0yxxBzZqW5r7EA++MdKUApQ4/KKjuKAw3GL/S+TN7z9WQP+dOThjIiGuW4lWB92ZGs8fqNpZT1tnCIlOzstB+Y8OcrbjuKtuftu9FFy5jSnq9GNRMpesvrQnVlKigby9J2pa4a1pucGEq/Do9BWXmuzyQ9+gdcFPXI8OEOzlUfrc82/ufv/NILra8uCQZiVTiI5dlqKSHHtwhL/4a9OWP0FaUnDgUE+Yud6pbNL+DCx5/yg1fK9ZcsojDqnJqGMixu+4RrBri88rwv2kJa7MY6vfFoGhd9QcZgizaSnBQvRIMQF+OUTS73X/YVWvGsBxzdfITkWz9DJvzFksEyCpxJAfXmJKzYItVjNfh/I7Bu5uRvZPbak+72JQu9+bCWp5Wn0phEm9VjcKwP77uNlE180stjau7Y0MJLyOJ7mD6vPEPNdhH0WzbUB8QGWYl96rjQkrgyy9gVYm7BhtLrMHL43c1P0hddGN9YwYRcBzL75bNXV3822MzZhKklppob7V6HgFaMPS8brrjZjZljYdYhKkKZ6hnoe30T3yJ6jgjMK3BK1ual7sXNaNwqGTeP2imPS2If5g1XRRj6ATCxXN6pRPpNU9F3gu1Yz/52MNPbGH36vfMvrLS6S0bPSE1TTdX+nUgQyq4EVz8x79CDPwnnYYqpk+Gpy2gYgLn+5NHvZqbaa2s7vwDgJ/ifLG6XMHNlp1Yv7VwoWkm6Gf9uw3qiqDjNMs9esn09CFLOn5pqONprXBbHs8IFtlIhHmBxCCN6ZsOSi7Cn4PITWadztBnTm4QOviLfUBxiyM/69SCKQIPFoQ2ooKAvPL8pod0eHjj9bYhtSEyYQmBOrbmFu2gU1rZfJ1FfaM8TppbeYkS73S/Tl5Lohnj4QNcLKAKRjsvF/3M91WPAMXR/w2Uzo/XAHleRlcBPQ1ejyqXgxxnFIOSkI/MWITHFtK08+T/kYitfoNeqoLx5rl4b0oFLKjQ2G7tcMX1b0R7H62ijnaGJs1tWHQmjW9yOrKobQlGzH8JsTBWQ+LfxKz6BxNhPw8Gl5ZFXWOCqjoyz2CnYoINEIYfAoHruVDyRSFOKfJnOVPaJpscHbjcrvUrffw0dHQZpyxnqirrkJYteno2GAMXGJLVaW5Mu7Q8+SFxS6GmmZX6mpZ5/5/QNUhyidhj63P/vLeKD6U1kIWf9+OwXDhZGQxmR7f973PJcMCFOUFCOGnlLlUNqmWUpOMiVb3+ryvCoHkyoCJ/WJbmTKPShaxkIbD8Cci71OKt81J0YPvdVqOs+k9Rxjg7eug+BpoEotc8eEpXLsy1puU8KHxEiL0QDd0Ga44IClbf+bETbZgMc4hx0BjrW4wlDzWXojwcGug2sRyX+o/WeUBCcgc70mD4KMCxXngrYmF3EuZU7vcK6h/rTnY2WE9DQ4Ut6dP3y+tKdYrs1FtnbN+TD2hslN9XMtSSajWhmT56+LwGQOWzrKCUuLMCPl8Cf1JartV9Hs5qwFA/pW+US6Ti5fga+zzspWuFuBThJPneMCl89AmgawiopcDURpAiAoRroSBRoK5C1L+J4tnYL2aMgCHReJRZxF30Y5bPK++oYDctSa+5Q/ZXZ2TlVS+ycPBrNxjoer+Gl2B8iqG58LTwqH9kgqw1fLRAaXsRGk5ik85DCTWWIkYBUfry0zUSlh9MOTxIVwCHbqG5uLCr4iMLttcqjgLM7E/jjkeOiSmNC7EoU6eMwFMqm47WfMA326y6jF4s8VHQy/LheOa8typ7W2xfuALoxcEWZKPtAQkmS6a/E40NF/uYXdl8w6JvLRQ8/tsXycxaCRIRmWG9+hKM/3mE2W1oTydp9usSqHnuDbCew9sDenJuT6DGgE0SGh8wNQEynUf+nRU4tMH/QC/yL6wV+qiPQb910zSv4+fiz5BD5BcWpk6jH8pTiegqUlfsTStDsMP7iSnsNmkv6kuC8K1XzKw5DunwUNTsUrP209QzA+wqMCoi0NFvU2u+6fHTmN6H128mJGqgdDOTGL8Htr7ybH8Pu8h/Z3HgcYSPlERKcD+nBWfc6LAbRCXhiyQOAGkdI5RYMRkmTUm2azhKjUCImNWjTGADhFaWLThBQMUbabhC9E18xWEKUtq8ERz4OKlUGCZOSofOHw2nOx9wq7s2CqbLudEecGh3AnOE8m+J/zwfGGt0TUD5ZyAnaN+OOhLSdY3gqcfW/82TajP7WGfobYrhhM7XeGNKbo6Wa6qe+FR9a6+kkLh0aV6NAbAN1TAolSWaQd8IQ/x/VhJVGr5KcI9qvwn21TLAtK6v+BJlld4+0b6naiinlC9n8uC/1Y44K6UgB8HCex7EGC5rYVIya5ejIInJTkdDlBylFraqQL/IMA7khU7Il3O1e+3+XuhSjr2ycm+oGYSBX3jgEELZJFFHAqiiYLmPutgzpF6+xjaF2Dl+ApeR/BQgIrqlIB2/wFRv65dfKwQ8+pGfrRTLdTs/JGsFSj2VGBrBdv0KP7hdV271BgXn3iZ3SalAuSJxS8FmRb0r8HAUMaeMH2NfA+h21/xqSEUKnAukDYWmmEr8/92IW6tUIgue+bxm08f0R+BzcOAvqKoa+XMteTZDjOC9C2Gnlr9iCS+wt4ksU8aqZ4rRYHQpesQ+l9eZXknGc7yMNhfR4+bbxMJXG6yYHt8qFZnZyoVYf6LW4zbFMaGfHUj5h9257VbOu6EJzebC1t85LblgYABT1K6+HvDwNxcJ4mfByW7fAjvGvpsoDCEN1vucaAIS3gKmNszMkIHHpHymxk2mHLDxfsOa461xKfMHW9Oebp451bOGHI1niqa5BYSTqdITWPyF9Z2WwnUB5PdEWctrA1YOue5Rxmo5LThgG7uYuHetklh08pfFfSeP59N6NzC1iikGQaJYuPWXHwl8dPDW68qcEmJwaApnwb99Q2m/APjj7t58INxhS+RZO87YywsyyL9SYILezd8TcKStMndVGWc5JV5//g4EtucSi0OH2dSYol5mvFQcsgDwBFL7HzXZRmLNxDrJZ7zFThI9wG/Ba3DHvoo5UitzLZHBLupu8jG3/OylO8p7Jc/yggtA8JP6UxaLAB+OyONh5WccqWi+HA8aAZ8lUt5697hU5KoxxnEbuFGcHADmL4F98rjr7VX6nth1sRWw6HhAeT3OUz8VSFblL6v+H9sDFrbQegJ+wH1EcvucySGgEbkdCPQEdzCCi6ksCoXnhisbDOTqX4/NBjhMAeXqzV6fGCwQRiDNQP3u5Kwb/Tlf82OKJrISa32MxYYOxX5Re9hsltggUM4ebToVBsVfPTpEkSLxACoc8fmHxsVicIwqdRsvJg8E5mYZQIisJHGR2EhLjx6zahkBtjLPgJpG5FL1C8leDS7Smzs8EkDg+G2nc3Zx6LOF608wQ9IuqMJVPAR5ixhU9bXsVF2ilGh4k/XZs80txmnm1aL96gqbhszonuA05JEqIg1nUwF+PGeV97omR7MbPi+XkJlkxBd1r6ctORVRnEr+ZkpvNdJFdI/SHPfsB0D0xoa4g6fpNeRCBWiZEpqMGzR42H4GEVNKJfOw1CDz0VfVBJS9fERBuRH/I6slPpRKb/a0dkZ16JetDzo+gQ7dNUR9IK0rG0kfOh+v+Kpyf2ahOLpdnjoA/I43nCi7hID6ZR3JzZ+4o0FqAXqjX2GBP0qTx5d1UjdiuuOvruuJvQWh46b7JQ7ZpO3dJgYZeljattSzvaZgZytwB7ZqaFyl7zSbY9pzBVfrHq+hv74Aj8LhIGhV7NKXYSLTWfBiMpRS9zvB+dhpWknUI73zU/HgVUKsVT2xSNzQc3LgivY64LgvlBPQLrVUFzeHgcqWrDCIVH2KiL4O56pgouGZXeWk+Nx+UicZJdhLHBV9lLQEDW6Lqz1fzslfkzKUOVKL0k3tSVoJB3WMY8lyeBTX6AnAXPNachX2MCBXvMZum/EnaVKlDmTxXUQ0+3Lxr+/rPXGVtLYprMU/3VS7GSBP4ijy38sYD4njBNLMRIebFjE3CZ5o6ipkZa41vq/taiKO0yPKE+vcP0auHkhxd7VNQCu+NjWVi/AFy0j/aPZKyiDBzr4EwMdbcmed0EZDDbyvuD9ZweHu+KATTlEYYWuEvPNbVqa7feB2MedXetZmZNRMEjzjAjpU/tW5aVog2NXsiKL4o7qM63nYWojNcm9FQdmAnnEFZAQ+/GFpsbPDC6/8VgUEx5ozf8agUL3+RpK8sn0ASYEZBgPQGfLEwm1pRurjhfEDBoKNh7RKierZ0eZjnnwYLRtmBKW20sVil7TkzK1t/q346DPkuWtrZBG2cMKWfjjT93h7clFxz6qNBFa1Ai+/lUcccE2+8lY/M646PmE4WOUybpcuxyvHMvYlGA8QrpKzXr+v5RvS7F6+iFj4Mb4X6Azovq6Qy4hhgLDLmvibi4VOafZa1bc9LnddByMEIvYMB8O44lqVELaKTByPt5qsu7NhxDBji9FnLjKDS2dOdVo2NfqJ0nIia4TzQRdTdJZQBDeub4ZXduTvoQnJ6QG49s5yIUi63MmaNXt7zL1IRwnVtU8yOKZorXsVdj3mkRXQqHzLCPGOjhSsjYtTBtKIqRuqEDFwegXV1pd+FgLcdnHf3Knn6+l/XR74iEPW3fUHy/8sgDMQSXoIGSDGeVZe5kd8Ipq9kmJt+G40H+8ZHpTRDyPDZ60TPZgL9p/F3/QPaCndl40bsXjvoYc+93mE3/DuQqY+ZBpC6AhkosYAP/T/A+gzCl+pEQLGlnekKvub62OKcY0joVbdjcIrm2+opAjUBfHxk3aj1BnRdWUBklkz8Qe/EL1qS9rqmMsWCjAXkf/pATP9Tv6oWKMlKEgnCnQAlQerW25uSMr9yLpUgh83Pkziu0DA/b8JO/JSlSwtUgzrZ0Tu9BRIgmkOpc3uUd7+hTkJv2WbTSLZUfBaGhRydHjh3NFYA/yoDrhfvxBQE5zeIodvzNZaOC6wqapVoiDr/FYlVcwJTF2iJDDfFh0gqPMurS63/yD2XC7dU5HJ5eFVkptQcsJu6Ry+ytxngD0vb79PoIbYay34Qs0ss614TYTt7Eb0GK7dKk4OwVXRGbvckOazLs2S0j1KOVtLOzpnUAky6zq75/ehzMFAjwPqS76kV7vS8WvT0Cm6XBQH4vwy442N774Iw6yD6NxLvlYPo8ycP4xGP+k8rQDaDCg+drepcNCGmdedd2x4JbsD241CW+XFh3GOq9noaeTad/ywck3CGsf49gxZczS4+nEQjbYu3TvLEBfbzt+9qeRdWlynHDF1c1J+HolY57F7hOOjDkQ+qqGfyT9gTQ0ZZObwsofNi/aZDCHrARxEnU/nkVyxtoz3ZHAUiyv/gM6Nxcy+E3F8KDol3HgcqptNN+VO0D0WYONcxUTF04p3sFX8Bi/2IVnLqmaGXWWw9L3HJaPv/3tTvHS1y3vOFvkyfnVAJMV7W0jFDREuKTzOoj8YWfSXGKpRFdlgOfNP6yysmzbVBzLRxWWlI/0SGV3yyilJU4otP0pgWpHpr7Leap3UMAHO/1KWuzX1bjg36UQ06avNWJ9xjnWE2O1Am9fNKBBe9Z6NZCw/9oWD567+i9yxaQVXNO++4JguDFbRPJacvJ3QpK/3a0SIowfLGnLnbg+/MZ7Clq8/n+ohgp5dZDJmN3iwaGmga24I65Cnp7ujCcX0Eb0KgeRNyhBHQxjk+hHXKC4SS2xbzEulvYQTW1IqvMfvCWRjmdDQ3Xuo7hKZ7HM5tQNb8zYgxIMX0GJwt5BL8pjCakpFE5W4/KwqSgdcFlHp6XCZ3x8+GFTosW3/CvjH2OMjWotDTTz1S2r3c6quSaSeF2EyL1xha6nd3Q+eULgsiZOHSwPs4GEMgEPP7ymzUG6f8is8KCiIZPIGrYfdFEGVx58zX91+IDdlkTN6BwK7sQ6nFQV09uM1lNIfa3F/8ia4xr68q12aoBEGOLRET/iRdHLE7AJa9pu1LGfLBmPAooGsrq0HG3JgjhcN98ZMYKJEKJMQuexiNMMQI0rNP+RjP/k0HAKMQCUvu8EdjCMOvV4+6FcBD1LnrDOMY7j3t+LM2EU/46qPODYRR30tJHmxJB7dNAUttYCk1wp8hYGzIS+weGQpgC2XdchTe03fbe/SdHTs4nXdOYELhzWP3VdNRXvRJFinR9ogbCsmZUfwqWeQAGQiEnJw1Ehk8chCPkSFiGj98NqeBrRvKKp7OnNKTYzGobdv2OiJxSQnqNfbjuTF6ywmvdCQOB/qu6Zcx+EivrIR4z09LneLAvxocnc3uSGL1TqURzav+1ek4PnsSZNVxK84Pz/WdZxxrus6T4tJ/84N9+mBIRMdF8dUtVEV22rLjSjPyp7ByMgFhii9FXIqhSrweon382sOJkO6Pzdcw+2FVEQTzMi2elb+13xYkxGI5LHEl4U294BTSqmlQSwzcm0OvNTwNA1kBFQbvNcrDlZF0qT8PhkfCnfsBbmGvywpWrMConixlReeQe9G/7vZ4XCjhfEYOwdehMCOG/ULZTcSkYpggejfRJw4yFLuYlK6/CN5t9jIIlRwo22+SvcYOdARwN+jvXJWXKX+Ny+E0DnWa3TFBrAH+A9hL8NKZdw0J3hqG5Z7HlnzdxnNNMkgkedLnmWm7Yxv66WdL5hDmXfVzwM0+U+VNX0DlIRtegy7hX2M6cSrX6SuWg6hw4VmDSmaLny2dxQIqfeRWHYTUTQG3iyM6ffDvWBBat91mGphKlJGvToIM0tNruBreM2wtKP9uMfuxevLZ3OKbP+InkxDfXWTO4/z8FWZ8mZmmhVZoo9Yo+F50Wq69kE1bocuAtMMRBIoEaWF89l3w9T5fd6iTqhO+OjvyOcfaaBLVyLumA6PucHTZSZDk9RTRnr+RPSHLIT2x3djczZ58VZdc7fJ/6YObYaqMgBivG57ezMTH42SCQWOpPX57U6mqfaWcWAo5zvqkK3pzJMzeLwjNHwcMwU8zrACv4dYwzkx4aU+Y2h7mAenV+5on6SzMmrFdwQl3dvltYRtPSczr1hjbEMHSG1XEMjR6b/hmDfIEnAU86xcPVxL44H5vZnT1ZvF/nGT1zdUrTfhqh3eMOQo71p0bM0C8cDIF4kNbxHjFTe1KSEpaNTmCsS2vrlpGhWNzvEmnHHcJyDe4KleJ/iFiQDH22WApsny6OixRVXXcSn/Otmn6YtYwcMQWTihLRRRODQb7zQjOsn5lFZMCEZiYxNLpR2AOMeHa/CrY19VwNJLW/jFSnB3RT/Rohq4g/LRfrVy4ZBJUKha/Bl+n7PKdL8rr2KB3JLa2XYs+YI7JJzBr0CLl9kvqbse0hrgXQWeWXVGAmYvwSNdD+SE6WC7sEHT2tIxgnJJhPGsTpvhijQz9hsCbapWXFhTqPjUYM5wbT9zirYHrtUF62NK88+Wm2aTjeR+uCl7SAux8b4ETmXJIFpoYFPz1XXHcPaG+vVrG6G7NrQd/E/R4r7qx3MYEV31ONp6i8nfuKk++ohUIlKpSbBXP5pKy+j+ITtoMYr2pn6lKw/uYkpOinwydQV1m5z6/xB5qeR5B0DXTPigBaxJYJ+aXmsOtH3RjcgV1X1fPMQGUKLjuOx9JELc2NVW5WnG5ptTOKUhYPLx3KS9OjTJ9vp1ZfE4W36mB5d24gV4tueMNO0qxQ12j/sBfS8bhCBm4yKP7lNb6aOT//UWdIe+v17FEp+9/0fq6pdOqLtIgPIf9rPoYteM2kxbwzraS/mn8RwsV5wJAniM8cPENnF3gyv4eEc/+Knl1Cy3RHSMPHR7Y3j6ZPX68zQrf87lgmTo4tVIzO9BaaaIuhkfntdPgBv5zM02dyyQBGZD40y2S5rn5VBRZOnlKsrqUG9aSomt8Drv/OJdEkzP9dsuCQtigZj6PiP5o/2xSasY9DTGBl4TKO2gjUKXAxNhsRLFu32D44a+3gd24f9mAoukZ31hz+SG486JvPyYrF9nPoP6lWaul5qxtM/O7Iq5fk+RrLoxgsN+sqmPVa8PgDuTtHtaqdu90MY5AFxxGGky2f6G3IY3EFVkpJWDQyRYGurzzsZRVDC8ukGtdydWyn7k6fE4OEJNcdzwB98Z9R94IYB16K0+WSIxqlLPHuYVFclFzaWSYwFAzvFRVU+ZwcgK83IpiHJY/0IIfG/PWKrp8fbqQm3FRvf6sfg2EZTQ0Xag6qSji6hBAnPU7Sth7OQvAMv72xQvAtI7GVC8skN5qNpnL070Pxg22Apj43LbhWBZRleywlBRzkNQ3QAejyEO7lsCXhTAYta4ITck6rEtPQ55Z0mcEy/NXOfme3XPFXVLtk5XMboZV9LWksmg691CLLM3fgHzzpcKXl4CCr0qbkgUyMe44BnlxVmWcJjj1uNPas3dyIErTGSOALqvPuuoAr5x/Hn07q7h4QC+/YKoyoWOkAnuJaYE4iBiyntCwIg77JkZvMzRdHos3BTkgnyke7W6yzPTBbY4AJudFEOViRbOPHIqm0U5hcwHMa2oIbyetGMcsGIDQetCC5lWzdmGbI4q9xsoT7AuQzVZW0HfyMj4KMhETSFomdtk0X7EgNm3nXTiQ6X3wySu4rBi9O5YecMKMFihTqcFGtn3l4JxMyAWCsSBXAE68kdvJWLEUdao39rqGv4LzltxHBQOtH7E3XDIjtFIwQXhYXtiqSg2FmA3V+3mIVqT2+mfFnKOCcUAgGiduutHEqQZRHjZoHKojA6oxHlErbP/eY25EZ1vmbH7lR3u3rZozvHUE/7a+ealKN9E7x3Tukmd/JM3g43UXXThJhSjc/rTRu0XVfHS20SGrmIFJkXRHh9CFqvNKgNRh+C+ruvurlcPjf2J83LykqEgz/qgztIneUNK9bsvQvhqoJ65lP6EE9YdR4bf2nLmzAcSAlvWh3MFv8EDDOG1lLsaBpNeycAY0191JmjwagXCYgsSYd9JOnct80bhUWrYFo/2mbgKjaSfKAK2+7NJMRUQ5Fp4+Sv/ZILInogWurF+ayXiT3DfLAV0rqIJL/iRNK1dS56lCAEvgYE++zxwEPcRhCvaH2myeDNmc21D7p0s0p3lQBbpMgN8sAHWP4J9UzuTxkmh+peDZaFsPnQyGU0iArFfs/BqmP3hXjb/3xwtCoJkMULjA4fKRz26HEBFMBHn7xljFxBJ+Xg7MC7u/tj6cbAq1WRfnpcV1IQXjZKV04OWd4ge6kDTNJZxTfn1lgebP5Dc5jdh9ET5Fg9M5oBA17gdYArKiMfq7IoNgQa5Zko05v+EaaWV56fTlngO+YD5zUZlS6JiOsGYGI02867OIsln0ot6HroXYtMWG6CsjS8eNMwrLL8rhnZ5fYuqQm5V0iTeXv8Ew8ltgMCxVIf2GfjMSzsGPiW7Z5RjMYRNPcx6LxmXvH1LG52Dm+mKZ/pPwOJyGm42FtGPmEHWzwbSSGpjhs+p5a9k/JyjQ18XxvwXNKVukPwBSWx6iGacQSB5CXh6/pnnxtpl98/bC1IkOMk0XlOSYgLHbpGZjwEQbE6s+PlPN5ha4xSLIlCOPenkNkH6m0We8x04dMGKB/LbYwcTZofFMCmSGXUVy/UDeVMzA7r3DIC6gIWp54tTFCrqYAuqG+8QFflWUWu3Zps/F6Z+JHul0rKejuhNUNxNGBZYJTm6UmDNQrMas65+AB9exNdFNUAgO/1mQyxlm5U018rvY1NKIF8idHKcRkD0qnOWm8qEGNWKMGvIiVvhsKEYmsKf7+xuw8IWUhPV7s4zkfUPBjQ0yOq/b0t+D5QMbZi1ODrV5WtFxUKjNbBvwQDbRMWFaH0Y/xqarMgyTLNHAbQqX9oi3NVAQSOB1JSJn0Euw48BVun/G69SWhfFEs+NjN/XyCqjnx9PzdCKLHdPAbw6d4xM/KW5pAzoQ/OAOXA2IKPA5ClX4jgNduFbmcDfa4iCC9HqSoi+P+Btv8oAdrD1W7kGqgnxer6fhBZrMntLZu6XgaWG9xo44bV2WyuRdblNsVdl+FynWbNGf9kZAXDw6H4iEAoqkQcUmJIXIyMfiGSIGMUD823WXNNHrzB+F/7+iZDm9x3RuxQMVGzM22QaYotQ8y9O6wlP0EnCKTVhR5tbF9SqtLpEF6CN6+/Kk60zTgScEQz0PeZGaWYdOqCMqO8x8q6lmMgYipB1orKEMGZE1r/WbP9/6DLxbGCizV3AJNQCxmB0FJjWd0Hi/uJxCJmJGDnKqTtVW63RP5gBry8UamzSuibaVmmhhtv8rvO/QbA4FZ33nSQnDBegm3AxoWzD4+42fxo8BoAxdMALvbIQ4EgdtcC15jeEl6CT1zvghVn3ISZXPGReS9xK8WBEJ3VH44lJ9uQRgWu5lHyK7MT+C2DKCOM8EjEuy24fXOk7NtHEIzluByVtDu+vy7vPPY/5jm5GnfzdIqAvgmpYifq7gyaMJUyEYNvQzxTythu8xfeUdhCrYwVxbEZqdC2i8aqRVfj6rQVKmwl/z214OxnYESTklQo2/QmSwJxzj4HKFgjbKWTv0xqUc36ZJcsNhXrj77NXEarAxPvNlBrxQn8tpjNiYPF9qA3zgdfV9NuCzrwlq2sc9KTUi3EEkUDmCbNmldSbX8FCiAQCyhJSg3yamKFah97kfbVkerj4ZRCYPP1O2Zt207a9zrzLq3sJXV6swOTNx37nDk3LEA7i1R2eurQxvYBv79Nc5++cRzyA1tg9mFHv7YJCwyFUwxuYBB5x0rsmq96oGrMbuTuB7CJrb4Vfi4eNd32rzqtbx7dNZNoyYS1BGVOgT6+hfgeMpOnI71S2vEaoxqQH2KFkSsylHBA75K7hXmDvjXR1H6dLP89r15KMcLrToADRAv5dDRDSotfdm16MGb99lNK6CfdZzVfIPDJPQcde+jPqmnKrhNWmmXOf84BQbZLybyE6hwh+Xrh6BlSOzJRmE56sswqhsj9toGxmHCwXWBNfzMzkxttsP+Z9Zf1rYuY6mwgPghGtvdwTzwy4jlH4LmOa55MzW/uaymuuBMhiQRPU/2ImGJ64AxsAiFjSCxmeLpbOQz+GeMgUatXOgFEkCfdpNC4xdAaeot9B2id3soxjtNY8mUPw+s2nay7kzezdhfC/4gn64vIOsvXfkVRUDyCfbdYnlPZ4EdBvcVWtNllg2BVArgjKG0QIjvaAlDoACxoLkyGm+pNBG8HzdSgp/hWez+01rT9Fhj2TmCY8nIlw0U4+P7YECiEcSDE+a7az5wSsNDdiDRCIjFiVAYbVD3661BGdgg1vDP2xLCMe0O7VhrjagVPNc7pSVUF00elmtJNJT5igbAPLFDUROv8c4zCGsmyxn/yYGmx4DbTvXV9xtcg8KHWoKVBfIsLgsbxl6xY28EXuBD1QkwDTfypeCoyoLoMAFswRYH847SFvTJC4SPcT681shxktcLsmewcYItXGCBDDWUV0z41+JTcPOh3ZNFkRcV+udgajvClS9ZtdflGX2bsSICCe7n/fEt9YDNlNGqqooIJAolmzGA+OcyxGiCbTrnEN4neSqUG38wp2DyyE7BXPoRmmTBtCFFdSfkqItK9qBheQinJwmQqVTBycllkliFsQonTTOGsaQ4/6shMksAAa0uuEVQduQyrHhK1fzvD1ereXBlv4Cc9iyhC/ZbXkcf86rRKJ8vYC0SEyCPNPAWT7+DCXwR/4zqDRyIIM5O+DtuiL5Nqx3aLoZ/4AFh36p8JToNjyYx5isqWMHCnk6mDvazzocsuvmcRvT/5JFLDEDSa8KNngWf8OTNl5r8/FE9JliC1mO9uswwAS1SvXZFyu/KaLTwyE/pBBKuSPNXSBl2vX7860/zIJppaNXdTAmbxaQ2BSzy+QZR/w7GdnwCNj6QJgb1cuz5IyeGTv8qB1mntE69O2SD+J4Wj9rXrBinuGIMoo0QJSyek+YkOHZTqjE4dKJXg39BiJQARfAo6Vp05mx5a6Lk5DklTPycnTGNHexsTpzr2/dCETgQfJ2ZN41J9RdLLvUbh64xnLBR15RTKO1m45R/inc5u1Fi6ahDNbEvO0eAdyg5t74bNkB+HiEAduofErZ3raXbglOM6vhdM5XAZ5gxFJUOWByY7kHA9Rf0UV1KkJTqnJomq/FhjLwQ52rysonNycxTOdj6Gwc+SwEMQ8imwtMGjqwJ2SSzknR2NGOW7J7t5huIs7shtl5h6EiK5KebZMkJ7BLl8OZ9t7ujzt7TZW2EuA3lKqEuf6un53CRUXpt9xXTsHoGV2PPIorNDOtG+vpaz800YcU3UrybyEO66xllyo1i8yfH8/PxvRrGGeVnzzR2x18Mmn1W4jvSQg4byG99udKQjN4/DEJ//6J2T8ORBZDInOuzFiCSwk3db6jEjV3101RGcfc+rZ7u9DQ91aVDqBWYHyeE8OEBk0kYkwlYqWkfSzMAelFzxOb8O5BSV1lqiGn2CZAX+jggr83pUhlRJKo/V/qbNPpTWgBh+qd/eXWZ7cQ8SbG7awN3rmx0OwUntHrDMgFOeqTU/zecbude862FNxrvBeUquk9d60bIOARyGLPFE5V8Kan34YxOOYkEodOOWCqwDM1BKzpFVRcodoL7QSb+JUCJ79+2OqQIRxkkyvRCPRehFNfFCHLWlFagsspSyLRLn0Ow2yTIfQ7srhKa1KFLvlutuzuxJNMSLGfQFjckQFUvex0rG3s3apOJkIWv+XLcg+MBTFyJJCfKMltnfic75cWZe/HNqHo9dPyzOZ86Y2LPYT8NWoK9IXPn3r4ebrbfGCM+yd8T3NxALtR23dBzrINh4SqlPHYLZx+CHMg52+fHHqj4/yNGvLIifIiIkSPyvXytG0vt5J+YiSPipkJPowo3vsHF7dBlS5qAEITREA+MiGDWsPkZNJ7YgIjwo2PapU5mAVNzLkG9+V3UnbcN+q5wO8PfsY25crmj/jGarxRFj5WcUo80Eeos5zx7Otr5nPwm7+KOlOAgnWq3wlprYFNkWWrfZjljecdv3kItWaMTcwQJBlIiR7CpEmOnzvchxoxjsQ+8jNl28JqkJR6Dfy0OicloipG7XPLFAcqlrx7kG9yDD0py9jZVfcWOuCCFr6uDwcAdZ2Z8F8aX2LGw/4R4eojeC5NZf3CDPtxQsIk/HejaVKLy6AlsSc7mohYsKKE0Jrgdav9BgN/zkeJf7zHkV4YD7Srv8ky/yIfSnxkr6rbNflxbLQ9pvogP1wS4J55mJN4BB+t4QJ1PDZuj8Xyqo20wLfy2m2BKYdkKYFYDvZvtIgmtzVSUmC+8OYFgLrY/oeI9hyPR7KdnAsHdOJocYg+OU9StzX/B7BiveLanI0csh4yUF9f4Cac3lkDEH0PCCVnReECb+JQTFrYtp6WdM6/Krwmf7kisf2wmbKejDWtBaqsRW3KAA4jlW42gVi7tPo38nujxfQTys4HI+D/1iE+vjR+HVK8eswZmeZRUakvmamJLVNcJj9e4iMFy3ne1gAGpR7IJt77AuAS2gq1zEWrt6zkto6UyuZlW436pV34q8KBdUi6L00GZ+5Co9wTL9e7TBbGOSlgf1cjaDfSgxBeKEqpVoW6L1swP3MS9ozm/yHQ0dzbvBNcXoCwGrmKsrbhe5t5rH6E460ULg9/PSJtjPejnVbP5927Ja5UGJfWGZVAe6TvPx5Cw0gVlxUTIfSUY8j8Bg7p/9EGNnHyO8OxSTZU6cXoDokl9405CzyeHN27bpCdqYRug6ojvaBDppWZ+ynmnnloTbAPXqEYty25q8oLpju8hjTsdm5+uqak6mF9CVRgBgjXAuOn7l+js1PYTHUIJCpUgVv+Z52qZQFBKNbZIeUN5voCnDFl8FhQUdE0Ji1PypzffORmcpC9ug9TEuDo+FRexFccp9LzRjHYNekjuh0oozhR91T/BYc+n3A0Udzah0rCU6ua9zJMOZf4+UfQODaOyKfwQGHaZAUul8Fb8RoIRod8s0tLpMfG8tYJ2t3Vef/Jn5xpqvzl+ZdCS5GDfGkiD12GEckjxVaXfI+VJhCYSnroEheMCvKHv/pM+7CwZAsaAYksZ/kFRetGAvrsOrMuQgYz36P14+z/7hCQsS0utDXJMps3bg/E5JAppoHw2GQuMzHsEtPw3GE0G48oj137r+yrXDoT0iSqt05/iLmQy17QK0UnX3oJO4nSxpzshKhwcbsM34NegplW7Sn/M5TQZ952EXCseeSr2cj9bFdFMAeFDyyAmymlZ6Bq3ervt2zW9sIAiWtqjmJO4Vexdsbep71qVQat1L7RcKWAPEyxCC/LBcEVib54/bY1uY3+E0Vi0eNRNo/+BDFm37nQtD/bzIs5pCv3NItjiA/pnahFac55gMMEmwlx8GOzBdKzHC1T3meLRYbIE5JHNLCu81guZmY3IVL1PNcB6Lo2GD0I6ziydRgVrKSEoE5d/nH0EAXoYWTOAaPTjVqjstozuQ2QUGc0zZ9oE9rzsJ/vhayUdSwr2Gxb4Z/NBcc7I+9/qnOjMgJPWWKwH1sdSwZW0kxlMOsxyTXWariGNCWJ4IESOAP0eRyGDvDM1bdmXIOhQVHbztyEJOgdowjvPfs0Ih5K4fRq82X+HyWCjUwT5l9zo4lucRhnofuzRwMF1qCURrN9BFZ4hOxQUFjHVxuYqWqTHtcdEJoz2h1EQXDc4Dl3wQwY/nQFfMoc1+hR+p8nUR/IQa++VlKwlNjMAQa0+4dfil62KANRjncjOaaEaIkbm1/8U9lWLmA7f3rpulvY2/wVaoYMJoHMIa0Jc/pCwVDhU9Hh/utcLpoj3zJDlssMt2rb90nOkk/VQ8bhN/JqTvO/AjhmsNCayZL+a/EJYuetZ/daT5NY283eiP5WzF88Qz1C2mgh4Rl0NHg2Pai7h5XlgdCQNgEFs+9k1xy2k8peni0kPabasUTxdv0ghd1UxM1RVF/ueM0wXkkPVcCdghZbBYqIkSQ51CDBXhESoi/0acEvNKSxcQVUvA9Ia858b7m3D7jDU22urM93oTF2kDNKVmP6HftZ0d/K8FsBPWob1ORBWKiJxiqj4HLRIodQA6oFqwlXa1GOPPy6HIezJLnD/JbMMMtkM6WKWQV71yJ3raPaHJ2Pf5hI+cxcHCXSW8dirEJuTGKU5lmVgtbbugb/BT+m2GqJ3S4pQ93PK+i2dqEl8DZRo1geZflPcdmdDTUw5EFwVMqYnAXpVtLzC49kJtFlrgGx7gOHGWpCgIeFkXxLpPQJYFu5A8boTUdmNdw/FoymuZNG/c1UeDxMNf0CljsLHszVMYyzvF6hbTUloYM84ar5gaLW/kIxTTa/1jCPH0nftQhs1S11/oVIY2Bi7YNw9HII+Bq6JZ5UTPNGN8BrJlyoU+PXsqvVrposdCmkWzmOlo2BkpKi9LVH/kXWhKsouu91RdSPufSzFomzOdrWoGnrg9796gUt7mRBvzTS6eh/mwX8duMDWbnjBkRNEhQoxU9a5zTf5GQbaa8Px6QdWqBwQLfHtYxVBDi2hbimVoXoVjOqMhlMJsWmMeypWWWtI0/hCWB3RXiD6D6KK17DmIzXK/YS0YNxKmUZj83Hn72W5Q4V5Z1XiTeLSKADAof7+LFzCvZwDJM9rP1GFrtKxJk70eZgfllzARuEmr5kfrMRUNsHNgrPRpTQHivpL1M/SjUddiAixUdPOt4rybq2TfrRXeEpo0BBCc46gF3qoAk+hmaxEi9uvE+9WPkzmXsilQkhAlCkPQmmRe8aqocHt9UDQXzwG8gKrRWfzKp2eSHz70+IeJ5LqwSCq0At/MfklQpVtw2okEmgLCqSkHm0UCeKYBgoAdUDjQ9cOEsTO3DO0RajsNKgB7/Ou62zsKhwQfu6AWgDpgWD+/Fl6ZfFmSCJFLhR+A3sSEnVkBO09bBbEW31pzRg8psjZaAXAYuQxSFsc/ikgaZaIXOyMnZ+GGJSnWX1EcoGCiTOMNFLMAQNeveWwfcG7SVG8xUs7KEua8Gs5r4yJd/vGh1+bBGLBB19LFp76x2aQJjZnIwmYHZddvBZavDp7lHjkARDzzmMkkr0jdw1boCoq1b16pIJGAmBuMPdQfo+N9gfmymNrQ7+1jk9lGn+bRDFW0QrlvOV9un36Sgy+E/eXwFCV3gxkimD87EWPzjqYfThoFvvFLd3+aH3DuYGZl0IeXAJdua9hJ1LaaBFORGtIVS4PuT8TxX8rlHQiXz9PDJ6ZVXGBLekdVaYS/h0x6+VucrpvTZLFYlidwjEZgVuLALJuu/QmWKUdRKVu5MM2gNHGLWKluLVEGA+o7m20zIvNGbN6lDCWSrwINWZIHGXM4+aZs7T5uGLvsz1AVpf6ioPZZBFOWqLQFaJtKaKXKVSOR0qqxcErR8cPfJgih0RbfRv5UYCx3V3VE0FpdfnSuKHg4fIoYBaHjP6HP+BMVVH1QQooBYG87UJ37X4a+oir4kbX7+ZhyRxoafPnEwcOBhFHvq9a+2/MSXISPMb97XWWxEFSjn5zCWCXymkHZAjv8W1Y3qgiPiImPfRnfqPIVnMgS/LnRh4Ey3/l0Kagm5gUNIT85a2Cjqi/bCKO8h00hhL51wtadlpWOYCJ4GaFg9rZwXgmmHI750AJTQk8TsMQteVEi/6cw9H5ICdj3hz7E9SrXHRxx4w67y46A2W/SxYaeOGUHEpoXnpdOQEaHQdXfUgumVcpWZ6N5tEcjguX/9vweRDXpmQdR5J0JClBGmj6SPVrMyUbkVAVAyDnkvnSEM6n5jtg306bHqsJjvCEBoOq5ZVvT2HuzSt55fRQjR/C/Aaaond2Oq/Y4tSPW7OcMcLvj4DeJF/0nNFMCeQp/wS0xhuFDZV3RjghAsa6g9hYy/WWnoyGf+IarkC/wNriZ00sirWpS+cUg5Btq73pr++ILIWPhMJ1NycrnrLFO32GfVq/MfCYRG7N0W2+rpByHtaJVWlKv2/yr0+Fqn5kxI/j87wV60Hd24W9er1ugqpDev6Vk3BdwGmJVqpkNvJd738GOmEGOygKv2BOTufuWkSi+g30BPsmcue5VpHmfJhCA7SYsJtXAyrIDf2S9V4TTbpxjk9eCLuj94nmfqGP5ZBV5wQPxBwSHJcAI4csgI/UrhK3RFRtGe4fDA9y01n1YvOFIA0+517z2CCdpzGovEPjO/CDjHiFE3TiKnIkkAtOJ8kAXf/chp54fsnIZFpy+kDc5l9xezhRDpi67LorKcH/+MFpqfpRoSTw45O3BEYWotwvEPapsSa1UogYfYssr5z5h+gAXjseXroNCRFFfu7SBPXUelkt3UtEbsDXqDzV897qk1llNVEDaTHKWI5dmpeh2CUXz4kB4aRVcqaK7kedJJ6osp9erRULGHjYY8aHiHJc3ITRqgvM3GpaI9FtOBD15IopR0+rg2vKt1rinjGRpxlxDUvzhL2GmptjzIKDUScL1wj21Efl59d1F1/jhH1odqPCw5NW1J/sY/vS+9ReGV2k4LaueBLG1lwnUpEVwxulPlPAZJr1DnwOPIWCfWk4dnf1HvofxJdKmjbwQ2SmAb9jVAqGABhMnIF30qOc0oRhk77oeB6Cx9HiDISU8pc/bM2tFUmXn9aTBo0nhYLoFCtudthKYhOoPlokZK4C02h9dhzMjR+soMOEBOHjl0kGJndFBeVjem7R1RJGG+OXMRxUIId+8wI4+mXlGZoLaOZxKXEn/gZIpg8qUWWETQCLoYYmbWZ08qO6NMHd5IPB3hW8YJuO8dspictxL9aDKwUINBtYh61q/HBrRhHxUcuUXS8/ne3u52bHA7dtBillWbCssZ7yvI74aDvEAWzrlImjgu11b2DSM8S3rkCCsDZC1HGfwsGQ++2OdBDV2h007TzdHjMSoHsSR5P4dEVpcXGmzsy9fdQ2JhxLjAUaufOsPaYhoteQhw4984YS6lQuMdAmuu3dTj+5rIS0YGi2iGtwU0JilCwfdcJ4KdvBdYcoirxsHLVj//GdBRpJonVzTeqeYqoIbaiwV1Vb8vgbj1/S9JDmdCCKnwzoC3K9FLo55/pQbV9PGPusMNH9ScDsfXVH2OpEpYkRXGK0ooYP/Jd9Pzf15xgvAKOCfGRXm46V1T3ThSEOxF8C/YcSV599S/I/grXFxwBniEyhlzOI66MvCPeOAXCc8ThOX6mUEP8HITRYrKcm0biOo61V9/pzOBjO0UOBVnEgW294IQcmtHI14c20VSqVb3YM1VqNb+S3z9fYuj/fgCs/BUKuL9aLWGh0GDee/rmn50d4jpmdUMRtbrLdCb/TCakjmCB+/MfISVTL5zBIQHWQuwRTHpeYTHD1a9ddBGqYiAVYN+HSKJmRCYSNB7zVCV4X+9etUHftYlxUWCrHl4+memIOPWWQ+z+LUrPS3HokJVQRUeouB63i/hQBQe18QkxeBZ9Mkf7Zmsp4PImZsdbCLzPJ92ob0EB/eR//u4PKEV0vPQ5mbmoG9ZXS0KTMtktnNnS90JL4+WkoKSefnsJl9R7Dkz3UV5hNpOz361h7rAs7QBCyrUzlskt2foFxcuWy6SewSZDlbiV86DyX51vAwD8p4kHj4nJk+OwjVJ8M1VKaANgNIybE8MRwQMqgCr0HdQHIp/iEnJI6YN5ZTUlfQgig4VdD97s55EpoE8OJAgGyJEBzCcVzjdVVRhLJu8e8PaMAkJADU1I2r3zSO5vtMu6o0/BlF0ECj3Rcei2c3VcvRjJ3/kHwxRuPIqMTXox43EMRE8cINAPBGTYR+hk3ESTvaVQK/iroZ1dkLUcKuwhp5ygmlN/0of/OAxd+B7DqQvBCrU1PCyDPDdaHDu/UgEL5+JKNltzO540nm5PC/TXERyTKHkbpRJAuXIpzp0nuloU06bmJA8aPV5QpQ9F6jtPCM052eXrFh49HsU5BFsN2L3IUaWQH/irmvURN7n3qNLMqhGXDjsV4StLoIyPHdsgFOsqVFD38GJnlzhI1nNGYjuLPD4zPDopmeGD+J1lACP5JE9LNVgXzw6FVot+4hVOGI62hcJbFbrCC6PFBxDuDKy0bQ92ZFrwUTX+I9onBCz66ZG7RM8wNVaM6bcb21yA8snKKScNOkfIh3w0vKnTdg/gLinA+peW6Uz0D81dhudGbCyrdJZLQt2xr+3kXYFANlYM9LW7CxlXXR55pn0Qa+tyzNvGaVbIi176JJgHS5wp/9craTbEJdGz8BH7YwlfElQ17POnm+aiAedNoCidBkup6Enrm3/v7Duw+StZsyZWfKnwJxSTvSWLQSUcfc69ZLHOy02YskmacSDJvuwkJLAjI+cgOfYVutiZH6pGiLJHj54cVY6pDg5c8VDhU72eRX6REJdvVP6J6N9L1sDpt7zMIf+Qg7bu+hq2dA4/jHc8RbqGhs3gsa6HM9hhbXdcR1mOE6avoE0ea0f8TWvLgdkkMDSLqc9E3VsatSJfbBjk4YikkrEsNdtAsDoHsw58PaaaeQhUoih28fLi5sfEhClT94KN/erainrBlwJ9FVZx9St63cMsJ6mIujRVcSYy3y/RAqOAQsyYAeiG+lRPa5FroFmQeugHsf6RlseVj44IaEYJ0zLq5HpMUPS5Q3M645mvaVK1jXvyj9yInHd/CtP6P0Z7heYCkqeRCNrQ8TrXVKaxhvNdx/vSGycBq8VmFPLZPxnkmO0Kt5SMGSCfwtXxG49O8ir+dpwJvFzFOnu3OHfAiojYU3sO/u13xX5dTmAMsfP4eYAqUZN0SdcLr8zYuJiZ/EWA/+5cUrSod1Ebyu5ghwXOoNhGmIF2t8hipGaMZ72L5knq6daAwvfrcqlnBf1p6jHehBi/Ssq2wOcZMsrFST3WQsRjQpvqceuFbpxFKsUNzq1lh0q7plqqEAtsgszlmNufYdk3AoX6tvtkYykxeljjeshcEj7JF/SxZw3QnPAbeRf1HBOlvGOQluOZUN28DQ4JpFyDoFMZaHyWbm4VHNBgcOa4xeCb4tneTFPNMUG5WmDmLy3wJDFfU7BIP614tknnmCQ55vPNQpiDhAJIuDD3qMKBLZ22eIsUiWoIvNBH00mXRnrbHpnVlEsyTgHZa6qJ5w6CGydQT3lX/An2VhdBDYCt2pFV5C6Na3DK7WMy1ct+fmBH6SCoqwwqJsLX3CPzkiNuX+4d+YvSj6A/CdK707LtcDDnrnWxJeTAN0uK107reaJWx+230FVDGrv89WCIf9s1b4U8Qwds4bt73pT5Pav662BniqALVwEzwGyr83loxao3rOSzFB4+CXSBzEbmqNAS+nk/e1284iCzkNtoB3FO1bXwAc1mq4eXksso6+LAp58bF7Fh5afmZZE71LBRYSOezsvfBIoU3WnTUBYE5eQEYFm3UyPrA5/5vilyaO5nvxKgl5QKcsVqflWoNVpDn6FF/4Igeq5QTTy7HOa6Jl1FXZ/+t8Psxjhx/j1HJ78lgKsFLD7dQzomdoWVRfY5GCLG8ZsWl+lapPX2B3oVdg+tzkpSjVxUcDalNJwAOPmQWwQBCQ7l/n1HSika1c7Qtslavfb4L2/wXaqsPHfJFKoWRb382HJ7HQGpZd1yzlYropa2sJhu/XO8UTx5T9ZY/eFbQucEhn996tGBy/pNSN9dlrFJ7KRSvauMBZEXuddjupbrEn1hqft+0xjTLRZJrG+rydE+ahquRClCS6oN5U3mOeRUIsRSvfwKm/sFJRHaQqcF+62/Ht+DFzFfLBaSg50Z5/UxkpcleOMAPy8hM0348RMNsv4aXPPePV6ZA8ERaFlQikm4Alh9dAbGAaMKqEKVqpBbEPyVQUkOzfrCnYTl16EAkMYczh56irQzk/BopaN+kyaCMfKPto3BwvrLA0mAUS/wWpalyXO9KhATAZo7k24bNfvlAFXgL5/FenQmeD34cebUjYJYTCifcjGCtkkTWJ6E+hRP1neok1Z2H9jJrxQU9IUj9SJaBG59eThuCSS+Q2S6KNMTXd1T+JyDOW4TNoqA5utcJg1CeCP1Bl5Amjw//3v/o8/V30RBhsWRD1VF2WM+OCWl0Wc348eT8sirvYGKpWWUnKz8M5EB+PeL99qJq7llf1rdugL0auvrNvmrHKf/xJka3gcsiNXWwld7VQi9L47wB5z2eeQK8mhvtdq2E6/K+DOM0qLPVeNDrRLDcoPT1raMBi1St8SQvdreOC0eO5hk+zYzhnuRDvooT7uG1pTE+5BVYS1K7VE/W3UwN1mM+FHeiHuFH1y95/0FH6MZHm+r1TCDzjaLHMhZiT5BLe+vIzON3c35SPgOmuOywqb2j+4usFJ6ydJ8GkV6U8ZaLRtbQc+XmK4OnRr0Bk2ULx366zY+GD/gGNGsCjuYqRvT3r3DJlLLK0OAzpak8kCDBeADXy4WH/FxgIdr4D0U4e1Ct4G7sjvpKVfi0uIAbkz1aCGTESBI/+tTlO1aCDrRE8KOo4WtzFxVE7VZGiQk5lPgseaKWJz2OrpN4mrk4KxucOgfqj8Urf+0Om0mOmND//p9letqNwb3doUES2CY5WbFrGCxvEVf1IV3lgbD6szic74BsEC35A1b1p4+7PfVjKhNRPqIuim5JZkHGJCszWwvt7EN42fWDMTEfB3Q1FISNv05ArEFALt6WDfR+tKqh7TANu9gZBOt56zu4lFMZuMiEb9kqCVbEjFqXU932TuQHJ178JVW02e9SQpkptNPG8bIpU6zr64qVilVKwmGCrqIjtkCxwdiI/Fg+apkrofKPhCcSL9LH+oA9hnnHgSg3vWgFrr1+LlnF9IEqp9exwa5pf1VNciHAe+tPiOHyUE6E3aju5eoMCcdv3dIfV7i47BSItYAJldo4XhHe4b/RKUVzjmjZqEIMm3d2k5KNCY9FsvDvYlo+15HEEN3kp2nwlHPnGNcACp4M8mqgzZB2rQZx9/6+bm5bFXJcQyqBIHS07zCoB6dBiZAPlMEt68A8vbfCEim6yjHXZ1mzXpn0sNcANZxxNskfkO0DGKavJyEMDKJkawyAD9ZvV/EO2ZFiNM7yM9uXuf7xuzdgy4nmoH6zG/pMwKH+j7XgyMmvZQvSHpkVNjPlOIcaPuGSdC/aROUXmjRCrEdvzo26yIeppNw91texIwEAfeX0vO+TDbu75MgXYzFHSkbv8IG0UEtO5k9/pvJhwHAuRRXFXxT1ROPFPh0bljBLgEjOfDGP0XgWfBNwOq5Ns1eZmN1xW8nHJx1oR8B91RwTf3YPvED6eikFRL1JcC7BuxtSVCi6C7dz5F6sZizEKAU2iKEGWNAj1XKwDGotvGLibyF7dDg/82oPVBXiS5uR6rxWb1InUC7UWanBeUKfQvkt48Gda3vi8nQS936dDYtzfcj5+J9igczafXZzh/57Nq7vujnZQdExom1+9UAZsM3lU9xo2NKqyYfdd5GunWWsjV9bxRwjjWSErKrQORjwf6q6JxyOZqyyjkbBpklUf3FZkSJfBjKASaWHYAf77WjazyY12jLf6Ammc9+PuuwmvLlugBJmBubiUHMkCzgQUo3b8vWuBbvE8cBiXLzgeG9J9kMYN/is+uS2FyUWm0eqqeDtjyu4f1lJBL9RBRkpq8FhFDc195/VWHyYqgUUkLpQRIhi0Va5+F4nJFIse3UNk5UrGYAZyBaUzcgFkkPE/kdew/jJTLc1R4YEtcRfqq3/Z9/R5OdFu8+MvR2mN7kt4e9vssZmozxPAtS2Xmzc+LAUeNwjLiYfGhe941XwWYEX3XnJQ/sKNi2MqUo3ejNcrajIj4cMYJGBPZRHfRrRt2BaAKJiI5lU5YVszL95ZnoCRTR1sh4Zst20erBLs9g24l6u17sw5fMzqB7fe3bCDUdBZryMCuI6NSQIZEnUd7o9u+NIDkNjzeIvXAUa1K1qu8aw5TnHFblaY5N36mW0Lrhc/uIbp/otX75TCRmloI24ECTd9Lj3iqFGFbImJlcrCx/KuuUOUKNqOOWVKKdEbJI+Xe8IrCha6WVal2Rq1w0D7SC90EJSIkjr+7CAXF7lREbBOlUQ2OhY1ldFfwqogKwAel1wU5GkNsAyGRoAKqvYbNqhYfj/tX3/2+G1nkzW0BKIWEgI+hAUKRuIBJS3d2j90kkTRWsfT2HGM/NOzHM6+/AvvhTA0jxrm0jG0/NPycPfe9JGnqQKluwgQN3Mrc/l4DQYX5xX5Ku2kmp2qC9zDjS+mg8WuAgYVzOn1I+lTvQPFxfnPiUobLPukcVnt6sVK0gQjan+ViQWGpJ+mhsCwFZmm6CysdmKHM8jNpxg7zRQHwuAD44szvabQSpyFpwWvVRiY7WTOqz5lo0yhBy93BoE9C4pQjyTRHkkAABZgEvEGVDgv9XW9i5wgWK/ZdHhfxG1JDjyFIKGCxnMP4lQR0hKkDmk/D8deAL9tn4PTWuclmlh8b7DoTMrjTPITEUiDloHtu5fmoao6sl0iwu4mI2cUHzlstwYQOt/17O5Lz31XdiN1/fftF+2qTwqX6+DmZZo/ZBc4Ot9qenbY6cy8rBldNFULMw/KiBXyQvU0FCl2WHddrO/To1XdDbR++wrUvp0wEaQokbXUqm3wG6go3lh+QBv2qzuxMivSEc4j7DqyNIUkWNc+MfjMPSLU8Jy1MBX1taHQlHlx6fTP3t4qJ1EUR19HpXGFvM4n+EzUKSfbNLFrgRJmtUtWdFHMdXVoacdZApx+GnGAqiy/MjI/wJVqqhyjp/6sVcYliez7whuROVYx3LQz0EhQa+7sOEx4xpnBGXTPNsvsCEple+MnzmArzMIFj05SNFht14ecNDnX/F6qrr3PL5vLq3+zGQdbM33ko5jJcbDqEzFzJlW7z9OWI6f2YuGKLl/QroU3gKRP8UAqC4g/9mjaVJ3BCJ2VlE1cUm+DCpXnPIqOOhvmpCJcsqnvI1huubStilLd3S8SK0sec0NrABIliqYPLmfVD1dtSW3/AXI0F8akf2dcv2g/hWJ0zy8VVMc7R/cC2THYX9WCZXIaR+neQ54ldDH0LS/mn7hpvKbhtCUGXrn7C69p94FzG2TxlsIMEo2B2w32QjPyu4neWYZSex/Tsbg1ps52+OuPpIY1PbHvdIEs7a0ej+N0o0WVNvkMrZtq1aAS6zJ7hhSO2YLOilB+ltzGkoquP2LFqvCdy6CMtkEpVN+7Liipc+/WWb/D6S/PbASsa8GqmB9tu24aooXxO+3vLYd6vzpcOBeIbwc/d3Kv7lx40hn8BVbkRwjvNhRyZU4r4QbmdD8OVNVwTkzLBK4GHWgdzCt9tqpLykYjRnJCWOqPLMQRVfH4GTR+uiqtCrcGEFFUktTvJXou3mn4xhZIDE8POYqE4iHkzLQ5VEbVpazLlStwG2e4v9y4KwiJBuXtHaE3A2EZWEmsn07utsf/vVYexAuZdmRgw7VjIMzEZD4IwqS6qF0fh0Ot2fxyQ7ELksBV0He41jfBZ+NuaILcfgA0w2IqrAEqoKlr97jze3ndOOvs51o0SxRTKIfMMu+FjgoZQWAahDFeL0e7t3qXvIStmpxkGAn1Mkf0JR3eDJETOvi0n8oxK3ZE+jNcAwl2M0rOEJo6ZqTYuwLHPFqecMTUyeD9GQQJvYd28yAJyse9PgAIQf9GVAOxWDSNjbPNGgtTsiPu7L92ScmL4Qgb7+BDVZp3aZ5PkfR7zeKUzyVB+sIN+eGzvgvBXq3hKeSizbI1oaKNuRAZu3LYFRjItYthIjLsMsPYd+4IxmPnSE6WyAAkAu22dzrGFw7zJQjzxS5eINVjwv1ldhXsd0/9s2zOSeXAf9PNjJctl+9WM6e/uf2fghf6Lz319KYXIF9+GXuZd0e9EUTi6oaWfRJoUwpOYdvApE8IcJsiwWIqUw0dhiMXZ9y79oab2By1JTmDbf+RHCUnLhgvmHJaDIRDbpMvPM3EkmfkR5sCQ1jFVSRiBkxoW1mvn1Tm8i2wDO/GblkDNTQAnYrY7m/tHRCGC9kGHRvrhrs6T+RqGZXnIiexBabBrleCpNFhjiSOQjn6pEJ7U3udrU2CfHhpDnqDgrJRpSft4NPtFXUFSyRiG9sFYdmwTNzLX7ybQjAC17qRj08oFXjTU8NfYVcloyOdl9YuRr7xlb5ZYlp21XXI13n+C9wrAcgQpFtOREqcOjAqwyAXfvr/LGBGc10CfcJ9YTnEzDrNtojmokcn9hK43ljAqmEzMm9z2mRf3qB/Qfp+m2qZ9r9GZfGbiOeDUq2LbQnp1+wTr6O2VI/tTLBZaHG29AkjcAWDr980cDAXnAszpGC690UVDgkVbAwEhtdwZ8Bbin//Qs9JpwpBwrBjTv8PG38UJSWJw7D1F+fONR2gYnSstpTdZ9+TK2QXYw/hREKcJsMLyr2mocqdk79l3bWOLfALeQrTQPyZ7yY7mJ/YTnxkj4UtwFx1XhNcowAuPA5skqFNrMIarn7h5kJJ0SqDG0EU3xo1zzZfwy+TLcD5R9E6xOB4wbcz7IkEWifXNe2v9nlmX2DMlNSp6VoBpvWFBwg/q5q4ntGzVYxi7QKFSYqrlyEeAHwFm0KXzKGDZ9OQni2EEaxgbqowjdUj3qCakhQcSgDHSCPlaJN8nM/YKkhhO9ZBswOKRf5todh1mwys1lwQQfLx42jBFjftVQAVjnJv1D2Df8gvu8CGVcjRkuvCIRVK4QvSa7uVwUmM2B8JG1XHfi0quhsFkxHNQa1ghLFcQcqIxQecCfJwS3/31qSbqW89zOAmPTkTYUD94BLhLFxyCEAi5KMxbVQIJVR8mvXQ4nkEuKLuXrpwx4a8Oo1mu5Zl+o2P9cGaRei7mUKJB+6+mYvBPz8IJPBTLHVmj2n5qzsecC0IJlKBp4Rvo/g==" title="Mekko Graphics Chart"/>
          <p:cNvSpPr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309502" y="1344245"/>
            <a:ext cx="11535508" cy="4908062"/>
          </a:xfrm>
          <a:prstGeom prst="rect">
            <a:avLst/>
          </a:prstGeom>
          <a:blipFill>
            <a:blip r:embed="rId12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grpSp>
        <p:nvGrpSpPr>
          <p:cNvPr id="34" name="btfpColumnIndicatorGroup2">
            <a:extLst>
              <a:ext uri="{FF2B5EF4-FFF2-40B4-BE49-F238E27FC236}">
                <a16:creationId xmlns:a16="http://schemas.microsoft.com/office/drawing/2014/main" id="{4569F5C3-1E88-B1DF-575C-25D8FD6C4B62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6" name="btfpColumnGapBlocker488582">
              <a:extLst>
                <a:ext uri="{FF2B5EF4-FFF2-40B4-BE49-F238E27FC236}">
                  <a16:creationId xmlns:a16="http://schemas.microsoft.com/office/drawing/2014/main" id="{48ACFB7C-8B12-7BE1-EA8F-12097A4ED55F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6" name="btfpColumnGapBlocker510122">
              <a:extLst>
                <a:ext uri="{FF2B5EF4-FFF2-40B4-BE49-F238E27FC236}">
                  <a16:creationId xmlns:a16="http://schemas.microsoft.com/office/drawing/2014/main" id="{EFFDE2C5-FD61-2188-F8F5-5AB39410B75A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4" name="btfpColumnIndicator185537">
              <a:extLst>
                <a:ext uri="{FF2B5EF4-FFF2-40B4-BE49-F238E27FC236}">
                  <a16:creationId xmlns:a16="http://schemas.microsoft.com/office/drawing/2014/main" id="{6A6939B6-1FB4-8E8A-79DB-89654ACD3732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251205">
              <a:extLst>
                <a:ext uri="{FF2B5EF4-FFF2-40B4-BE49-F238E27FC236}">
                  <a16:creationId xmlns:a16="http://schemas.microsoft.com/office/drawing/2014/main" id="{46143617-7607-F85B-054E-610212E65A38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btfpColumnIndicatorGroup1">
            <a:extLst>
              <a:ext uri="{FF2B5EF4-FFF2-40B4-BE49-F238E27FC236}">
                <a16:creationId xmlns:a16="http://schemas.microsoft.com/office/drawing/2014/main" id="{C1A937E2-EDCE-3FC7-2C3C-C0CC45169DB4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7" name="btfpColumnGapBlocker845567">
              <a:extLst>
                <a:ext uri="{FF2B5EF4-FFF2-40B4-BE49-F238E27FC236}">
                  <a16:creationId xmlns:a16="http://schemas.microsoft.com/office/drawing/2014/main" id="{D2AC282A-45B1-C26F-38D7-0FECD19A7A73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5" name="btfpColumnGapBlocker877425">
              <a:extLst>
                <a:ext uri="{FF2B5EF4-FFF2-40B4-BE49-F238E27FC236}">
                  <a16:creationId xmlns:a16="http://schemas.microsoft.com/office/drawing/2014/main" id="{25F80AE0-3964-1001-B260-75393518CDD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2" name="btfpColumnIndicator913533">
              <a:extLst>
                <a:ext uri="{FF2B5EF4-FFF2-40B4-BE49-F238E27FC236}">
                  <a16:creationId xmlns:a16="http://schemas.microsoft.com/office/drawing/2014/main" id="{684A3E48-86ED-986E-C989-32ED916E8DEF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43713">
              <a:extLst>
                <a:ext uri="{FF2B5EF4-FFF2-40B4-BE49-F238E27FC236}">
                  <a16:creationId xmlns:a16="http://schemas.microsoft.com/office/drawing/2014/main" id="{9C084292-894F-FD7D-69AD-9AB9C017283B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4" y="1"/>
            <a:ext cx="11709254" cy="876687"/>
          </a:xfrm>
        </p:spPr>
        <p:txBody>
          <a:bodyPr vert="horz"/>
          <a:lstStyle/>
          <a:p>
            <a:r>
              <a:rPr lang="en-US" b="1"/>
              <a:t>Traffic sources evolution: </a:t>
            </a:r>
            <a:r>
              <a:rPr lang="en-US"/>
              <a:t>All the brands seeing a decline in paid-media-generated traffic hinting at reduced paid media investments industry-wide</a:t>
            </a:r>
          </a:p>
        </p:txBody>
      </p: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2371409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2479158101372451 columns_1_132394494214423332 6_0_132394511887891607 7_1_132394506095396613 8_1_132394511170980710 41_1_132394517934181741 54_0_132394519451637821 55_0_132394519514205518 56_0_132394519564202013 69_0_132479157397692741 70_0_132479157605916746 20_1_132479158140928925 27_1_132479163096348439 31_1_132479163691069154 36_1_132479247897743899 </a:t>
            </a:r>
          </a:p>
        </p:txBody>
      </p:sp>
      <p:sp>
        <p:nvSpPr>
          <p:cNvPr id="7" name="btfpNotesBox347911"/>
          <p:cNvSpPr txBox="1"/>
          <p:nvPr>
            <p:custDataLst>
              <p:tags r:id="rId4"/>
            </p:custDataLst>
          </p:nvPr>
        </p:nvSpPr>
        <p:spPr bwMode="gray">
          <a:xfrm>
            <a:off x="330200" y="6332390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Note: LTM: Apr’24 to Mar’25; LTM-1: Apr’23 to Mar’24; LTM-2: Apr’22 to Mar’23; Bars sorted basis LTM visits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Source: </a:t>
            </a:r>
            <a:r>
              <a:rPr lang="en-US" sz="800" err="1">
                <a:solidFill>
                  <a:srgbClr val="000000"/>
                </a:solidFill>
              </a:rPr>
              <a:t>SimilarWeb</a:t>
            </a:r>
            <a:endParaRPr lang="en-US" sz="800">
              <a:solidFill>
                <a:srgbClr val="000000"/>
              </a:solidFill>
            </a:endParaRPr>
          </a:p>
        </p:txBody>
      </p:sp>
      <p:grpSp>
        <p:nvGrpSpPr>
          <p:cNvPr id="37" name="btfpRunningAgenda2Level378849">
            <a:extLst>
              <a:ext uri="{FF2B5EF4-FFF2-40B4-BE49-F238E27FC236}">
                <a16:creationId xmlns:a16="http://schemas.microsoft.com/office/drawing/2014/main" id="{1EDB4079-946B-0241-D382-95091681D4E8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0" y="944429"/>
            <a:ext cx="4297901" cy="257442"/>
            <a:chOff x="0" y="876300"/>
            <a:chExt cx="4297901" cy="257442"/>
          </a:xfrm>
        </p:grpSpPr>
        <p:sp>
          <p:nvSpPr>
            <p:cNvPr id="39" name="btfpRunningAgenda2LevelBarLeft378849">
              <a:extLst>
                <a:ext uri="{FF2B5EF4-FFF2-40B4-BE49-F238E27FC236}">
                  <a16:creationId xmlns:a16="http://schemas.microsoft.com/office/drawing/2014/main" id="{D655EEA9-E70E-B027-7E14-70D4BB84FEB3}"/>
                </a:ext>
              </a:extLst>
            </p:cNvPr>
            <p:cNvSpPr/>
            <p:nvPr/>
          </p:nvSpPr>
          <p:spPr bwMode="gray">
            <a:xfrm>
              <a:off x="0" y="876300"/>
              <a:ext cx="2486478" cy="257442"/>
            </a:xfrm>
            <a:custGeom>
              <a:avLst/>
              <a:gdLst>
                <a:gd name="connsiteX0" fmla="*/ 93477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34771 w 1816204"/>
                <a:gd name="connsiteY0" fmla="*/ 0 h 257442"/>
                <a:gd name="connsiteX1" fmla="*/ 88005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34771 w 934771"/>
                <a:gd name="connsiteY0" fmla="*/ 0 h 257442"/>
                <a:gd name="connsiteX1" fmla="*/ 880051 w 934771"/>
                <a:gd name="connsiteY1" fmla="*/ 257442 h 257442"/>
                <a:gd name="connsiteX2" fmla="*/ 1 w 934771"/>
                <a:gd name="connsiteY2" fmla="*/ 257442 h 257442"/>
                <a:gd name="connsiteX3" fmla="*/ 0 w 934771"/>
                <a:gd name="connsiteY3" fmla="*/ 257442 h 257442"/>
                <a:gd name="connsiteX0" fmla="*/ 934770 w 934770"/>
                <a:gd name="connsiteY0" fmla="*/ 0 h 257442"/>
                <a:gd name="connsiteX1" fmla="*/ 880050 w 934770"/>
                <a:gd name="connsiteY1" fmla="*/ 257442 h 257442"/>
                <a:gd name="connsiteX2" fmla="*/ 0 w 934770"/>
                <a:gd name="connsiteY2" fmla="*/ 257442 h 257442"/>
                <a:gd name="connsiteX3" fmla="*/ 1 w 934770"/>
                <a:gd name="connsiteY3" fmla="*/ 0 h 257442"/>
                <a:gd name="connsiteX0" fmla="*/ 1103086 w 1103086"/>
                <a:gd name="connsiteY0" fmla="*/ 0 h 257442"/>
                <a:gd name="connsiteX1" fmla="*/ 880050 w 1103086"/>
                <a:gd name="connsiteY1" fmla="*/ 257442 h 257442"/>
                <a:gd name="connsiteX2" fmla="*/ 0 w 1103086"/>
                <a:gd name="connsiteY2" fmla="*/ 257442 h 257442"/>
                <a:gd name="connsiteX3" fmla="*/ 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271402 w 1271402"/>
                <a:gd name="connsiteY0" fmla="*/ 0 h 257442"/>
                <a:gd name="connsiteX1" fmla="*/ 1048365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423687 w 1423687"/>
                <a:gd name="connsiteY0" fmla="*/ 0 h 257442"/>
                <a:gd name="connsiteX1" fmla="*/ 1216681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423687 w 1423687"/>
                <a:gd name="connsiteY0" fmla="*/ 0 h 257442"/>
                <a:gd name="connsiteX1" fmla="*/ 1368966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423687 w 1423687"/>
                <a:gd name="connsiteY0" fmla="*/ 0 h 257442"/>
                <a:gd name="connsiteX1" fmla="*/ 1368966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423687 w 1423687"/>
                <a:gd name="connsiteY0" fmla="*/ 0 h 257442"/>
                <a:gd name="connsiteX1" fmla="*/ 1368966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575972 w 1575972"/>
                <a:gd name="connsiteY0" fmla="*/ 0 h 257442"/>
                <a:gd name="connsiteX1" fmla="*/ 1368966 w 1575972"/>
                <a:gd name="connsiteY1" fmla="*/ 257442 h 257442"/>
                <a:gd name="connsiteX2" fmla="*/ 0 w 1575972"/>
                <a:gd name="connsiteY2" fmla="*/ 257442 h 257442"/>
                <a:gd name="connsiteX3" fmla="*/ 0 w 1575972"/>
                <a:gd name="connsiteY3" fmla="*/ 0 h 257442"/>
                <a:gd name="connsiteX0" fmla="*/ 1575972 w 1575972"/>
                <a:gd name="connsiteY0" fmla="*/ 0 h 257442"/>
                <a:gd name="connsiteX1" fmla="*/ 1521250 w 1575972"/>
                <a:gd name="connsiteY1" fmla="*/ 257442 h 257442"/>
                <a:gd name="connsiteX2" fmla="*/ 0 w 1575972"/>
                <a:gd name="connsiteY2" fmla="*/ 257442 h 257442"/>
                <a:gd name="connsiteX3" fmla="*/ 0 w 1575972"/>
                <a:gd name="connsiteY3" fmla="*/ 0 h 257442"/>
                <a:gd name="connsiteX0" fmla="*/ 1575973 w 1575973"/>
                <a:gd name="connsiteY0" fmla="*/ 0 h 257442"/>
                <a:gd name="connsiteX1" fmla="*/ 1521251 w 1575973"/>
                <a:gd name="connsiteY1" fmla="*/ 257442 h 257442"/>
                <a:gd name="connsiteX2" fmla="*/ 0 w 1575973"/>
                <a:gd name="connsiteY2" fmla="*/ 257442 h 257442"/>
                <a:gd name="connsiteX3" fmla="*/ 1 w 1575973"/>
                <a:gd name="connsiteY3" fmla="*/ 0 h 257442"/>
                <a:gd name="connsiteX0" fmla="*/ 1575973 w 1575973"/>
                <a:gd name="connsiteY0" fmla="*/ 0 h 257442"/>
                <a:gd name="connsiteX1" fmla="*/ 1521251 w 1575973"/>
                <a:gd name="connsiteY1" fmla="*/ 257442 h 257442"/>
                <a:gd name="connsiteX2" fmla="*/ 0 w 1575973"/>
                <a:gd name="connsiteY2" fmla="*/ 257442 h 257442"/>
                <a:gd name="connsiteX3" fmla="*/ 1 w 1575973"/>
                <a:gd name="connsiteY3" fmla="*/ 0 h 257442"/>
                <a:gd name="connsiteX0" fmla="*/ 1676962 w 1676962"/>
                <a:gd name="connsiteY0" fmla="*/ 0 h 257442"/>
                <a:gd name="connsiteX1" fmla="*/ 1521251 w 1676962"/>
                <a:gd name="connsiteY1" fmla="*/ 257442 h 257442"/>
                <a:gd name="connsiteX2" fmla="*/ 0 w 1676962"/>
                <a:gd name="connsiteY2" fmla="*/ 257442 h 257442"/>
                <a:gd name="connsiteX3" fmla="*/ 1 w 1676962"/>
                <a:gd name="connsiteY3" fmla="*/ 0 h 257442"/>
                <a:gd name="connsiteX0" fmla="*/ 1676962 w 1676962"/>
                <a:gd name="connsiteY0" fmla="*/ 0 h 257442"/>
                <a:gd name="connsiteX1" fmla="*/ 1622240 w 1676962"/>
                <a:gd name="connsiteY1" fmla="*/ 257442 h 257442"/>
                <a:gd name="connsiteX2" fmla="*/ 0 w 1676962"/>
                <a:gd name="connsiteY2" fmla="*/ 257442 h 257442"/>
                <a:gd name="connsiteX3" fmla="*/ 1 w 1676962"/>
                <a:gd name="connsiteY3" fmla="*/ 0 h 257442"/>
                <a:gd name="connsiteX0" fmla="*/ 1676962 w 1676962"/>
                <a:gd name="connsiteY0" fmla="*/ 0 h 257442"/>
                <a:gd name="connsiteX1" fmla="*/ 1622240 w 1676962"/>
                <a:gd name="connsiteY1" fmla="*/ 257442 h 257442"/>
                <a:gd name="connsiteX2" fmla="*/ 0 w 1676962"/>
                <a:gd name="connsiteY2" fmla="*/ 257442 h 257442"/>
                <a:gd name="connsiteX3" fmla="*/ 1 w 1676962"/>
                <a:gd name="connsiteY3" fmla="*/ 0 h 257442"/>
                <a:gd name="connsiteX0" fmla="*/ 1676962 w 1676962"/>
                <a:gd name="connsiteY0" fmla="*/ 0 h 257442"/>
                <a:gd name="connsiteX1" fmla="*/ 1622240 w 1676962"/>
                <a:gd name="connsiteY1" fmla="*/ 257442 h 257442"/>
                <a:gd name="connsiteX2" fmla="*/ 0 w 1676962"/>
                <a:gd name="connsiteY2" fmla="*/ 257442 h 257442"/>
                <a:gd name="connsiteX3" fmla="*/ 0 w 1676962"/>
                <a:gd name="connsiteY3" fmla="*/ 0 h 257442"/>
                <a:gd name="connsiteX0" fmla="*/ 1845277 w 1845277"/>
                <a:gd name="connsiteY0" fmla="*/ 0 h 257442"/>
                <a:gd name="connsiteX1" fmla="*/ 1622240 w 1845277"/>
                <a:gd name="connsiteY1" fmla="*/ 257442 h 257442"/>
                <a:gd name="connsiteX2" fmla="*/ 0 w 1845277"/>
                <a:gd name="connsiteY2" fmla="*/ 257442 h 257442"/>
                <a:gd name="connsiteX3" fmla="*/ 0 w 1845277"/>
                <a:gd name="connsiteY3" fmla="*/ 0 h 257442"/>
                <a:gd name="connsiteX0" fmla="*/ 1845277 w 1845277"/>
                <a:gd name="connsiteY0" fmla="*/ 0 h 257442"/>
                <a:gd name="connsiteX1" fmla="*/ 1790556 w 1845277"/>
                <a:gd name="connsiteY1" fmla="*/ 257442 h 257442"/>
                <a:gd name="connsiteX2" fmla="*/ 0 w 1845277"/>
                <a:gd name="connsiteY2" fmla="*/ 257442 h 257442"/>
                <a:gd name="connsiteX3" fmla="*/ 0 w 1845277"/>
                <a:gd name="connsiteY3" fmla="*/ 0 h 257442"/>
                <a:gd name="connsiteX0" fmla="*/ 1845277 w 1845277"/>
                <a:gd name="connsiteY0" fmla="*/ 0 h 257442"/>
                <a:gd name="connsiteX1" fmla="*/ 1790556 w 1845277"/>
                <a:gd name="connsiteY1" fmla="*/ 257442 h 257442"/>
                <a:gd name="connsiteX2" fmla="*/ 0 w 1845277"/>
                <a:gd name="connsiteY2" fmla="*/ 257442 h 257442"/>
                <a:gd name="connsiteX3" fmla="*/ 0 w 1845277"/>
                <a:gd name="connsiteY3" fmla="*/ 0 h 257442"/>
                <a:gd name="connsiteX0" fmla="*/ 1845277 w 1845277"/>
                <a:gd name="connsiteY0" fmla="*/ 0 h 257442"/>
                <a:gd name="connsiteX1" fmla="*/ 1790556 w 1845277"/>
                <a:gd name="connsiteY1" fmla="*/ 257442 h 257442"/>
                <a:gd name="connsiteX2" fmla="*/ 0 w 1845277"/>
                <a:gd name="connsiteY2" fmla="*/ 257442 h 257442"/>
                <a:gd name="connsiteX3" fmla="*/ 0 w 1845277"/>
                <a:gd name="connsiteY3" fmla="*/ 0 h 257442"/>
                <a:gd name="connsiteX0" fmla="*/ 2048858 w 2048858"/>
                <a:gd name="connsiteY0" fmla="*/ 0 h 257442"/>
                <a:gd name="connsiteX1" fmla="*/ 1790556 w 2048858"/>
                <a:gd name="connsiteY1" fmla="*/ 257442 h 257442"/>
                <a:gd name="connsiteX2" fmla="*/ 0 w 2048858"/>
                <a:gd name="connsiteY2" fmla="*/ 257442 h 257442"/>
                <a:gd name="connsiteX3" fmla="*/ 0 w 2048858"/>
                <a:gd name="connsiteY3" fmla="*/ 0 h 257442"/>
                <a:gd name="connsiteX0" fmla="*/ 2048858 w 2048858"/>
                <a:gd name="connsiteY0" fmla="*/ 0 h 257442"/>
                <a:gd name="connsiteX1" fmla="*/ 1994136 w 2048858"/>
                <a:gd name="connsiteY1" fmla="*/ 257442 h 257442"/>
                <a:gd name="connsiteX2" fmla="*/ 0 w 2048858"/>
                <a:gd name="connsiteY2" fmla="*/ 257442 h 257442"/>
                <a:gd name="connsiteX3" fmla="*/ 0 w 2048858"/>
                <a:gd name="connsiteY3" fmla="*/ 0 h 257442"/>
                <a:gd name="connsiteX0" fmla="*/ 2048859 w 2048859"/>
                <a:gd name="connsiteY0" fmla="*/ 0 h 257442"/>
                <a:gd name="connsiteX1" fmla="*/ 1994137 w 2048859"/>
                <a:gd name="connsiteY1" fmla="*/ 257442 h 257442"/>
                <a:gd name="connsiteX2" fmla="*/ 0 w 2048859"/>
                <a:gd name="connsiteY2" fmla="*/ 257442 h 257442"/>
                <a:gd name="connsiteX3" fmla="*/ 1 w 2048859"/>
                <a:gd name="connsiteY3" fmla="*/ 0 h 257442"/>
                <a:gd name="connsiteX0" fmla="*/ 2048859 w 2048859"/>
                <a:gd name="connsiteY0" fmla="*/ 0 h 257442"/>
                <a:gd name="connsiteX1" fmla="*/ 1994137 w 2048859"/>
                <a:gd name="connsiteY1" fmla="*/ 257442 h 257442"/>
                <a:gd name="connsiteX2" fmla="*/ 0 w 2048859"/>
                <a:gd name="connsiteY2" fmla="*/ 257442 h 257442"/>
                <a:gd name="connsiteX3" fmla="*/ 1 w 2048859"/>
                <a:gd name="connsiteY3" fmla="*/ 0 h 257442"/>
                <a:gd name="connsiteX0" fmla="*/ 2209159 w 2209159"/>
                <a:gd name="connsiteY0" fmla="*/ 0 h 257442"/>
                <a:gd name="connsiteX1" fmla="*/ 1994137 w 2209159"/>
                <a:gd name="connsiteY1" fmla="*/ 257442 h 257442"/>
                <a:gd name="connsiteX2" fmla="*/ 0 w 2209159"/>
                <a:gd name="connsiteY2" fmla="*/ 257442 h 257442"/>
                <a:gd name="connsiteX3" fmla="*/ 1 w 2209159"/>
                <a:gd name="connsiteY3" fmla="*/ 0 h 257442"/>
                <a:gd name="connsiteX0" fmla="*/ 2209159 w 2209159"/>
                <a:gd name="connsiteY0" fmla="*/ 0 h 257442"/>
                <a:gd name="connsiteX1" fmla="*/ 2154438 w 2209159"/>
                <a:gd name="connsiteY1" fmla="*/ 257442 h 257442"/>
                <a:gd name="connsiteX2" fmla="*/ 0 w 2209159"/>
                <a:gd name="connsiteY2" fmla="*/ 257442 h 257442"/>
                <a:gd name="connsiteX3" fmla="*/ 1 w 2209159"/>
                <a:gd name="connsiteY3" fmla="*/ 0 h 257442"/>
                <a:gd name="connsiteX0" fmla="*/ 2209158 w 2209158"/>
                <a:gd name="connsiteY0" fmla="*/ 0 h 257442"/>
                <a:gd name="connsiteX1" fmla="*/ 2154437 w 2209158"/>
                <a:gd name="connsiteY1" fmla="*/ 257442 h 257442"/>
                <a:gd name="connsiteX2" fmla="*/ 0 w 2209158"/>
                <a:gd name="connsiteY2" fmla="*/ 257442 h 257442"/>
                <a:gd name="connsiteX3" fmla="*/ 0 w 2209158"/>
                <a:gd name="connsiteY3" fmla="*/ 0 h 257442"/>
                <a:gd name="connsiteX0" fmla="*/ 2209159 w 2209159"/>
                <a:gd name="connsiteY0" fmla="*/ 0 h 257442"/>
                <a:gd name="connsiteX1" fmla="*/ 2154438 w 2209159"/>
                <a:gd name="connsiteY1" fmla="*/ 257442 h 257442"/>
                <a:gd name="connsiteX2" fmla="*/ 1 w 2209159"/>
                <a:gd name="connsiteY2" fmla="*/ 257442 h 257442"/>
                <a:gd name="connsiteX3" fmla="*/ 0 w 2209159"/>
                <a:gd name="connsiteY3" fmla="*/ 0 h 257442"/>
                <a:gd name="connsiteX0" fmla="*/ 2377475 w 2377475"/>
                <a:gd name="connsiteY0" fmla="*/ 0 h 257442"/>
                <a:gd name="connsiteX1" fmla="*/ 2154438 w 2377475"/>
                <a:gd name="connsiteY1" fmla="*/ 257442 h 257442"/>
                <a:gd name="connsiteX2" fmla="*/ 1 w 2377475"/>
                <a:gd name="connsiteY2" fmla="*/ 257442 h 257442"/>
                <a:gd name="connsiteX3" fmla="*/ 0 w 2377475"/>
                <a:gd name="connsiteY3" fmla="*/ 0 h 257442"/>
                <a:gd name="connsiteX0" fmla="*/ 2377475 w 2377475"/>
                <a:gd name="connsiteY0" fmla="*/ 0 h 257442"/>
                <a:gd name="connsiteX1" fmla="*/ 2322754 w 2377475"/>
                <a:gd name="connsiteY1" fmla="*/ 257442 h 257442"/>
                <a:gd name="connsiteX2" fmla="*/ 1 w 2377475"/>
                <a:gd name="connsiteY2" fmla="*/ 257442 h 257442"/>
                <a:gd name="connsiteX3" fmla="*/ 0 w 2377475"/>
                <a:gd name="connsiteY3" fmla="*/ 0 h 257442"/>
                <a:gd name="connsiteX0" fmla="*/ 2377475 w 2377475"/>
                <a:gd name="connsiteY0" fmla="*/ 0 h 257442"/>
                <a:gd name="connsiteX1" fmla="*/ 2322754 w 2377475"/>
                <a:gd name="connsiteY1" fmla="*/ 257442 h 257442"/>
                <a:gd name="connsiteX2" fmla="*/ 1 w 2377475"/>
                <a:gd name="connsiteY2" fmla="*/ 257442 h 257442"/>
                <a:gd name="connsiteX3" fmla="*/ 0 w 2377475"/>
                <a:gd name="connsiteY3" fmla="*/ 0 h 257442"/>
                <a:gd name="connsiteX0" fmla="*/ 2377474 w 2377474"/>
                <a:gd name="connsiteY0" fmla="*/ 0 h 257442"/>
                <a:gd name="connsiteX1" fmla="*/ 2322753 w 2377474"/>
                <a:gd name="connsiteY1" fmla="*/ 257442 h 257442"/>
                <a:gd name="connsiteX2" fmla="*/ 0 w 2377474"/>
                <a:gd name="connsiteY2" fmla="*/ 257442 h 257442"/>
                <a:gd name="connsiteX3" fmla="*/ 0 w 2377474"/>
                <a:gd name="connsiteY3" fmla="*/ 0 h 257442"/>
                <a:gd name="connsiteX0" fmla="*/ 2486477 w 2486477"/>
                <a:gd name="connsiteY0" fmla="*/ 0 h 257442"/>
                <a:gd name="connsiteX1" fmla="*/ 2322753 w 2486477"/>
                <a:gd name="connsiteY1" fmla="*/ 257442 h 257442"/>
                <a:gd name="connsiteX2" fmla="*/ 0 w 2486477"/>
                <a:gd name="connsiteY2" fmla="*/ 257442 h 257442"/>
                <a:gd name="connsiteX3" fmla="*/ 0 w 2486477"/>
                <a:gd name="connsiteY3" fmla="*/ 0 h 257442"/>
                <a:gd name="connsiteX0" fmla="*/ 2486477 w 2486477"/>
                <a:gd name="connsiteY0" fmla="*/ 0 h 257442"/>
                <a:gd name="connsiteX1" fmla="*/ 2431756 w 2486477"/>
                <a:gd name="connsiteY1" fmla="*/ 257442 h 257442"/>
                <a:gd name="connsiteX2" fmla="*/ 0 w 2486477"/>
                <a:gd name="connsiteY2" fmla="*/ 257442 h 257442"/>
                <a:gd name="connsiteX3" fmla="*/ 0 w 2486477"/>
                <a:gd name="connsiteY3" fmla="*/ 0 h 257442"/>
                <a:gd name="connsiteX0" fmla="*/ 2486478 w 2486478"/>
                <a:gd name="connsiteY0" fmla="*/ 0 h 257442"/>
                <a:gd name="connsiteX1" fmla="*/ 2431757 w 2486478"/>
                <a:gd name="connsiteY1" fmla="*/ 257442 h 257442"/>
                <a:gd name="connsiteX2" fmla="*/ 0 w 2486478"/>
                <a:gd name="connsiteY2" fmla="*/ 257442 h 257442"/>
                <a:gd name="connsiteX3" fmla="*/ 1 w 2486478"/>
                <a:gd name="connsiteY3" fmla="*/ 0 h 257442"/>
                <a:gd name="connsiteX0" fmla="*/ 2486478 w 2486478"/>
                <a:gd name="connsiteY0" fmla="*/ 0 h 257442"/>
                <a:gd name="connsiteX1" fmla="*/ 2431757 w 2486478"/>
                <a:gd name="connsiteY1" fmla="*/ 257442 h 257442"/>
                <a:gd name="connsiteX2" fmla="*/ 0 w 2486478"/>
                <a:gd name="connsiteY2" fmla="*/ 257442 h 257442"/>
                <a:gd name="connsiteX3" fmla="*/ 0 w 2486478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86478" h="257442">
                  <a:moveTo>
                    <a:pt x="2486478" y="0"/>
                  </a:moveTo>
                  <a:lnTo>
                    <a:pt x="2431757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0" name="btfpRunningAgenda2LevelTextLeft378849">
              <a:extLst>
                <a:ext uri="{FF2B5EF4-FFF2-40B4-BE49-F238E27FC236}">
                  <a16:creationId xmlns:a16="http://schemas.microsoft.com/office/drawing/2014/main" id="{F83DC8FA-F38D-9BDA-22FD-2CCBF108D124}"/>
                </a:ext>
              </a:extLst>
            </p:cNvPr>
            <p:cNvSpPr txBox="1"/>
            <p:nvPr/>
          </p:nvSpPr>
          <p:spPr bwMode="gray">
            <a:xfrm>
              <a:off x="0" y="876300"/>
              <a:ext cx="2431757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web-traffic</a:t>
              </a:r>
            </a:p>
          </p:txBody>
        </p:sp>
        <p:sp>
          <p:nvSpPr>
            <p:cNvPr id="44" name="btfpRunningAgenda2LevelBarRight378849">
              <a:extLst>
                <a:ext uri="{FF2B5EF4-FFF2-40B4-BE49-F238E27FC236}">
                  <a16:creationId xmlns:a16="http://schemas.microsoft.com/office/drawing/2014/main" id="{41FCF156-5955-396E-3888-AE0555407DBA}"/>
                </a:ext>
              </a:extLst>
            </p:cNvPr>
            <p:cNvSpPr/>
            <p:nvPr/>
          </p:nvSpPr>
          <p:spPr bwMode="gray">
            <a:xfrm>
              <a:off x="2351636" y="876300"/>
              <a:ext cx="1946265" cy="257442"/>
            </a:xfrm>
            <a:custGeom>
              <a:avLst/>
              <a:gdLst>
                <a:gd name="connsiteX0" fmla="*/ 942786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42786 w 2313135"/>
                <a:gd name="connsiteY0" fmla="*/ 0 h 257442"/>
                <a:gd name="connsiteX1" fmla="*/ 888065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4 w 942785"/>
                <a:gd name="connsiteY1" fmla="*/ 257442 h 257442"/>
                <a:gd name="connsiteX2" fmla="*/ 0 w 942785"/>
                <a:gd name="connsiteY2" fmla="*/ 257442 h 257442"/>
                <a:gd name="connsiteX3" fmla="*/ 54721 w 942785"/>
                <a:gd name="connsiteY3" fmla="*/ 0 h 257442"/>
                <a:gd name="connsiteX0" fmla="*/ 1120719 w 1120719"/>
                <a:gd name="connsiteY0" fmla="*/ 0 h 257442"/>
                <a:gd name="connsiteX1" fmla="*/ 888064 w 1120719"/>
                <a:gd name="connsiteY1" fmla="*/ 257442 h 257442"/>
                <a:gd name="connsiteX2" fmla="*/ 0 w 1120719"/>
                <a:gd name="connsiteY2" fmla="*/ 257442 h 257442"/>
                <a:gd name="connsiteX3" fmla="*/ 54721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54721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54721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54721 w 1120719"/>
                <a:gd name="connsiteY3" fmla="*/ 0 h 257442"/>
                <a:gd name="connsiteX0" fmla="*/ 1289034 w 1289034"/>
                <a:gd name="connsiteY0" fmla="*/ 0 h 257442"/>
                <a:gd name="connsiteX1" fmla="*/ 1065998 w 1289034"/>
                <a:gd name="connsiteY1" fmla="*/ 257442 h 257442"/>
                <a:gd name="connsiteX2" fmla="*/ 0 w 1289034"/>
                <a:gd name="connsiteY2" fmla="*/ 257442 h 257442"/>
                <a:gd name="connsiteX3" fmla="*/ 54721 w 1289034"/>
                <a:gd name="connsiteY3" fmla="*/ 0 h 257442"/>
                <a:gd name="connsiteX0" fmla="*/ 1289034 w 1289034"/>
                <a:gd name="connsiteY0" fmla="*/ 0 h 257442"/>
                <a:gd name="connsiteX1" fmla="*/ 1234312 w 1289034"/>
                <a:gd name="connsiteY1" fmla="*/ 257442 h 257442"/>
                <a:gd name="connsiteX2" fmla="*/ 0 w 1289034"/>
                <a:gd name="connsiteY2" fmla="*/ 257442 h 257442"/>
                <a:gd name="connsiteX3" fmla="*/ 54721 w 1289034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54722 w 1289035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54722 w 1289035"/>
                <a:gd name="connsiteY3" fmla="*/ 0 h 257442"/>
                <a:gd name="connsiteX0" fmla="*/ 1457351 w 1457351"/>
                <a:gd name="connsiteY0" fmla="*/ 0 h 257442"/>
                <a:gd name="connsiteX1" fmla="*/ 1234313 w 1457351"/>
                <a:gd name="connsiteY1" fmla="*/ 257442 h 257442"/>
                <a:gd name="connsiteX2" fmla="*/ 0 w 1457351"/>
                <a:gd name="connsiteY2" fmla="*/ 257442 h 257442"/>
                <a:gd name="connsiteX3" fmla="*/ 54722 w 1457351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0 w 1457351"/>
                <a:gd name="connsiteY2" fmla="*/ 257442 h 257442"/>
                <a:gd name="connsiteX3" fmla="*/ 54722 w 1457351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0 w 1457350"/>
                <a:gd name="connsiteY3" fmla="*/ 0 h 257442"/>
                <a:gd name="connsiteX0" fmla="*/ 1625664 w 1625664"/>
                <a:gd name="connsiteY0" fmla="*/ 0 h 257442"/>
                <a:gd name="connsiteX1" fmla="*/ 1402629 w 1625664"/>
                <a:gd name="connsiteY1" fmla="*/ 257442 h 257442"/>
                <a:gd name="connsiteX2" fmla="*/ 0 w 1625664"/>
                <a:gd name="connsiteY2" fmla="*/ 257442 h 257442"/>
                <a:gd name="connsiteX3" fmla="*/ 54720 w 1625664"/>
                <a:gd name="connsiteY3" fmla="*/ 0 h 257442"/>
                <a:gd name="connsiteX0" fmla="*/ 1625664 w 1625664"/>
                <a:gd name="connsiteY0" fmla="*/ 0 h 257442"/>
                <a:gd name="connsiteX1" fmla="*/ 1570943 w 1625664"/>
                <a:gd name="connsiteY1" fmla="*/ 257442 h 257442"/>
                <a:gd name="connsiteX2" fmla="*/ 0 w 1625664"/>
                <a:gd name="connsiteY2" fmla="*/ 257442 h 257442"/>
                <a:gd name="connsiteX3" fmla="*/ 54720 w 1625664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54721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54722 w 1625665"/>
                <a:gd name="connsiteY3" fmla="*/ 0 h 257442"/>
                <a:gd name="connsiteX0" fmla="*/ 1785966 w 1785966"/>
                <a:gd name="connsiteY0" fmla="*/ 0 h 257442"/>
                <a:gd name="connsiteX1" fmla="*/ 1570944 w 1785966"/>
                <a:gd name="connsiteY1" fmla="*/ 257442 h 257442"/>
                <a:gd name="connsiteX2" fmla="*/ 0 w 1785966"/>
                <a:gd name="connsiteY2" fmla="*/ 257442 h 257442"/>
                <a:gd name="connsiteX3" fmla="*/ 54722 w 1785966"/>
                <a:gd name="connsiteY3" fmla="*/ 0 h 257442"/>
                <a:gd name="connsiteX0" fmla="*/ 1785966 w 1785966"/>
                <a:gd name="connsiteY0" fmla="*/ 0 h 257442"/>
                <a:gd name="connsiteX1" fmla="*/ 1731244 w 1785966"/>
                <a:gd name="connsiteY1" fmla="*/ 257442 h 257442"/>
                <a:gd name="connsiteX2" fmla="*/ 0 w 1785966"/>
                <a:gd name="connsiteY2" fmla="*/ 257442 h 257442"/>
                <a:gd name="connsiteX3" fmla="*/ 54722 w 1785966"/>
                <a:gd name="connsiteY3" fmla="*/ 0 h 257442"/>
                <a:gd name="connsiteX0" fmla="*/ 1785966 w 1785966"/>
                <a:gd name="connsiteY0" fmla="*/ 0 h 257442"/>
                <a:gd name="connsiteX1" fmla="*/ 1731244 w 1785966"/>
                <a:gd name="connsiteY1" fmla="*/ 257442 h 257442"/>
                <a:gd name="connsiteX2" fmla="*/ 0 w 1785966"/>
                <a:gd name="connsiteY2" fmla="*/ 257442 h 257442"/>
                <a:gd name="connsiteX3" fmla="*/ 54722 w 1785966"/>
                <a:gd name="connsiteY3" fmla="*/ 0 h 257442"/>
                <a:gd name="connsiteX0" fmla="*/ 1785966 w 1785966"/>
                <a:gd name="connsiteY0" fmla="*/ 0 h 257442"/>
                <a:gd name="connsiteX1" fmla="*/ 1731244 w 1785966"/>
                <a:gd name="connsiteY1" fmla="*/ 257442 h 257442"/>
                <a:gd name="connsiteX2" fmla="*/ 0 w 1785966"/>
                <a:gd name="connsiteY2" fmla="*/ 257442 h 257442"/>
                <a:gd name="connsiteX3" fmla="*/ 54721 w 1785966"/>
                <a:gd name="connsiteY3" fmla="*/ 0 h 257442"/>
                <a:gd name="connsiteX0" fmla="*/ 1946265 w 1946265"/>
                <a:gd name="connsiteY0" fmla="*/ 0 h 257442"/>
                <a:gd name="connsiteX1" fmla="*/ 1731244 w 1946265"/>
                <a:gd name="connsiteY1" fmla="*/ 257442 h 257442"/>
                <a:gd name="connsiteX2" fmla="*/ 0 w 1946265"/>
                <a:gd name="connsiteY2" fmla="*/ 257442 h 257442"/>
                <a:gd name="connsiteX3" fmla="*/ 54721 w 1946265"/>
                <a:gd name="connsiteY3" fmla="*/ 0 h 257442"/>
                <a:gd name="connsiteX0" fmla="*/ 1946265 w 1946265"/>
                <a:gd name="connsiteY0" fmla="*/ 0 h 257442"/>
                <a:gd name="connsiteX1" fmla="*/ 1891544 w 1946265"/>
                <a:gd name="connsiteY1" fmla="*/ 257442 h 257442"/>
                <a:gd name="connsiteX2" fmla="*/ 0 w 1946265"/>
                <a:gd name="connsiteY2" fmla="*/ 257442 h 257442"/>
                <a:gd name="connsiteX3" fmla="*/ 54721 w 1946265"/>
                <a:gd name="connsiteY3" fmla="*/ 0 h 257442"/>
                <a:gd name="connsiteX0" fmla="*/ 1946265 w 1946265"/>
                <a:gd name="connsiteY0" fmla="*/ 0 h 257442"/>
                <a:gd name="connsiteX1" fmla="*/ 1891544 w 1946265"/>
                <a:gd name="connsiteY1" fmla="*/ 257442 h 257442"/>
                <a:gd name="connsiteX2" fmla="*/ 0 w 1946265"/>
                <a:gd name="connsiteY2" fmla="*/ 257442 h 257442"/>
                <a:gd name="connsiteX3" fmla="*/ 54721 w 1946265"/>
                <a:gd name="connsiteY3" fmla="*/ 0 h 257442"/>
                <a:gd name="connsiteX0" fmla="*/ 1946265 w 1946265"/>
                <a:gd name="connsiteY0" fmla="*/ 0 h 257442"/>
                <a:gd name="connsiteX1" fmla="*/ 1891544 w 1946265"/>
                <a:gd name="connsiteY1" fmla="*/ 257442 h 257442"/>
                <a:gd name="connsiteX2" fmla="*/ 0 w 1946265"/>
                <a:gd name="connsiteY2" fmla="*/ 257442 h 257442"/>
                <a:gd name="connsiteX3" fmla="*/ 54721 w 19462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46265" h="257442">
                  <a:moveTo>
                    <a:pt x="1946265" y="0"/>
                  </a:moveTo>
                  <a:lnTo>
                    <a:pt x="1891544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5" name="btfpRunningAgenda2LevelTextRight378849">
              <a:extLst>
                <a:ext uri="{FF2B5EF4-FFF2-40B4-BE49-F238E27FC236}">
                  <a16:creationId xmlns:a16="http://schemas.microsoft.com/office/drawing/2014/main" id="{A6D29B32-61E5-6170-2420-92295A74390D}"/>
                </a:ext>
              </a:extLst>
            </p:cNvPr>
            <p:cNvSpPr txBox="1"/>
            <p:nvPr/>
          </p:nvSpPr>
          <p:spPr bwMode="gray">
            <a:xfrm>
              <a:off x="2351636" y="876300"/>
              <a:ext cx="1891544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sources</a:t>
              </a:r>
            </a:p>
          </p:txBody>
        </p:sp>
      </p:grpSp>
      <p:grpSp>
        <p:nvGrpSpPr>
          <p:cNvPr id="49" name="btfpStatusSticker277017">
            <a:extLst>
              <a:ext uri="{FF2B5EF4-FFF2-40B4-BE49-F238E27FC236}">
                <a16:creationId xmlns:a16="http://schemas.microsoft.com/office/drawing/2014/main" id="{3515D964-C662-3F34-46B9-947C89A04E05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102664" y="955344"/>
            <a:ext cx="1759136" cy="235611"/>
            <a:chOff x="-2269853" y="876300"/>
            <a:chExt cx="1759136" cy="235611"/>
          </a:xfrm>
        </p:grpSpPr>
        <p:sp>
          <p:nvSpPr>
            <p:cNvPr id="50" name="btfpStatusStickerText277017">
              <a:extLst>
                <a:ext uri="{FF2B5EF4-FFF2-40B4-BE49-F238E27FC236}">
                  <a16:creationId xmlns:a16="http://schemas.microsoft.com/office/drawing/2014/main" id="{0A0E9250-6B76-3E2C-899D-598AB0B426C8}"/>
                </a:ext>
              </a:extLst>
            </p:cNvPr>
            <p:cNvSpPr txBox="1"/>
            <p:nvPr/>
          </p:nvSpPr>
          <p:spPr bwMode="gray">
            <a:xfrm>
              <a:off x="-2269853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62" name="btfpStatusStickerLine277017">
              <a:extLst>
                <a:ext uri="{FF2B5EF4-FFF2-40B4-BE49-F238E27FC236}">
                  <a16:creationId xmlns:a16="http://schemas.microsoft.com/office/drawing/2014/main" id="{0819898F-09EA-071C-4F69-5D87EE2F7814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69853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F09F56B9-D46C-ED08-4264-597CCF9B8923}"/>
              </a:ext>
            </a:extLst>
          </p:cNvPr>
          <p:cNvSpPr/>
          <p:nvPr/>
        </p:nvSpPr>
        <p:spPr bwMode="gray">
          <a:xfrm>
            <a:off x="10572125" y="3495343"/>
            <a:ext cx="1273157" cy="1010659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i="1">
                <a:solidFill>
                  <a:srgbClr val="000000"/>
                </a:solidFill>
              </a:rPr>
              <a:t>Paid traffic includes paid search and display ads; Non-Paid traffic includes direct, organic search, social media, referrals and email</a:t>
            </a:r>
            <a:endParaRPr lang="en-US" sz="900" i="1">
              <a:solidFill>
                <a:schemeClr val="tx1"/>
              </a:solidFill>
            </a:endParaRPr>
          </a:p>
        </p:txBody>
      </p:sp>
      <p:sp>
        <p:nvSpPr>
          <p:cNvPr id="47" name="AutoShape 2" descr="Sonne und Strand">
            <a:extLst>
              <a:ext uri="{FF2B5EF4-FFF2-40B4-BE49-F238E27FC236}">
                <a16:creationId xmlns:a16="http://schemas.microsoft.com/office/drawing/2014/main" id="{4C32BEDD-30F8-DAD5-DEBD-142877AED5D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2E5E38ED-FEF5-888F-2AA6-E523A918E5C6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 rot="16200000">
            <a:off x="1684924" y="875391"/>
            <a:ext cx="3893099" cy="5765075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DCCE4B1-084C-9A8B-701F-C56C6E478A81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38" y="946635"/>
            <a:ext cx="252287" cy="251574"/>
          </a:xfrm>
          <a:prstGeom prst="rect">
            <a:avLst/>
          </a:prstGeom>
        </p:spPr>
      </p:pic>
      <p:pic>
        <p:nvPicPr>
          <p:cNvPr id="13" name="Picture 2" descr="Pave America | Concrete &amp; Asphalt Paving Contractors Nationwide">
            <a:extLst>
              <a:ext uri="{FF2B5EF4-FFF2-40B4-BE49-F238E27FC236}">
                <a16:creationId xmlns:a16="http://schemas.microsoft.com/office/drawing/2014/main" id="{7FB2DBBB-8D91-825B-D97F-9AF3102953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7170" y="5489956"/>
            <a:ext cx="701200" cy="73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4" descr="Alpha Paving Industries, LLC - FRIENDSWOOD CHAMBER OF COMMERCE">
            <a:extLst>
              <a:ext uri="{FF2B5EF4-FFF2-40B4-BE49-F238E27FC236}">
                <a16:creationId xmlns:a16="http://schemas.microsoft.com/office/drawing/2014/main" id="{CE9CDA1E-ED0C-EC60-61E5-C1FDFE8503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459" y="5408421"/>
            <a:ext cx="465160" cy="224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0" descr="Contact Us | Quality Paving Services | Brothers Paving">
            <a:extLst>
              <a:ext uri="{FF2B5EF4-FFF2-40B4-BE49-F238E27FC236}">
                <a16:creationId xmlns:a16="http://schemas.microsoft.com/office/drawing/2014/main" id="{A3FA02A1-314B-AFE8-73B2-74AFB7B786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6041" y="5434000"/>
            <a:ext cx="660297" cy="185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2" descr="Turner Asphalt Reviews: What Is It Like to Work At Turner Asphalt? |  Glassdoor">
            <a:extLst>
              <a:ext uri="{FF2B5EF4-FFF2-40B4-BE49-F238E27FC236}">
                <a16:creationId xmlns:a16="http://schemas.microsoft.com/office/drawing/2014/main" id="{F811C6F7-95C1-8CB7-8343-C3D6DDE3F29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968" b="40222"/>
          <a:stretch/>
        </p:blipFill>
        <p:spPr bwMode="auto">
          <a:xfrm>
            <a:off x="4085827" y="5477608"/>
            <a:ext cx="670051" cy="132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4" descr="Working at Cincinnati Asphalt: Employee Reviews | Indeed.com">
            <a:extLst>
              <a:ext uri="{FF2B5EF4-FFF2-40B4-BE49-F238E27FC236}">
                <a16:creationId xmlns:a16="http://schemas.microsoft.com/office/drawing/2014/main" id="{181DA329-5F09-6CBA-4D46-A041C6FD76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3990" y="5463445"/>
            <a:ext cx="575260" cy="1768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16" descr="Pavement Experts in Denver, CO - National Pavement Partners">
            <a:extLst>
              <a:ext uri="{FF2B5EF4-FFF2-40B4-BE49-F238E27FC236}">
                <a16:creationId xmlns:a16="http://schemas.microsoft.com/office/drawing/2014/main" id="{79B96E7D-2210-1925-D289-11F6A6C20E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0105" y="5445883"/>
            <a:ext cx="633800" cy="173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18" descr="Rose Paving Merges with Atlantic Southern Paving and ...">
            <a:extLst>
              <a:ext uri="{FF2B5EF4-FFF2-40B4-BE49-F238E27FC236}">
                <a16:creationId xmlns:a16="http://schemas.microsoft.com/office/drawing/2014/main" id="{E1109848-E26D-460E-4AA8-2BAB5C7014A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88" t="27030" r="19071" b="29133"/>
          <a:stretch/>
        </p:blipFill>
        <p:spPr bwMode="auto">
          <a:xfrm>
            <a:off x="6674202" y="5447613"/>
            <a:ext cx="496829" cy="1927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0" descr="Atlantic Southern Acquires Property Paving to Expand ...">
            <a:extLst>
              <a:ext uri="{FF2B5EF4-FFF2-40B4-BE49-F238E27FC236}">
                <a16:creationId xmlns:a16="http://schemas.microsoft.com/office/drawing/2014/main" id="{6BC2D023-2F60-12AF-D845-913CFCD9F91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984" b="28085"/>
          <a:stretch/>
        </p:blipFill>
        <p:spPr bwMode="auto">
          <a:xfrm>
            <a:off x="7446632" y="5446967"/>
            <a:ext cx="657766" cy="144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2" descr="Asphalt Construction &amp; Maintenance | Sunland Asphalt">
            <a:extLst>
              <a:ext uri="{FF2B5EF4-FFF2-40B4-BE49-F238E27FC236}">
                <a16:creationId xmlns:a16="http://schemas.microsoft.com/office/drawing/2014/main" id="{DF73A67B-A25A-ACEA-887B-0AA385030E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8088" y="5430824"/>
            <a:ext cx="461381" cy="15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4" descr="Paving Companies Atlanta, GA | Georgia Paving Inc">
            <a:extLst>
              <a:ext uri="{FF2B5EF4-FFF2-40B4-BE49-F238E27FC236}">
                <a16:creationId xmlns:a16="http://schemas.microsoft.com/office/drawing/2014/main" id="{E88F3FF7-2A53-F5CF-AE5B-0AAE87892D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1847" y="5434679"/>
            <a:ext cx="531176" cy="1493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6" descr="Nationwide Commercial Parking Lot Management | Let's Pave">
            <a:extLst>
              <a:ext uri="{FF2B5EF4-FFF2-40B4-BE49-F238E27FC236}">
                <a16:creationId xmlns:a16="http://schemas.microsoft.com/office/drawing/2014/main" id="{81507B7B-D1B0-6E0A-E06A-F549B5F566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1780" y="5434679"/>
            <a:ext cx="590345" cy="158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DAAD3B47-8CA7-371B-E9B2-C5CC72C75670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2527101" y="5427277"/>
            <a:ext cx="485843" cy="233395"/>
          </a:xfrm>
          <a:prstGeom prst="rect">
            <a:avLst/>
          </a:prstGeom>
        </p:spPr>
      </p:pic>
      <p:sp>
        <p:nvSpPr>
          <p:cNvPr id="38" name="Rectangle 37">
            <a:extLst>
              <a:ext uri="{FF2B5EF4-FFF2-40B4-BE49-F238E27FC236}">
                <a16:creationId xmlns:a16="http://schemas.microsoft.com/office/drawing/2014/main" id="{465BD279-8379-0224-713F-526A93444577}"/>
              </a:ext>
            </a:extLst>
          </p:cNvPr>
          <p:cNvSpPr/>
          <p:nvPr/>
        </p:nvSpPr>
        <p:spPr bwMode="gray">
          <a:xfrm rot="5400000">
            <a:off x="3535590" y="3024921"/>
            <a:ext cx="232435" cy="5849171"/>
          </a:xfrm>
          <a:prstGeom prst="rect">
            <a:avLst/>
          </a:prstGeom>
          <a:solidFill>
            <a:srgbClr val="C00000"/>
          </a:solidFill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CA" sz="800" b="1" i="1">
                <a:solidFill>
                  <a:schemeClr val="bg1"/>
                </a:solidFill>
              </a:rPr>
              <a:t>Pave America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89A2D886-398A-7E8D-4556-F50EE23C733D}"/>
              </a:ext>
            </a:extLst>
          </p:cNvPr>
          <p:cNvSpPr/>
          <p:nvPr/>
        </p:nvSpPr>
        <p:spPr bwMode="gray">
          <a:xfrm rot="5400000">
            <a:off x="7330114" y="5122991"/>
            <a:ext cx="232435" cy="1653031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CA" sz="800" b="1" i="1">
                <a:solidFill>
                  <a:schemeClr val="bg1"/>
                </a:solidFill>
              </a:rPr>
              <a:t>Rose Paving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458A39E5-C8E2-5F71-A403-CC251E123A5E}"/>
              </a:ext>
            </a:extLst>
          </p:cNvPr>
          <p:cNvSpPr/>
          <p:nvPr/>
        </p:nvSpPr>
        <p:spPr bwMode="gray">
          <a:xfrm rot="5400000">
            <a:off x="8978667" y="5170891"/>
            <a:ext cx="232435" cy="155723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CA" sz="800" b="1" i="1">
                <a:solidFill>
                  <a:schemeClr val="bg1"/>
                </a:solidFill>
              </a:rPr>
              <a:t>Sunland Asphalt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A2039849-C3FB-7E40-66E1-B7C64DC37CD3}"/>
              </a:ext>
            </a:extLst>
          </p:cNvPr>
          <p:cNvSpPr/>
          <p:nvPr/>
        </p:nvSpPr>
        <p:spPr bwMode="gray">
          <a:xfrm rot="5400000">
            <a:off x="10155465" y="5594748"/>
            <a:ext cx="232435" cy="70951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CA" sz="800" b="1" i="1">
                <a:solidFill>
                  <a:schemeClr val="bg1"/>
                </a:solidFill>
              </a:rPr>
              <a:t>Let’s Pav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421861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think-cell data - do not delete" hidden="1">
            <a:extLst>
              <a:ext uri="{FF2B5EF4-FFF2-40B4-BE49-F238E27FC236}">
                <a16:creationId xmlns:a16="http://schemas.microsoft.com/office/drawing/2014/main" id="{286ECA46-70A4-D57C-4B0A-2B3F29239CE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4404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84" imgH="486" progId="TCLayout.ActiveDocument.1">
                  <p:embed/>
                </p:oleObj>
              </mc:Choice>
              <mc:Fallback>
                <p:oleObj name="think-cell Slide" r:id="rId10" imgW="484" imgH="486" progId="TCLayout.ActiveDocument.1">
                  <p:embed/>
                  <p:pic>
                    <p:nvPicPr>
                      <p:cNvPr id="5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86ECA46-70A4-D57C-4B0A-2B3F29239C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5" name="btfpColumnIndicatorGroup2">
            <a:extLst>
              <a:ext uri="{FF2B5EF4-FFF2-40B4-BE49-F238E27FC236}">
                <a16:creationId xmlns:a16="http://schemas.microsoft.com/office/drawing/2014/main" id="{928AA783-BCA2-46BD-8665-59261B3344D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73" name="btfpColumnGapBlocker399837">
              <a:extLst>
                <a:ext uri="{FF2B5EF4-FFF2-40B4-BE49-F238E27FC236}">
                  <a16:creationId xmlns:a16="http://schemas.microsoft.com/office/drawing/2014/main" id="{29D9981A-A6B6-1862-CDCB-5C41CE234B31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67" name="btfpColumnGapBlocker607281">
              <a:extLst>
                <a:ext uri="{FF2B5EF4-FFF2-40B4-BE49-F238E27FC236}">
                  <a16:creationId xmlns:a16="http://schemas.microsoft.com/office/drawing/2014/main" id="{59CA8323-7175-FF82-120C-4CD2EB81141F}"/>
                </a:ext>
              </a:extLst>
            </p:cNvPr>
            <p:cNvSpPr/>
            <p:nvPr/>
          </p:nvSpPr>
          <p:spPr bwMode="gray">
            <a:xfrm>
              <a:off x="8843764" y="6926580"/>
              <a:ext cx="540544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5" name="btfpColumnIndicator271477">
              <a:extLst>
                <a:ext uri="{FF2B5EF4-FFF2-40B4-BE49-F238E27FC236}">
                  <a16:creationId xmlns:a16="http://schemas.microsoft.com/office/drawing/2014/main" id="{9079212B-2132-0350-545F-FAEA38D2E37F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btfpColumnIndicator736305">
              <a:extLst>
                <a:ext uri="{FF2B5EF4-FFF2-40B4-BE49-F238E27FC236}">
                  <a16:creationId xmlns:a16="http://schemas.microsoft.com/office/drawing/2014/main" id="{ECCB0E6C-B6DB-BE0A-C0D6-C1B47FF25DF2}"/>
                </a:ext>
              </a:extLst>
            </p:cNvPr>
            <p:cNvCxnSpPr/>
            <p:nvPr/>
          </p:nvCxnSpPr>
          <p:spPr bwMode="gray">
            <a:xfrm flipV="1">
              <a:off x="9384308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btfpColumnGapBlocker938256">
              <a:extLst>
                <a:ext uri="{FF2B5EF4-FFF2-40B4-BE49-F238E27FC236}">
                  <a16:creationId xmlns:a16="http://schemas.microsoft.com/office/drawing/2014/main" id="{8B92BD04-6254-9514-3E17-71B22E662DD6}"/>
                </a:ext>
              </a:extLst>
            </p:cNvPr>
            <p:cNvSpPr/>
            <p:nvPr/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8" name="btfpColumnIndicator246615">
              <a:extLst>
                <a:ext uri="{FF2B5EF4-FFF2-40B4-BE49-F238E27FC236}">
                  <a16:creationId xmlns:a16="http://schemas.microsoft.com/office/drawing/2014/main" id="{B40F645C-5EDB-58A1-2045-E8ECCC91D58F}"/>
                </a:ext>
              </a:extLst>
            </p:cNvPr>
            <p:cNvCxnSpPr/>
            <p:nvPr/>
          </p:nvCxnSpPr>
          <p:spPr bwMode="gray">
            <a:xfrm flipV="1">
              <a:off x="8843764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btfpColumnIndicator387430">
              <a:extLst>
                <a:ext uri="{FF2B5EF4-FFF2-40B4-BE49-F238E27FC236}">
                  <a16:creationId xmlns:a16="http://schemas.microsoft.com/office/drawing/2014/main" id="{3B134348-B84A-689C-6138-F4839ACFB29C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btfpColumnGapBlocker401561">
              <a:extLst>
                <a:ext uri="{FF2B5EF4-FFF2-40B4-BE49-F238E27FC236}">
                  <a16:creationId xmlns:a16="http://schemas.microsoft.com/office/drawing/2014/main" id="{E752E715-74C0-363B-FA57-5419B6A42942}"/>
                </a:ext>
              </a:extLst>
            </p:cNvPr>
            <p:cNvSpPr/>
            <p:nvPr/>
          </p:nvSpPr>
          <p:spPr bwMode="gray">
            <a:xfrm>
              <a:off x="2807692" y="6926580"/>
              <a:ext cx="540544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2" name="btfpColumnIndicator523410">
              <a:extLst>
                <a:ext uri="{FF2B5EF4-FFF2-40B4-BE49-F238E27FC236}">
                  <a16:creationId xmlns:a16="http://schemas.microsoft.com/office/drawing/2014/main" id="{1446B007-BAB0-220C-A274-9EEE3FE0303E}"/>
                </a:ext>
              </a:extLst>
            </p:cNvPr>
            <p:cNvCxnSpPr/>
            <p:nvPr/>
          </p:nvCxnSpPr>
          <p:spPr bwMode="gray">
            <a:xfrm flipV="1">
              <a:off x="5825728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btfpColumnIndicator162008">
              <a:extLst>
                <a:ext uri="{FF2B5EF4-FFF2-40B4-BE49-F238E27FC236}">
                  <a16:creationId xmlns:a16="http://schemas.microsoft.com/office/drawing/2014/main" id="{B4480D23-6FA1-9726-6051-5E413AA54008}"/>
                </a:ext>
              </a:extLst>
            </p:cNvPr>
            <p:cNvCxnSpPr/>
            <p:nvPr/>
          </p:nvCxnSpPr>
          <p:spPr bwMode="gray">
            <a:xfrm flipV="1">
              <a:off x="3348236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btfpColumnGapBlocker742465">
              <a:extLst>
                <a:ext uri="{FF2B5EF4-FFF2-40B4-BE49-F238E27FC236}">
                  <a16:creationId xmlns:a16="http://schemas.microsoft.com/office/drawing/2014/main" id="{58C179ED-8205-BA3C-CB7A-64E5045C7B4D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8" name="btfpColumnIndicator519946">
              <a:extLst>
                <a:ext uri="{FF2B5EF4-FFF2-40B4-BE49-F238E27FC236}">
                  <a16:creationId xmlns:a16="http://schemas.microsoft.com/office/drawing/2014/main" id="{2DE2D332-607E-0506-2DAA-CC23268F865C}"/>
                </a:ext>
              </a:extLst>
            </p:cNvPr>
            <p:cNvCxnSpPr/>
            <p:nvPr/>
          </p:nvCxnSpPr>
          <p:spPr bwMode="gray">
            <a:xfrm flipV="1">
              <a:off x="2807692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btfpColumnIndicator208092">
              <a:extLst>
                <a:ext uri="{FF2B5EF4-FFF2-40B4-BE49-F238E27FC236}">
                  <a16:creationId xmlns:a16="http://schemas.microsoft.com/office/drawing/2014/main" id="{C0F9119E-F9DF-AC42-A526-AF838738518E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4" name="btfpColumnIndicatorGroup1">
            <a:extLst>
              <a:ext uri="{FF2B5EF4-FFF2-40B4-BE49-F238E27FC236}">
                <a16:creationId xmlns:a16="http://schemas.microsoft.com/office/drawing/2014/main" id="{F9D9D2C6-506B-AC5B-15AF-2C0E06CCCD00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72" name="btfpColumnGapBlocker511877">
              <a:extLst>
                <a:ext uri="{FF2B5EF4-FFF2-40B4-BE49-F238E27FC236}">
                  <a16:creationId xmlns:a16="http://schemas.microsoft.com/office/drawing/2014/main" id="{ABA31EBA-68A0-A205-7EAE-60D2D1C3DA0A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66" name="btfpColumnGapBlocker570595">
              <a:extLst>
                <a:ext uri="{FF2B5EF4-FFF2-40B4-BE49-F238E27FC236}">
                  <a16:creationId xmlns:a16="http://schemas.microsoft.com/office/drawing/2014/main" id="{D78E8598-3BFD-B905-2766-8BBB02CA611B}"/>
                </a:ext>
              </a:extLst>
            </p:cNvPr>
            <p:cNvSpPr/>
            <p:nvPr/>
          </p:nvSpPr>
          <p:spPr bwMode="gray">
            <a:xfrm>
              <a:off x="8843764" y="-205740"/>
              <a:ext cx="540544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3" name="btfpColumnIndicator541543">
              <a:extLst>
                <a:ext uri="{FF2B5EF4-FFF2-40B4-BE49-F238E27FC236}">
                  <a16:creationId xmlns:a16="http://schemas.microsoft.com/office/drawing/2014/main" id="{F6A5D051-9361-2130-9D86-BDA3B3AA96AC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btfpColumnIndicator900417">
              <a:extLst>
                <a:ext uri="{FF2B5EF4-FFF2-40B4-BE49-F238E27FC236}">
                  <a16:creationId xmlns:a16="http://schemas.microsoft.com/office/drawing/2014/main" id="{49CBFD99-694E-C81C-69FB-0CD1E75FD49A}"/>
                </a:ext>
              </a:extLst>
            </p:cNvPr>
            <p:cNvCxnSpPr/>
            <p:nvPr/>
          </p:nvCxnSpPr>
          <p:spPr bwMode="gray">
            <a:xfrm flipV="1">
              <a:off x="9384308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btfpColumnGapBlocker919011">
              <a:extLst>
                <a:ext uri="{FF2B5EF4-FFF2-40B4-BE49-F238E27FC236}">
                  <a16:creationId xmlns:a16="http://schemas.microsoft.com/office/drawing/2014/main" id="{80325E54-F47F-48E3-07EC-2778B62B48E1}"/>
                </a:ext>
              </a:extLst>
            </p:cNvPr>
            <p:cNvSpPr/>
            <p:nvPr/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6" name="btfpColumnIndicator252479">
              <a:extLst>
                <a:ext uri="{FF2B5EF4-FFF2-40B4-BE49-F238E27FC236}">
                  <a16:creationId xmlns:a16="http://schemas.microsoft.com/office/drawing/2014/main" id="{632F448F-8DC4-1E5C-A07C-2CD3515A91E7}"/>
                </a:ext>
              </a:extLst>
            </p:cNvPr>
            <p:cNvCxnSpPr/>
            <p:nvPr/>
          </p:nvCxnSpPr>
          <p:spPr bwMode="gray">
            <a:xfrm flipV="1">
              <a:off x="8843764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btfpColumnIndicator910157">
              <a:extLst>
                <a:ext uri="{FF2B5EF4-FFF2-40B4-BE49-F238E27FC236}">
                  <a16:creationId xmlns:a16="http://schemas.microsoft.com/office/drawing/2014/main" id="{3B2ACD34-CEFF-E3F5-7BBC-3DEE20C949CD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btfpColumnGapBlocker197737">
              <a:extLst>
                <a:ext uri="{FF2B5EF4-FFF2-40B4-BE49-F238E27FC236}">
                  <a16:creationId xmlns:a16="http://schemas.microsoft.com/office/drawing/2014/main" id="{D8798C0D-F135-A281-423E-00B44A8B7322}"/>
                </a:ext>
              </a:extLst>
            </p:cNvPr>
            <p:cNvSpPr/>
            <p:nvPr/>
          </p:nvSpPr>
          <p:spPr bwMode="gray">
            <a:xfrm>
              <a:off x="2807692" y="-205740"/>
              <a:ext cx="540544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1" name="btfpColumnIndicator667145">
              <a:extLst>
                <a:ext uri="{FF2B5EF4-FFF2-40B4-BE49-F238E27FC236}">
                  <a16:creationId xmlns:a16="http://schemas.microsoft.com/office/drawing/2014/main" id="{BB0BE87C-3568-DC34-BB5D-1E574DF65AA4}"/>
                </a:ext>
              </a:extLst>
            </p:cNvPr>
            <p:cNvCxnSpPr/>
            <p:nvPr/>
          </p:nvCxnSpPr>
          <p:spPr bwMode="gray">
            <a:xfrm flipV="1">
              <a:off x="5825728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btfpColumnIndicator495713">
              <a:extLst>
                <a:ext uri="{FF2B5EF4-FFF2-40B4-BE49-F238E27FC236}">
                  <a16:creationId xmlns:a16="http://schemas.microsoft.com/office/drawing/2014/main" id="{29D2663E-F0E6-9917-4380-BA63D074A4AA}"/>
                </a:ext>
              </a:extLst>
            </p:cNvPr>
            <p:cNvCxnSpPr/>
            <p:nvPr/>
          </p:nvCxnSpPr>
          <p:spPr bwMode="gray">
            <a:xfrm flipV="1">
              <a:off x="3348236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btfpColumnGapBlocker462187">
              <a:extLst>
                <a:ext uri="{FF2B5EF4-FFF2-40B4-BE49-F238E27FC236}">
                  <a16:creationId xmlns:a16="http://schemas.microsoft.com/office/drawing/2014/main" id="{7DF0E58E-806E-D369-9865-E1652EEFB79D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7" name="btfpColumnIndicator234264">
              <a:extLst>
                <a:ext uri="{FF2B5EF4-FFF2-40B4-BE49-F238E27FC236}">
                  <a16:creationId xmlns:a16="http://schemas.microsoft.com/office/drawing/2014/main" id="{E7A0F2BE-AC5B-73AE-96D4-FE2A0CEDA74D}"/>
                </a:ext>
              </a:extLst>
            </p:cNvPr>
            <p:cNvCxnSpPr/>
            <p:nvPr/>
          </p:nvCxnSpPr>
          <p:spPr bwMode="gray">
            <a:xfrm flipV="1">
              <a:off x="2807692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898746">
              <a:extLst>
                <a:ext uri="{FF2B5EF4-FFF2-40B4-BE49-F238E27FC236}">
                  <a16:creationId xmlns:a16="http://schemas.microsoft.com/office/drawing/2014/main" id="{E5DAEB13-09F1-0FAA-AD52-ACE73D293D24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5" name="Cut_7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kkRwkDcp+/igEYEdfT5g1hiCTa/4vblDh4TfRbgovM78rTILTQL0tFZUKffyzIT0PAvgszZF/RXENwUi3yLepH5WY0PybXn7gXKsk69/e2KUJ+hnzDSkuz3uU12pij9s7XZi6CKgcEKv3kQhtFrDVjpOhqNUlpSec3wbNVwdfiAgUzVYtXeffjxmUwZWBOMxzYjIxIQIP/RWIU+z4fdx3oOo3KBZGdlW9qXpcGkwnq4/28D0RsIZVF6+yKeIm+gBUBBQnYOGkfyL9377FL+lRWJLt/nXh5DkWgK0voAA8cYJvyq8HR/bd8tVtDOlZy7jU4F8NvEV1U6FzhUmAYf7mnfHFu8mWnkWxpiYkHQRATKTbp8VtRMKOtZvaiw0XRTjM5zFaheJveJBvG3KzsT7fE1JEmTXTGPiBjJim8vyylR1DTvfuQdOpaJCxoAusqQ9YDdLrFYXcTWVLSKtYxaitQfSyEaElOY9cHj+ySSn8AH8g0avf01+wOAlS1EtboL1+OrxICiz2RUV/JEuLKZegX4aTtyXHhNk3doDpRXrbeTvt/W2ajXYmpWkiPo0gEgjtbrRwqp8hOfyd+gkVZqhhhATIKehbzCa8Fso08BWmvGXi3Vs/fkYCYzAjzl4JudLOXr8T2ii0mDLtScZlJUHMMwZ0ksam6/JpERmOqPGK6R1DvxcoI8+Cc1ru/NETyDe6k/+83ygY34kS8h53VcmpM7pDmip1vKQkDLDzvzDFer6NF4MW8lNusX42XHC2qSEa+BUT6MVcY5rjYrbF5f7iqRah1D3tpsK5zbexsapu9s4JI+b9ZW/B8e+PAUMfaWZlSXTuB+Pz+3vf8FiRjhpzvC4VKBDxBdoEcw9JEn0X12ImqeZAin4c6MYaaQKTj1R99lGhrihgV5IIcGvpEKBkdtVRjtEm/ACGYupgzQ3YahcR2LK9Qks8TZb1v/4KkvYDFV0hTepaqeRz95HTVliQ/aZMMW/r1r3WRi7uZVQzPzf8+9kb4ynvfVUwlhYqlCp2JAIYr0TXWhCoUMwXyI4mp1hclgWg4NLFy7ec7CSQYMspAaFtfWhHp/vRQHq+LpTa3r2j+I2cuTSxU1YxrC1onEe6ATNOU9cFoz0XEymNs0jS4ebqa9n+VsalhUYsBUxSjWhqwL+TXn+gaHV9P/QkQXyEVUXPOE1UGzauV0wJFXylqrbeLElzgBEmeWz0YfxMSK2IByuHUZZOyyCij8U7+kXLL8EsUxIx6MuUrf2SAmRs0pqmiGfGQQbt4DNGF7siRJGhP4CYBas4+5h7//AUEi2un2diINnoKbag3uDLStPx0GzVg8BXZSyYSk7ZGRrH3Sgig5wu4n63ngYoyQF3H8RuUDF12uedxfoPdZb8yB203X2mKAsKzAIzy4in7taIKGx/ItSKMMBCPJxclh0RFfI+s/ZTZZ4Vuxqc4H9R5uXIvS/9/cZ06Srwr6ufff2BIUvlgMH2BnrpPkzyi2Ljrlv/840MZorwLHxokXnadLl4cK5WEi3l1Wlm8X6J1WBg+W8RXwyJhKxTB2nNoG2bPXer8/zTIRAOr6dk+OseyvdZQ00WniXlaTMf7aV52t+A8UDdXI8+IdnZLTURxVVWD75uWhT5qQrEf7vcEojtrv0LmB1ipr0metqyoRnFHBBdXQv3t5sa406JBiSeXTQitkdEgEN2b1/bDJHFzD2j0W0NUop/wtiGgtgfiYDGAMaj38Kjywk2Oze9jbQNJNRY2lhIlgRWGEQkeFCZkmV9wrH/TFsMn7w78rzWl7s04Bs0TlUD+N43OHgMdzWgWxUwUzB/7H3HaJP3/gsKS/0tSfIPjawgn2E0383BnrHYmBW0KJbE9Mf0JJB9gFnevXg2W92RK3RZy0H75CrDHLivhsiEj/f8RRe3qn/aZgHSUMk/KjAxHvPfifsq5T1g8C1+aNKGP3ATaWd4vqQf4iLet/6niKWBFlkTJxNcGzIJtEMhyIPMyOZayorIjwanjfXkXXmC+VYCUwflaDm1YnZknRNsdqPkDNZgjkgQszyOy3QbBr4pHGfvdAJ1Ifw8jdrT1tFJZfKygaZViCYVu4iymERQe6PJaTmBwj1LQ9bfy6mQDa7S3p2rcUkZhOuATZvnXU7S0njwqQqKNkn4c2rlm4SH1gjvt8dNqCIM6K38nMhYQ/2dssgXIaPrHmvmxlx1Hr79SCL++9dj8RZSZ60l1yMVk76EPkOXMOmhC838HVZlMBXWV9dZDTcvOqArCTj9Ppifrv5G6vOJbHUvCH9gr/AWJZ4fbPFRox9Jdg0IHjc3g4fYjG1SF5G9TuuYHtXyvTPzg8rMXX4++B0i6JXpbvIUVxj8eRptla9wIya9kpot6WGBHXeARMvh+yMQLiJ7uC2zV3hD2FicqrzeUVjZYCc4l77IEnd4Dw4pLiBdMoRl3ZPGWiyQERh6Z7R8u/Sy+41ZP6GMmiAquW2ffk+jqe7VU8vnIQnw63zoYD3/8KZG9uR3caFk6V+8Vphv5YD++4BqdVeF3yfgQSl44jyEQjipoZaTRt5tA5ZeBDGHBUpqwSgd+oXjEqxGxeya4ver6E5EZfw24esxfX7VfGMKItvkDHLwkfcPAG2HWbmtPeEDQ6eGdzo4w9Jd1b7jmb+BX/Quld3cA0OEVmu/Vomz3zu5jGlf7dbCDSKKI/6WcY8F893gMH48Cafl3j68m0o7+23SF95Xx+7DVsZ/F9j6XgqImPDJB23CGBA+r4uvFkamRhLiW02ZXZqmAcI70yRhHCaoDhJwlL2uhGkX58KDHQrPOxE3VbMmyJrlRddTGWYkbBFybYXxWhHiqhRcha0C61JMc0u66jt4UlSLVbWHPcF4s9iD9POISU2FOZz4OprBp16V5DZz8vmlDQIiNi6jXqxTB9IVQ303sLmuyS2NnJRUdXdrLBuS9xFoRZTiqaQXWRwIAVkFxgkD9fLi3ehbb+LIDa8oIQTL1Sf8VEwpvbTszGq1zStEycaaOTW/4VawpTcRMKcOJNaN0youVMW4NhObqPIRxrfxyEBJiXBh1aR/tY5qS8Wuun4FACqMxBsCAl5kxARbesxNllwhHJN9Tq9QSV+QMpHuY6VRHDkw24TrooBe9WkoZGn+5Fe9sfCcLP1FsI56WM7mYjpTFcm3mA06khXCT2NGvZDWVcTCx63jiLvm82cj2q2hehoIMY+ngJ52xVK5hyV6JFie+GbN3gqnlXfVLAUmkPuicgw898ShGs+bJUhPEh/5xy7xROT/e19KFOwiVEEEsagoUahmHkTZSS7sQeIyUiaPPuWUKPp1dEf71jNiFQkEU8WWN4hdyO3YuvfeW93WlCsSAfmYj/snRJFM8X6FDKVSmcGJeh4Aa5UjmkL7/ZxOAAv0sZvOD0+QrlrG0kC7MMOSk4akusZtzqmCOwvN4aOqgQOHip8liX6NUO1OrstZ21ldBCtqELeiQ2ZK+b1da8oYak9aE+IDTOyaGpuma+hXbUCm3v5eA/pG2ox++BXDfT9Ay5xRDVTelUrNzodiH6cLGSfNR0lveqktHNsRxyb5abOCulcOY34a4U6Z8Y/3iGv7vsaVLim/PwabT084ariOQC8c4fhDWTk/DiGNuXovq73mgbYC1lVyE7Kf442HO9igc/xHOUaBmZNtvAihNI/rJUTK5JAC1cV/1BC6ImhdvmYE/ohTCNLv5BlF4unsnrYxmdQtcEVKRuPCrclQNHAFDw1lW7SSLOQw9of0fvQ05BIXVRns0bXUbP3UvHiaUBCuGL3n704DPD1BK+vBsj95qORoG5TMZ/qFintJ9pa9aQm5Rba2a6WFE1mITSvZT4K/R4RbKphxTCHLIAywaybsH4i3BqdQGsqazw3WiioCqn8faeVdoOLwskiV2JVUE6PLitLtZ4z292S71BTZeAihru9Xk7BB+xGnIRPWdAbpBeGcWWM44Ojut7rowqWLq2VWXUmuP6pw9koBuHpG4ChzVku6gEqH4A4gkTPc4BeC5t0p5Ef2qjoybNVSs6Z/xwsq/IQl97opj41oBYt3ww1EoqohqGBkwd85Nlh5YASf/n7AmDJArywermD+ryqTadBbLdMydM0HCmMzD39VZsWGc7ANfufYtVuRS/oR1XHxvSq8GNyjjUpx0qy18SdVJbJtYASzduBTb/g9kdNPfYpLaucHRZX1TfaOo9lbk8yvGoH9KBa1s3EpHahKpgCagNFkh8dbq/1x7aaSO2mpoEZ2mQaomBAtlDrFeqvbQxd/F3rRG2TdlRmGJLjSOjw06zLHSrrTsgCj1Ij6nZYIlfkcOsZb9Qhg3YMXkYm958xX6cSy5C1tNiW60yJOnhsw4k7LVe77DieDr3HH4Tbg+W4J3GPgZAmjT1k8Wct6+3ihejniWz9wPeGgSZoikOscvpajxxJWIexl0hnUj6ZG1+Bz+OpohMb7VvMVH8zoHuw6FvwvDCVE4LJp5YIRD6om03jvCaEfXMrIISLBBCSsvhYYTDzUMgySYRLNbyW/TldCnulukxYnS8eifWcsKSPxZQhOpXwrCmHWu2vlaEYYi0bXSTLvE5xgIizaw5EKicqjsm81jBIpZWw8D9od+y3W0qXHsDUa9L6f18+jlipA4BisI5F2XP+YKTnGmtfQEelHhcA736zQV+D2HmZSRc5xnhhMLFWKbM1WtFZmvGn1JPYd0ClyF6R/mIW8EncWsd3r2CrqcE/lj1c6PYF+INhEaruVy0rLGl3F0u3ljwYHXmB4mstG7130ypDH5/ZB6ymIMLZLxM6g9TC/2kwtUqFf1K4xTgkr/lETjiN81RvOH8EG/K8lXD6MYrOIkjI7NnWUPQpXPFTIv6fplewgffVcs+4szkxRMcTl5zQZwf27s71CIjVE6YLf1vIHGg2P7GGs82v8nugk0Pvifj3KtPQoT1LYq+x/xvW0zBYwDL9sSm1V1metrIZ19AanvlDXrcGrbOny6CPsPUHxzuEcIp4OVsI3RNraBGi8qpsU9t1RhhGoYxJCez2Zb6fnU+dbmNRqgD7jMGmVTTaPzBMSUq1MRSzJsOsXYYfLl+72RjfJupvNdAEJ9/BewBTk57VBwPeWaDtkxIOQyIxswD9BquD428HzCZlZVJM0dKbUDGiBpfdubeNCEUdxFnoTcWQ+QwbdLW2D/ckokAn8AowqoCo0bDr4JwsYlwejqWqOZ9WKnb8jnJ/QoQOop7TYa+IU2O2ciyr7JAeee8zTG9+IlEiLoGsY44JwixRKw8sU3lzirpLf4p26IqIrDkYwXhcmEFzO28Kz3ti7TYeMT3iOcGd/JIdJUYW65XuN+3GfOWFTrVx9dhHXwoOUK5WrXHQzMZa4V9rzT8oe1++HFGLTUABt/7+OH9kdrTekeuboea5QIwpD1x8Pf+qYcKDR+4tZ3O+KDHC+ZIYMiNLoglt0D7ecbcWyW8hShsa/q+/b9lV7m2k7jrT++n26WukkXlAOQZ3m2Z7RoeRmEaKhnHolZJ3PI3LQDvG4MQqadEQDRsK5H2TItl/RnbptUj3ClPIInqnbXKlovWjIvVbpNBgjOdtIkTim2C8Xfovs86z0uwae+JPB95VDO/8nmYT+gGpiOIGvXhgVv7XvA2z/fP/QrA+EfS8ApCyOunQvqYsF2lo5R71Sb8wZWB4ryraIgwRywEgd4a+WZSt1BUDx3tr7kTYOKZZM6WJ5YASzrtv6zDwkCa0jLVVZZEeEw38pAacR6XvU55oe9BHDWuL9Ew1ODgjIGBk0u60/OYPpvavQ8dio5q7KQQjdeiXYUCZKp3QlH54ImkFnWbwXAPeFjGSr8ksNKLsrDbOvOZbvvdnc63tmhD3vu+kX9+fFDkRa3DufadnbAF6aYay63xldT+RRfgMtqtm9oUcjOI6R4QQgcBbK7+r2pBgc6DToG0SQsmX6KxLtm7K/7NWREC4t+yglNDSaaLNX8iRYOOli42/3M/b6gLuQIrspgJosmUotHw2MGN9YXVyFZi7/uMhKyZ7ViGZ1Y36Jcups6zCk2WVbQu/+lnylRpgp9qenMgoIB4l45PCmBaqZVZ45dlvB92qDITg9xNFWHKtnylsm7a5+Vm8r+nNO3V+FFtm1uW4xCu2XtYsSIkyZNvW3TQLyygnnx3INDMUjmkNYLBbYjFNDF+ukAEHKjxIFuXuX1bBaEqLlWmFZy3CLd1RPjY3XOOac1mOfw6VHSZlbW2gia7x0DxQfoNJQ6e5sn2uoP4unSkWEX2AxEB/qw5Lh/Gf12ILZ13OWAaQgvzcDyfuwk9+zf4QeJvu/LqdFL0eoqfIlC8KW/GSVvjN8OZ/1AOLapaGLh/9cDUaDdDwMT4StAkKdRxtwMTWFHSdhjP2b1Y8e2zO8LqaMm8dEaUha+m1GLnGUSpPWOSDhvgosJT/I6kgOH52C19qMoJn752uoSHQfycmJYp//6gtYdbdixKeAUL6lCqPBnJm4gIxf807JIMyzQQDQt3LgCbAYVvSeLw+Z2Xki40TOydvJyPxREosK2gnzdcqZ/lORU6843cMq1ehBh7wzaE/XPf5j8uTW5OjLfiKQExljaWva7az5UdonA0hD5jHejk+NDy54KRN4toIcNgG4myMQehPJtLeTt6vVAMdlUd0zd2DmYPLLAvJtEAdoHiOfFCrI2BzJh9xfCn7mreweUifo3+HVzIWOgiyO6OICiVooRDp8IBk+wrijSaoODw9ZzuBX0GFbkcOn4jOBIbUipcomVH0nlcqyj4qCTl6F0lR0vFpIkWAThCqRaJMGQtwcGC3koNcnYzcWOCjFACwH4kaOLzvPaGDM94870SfuzYzr+10x16REURVboYs/aBGbCp/cSqLghLpIdE6ox5+KD4Jd2RJkL94aOjt++8cm9Q2P/7PWhmwFd6RvVSKa19XCwD4JH4IMBqDDB9fA4W9gDclmyqcAsIeh1nxAegjnoGPsnj0c7/nn0HDDBWa17z8kXk4Ue08E8hAbQoeiDzprSYzzHjBnfd5LQfWWWam9LQphXXYurEY0BPSQc6VxR2IwO9RXR0xS9kzNBrDt0As1l7USih6x8k6G01ii3GNthuU+bLYJPEiOadn0RuYCXurytaU0qUTGZzD//PMHAFlNzrMLdmh/fZxanY7tVE5oOrfnO9qBU0MJWxR3e+t4tgvcds/QDxgQBrTL0FsgsHp9yWgsnf54k0lZ+aNNlT1mFOttpSuYgyDpSJKCk1Bgy/+zJN7/f/Gyj9hXefTeBob0GFyhYHNIqBkXZGtxAML/w5/qky5d5BQGwZduo718xRXBnAfNhDLZaPdquh9ACs5xYQ7f1oare/yCpBCkHIcbu7FskBjzzWpX/PHI1kb4X2ddDvdOc/GuU3V8pC1ZfqLpqZH7PSN6AlmFdxPnj0oYazpKVDJvOC0kRrdigNfaa5KNAGkofC2XwEKfOTNMN7kh/7k3YjIv7gjppMbMknXtp8bE3G2VjK/N4RUNPUbJWjyiZJHoN2waxG/MTndmmfEGp92+tg7kRe+P9SqoLlpkAfGZLZzLDEOJHIl0+VbIUV7D1EwvSAJfnWXl5/Wc1usOv9BrjFo79Vit50lWSSzo/EtXkLxsAg7bGYeVS/RtmOyFG127/dcnEpq46MqSOyOnmk++yCs/B/Z3m3ZRfze/LtYor+XbdxbicyV2rS+bw2LfcnWqeGpQXPcClvT2MELwZVbuk5BfQCOBAPQmskUnp6c7mEtK2ZMJIrrnH3egMhSMsja99iyDY4hGVFKuH/DVqrOoldgLDQUhJ1RMiWd9GrVDi1Ro64uegwrtPkVLFiBPPKXyzUu79IsnwhH1AX0ksh+Ti3HKiIkxk3PQM/bixj4gXBuP7kUqkJMlWPe5gAe07vU0+SKqOXg6G+lDnI0pIkQZNZCpssHSoYUoYBwWz8LdjHQaSShOiAsqxHx1xqBkqK4fbK42ajgIxQcG1YHo/YquoZsISUbG8OUvZUWVJvXFHQMopiUljWSfUMTaszcoHS8qfAkQcXhEO0BREgwVIovGxhEiSRLm8MfZ+Yzf5Ya2P871MC2tcu+JLnx1iKleHLTCTR1V9oUD2ehI5rSo+zNgdPqZDeT126ymTuaJlUHmfn26cXmNELdalrsdBMbrq+jCZaF9rUMPVtntXeRrcupShwr9NzQc2Hhk4sugJE3PbUHXLBe/w8HA4sSUXX6afbxpVoa11VIjtSNvYg17bpsOPUFNG1Bx012WiRpqEi00X/jgM8b7R0BbTfDI/yACPslDXhuFIdzJKWwDSyfdNJUNehhopCersxjkKfAgCNCEr8YH6z958b9aJIhmRVZJAOmGnWDExA3NkNb3bv5aCTer8dmKnsnKWKtYPRBgtHX47rv2k7BQy+xykqfJiUYt21SGcLtg1MYYDGGoP6xgz2kmf+0guhhXyzNy/9yUf3d7ZADx/Y//aN3d/D0yjq4JHf00QzCFXjv316SlcPteGKzSIdWA1q7L5l46QmgLGQqKJdWKH7Q+O1J5lIvHDp5xuCdkoZBLexGvVDiKezzXEalQtEE9Ls/9RtiPo3THyO7O2QhPRP1jdL3Wm8Pn8qn1aVPQW7B5q7t4V0bHzQ8FSR6dU8xMCqAWN7diUEo5s9zoRICsh7G4rHlZtc6+PcqEdUtxw8MuPEmprmmoZ4V4GMQQITPa+z88FIOuooEd6AblaMyEWsworSuahDHWJgtvKwmqJZQSzvXbHkKjE1Fa8gagB9HpIhoXR0RwxcgNfLp8Vb280nO9rfH5yx9Mjy8+qmyUuFctry/Mh6dTOYZ52bTGi8j43Yinj1hZZmUhi9ezTwTcnxS9Jndjn2KiNOkT76/H6IwYEiAr+Q0svhOzoox7l4ZJrQuDi4YU+MRmI+0k8quWqnvETRJWdNlHJaHsACMliuIZzQ3gZceRuBdQniNihbo1BmMARKGAEF9N7zlkZRHe6bNoy+JOseghYjxG9lpd2XjFyEved3HDJ//9aONWNtBI9XtrLAc7Lq8XrYA2p0ii+1wtvCJQJ9pIQR6AWNFhdMGVsVehORJWjMZEz86uX7dKp+iRMTiS41XgXiX2tF4Q22DOOU06oeRAvasdGqJZFD9gv9u6nsUt++RvfFL6rauh7JsDGcpiJl3CvKgrdpmZBrtEAhfyy9ZCRJaYIfUYAp6/OXjuiccyxH148o27tZg6P10GTyHktvK1/FhVKt1i+h0DPoLOu5vhdRmdaNq+6ZYv74CGuxWS/pGUCyRFpxuo8Tqkj82WR+G6xR22Q5XiE7/PSvF374Q2uRcT6pZWYZqVse/E2POdp08M0FO11svyjnZKT9eV58/+C2eqmr7wuV+ggEQfHlH7UO8sqyu315D0RcN6qLdRQVlayNQcOPLVD1/iZKdcAsPf1E1J3BYX+/ZxdOkvVjqjmV3eSAawkvUq3BmTF3DyKnOcK9gHXQSwU3C91l0lr1t9Y0pslJUXEbKM8/GX2Urnnr7/4OmwT28Q+jew7h/zCiYL7EBXQVwN9Y3WTDcGL9Dzr1LbdL7hgRQ1OKWnSqX0ZWhZO7MbS10o0aHs6jS8KwgE9OELEZUazflUttPizaKkuWeEhlPoQoN4HWKr4hH0o2itAECVwkzbQIeC4CbxcmKCvdG021RcXYpjyHTMTocwDWLjc/oscM732UghwSRK0S1iLLBywWqGwDlypM0F1OcsT9lhBxT3v9ppmNR4hXhKQtxb4Yx9M+IOoesiab4Ayx38AwaPlMXk3DXuH2HwSoOacTLsaffIOIe872cT5Dgyv7rcz0Uw2GAJhWV3lNpuUUvlO/dl0LTRW6PLEZEz5zEpSlaAHCNW4HGguWpMXW5eQ6VN7vB+stsK6QdxeVsjWX+OUW4KBJK/LsARmy4nCqHeADWJDsUv7a7zUGJDWCEVd4gPUT5MWX7OjsZ3K9PJY/kvyoTEE+ZVZxHuklPEMDGj4klMZlLI99fJDAUrh+LUTwtLKJi+OEOkDBofsPg2Rd5KcuI33Ff2/2OWVtPBMoWZ+qkMZShJhoJnDb83HBX70rvljzXnD9yrriL+3EkqLmkz9CpPLvPwvQ3xUdJhfNDOqCG6LNckhlh7mUiVvwTF3D7YBGPcS1P7OsoSERx1dqCGNOIipJS4TbpB3Y6d2mXc+u8FTUFuA8dDbLJQAdggcGqFCtYZYq6eDkO5EIbvjV+1JE/OuUuCH8o9eMML605DY4u/uuGfazhvyEZaw6rijhAD/sM9gjru3bSq33/ULDYEjHLT78qbmoH0/LO2K40XVWyN0IpBsJpIc4AuG4PVPxc62tgeaG+qoIC21++Hw4ljSGlyG1kpC5AB7MgH7SjSb2yMW7c82w/QT62c721q4g22iHPfJGer/g/xM1eFDxZ95grN2isL6HYWB8pthLIJPzGKlHDJSkjFaixq6l40Q5u8Bvp/0ctJcSWfPYHsSodHuY8Tn7AiFowgebhE9UaDV1ij45JCNaATPfGPbIfuVHYRuJMsPgMwgVMobk1uDq3uM2zHlhE2mCMDpQz/uYlHzJZ5Mgxhd/f+CpIoj77eM939GvbKKaIji02bjtLf/EI4r1/Ovvq09SoTQmsMVx0Z2VEjOFgwwSMC7j2OVy9GV0omY/Vpi5u+qyxM8voxvAf12Vt1OvfK5jPsE+9Fg8jSsNyrkT4JsP5G0XqGihQ1YNhyebx1H8PtzCa1pVf4dmkRVAY6WtL/XVk/ragV9T366+C3chFLKEgT04dhIbxM+Hju6IRc89u+x+hOyvibPiz9TIvWMlJRRLdtDAs5OIc5o3/9vz5LMuJMpPuEu9F+ONMQgNOE5KlWF2Ro4IUAYHKc31YXuMVtj8pAKyKlbKEQDfRdgx8kuDQn9GVHVryk+9raaCAV11PdZFpR/8h+so5Z7HuFNS3LDVUTGdVBp5J1jz0sPyh//Jbkw5kV7WBJlV4poVDZEp23nN4VqZchI5/FnaEeZwfb0/kof1sCbdPRL4jSizQyu2exbThwfgSgw0FbeWYFPgEdk6Ame0pJu9fQYkFRRPOPWbtQc0zmqE19rkB4CV+Igg0bLPVz9T776mPPeyFTTpFBSFU4r0ePmfhLN9XLjfgzFsKsexL7oaNkOUEUbiXtpJ76UrrnjCQTHPuvSXmgpZ0fW7XO7Jf5l88n1ney6ywFKLeQ/w6Yh0ea91Q4SQDzxWTa3Zql+fQi4SHvv13IXxmWzndaTn5BvSsAJPBG8dRwqG8mfroEjmKX+gKC1HMezZUyLkuBMYFXjfKo0TF8rSmq23XCTwsTokcnksonkLAciVau9PdxNltnh31tRISwlakCrhmf9delXdJ/5Oe9JN0587Ffs/599bkw93FHNIVasqKXDVeY+cuklRHUuG6/7jRdVq0UMQsHhufYcWD7O4SbQsFaWXz8hB/ZVMcOmBJzbNwvknjuWlN/Axgo/QfXOO5VedFXe23BNNT+o8Sq6G1BtaLNykCntF3Wmsio/5/Yzrda6RV5j20fstTAm+sEwuYXQp6/0w5eWlqZh9S0eizESwNble+F/8qNK4sWMSpr/798zqbrpFLaOdBZiIukry+RKFv2Jb50XgF04cEAzQJO9MoOzjzgiaJesGLJ/aC2pGjXKB/68bPJTTPYxafssUjVSiCD1GKdS5zK7Ma6dd2+wDs/DlUcXR+Tb/6ie6xwvC+dPXxlnGwMd2lpJc9ztXwE1ZgdYBjWIeW/mgsaCDMfObOdzHmWir3LAunlGrf4YKjOvHp1pGRwn2S3stP5LAhK31RYx2ZXrM5KgoFGyuYZa8lPxI+51Ynig0EP0Iohu9cztvdj+Xnrp0U2/af0rBr+Oq+SjmHuAkBcimHoMZJGAbyb0kUNhACNrQEANF4MvVRzAx0PiPpwYg5+g0y+CGhe35vCTbArW6XLilhrzmemeyukKL1z5DkVIO+yQ72Aj06Begfb2qj5/BGyITY8igEKTkalaoXML6Q7NVgUl/gL2kmk1S+UCW9clAdWx3ytRg1rTW58ZekF15YoGRvsbWMs8gRIbL70kDQxaTDIjecEFWOCwPTeowxLbH6REAFr2/j1uG2pnmOzwcoVg5VvI5mUPCY+u6ruDadzbpO/UKanyBbnyGLj6SFjAJDOowCbeM82ujvnUPBygshNY6hRR516Kp1a9KLsFUWOv9hTvKdDHrtKoHqsLHN/RxWwiaUQJHPI5MFsHk9f+MNFIFTXDTbZVGWlLEhebuqpA2PhDfhuwFfeVLaA/B2rboASRbdw0CVXVxxsa5uNVWJo/siW3uCZqZQqkOh+XjC11dsgTTxPqJ6vdeu/rTDlyQWiFytLsKrmr5hzTWSL98P4p0J+Ewu+L5CoLgvA7XYyCUtGFsV+QVCVuRoKwZgTsnGC6uwAUwJP0/xUAVmHc7UMADVe72TRMo5gt6+2KBb42KpIcRcNVcv2RyvXqhrZrNxpk4vEdTXz9JCEpRllAAMbuoHjgkGoJJ+gZH64umGeibnXRSXQlX6DBhCY+E7wUgoeujehWDi9Cl//2cCrXyngg2woud7fiiA7C7Fhv7AyjqmjgMVe6ejP5xIYeuGwGT6+KMN8UjkTqLZuxE9iNmMQ122MyzGnsz8Hun4sGf+tp6sR8fk5huarcogL77ObWyWC9RDzpWjIokcL26oreT3r3W7fDHhM89QEcO0kZw9B6cG3eB+oUPTFvxJLQIBeqeMNzzy0pRcY/oj0fHq3gk9XddA6TAGLTLVhDbBQIsIBhtUacrZCzRNDTYj5bbh8YfnAHbm1TprXmCRdd44+oo/9WeB+0oRKj1L8UsaG173NBDqCQL4hpBH/plOtc/e54Im4aSU72q+YTw+U/QRzdvx7eDwZU842E6Q6sip5gtjy5AVCCOVmFA+u1WB99RBUILRuWuT5dJnLAiNq97+O/0JVtz3QnQYNfHxaEwWp4VZE3OS7qp+Rx16WojnODZ4R2KNnx3SFZ82Tnop8CSxpMEW7lN8i4oo5aaC44hqzcALIsC1B07tWRPkwdxDj0FiU9uIsMD9Nw/Q2JEhEtenDn6YXvMMxG5JyGFPvr1Jmz1xyESTRXnGITRl+X7d0CPFkkYzLJJiOsl5P2hM+xe8qkblRA6PClJglEOlNzFy1EEXREhjlLWSn5MAfh+3elhULh/aF/CmbVX6CnJEJdWXzUNpeba9rpvTgIblqNbodkRbDONtgrZuDhGne4/9g04l4sYvpGN1W1DCjk+7GvQqII4dJNgeoRyYORySud4cFGfDBJez3dIfBMi92FeGSwkpdKmAzdvJWK/CB4QKcadVMTvJ42GGvjL4BWmVQgo5KThCEXAIyc+iJjvyUPLVZl8lzWSBlM/IvMajfDZQ8zuETxi5VHm5p/lgXoLtpcUgZGLfLqVSVgirXz1QigUG4xn48eRLyXuqk4oJfKTL0BYKDNF3UQhkSoZ3gD+24R2X4Zb6CAax5feg1EY3TGYbt6x5h16g3F7be7I/3dxgCpZc7dlSyABUlFjsRWOY/O9A5JCgtSMh2ffqa+1nFeeNut/V8q/N7vWl3T/OjsUxNfTilM8sGKeRdX1j1ErmhUSZwL0HJqHgVcJj/cYHsa1Jp1Yt3AywalVS+xvOuF+w7VlgQcEhfZwYVe+OUXz3U9mZm9nO5RHX5/s5i1wo7sHDpAd6bVzYG56sVCon46h1SYInSJsQniMb5KwJ0vwLtwGveiiJoWJ0NOjj0hgoMNfPHJweLPgP0i22owN41x3+juDsVdIg34hw3ybOEYtsGTfjco2zOi3s+vI8/eu6WGP+ZJwNeJFZ5w6eH5IM1D0NCSGapFKRPUpGCFYev5Q/RsgospE3wDqa18Ln0uGNb2gqH0q7E2D/QX+EtkZ/s7aKGseERKJJ703dEzKRhhqy3UwhDvdSWR7HOt7IxVxGq/hUuAnykCfeEcC6umIUARE+fjnSE9KZ3lAyO3olrVsAoYTv9c9Zh7SxhBel+dX21e2poDxlDQdlstw66fCcItpF4SFxWf/t7UVlElNpytoo1l80278g1IX3/jk9GJTU1PH82TEjpkSuDuUyt8dhH2NtBxnBqyL0DEEBwfu/guGhy8qJsbvX7rS9MiunirSz8CuhrBBUitN0j+vw4AtqBcYR2Q0mIZplK84lS6JUc5wd0Yeqas9Z5BoFJV+zvuFCCysCJsl1dgZrweImqs8vajgv8lPRIVRzTQL6fn2iher69pd4n9fXpZjQXjv3DFy0aLAtKPw5Gatf7a+2IylSn8sXtV/z9jOvD3AJ783J0+diIG5nKpPmJwd2qV5bjLEXeYCFrFVDQACMle4oGdwjq1N/WzHT0U29fJjK4Uc6QkYDvWKV5//gTCd2e6jWmV+IYutNCunbhyyMCiE2gBE65F0Amysei5eKe8KhQiZ3ZK3C2Q0d/kYZGODeDHYsymFX0jfFAsXF3nVUKK75kKPmshvBW1XGg8FkM+phjFjhwvCcJC6XzqGQSKTAwtKPTgh8508RrtXcxCjfNgiAUkHfqd0fl/DmcHentHRNYmRn4BJ0aPjb53njnbfgzRyyQCFz/LqS1nCgENA7gYLJz8Uzoyw+yLSLmkZ2n1zs252Vh3nJEoI96aTZ0uMImzVy3wxuuwKE+M69x+MfH13SW/yfA/lCGMvUCOaPVgH0xM5BflQk2u7oFQ92tW39wLk+4mb4XV0NTjSpQo4lFnxdbNs6Ga9+BP8mqaWCAmCeeRxVdCItnAw4hEAEhq0KEMlcbRQN1FAxJhDlBIKye8Hj8DccWIkEMRuOUWMSxj9/wrvSE1+fIMQkiVsIaaIqVIAy690LfFXasbxdDWT7yaEJgtAdWSxIN4Yky4oCTzcExl813ggRqVt1UA3nzxQrpuVQB9RP0l3HtpSwQdZJgDaVBye4rAaCkw2Y2QMys5p32CPm4sO244TpMAr2poFBmVDnR3WGB2E4nm+3fYZN0Jb1O9UfcgE96nA7BDyuuWoNp+d2+A2W7c1XKXQ8S1czxCc4NpjpZgTSQnlUTKyfBfVsplshH5rkdimhGGm0fsYpVHh7XozgkQCLJmqMCKGwpkhg+T084SH2hT0Yf4PcWBfPWPfbltNa4Ir5IQzNztFPhkb9ilEG9k0xmcYjQc2wx4GSFsaINdj2BsNyJgHcA3e+neXSrU1HlicTo9lkowyQGzu9bSnRO1Nm16Lc7Uav+ecSptIGVX2L5dkS2RNUiZkqZz4jqJElMskYxQjZ875Cne/hPlMRF3ufis1JqwkDpwAFJFamc+a63Yxh8bi/HtRwtVPKLkfRTE4h60nrnr+gglmicVXqdMyCE7M0XNr3/+y0e0NDDuQEOg4ge4m7hCzWHNN170+tTnePeqwma5aZPqffokHCE0KrwZ60x3NzBPiyAJW5rstz5G213KKI4lMfGBvEMu2XYP0MaLl1yjuBHNJqPZqPs/HZlfRTguou1hI9KPCJj0J6nAxMaQy7wCARsGTeQtwx27WooyHZE18NwpOK3SJXoKp2CwI8lTDsGg+Qzidn4BC89VcgQFjUsEsaonlXH+K5C3oJqBdOMrGjeEVwVnlkYRxjtmMe/4Lb3g3Dx1kLAXGl4D8b0D4HA6cxBZQlMtff3mo2D8PSittDKSyhi1buY2lT1/pWhPoUQ8yf1/Slf2mXiwzq8JTpRpGTuFbFW3/8YpvU3lRqEQwqwDhQyskVmhul0KKYY/tD67zhxjIq7TzE7hI1uHpfQb4Qrlxq2s0iMjU+CSgCcCKOtZVgv5fxWzDQ2KKPoFMdZ1GfW/AYwFwcjj7ljLM3merlysIsTxPPsTmG4OGPw1A5yR11e6wvNEhu/rXqnZnV3bOxJY2lxoGWA2sYgbv72xG6CyVmGKbcJG/0GhmejEfBcL9Oadf3xuHaONb5uVL85bh5QkV0yx12LBtqW4kKIJWS9kNBXidc+cZi6Q/hf9yeqJXKQYUne4N59tI1fsFpkcdJ5D6VeS25IrtdfX2gMNsxuqwzgm7bI7fxwTK4baFoWlY9IwTzqLrF7x3vUxPtlGQ1IhtBUHuk5cc0+tTb8MGIwGqVJb1822QM2lSvqYtfbVrVPqGE+NBwMPchlcnWFAm950Y7/scg1xMrhNkLtOfLssrKipemNtR7AorZfkps6310fzuFIwLmeLJTby+MLi4KDLu/6Vto01VbezTHy5+MAqpKmZfb0kV0r31s8sgURvsS1xFceZNRjMK/BXH8dPp2CmQHs4gKae9J5Mv3RxxHA1T76NgnED2II6wJnX/mpzpxNHUrej52egpMBTyCcYeuJNm6VroAAH94ULxBLAeR3qWi4TwleleopCD0bVg60ezBxAawRTIpdIjgRdmvjGSXD9Tz1lIuMY/BSwODlfSIiHTvByWOCbBnDwCOxKjsQD0YVDVmkmWGW7dthE9ry2QMDOsNSkp6pku1Et0cGaFJDP+6I2jsPlHGVTVUewKxqtZWUjGwcj+U9C9rT6fHx+6PV2JbILXO3fweIhZMwNVJ3cbL0VVXenumjBcy+1XjW/Ic+NY1U98YyvTKKWxO1SgsKJHe3ePeSI67gKpkn3pkujFebH5LIntGIn42kS4vMSc+ObsPD/fizusYtaqtyU0p7+WTcI151lUGSP8pU9qyisxOu9De58brbMf//8LuEXycosyOK+UYterhh3Pr8yyH0FXiTUaM0M5iFmtj7ofLjg+QYxUD8SvEgEWtB6BOkndBHWraBaXCa3YJBHyebFO4lzNY7iZePB3lf0Pp7IyiB75esTNdRzhuY7UwxPynlgkXHhxGZcfeW17Ws1Pp5szyF3g1/7GSLy9ZPHtuHCmKsHUUoP0LYetuZppTc/QNM7huwoIZlgjHGPULXWrA9bMqwnSb/3wZJWpOV58j10L0S0qtBYgl9e45b8VEZqgIf6Sr/DjwBm+FGOjTmeGdexdtbdOByk4qMSCWStN1PT4CVH+rvw3t7vm1E8sW25gy8wlbrXmpE5HR3My8ah2UnliLGI3FDUTbfuzsKEP2PrCFSSX6QmUHThHtH6WVe32iQAxmh4mrGSw2m38NQc9XQ6c8txwlY1929f6cryDbEcSdrmI4z14m/Rj4zoWhFbWK1zNv7e+VuwnO6d1Dqa7j3jfcrWqi31q/Qfv8NgcQa0ueqgdt90SzsnRVrfgz/dTuRHVIegWkJBQk9BPUq4iHgPeM1Iizv2++V1WBVJnwCGNL0zFf8WAT2gz0qqqYAHiFbpv+OxcA94xW3CA+4lChBZT2AeOps0GCIpT3EFPikoBgMs24VX2ektrf5tEtC/Pq2sMsSR4GpT6AHbM86VK1C6oLUWJw5lv1tcNBTXh5IK4c4ODstSm00AmZ2b67msgFYWf495CqPq+RHq6pxwX7UHJY3Phqh4Y5DgdYmlVT2vFeh7cGVjN5A1X7z0hz2mV3EKlSHo55gvPHlEdOe0i5PDCaBUtwThPcHZvxgRpgWMB9sUbmPVRF+Cohr8GHcw65Px3EiVMvT3joEXKPEmZcZKzrxlCpB5rJvl0MUIrLmK3UemMCAQKDPqmb3LdssL/t0nQdVSWlRGsxw6yRxi3kU0x4EDtlsPP2UUVdbh7QJOEaLWNjtm8qBVPQOTdGL+Sl5w6ZruIBbsZxnn1Cf42mP72SfafdpBaRANVTeabW2o4uTkGhYk/md8hCR47bhVRhl5vEz5AoPwzYBpKRz0tfDQGg0Ls5thWTKh2uSKr1GLISIuE7QrMVoRFD0R/nPWVE0bf20gZhO3iYrp5bdjnMaXASH+9bCin81OuIxgfvUb4KX0qCjxlPWwImIOMCpjouzo8owUaZbEBf9gW0kTRJZuNAflvmulab58AyfLM8WIY+Be+sWp7UF7k83UaDjaNtNZBtvlz/1Gn6AdKJU/Sa0Us5Bl9vuSdDY8jAW2BevS8oZv+pCzc3Mr8j+/u4tz0C2lI0o/dCQNuZ5V3gL+4kyrKxtiqg5pwDuVBjE+UdkbHtP1ejeH/GroYwFj+TU/TDIKU3CMfHXXc6unrTmO7h/6Ul7a7AkQbqKQTW28zv4rd1tOjaGxtRud7cLFNtHSTeMrJ9z9XeT/YTXP4mG1D8KO3JQWLWTIOmUOO8yDRoZjbUpRym/k4B1OxGdW9hjx8N0dFAvFM9UqpfkYmOpCgohkwwPeMRDnsZz/sXCjfe+CMuRneX2wjJk0p9HKM00nkfUKqlOxw3dAm2MPnZ5FC8vqdcB0BOQiZF6ZsMQVMO1ZTLYSKcKJS+PynySb+ju8oxknKQz8l3Y9wCS0abd+oatjDiJiQWUYXoSihwGWwDv2vqrGhI0o24dCAYCwMZKgBXK6YkF9l1lHlcJkCxwsyVA7ttGJiKfWE5HnvmtcmfCZq3+lnBtEVgkdDbF1Ny/58UjkVKq7DdD1UiW+FkfqHHercunRDN0jWtJSblfJccC148khwN1riD4s4SgTXYSHxqrz1WyD/VvmjMEv5GJCiqheiCjCsUdbz2nRt8OB+6EvY+DctE0uPiYJdkwxUOZhWTXTLT/PJso1D/W3j5xt+55IDAvs3BY7+gM+8/odysQjAF+9qiX3Hy/Vny4S2ohG9SpHOl5HwFhzdqIHedHxSTkPfuW9pwguCZmM145C9A8Jc5zBaSo/IQEYqkAZtcue5eaKNYJz3p+I4V8pKU6ByejX2hLNrijXPmjywYMLrSSesfiRcS9+/3syGH9R3D96nE8dw5d20JzpUGlOu3vZwnTh/uChi3ZsvLIQnPDOZ2vit0bmT49ucPWA6poLXotUWL96GkjsmKt3G6sPeihPgYt9aOa5swQG1xZuupf1yHued1r6n7lTRAjQEvSbxLsG7D2bmy0HXmsS5IIcTxdF3Olbat2pbMz92llmHpjzUqjbVJ7/mVlvoiaxYYNrzPozAyTkNM0sDn33o1vaA1Pi2oz2Q6MM2i+yQYMBlJkkCNQzK7nCswtmVp3RLklWJdT1MjmcqfyO6o0jxfpxdZyWMpCWSDeF27+eBiqaZtGZ35t8kiUx3lVl0DzeV4d7Umr1QPZgbdgelRT/HAxo//O1QuIY076xOP43eEqRYMc/WTRWlg3ivU8MMK1KQiduP/PUvY3YN3M8GVSid0OICQRHNapmJOiutOVAkSF8bFwk75lolbe+yWsi9yIV/MuE12T5i12xh1uLuxd6cG6RTXGqhLHbR8Hp1WsaNe1uKsHcNU+/1h7/MbX67kLf0CvlPq8gQ2orwfM1Fsg/igWYGItAgpj4S21KjVJy5chSS+1brv7YMJvX7aJMYgBb9WJ28RvnpCTkSN5j5u6z0481ePhoQuZa++nVWXZcLFuzX1okCU/9qmAeln4cQR9jWTExBe2MVxKHK2ph57ECT0/ZOpylZllVYc/vGQrNnQrx7oT4OUP0O3WlMs0AWuOp9vytPRC9RxNST+cJF/0wzPAbTmMWJC/em/h1g01e0J8kln1M+pQP43hueB9Vft0aJQ8HTIAirh7dkkMCcgv/1+siVwRfdxYiXuh0T4iGOCyfQBv7gGvf51grLeilsRxqmuP6iIbTDgc+SEFS1pUWlj4XpEYuu9UOSMmesYQMTuEhJGqNt0jftfUrqvln6ztTOV87p+CbQZE2I1x4aaHNK44acl8bVUmGgSYAVHNEwNaB8r7VlDpamhfZGJZlJAu9RO76IhaBapQCbKZXpnboVqx+2s85j6UhRs4Q+lbXLorAkZnvDLY/gJ59lc0ge3Lo4AtsydX8yRrA/4P2i4MnAXc+h8fUDdlpQQ21EEBIKJ0zWdNkl4OqeUspB0RB6krN+wzZ2E7mtp8/KVdr9LQywHricHjXEwj2wtbq3bl1JXnBBJKPxt/oiMuKyWAw4AbT9nuSqy0gn6sCE13yBhL/32Ct4ONz2fsBQg+i3alSjOvfSnJFEdzGpvRO7I2BI1+hzAOtRyQxZhM9uQwYoU2YRPwPvsv0ylWA4+oLjMRbZ6cWdH8Z4KcALPVJcDhs4dWYz57Z0nizy+TJs3H0ok6gRGzL9F/X1gyLj4qRC1gDIAqGqeKq2m9prXnEfnUzTl5QNXYuBxEVJdwF7VR47kn1IPFMNxUbMMreQMlb6Y5+STtdC6VJL0pumuObl6DguoC1YtQxe0WbZ9Opr3yckdvIpEeUibJsSooeCullMNJfwFVHQbbBHKEHOzdgCZHfmh/OQLeHoYwSpwK3pedgTvy3UE/dmRg8uPbnYjRxTRj210USZRlBpdyUljUA43MvAATcKipiqG4Tq0lkHV/DNW6bvnqgcFrSWv+gkhmziOGU/K6qmhliAAtdCkuNcWm4BEgvpnPkPEt0Jvq6s+r8Dk1Z8oGHf/x3UFFAFwS0SGnYSu7fUznUywaeQOLON+B4GodiOeyrsYB6WHXY/e5j9kHU+S/skOlyNesjWOYku+0khY6aBYO5mF5y3EytTLkxnfx9vtErypkk3e5Td8KMQA6vfERa6s0mdkxAAAUPhnWzH7SJFkdibawO2ZRzpy9GDbiimehc5wZRM5cY6hTHUsid+okTi2vYrfehYBkOj0GopdFZtLJxoHnCwpbRwAYO/EhMQZfI/7IkWHNge+9J7ArBwrSdNPvkZsuLPOGKAbyXycqynYPdRawFN6mEwch9Z9kqLup1Sh+9wq0YrTZFoCAqDIL4x8OqGo+VjXASFQsuzi2jDvWIAgt/rv35hLz07nRTZglYimA+C9O22fFrdQN6vlYSGFzwjI9Zm9sfDwvBTZjnT4YMmnJI/tnZHxgIdXsBNB6LlAePP2sQ0SpIW4SKXXAAHQfUFOnGUN22H2n6jOOJlI+RiSRhRnNMOgf1xvcKHXHs7KkjcpUHf1OGAetqclskoUTRWeaSFAq5D72VdXv0Q/DPJVEGpIengUN8MJNxulvgMRrpcwCH2//u8l8wEFWzVGfQcLZneUXiDY8N6R/6YWuKOMvgKuYlbbMYg/M4j+mEFL2uddsuvBewDVoX2/+K8Zb/RkTjCcXVNnRjU0zPiOpV02CpKvpJcSVqnUuigVHc6Az/gHwrKSqXy7x6i6aj5x6uFIy5SdyjbK94cpaZlgxbRoCOVuwHdwgeMIuGpMRruQgmwp1dR6nnzVYUi2sbMEmiwzbDgUwADp3plsch3zWSYZAtfzd1kEQNCSNPf7K/7CgBbdll4u6P48dOy3E6Z+IuolvzJqouGV/ehkQPhy6jWCCBMOkDeqQt+X479BHdvTPNCIPqPDHijRIOc6W1fAsFRufB6+UbgqwIm4/liylVPK9fA3jWM1vbjk7RgXY7PKH8Rrb5b6HAEgFkYglHVhRV3++EY2EVI1jsoghr62E5DyBVQLA62pkSvzpPBHRfQeKOb1jm1awbezva/RyF7SvtF/WIcJDpM9ygEH8dkDU5wfk0xYc2Kbyklm3+64/1nHP5j3hLBO0rdJpo7huyHNYNHa+GgFjCp4Fu5H7I8PI9STr8iP9w4R+B+Nqch6SaV+mCvuLZtkAZNUlkWQwE3+pYgb2aKTINlsIxJOTTFvCf/oRT7UAC9Ow/U3InQ7Vrhp/eznzhrbmYHcy8TeywUxfVtquKc9cR010N3bfvEEeoelEHVUxUt8Yc7t/0VU6QD9jtXUTZJTMl/5mozULX17vsPF8F292h3YopYIGs1W0fBJFgy4HulsVlvw/+XCmkdGc6/BHC9OojjkaQmD0dYVeqqlvduXXQimuJ+rgJZhK6ZfdjaBALPjLRAaasp2S273DThwpMELcY2AgyVZIjFYfLgdiok0VYz2R0FJ/nH458cdYpGlQyGsJKdfsBKuyL2YLQ/065bmFqQhm8ABR3xFelfXtIVMCQrQkIsyrkw6Ab10FWFZcNn6KXqzku8F358NU5FvODc/AKMNAeqRhBI1sxBWyIY7ds7I5FGiUoXFu5Cedk3kqU0AzwaLSsfhSpgUw6yaYBwo31g5FGBg/4++iwBs5MRoRmeoNuysOpTJjWhk++wXQuZISsNIpe3vdL3qWQbVyxLI+bXYj6EZ3MVAKzmmDO+VzgrenMhn5Ll3TXR7NdqbTeI2w37pnNzrPVGf/Hg5lWsVPQ8WO5Y86dZlO67Wt0cofrPou6pEMGFZrHk+B8fvNC9WXHVaXPjzLdKzNLv5getnYw5/wdt21dUc9OK6JrdeZaEsqioajNRAdIb6QBZb4/js9eNo1YWBdSKGGB+wlW1+W1QJ5w4lyq3cH6qp+RZN8CCE9VZx8+/bF4m434P98qMPGk83qgjuv9LlIyC4teEEqBzdg9JIOLBPdvZCunj9Pw6rSYbiyIU1RCGpant5eCt1COKi2Op6o9ZHOZAlxyH9CAqunS71/Miwxp4jrScrCYBaB8fx29JKbgyCXigWx4fVCGfdmRKNzRqhUduFTFCeYFR7R1vRy0S1KOG5q6cUtUS4pTr/pSPP5uZPqNMBQkJnpsc81nDfr7FDPjKpxG9sWIzby6gogNLoomhh6+EOlXZso0B666ldtR4qwcE1Njh7FrCHfOuxSuUoAVC99/FdCOyPZ+ESDequIA+hEPdDRqIt8GMsuBWKbEj7eOT/pAT+CMY0p+FgnAV+ypfBM5lFTQHZAK3pVy+i6VDut8tYFLvnLFgTNr+17kiYirgaOdK+oi3zLgc0uWb5MiKONC2zOgUnuYxRv5QY5IrPVqInmny9xRcA90N/ErjIY0HxRus9llpr0rHes625xJ0PmIJx1IXZ2KCtMHOm5R7PSHya7OYG2paaMYY1S0bIme4WQ24VbY8LdI/O3YY70wBUpy0jA2acSds/OwQdBLmFHI3VCTGC+X/YUszC7jhc23JkKAqyGWIPBFzC4pMXnPO1qZOZSSE4kKqzbGsQhoVON7txpm4mKnJ1GlgyEe3V070aGovQjZNoUWRd30azfryI7H7gbnMknpW7JFpmfmasgkvK8Gz4c+vWzJ2kzc/H3Bmo1NEiNEFYOR+irLxA+WNvM4qIMVNP4bAjDEuLND4K/a3CGfFEBQU4ur/fo5tlqpoaC4yuOs8v+0rarGMJY3hPrH2t8P668SkoCvJEG7Fx0qic7iNF7giyMKZXOXqjLUPcZmMiBwGwBxzNKB+TearV3+Fn4iTlXisbP4vQMMZPnU8mPlAFD4c2k5gf5UU7SJGGE1kqt6QdG3s6I9snNIOfEhuiKDTw40bLTWtEHUzDGx9lBNx/opxkfbYqA/8x4C//McxX85vuYlneVmfRZDqkFK59pjEx4H8HhiNNQqc5D3yLgndn+kaqQUvPc1jhlpNQeae2TIGOXhk4qmgOC9oabJXJ7cFgUwwjlg7j9tEjzUKhDSr/ppVCRTnGMaC7YdakZDVxXBDChmMF6XJPEbMpM6yRDx89KkIJGyGlmsk4owNzOdHl8rtV8iB/HnNMAPjLTHVZKZ6dt0l0QII25YfRWddaXJURZkCMDUVC1SrtR1Q2ek9qfP2mTNdJxZaHOW/OMNj0mTqeMp2+v8/9jq20uZSmbR44kcBpxtzXcremt2mMkI1bYR9ok1igLbOAk0GjYDtv3x+9O9ME9bvO8u4xteUlFzlLq/awxtSqv8z3f3T4GzQdhtOCXOVyi4uhfSNxWr/t3dOwjR0ABKnY1ZaE8BxrXysDhAZNtsaSrWA7ACmIXBtlgT/6LupWAq2M8URlcqeExxTchwuSUZUuOowEgfXHkPeE2YxG4pa20GYuqEVgxO9I6r5qMKGMNntlTUygQHJoWpmZxNOTwGNUEMDjTWzCMU8ORbnY1tje0p+fkhPYAsOeLVDm0Xyw0lwamTxmqD4X16Qz3YoyH5nM46+bnTs6C2bPnIfOI1ELD/rXPc++17BstgkECA0A45XG0lZNKqriW5zRLAg31fMH50JKvrLlCExzvVjnIxyIZrc1ypzxcRPwQ9A9rKE77BhkX8NFhKT9RnnZbg71fgXKJoywb/Ukp4ELiNjUSaByBTCdZhDdYo+Fsut6hiKnTCKPAcVvznTE7u0fn9K3ngTuC1LrV9dbCczn+QjXLgwREVO20pslvdxI3JEftPAty6s/rgews5YV2x9Yovj+t0ugkjJKTDtAdPl5ebAvOZxvR5H4slDhWVzTAHXAqQhPDunBy0ZbAyxJw/HIrM4srBPncLRPw2AsyeNKZKoDI0NdXHYrj18dCXAgFJkGm8S0RaJuwX7kdlgECnq/iRFft2cCTcmVff9gcD68aS2GPKDbuZhZArzhgdc2secNBEZvhrebrYI9aeiIh/JxQMVsDUZwjgF68cQTVe8Zec2G2VBurZbxl6O9b3UPy2dGBOg2kKEGlQULDXfbalUkGwnMho2c2hHUsaiGVeKBFstJaA0/Awjf2n58DbYlefswT2SNopd7d8cmc5Yx2THqapGY6MTz3Gd0D/GT8deTbkgsJ28Hmexf/ygYWo+1N9ij9mu5lBi2N9gv3oOJnIJA0p1XVNoDju8DpIawoQNQNfG0pzPGVDmDUw8iqFaUEwmTXKEC6dbO5xJtfAEGc4BZpeRtF6EWD8IQC1SYz8e70by0KGJVm5PofLppqyzdLoVHPvqkuxAYfbydBQi40Z8s9H4FajpoNzShaIvmXEIxDhDWdEX+qCGqxVJzuLgPepQCEKzNSt5lo29I0MBWi9KEg2dA/KbmOl5zcJV83K9MWMMr2HfuPkvj31cbI5qCUZxQuj8u8WAPBa1MJOVinYYTzf9hz1Z3K9SMNhAcTrYTr12f2g7NDnCpbOKStqqD49wP91kvKcsjMxMaK3UATga/sjL8RqvQXBi+ozy1gu4NTY2D8OaY//xj7vCZFrx2rFRWC6uAGKUtK9tGWjJn3S13jKqFYIJAI2UQk4oYTMvsinNQq30BqjGKeLByuxsntXwvfKu1cyOHcfU+otDVsdsxsjSPOxg59U0FKvQY/EIG2BVSE8araylPB1UaH3iUJlry69Tvt+7ezSTiOa17HDZMJZoTOt5XSmuThG8UL19r1h4S8jVrExh9lm/ack8NY71XoEbmvdsyg2njUShe1grGeb69qYOB5G1MXmjrcXYwkCYlITVbHJ8shVvEkHVIjozC515N8wVhWvUbuKTtFHKjRr9Vcw/b5N65ByiNHyDkgTCJfS4fyHdVLBtSaIR3nLlD2iejTS6TQP2PuwAA4aaxnvnTPi60t2jRzxYTpWxWJDJADz2F8IeVMqabow/CCXQdfsXSjdZCMj7bn1aUQGvXj/Fq5+2/XPpRy80IbOb7OvoueqxudnIbxBdlpsxXb+pBxDdeiloo4Yx3deewuBuRuBGXwkexb6fSyoUurwvUKo8fwXwZdzq6d0Oj8/hVTQJ7LFE1ppXuk+lJzrgRhawyJC/lAiXFHab4Vm9rCvlJXFxnJwmCSrLf632Xvyk5+v7KE7GpufvkJYclr2ElMHY4SnlJgAQKQsQe1G99ym5zlSjuP4Wlg9fdOTE55a8tkQXHaZhJvB1e4qPRumpf1wj1dnFdf9ORcpsBuiCnVrmxDOb8xkJ4E8DjmLEUS35iwDR0R7hTop/aTRgZp9f00l2zGKjSv6HG54AfNled6M9Fy0qwLf1GpowEh2ioDwQ3w7VFKETMkwsIR7BiptDJINR8q1G/pSrLzi4iuq5IFOpBJj74ku6cteVOaJ0692w5PKRCdu+Oo6plq2zueGDrfWa3NquI9GuE/1FU4O/4PBNYO7TzDbDcquoA99hAmA/3WuplKKbz4bF6XNFefMHUlMIXCMf57kpl1SOccG8cdJZBUXNons+8O6cpXor0OoWSH9IDl8f84IvO4zhFKTjtKj/XqFgnJG7gAYdNOrZt0EhwN994jLgfnomqWRhxgsAwQA+OdmyBnuayJiEMG/hQCQ3A19isqgRi9rFY/ZYOxgVoKuQyfFwExrwDMKgY82VCV7xg25+pZ71dro3AYQHsENPoWJwySnhuYCz678kYtXiwnNAjx3XLTEFHOpBnP9u0yLwSYViZ2qh2NSrmkwL/KNxTnKD52kO/wDWKwXcvQqRUkLkFkxEzwb4hDsNWZ3/Yzu2rYaVrYTAmy3j5EeP3oGykVwFEoGJ08hipFTaYKamlz5YrrBj3RkpDj+LMbFp4WYw5BhHMDmW//Av6BWibLYko56QEuxoqNCUsslW7Sid2U1AEHR7bRfCUXFzzO2DGJ3qyv7TL3+voOH5Dqqqx0L/VaqnJ3cwMW+XUfKpTvdBwKqesbEJIgpeqD73DDzAu2x6kwhOSMhZUNJ7mvZ7eeZ3dts/AN1ypU/KXrN01uE1/wOyTE4v3E0dNeqpxft3elv0jTkd5h0ay5fWWxEq4xik+J5ImZ9FVNqAMulzX8vypBoBIIrXFFfm3S6E3LWBsXje15cMerT/wHtMUNSUfyvRpmXuuwILu/KRYcPYiKYOjxizeDBxLOX7lt8Vx8jx7buKnAxaK4LhCH188/OgI0OfHehZdgTsFaOxr1DKvcRYCjXtQJ3lCnSiuKmuI3/UVso5BTKHxdm00nsJGlPJii9NRHhdPrUktBdsWxn21qVPYVZt+R9fFo0RvMWu1TZLeOTlbvXwOUzoJIr82xc6sSxbWWLFlqP6pRSoARjkDb313DIe3fNWbptCoBgq/EIfb09HW7PfcSxRIcbHLRnM9QWeV9fVDXxpF95pze0iLudvulJVKfC9d4X8hsVPlrnKJ9Pk/HY2T6p3gng0z8mupQ32KpqMbZ7ye82cLAThn/J07mdsegJlaEybnBqNOObf6h4GOpW5e0fegQ9PvfWHCQI9RxL3aIvQT51S/9e+QRsmPi8Le7u49IuMeHvWvOykcBy+gTHrw6IAa9h4tP4KZyJCQCdJj9AEtigckY1SeyzZbsQMiNlm+axAZF9Py/5s9Lc1sbpOcmLWO78DGHdTXeHkUqfQCK/AeI4Q52ymgtjhgfQjWkev9XsTPTFznX9WbqsKsCIdeRKP3o8lSSAF/AzuyOkLMuoUtAzZCfWylkph4S9dXMpLa2MhdKF4ZfB8hPyV3BNyypT8W55v3v/oKqPvPjhX0f84bV9JKhUlBmlbAl2gbF+lbDKuJWEEBd7DZf0aK+MtQMAHqHaCKxdCJuf2CEUzdZ5Q5BNtA0ma3mAon+melzNbNLZA+d1HWxe+ztz2Eq97Gla6137qDICJ2Y5Z/fSijAvTSst9eyRZ2kd9L15npiswn4L2Su1S+TduoLWajEgWUWpSZkR6q4697zGWBHHhSgFWcReNmu8JrxXAzrU5QNUCAJviP5+pQ3jTwessCt18LEIRD8lCMlbSkobCX1frFljnQNV9V82DlCUtYMllkmacUAJ5STTU/bEIJHHChK7BRXH3q55vU5fFFnva4uyLDh7dNdYhA7tIiL9RtdwUp+mO0CGZw8zbK6p1I7+AGJmTkgTX1OCXfZuMIeZG4znawXpAtsyVTYNaYKqaPCZngjqfnzBCuRfnzBqmABJvU8mVaP/v/dpxC6x82q30wqyyko07yYREVV5KqMAEOiRHLCug/vG+6svGFquFFvwFgcaB6QDWmYzwjFo9UnGMup6f2nF0ElHRQObj/gO3cTIyaB0knojnBl03wDQpiWlXdBTzw24MEqy7raohEOUeXOLRSnVrCqbX2T0eMCqGUXIutq9P2ss/yaTJae22O7uEv7Vi+NCeyugHL1wCTV9p+xGpelye8MVXzM15vV6D3JKrWO3zw+DGzWjID0o+uMj5qTFd33z4afNg0OoBYwgzO8YJtwEi5/hJ5dYipjVZ6ohTIm7/eS3fSWPBphladN7+Nyz/7/Pf06mRGFlFpORZF8mhSdfLaTlObVDJVOiuf0Nif63m2g7sQ7olLZLLy6QIzVWuh1zxb6K99HZk8LnqVigAjcHl94JOPVkHTD0QCyaQd4YEeTwyF/I+yVXB1ZtpjKsIYGfDWZQWh/AQvgwvCBZs9LDVha48+i7QsT8v2WKQOvTVnCP60oVWabcuecVBU7XryNQsdv9p31ySvxrbW9dQuK0aepHwbCvRZeNmDlMEbuzrNJ5j91+RwS7SvCJ8XN2t4rB3m3RqdFDIn2X3RwY7Y/cHsVS3c3hukEEhI7vDkFFU40f60ym+NckRoxYq8TNoEQycAnASr4L7XT9l1jd0V0CC2oNnF2PaHznJ2vvygUGbmGku0IMWCPxW0L6tRFbNzcL3AxYp4p8Ib70gZEeMYXsWrLHq1CQ/M7PriRWEX60UxRi7oTEGf0vfhGjzBxK1pinUEzimoxqB9enDH1VuV88qlenvI1Qs+pRXXNob3EIswT3vs1VhHC57wKj4TqxtOPHtJPxm3SoAoCS1WjA/oRE5tzPC7PiojTX+C6xY4mmtLYRGUMlhIwU4MvnOKrSR9+4OinNwWs9Uwgf04kIzG67xjBvtOpvnjapAvGQ88uqhbbUgv/AbNdLXVnxyi590p+zKHdk3VlMOBOnSka2cV3H6FxHNb3Nnk409fSV8bBmt8X+fap1iPCjRex1h8CzGJOiVNdiYFQEYZ0/Ok3gAgUQCeQFxSG76II7WMhBsCj7WTFDdwm2N1+aARUTT+TpVT85Q4tOPJdWOCNbJ8q/tVfE6TY+nMI0ttDwanLNGELBNiAqqCz67BfqQ0fng/nz6Ria+2Oyfssb+5a5/+5GSVYUk26ZHATJGmUfI3SAcM1bS9K9uta69m808Ud/4+RJM8xDinPaXEHqp3Sl1CHLXMC7/8q23SR8Mx2mcfzNFyK74KEciDSdtq2W6nIvmiGB9KvVfYWlcCcc7CHh/LU7rqEqj2BAZRqq3vD7fCYKWR19zAwC4nl2zWt54fKTjbD1msBkyNpGrItVTfJoIA8x+lqYEebbijS9rj5yKZ5lIxIBcZlr0TItaqlg3VHCCF7Vh3wypgnCVpG2im6Y9BCPkruzRlX+c9ONgarKQalesc+Tg8iQhWmFCb6LRqem/vtp3PTzD7kHDTBI1QZOdfZl28baGq3EH3IGKjf9E1TQYyppEs6NLytb2l42cbfbqASL5mml0jgVCfbxUkjlHM7/oyMxlWrDv0XpfG+NVbEVqNSRec9ni+QhPF/dEwc9a0P9hvASkTeqOfp8b6xE/2BiNFj8I0jKTDtoX5FcK/CG5rGcsi+ZRNN/7cHq90B+1ZYfEd96FTojA7JDXM09HSY/qtWDJx2tsQeD5y3bfTK4a8L9DvSQT58CJrDQJwRIM4xBwuvHMrR0T4nybvNfaTfFd8u5eSeilZaNk5Ej+gT47twcCGgEObP2JB3oArf4V/vW+lSTEcCgqXq3wxZmiO0uSgR2oSEg31qaUMJurdThIhaq9x1xKTIOx6B4jmXFx3Uk4rnz0Z4gzJjM0p/Xffn+r3Swq/eJxQmRXOH3NWCrENUQsTVJuIRRB9gwXE5dP+Hrg26ingllPTe8SWP/UC0vXQP9RnfAA+Lx+9GYmfbS0fHBG/hnLKPpHNbtTwd3lvHDn3Y9C/1LHZ49iORJJ2EVv/tAkK9GW1NsA4KQjAPBK5tdi5+3ltGFMjrmoWTyj/jXQxsSR6iEUEMcH/OlL+Dv6/tysMety6CXyMwxG8ne52nr3hm6wng29C4QeKKSX3eRODkdCE6tyHaek4muZ5dAtcofEGow03IO+KDJuXa4/cV0ldKezSWqknI0O+oizIKdqv31UNYwmsGIxL10utSgtlT2Zq2/vm4KjuzrX3/GAn2LNUHo1aDjUeqCmjbIgNZeyic/f+qnPTinLZ2v4MD1tSE0DCTsz0CvcjAPhI+dar4nHAoi4aEz3wdnM8ZdkkYF5cXTozducI1ZR0SECGEhcOrPd5ugZMZuMWo65cKz980/b0MRZaeXZB/h2Au4ySmAjUKqieDCBw4CsZ6Fj3jB918QeNYP2DI9n04CTvKYgLJq1QiL+hn7k7kHTHdz4zbADmxPIpi8jeLcDU851u67arUFaIKv56FpLhHk2EiMUiR3mHXotATTSyc7zYAhoz3X5uN5BdZQmrMlfve00fi5p8FIi7RVvt+FLZ38ED67YUnwDuy42+moCmsi4Bj/m3puPRlvLIm67XZ421Vm+0fTwleDqv9bKXFLKPiRV+4Tzqc2CBBgqrtu0D47HHyx63wfhexp2tdF+WFbvRSdn9gS490rbv8w8sVHXsc5/EDh6nS6o8rV/lY1doaJx9ZUFuk45mX1sZwn29GSTczovNg1BDaKCyWm8tM+HSx0fMDtoX7bwnnld+Y2aKb0YrUKq6kH5gXu+ms1vrO8WBqdzuah+a7p0lpNyRLNJFVPvke9eSicbsq5S7Nu0ngJ6abmOanV8wT2c9sfsSWiePOgCOVGmWU7d2DYZbgugWxERYx7Xm0JgOax4DU+o/1h4Jp/yQd2sKaTFjIXJnJFxD1g5fxQBc0isWZfnNn0qUeJk7bzsmq95zo7+40mdWFhuY4KmDYb91f8hCsZvjUaco9GbXyhQRRyh2qtUrn0Hi3Zr3lO3n+P+VxTVgoCcR1Y86B6XwfcZBZg918ojjb5/dahs89zr4EQGDLP0ginfXM3a45nniLEUqkPJ/pWJiXe37pQRCukO85Si3V9j5V9B633CVxrjkdIGmVqBCtSqxwuCySQmqX36FaB1jhj/JIt+DgjCBa5E1qE3ijNtvK8FrvwK/f7WwoHycPBVt3Krm/luPjPK6jSHRA1/rzCb37gXrYT3g2FCRla8psjksg+smOJmFyYTWdkrPvuOlNsqKwhLQwwej8nE3ehwqCQrhNZAruuwOpxbROHZc/OWKPUsSoJWaz9NIiUBB50CE/9zBLHYKSE+/QJ/ZkSoE4hYBHRiLBZ3SW0KMqHz/c5ang6Hu5Awxi668Xa4zEYgcuHzTNblCn5KXHBLGdXBZPiQidE7/YVjSnruMgMsW84+JK5wTGpLZTFJvsKvPSGVSjEb2VGRVX8oS3EF7p50Emu26WIHIVWHO/Fv41h+ER77G2icgFp088AUNaGNchNavyVQCDjYKzRLybM8ObA8e8+WM6GMYA318Hy96x9ITy7Nf/ecSGpCLCLCptyEqmP9ACirefi/JRPEjy6MWqfrMaHFtno0dLa4s6yW9JoJcPzMKmE5uKl9d0epX7nMlNAQOmUdp8GLW3GHlG7+i9DI82OX5HKS4X5tQYOjiEsY2wSp74II+yacPuTDZGGi3aglEhsWb5puZ1F7d8lScm1ZyncYchKKvw8P5Bn0/tSpHuV83Q/UgXdkssmUpXY3pkrqTSh7Cd5s/g1oWvBQDDPqilM3TjmpOyVVyyjK04qQBjB+0a7KNNa+lHLld900gOa/gpr09us/rY6Ea1J7tYcdcMZkRc0626n3Et7NyAMyD1l85hH1RoyT7N/GeN/Ne1mHAEsr/BW18bCvwnTW2P/KMAo8a/QR//YcQiiFQl+/cGD9ZW8w7B3ayYuCPBckBuA0KtolMkzL0QGvLAmAK8+ZzykRyess47ykBeRl9+zvhbibD88JP+jYL/TZIo5ZgHbPr8fNh7ghB8+0BaKoSdU3XW6qpq+7TWvy5dvjtg6qhy2/5wUfmff6BtBepiGMyVMBa54NsYzbX/oMEhuSdiQ9fez8+YlZZ46sENkNbiFyV9RmqQA0vzBaT/Y8xyBdOjNqv1VtvPbt2QGguLa9BkRG3WB0xAKwVBT/fAHF2jKA1cVNavMAyf62vnij2sgGCswr3KqakVfEyRbgHNvpiP2cTABl1HHAkT/gKpWzdHIgXlA9rm9jm+FOa02MAaMgQg98iBUkOZ9p3A/sU2I8Wrpe9PlcdbHP0Gnjgxdv+ALTotcTsKSPUWAFn/9twwk7E1pCohdF/EVJDDOpKNt4n9EJpIImEEuBODHqp+V2py8H7xcYiSBpmC2cKDRkBxgV8UebCjOKbqcnAiAK963U5ChD4uCBQ7fTRBGoLkp8TA/OZW2z4URfOYTdUhSvIZ9ZbjHj3BXhwgOD5LhkVVBbZOERoJ3R0O7NeigU/oyxaHQZ8L6DIm0GPCPEqEceYNxERfJRf59mT2fRFTu8XHuJ+i/zOs+bNb2Qpd1DKD8nbiRGtDiFIAFoVhLDYhwJbmlZgFso7fc5UKP6fBd9JUNZE9WZbeJmUVgAZivtjlkofVYro5m9lvaOjFfbJ5o3q7YD9CkXNsJBKCAYu3xvHQbntPtdVB4rPQTov2khyY4wdw3Hp/TE5LiC/26emvQvEPdLwrD9mMZiBfxtsAFfnvSwAz5utf2kEJEY99rIUFbcxYXt/kC7up0jiXh9hPW0ZFv5YRcFon3FvhxLNsFz5KZ9Lg2HkovZFSButIGMLelQT4kChRaszY2DNO0japa7//AhuK9p8J/+2WhwwFTjb1YfeHGxyKV7ejFRv9Ok9bbCcVN8EIW+SwLih+sTSCaYn/y5KENcEULxo6BmDBNXb4Ydzt8OdiuyRH2kmE5jKNFUtTxlVzC/CC7CbhabYqCsG0Snbhr7Bo3KfZSe3O+21P3oSPhJdVc5fJnrhLuKLvtrhkngpu4LzpYgK3tHLj3HSiWbIngjVQEzhswAK6XwEJMla/Eb/pgNPD8wCXi1DPGLki5ytz+w4YTNVCeFELxMDaNz61zkgdawpTtArwyxAaHidDW1Vf6srPBiIjRCcaDUkfmK6+TQ5aaemKr78xi26d+4MJTF+nNJvbXb3Ib+DUYgFVq1PVHQRqJZpNNDfsRrcuAMDyL8f13zt/ndqBvETbPRGuno+/U8onSpSCoYz+j+5srJMcyR7jKlbtGIuWqTGVBrpDcvzX/5wNvnOYXDENns2oVLcHyZsrvvI2x6eQsmkSgbwvp+PUG8QsWau8XLPS3AFwjno7xukqfOPkCJm5oJs2cjxPFQLIT89nVFWTNLSYB6kK6RNLrSe7BDrothCnUyDnJI5MOtYNB5vCgRMAIVDtNhNxENu3rN6WUqCHiaMrezsE9MyjLxPXcp0PB9/eTatCEBRD1XKOsGSzre6VVLEYYTfzAbAIT0DreYHWGhJtByGkSBorUP6cAoRshrdmBJuLeL9evZbBK4/e3yfzRVyTpvu5zbdtsjax4UHHnseayA/GCBfAkl8BL+Xq6fxWOssk/5XXDaWn55WhCGF0ujv5/l9+RBSjbA8dKVQdboKmZNejzZtEMz6TbftYe9BAgOuZIFygebe5xiBMaDewhalI+oz+2Zazum+7u6cfQkRLIQBuKIWmDPkNJQR0QqXG24Szak3qtXQ854X5nmLuRQK1mKDlFV2kDUoBmNFFxcypG/OfB7nMFqfCYfY+Pe1LXiNZIjoO79fFkn8TZdkqI09nMB7xG9gTxdXolL/0TE3yRTbQrlflrH4EAJBYpU9YZl8QswjlJVrchg1nrwV5PyJsrUWtG+bOTXOEPl1aTyhFLOnzE3xYzO/OcQmm6dvwkElIyh+MchRko6wIvDgoE0B0zz9lplquqcgb0c2k+iVFiy3SxKAnmamkUkhait2pHB+3wRoh4UeSHoniuqpMwlQ/OXu9ErDBuQMSs2IeZLOYQOY+EKVWmxFg1IFteDGkJWfslatjqD+LhpADcZlo2O2S2UstlEwtXLPxJTb9BpJS0ON2R5UqPajldz2WGg9tJggBjOyc0bvAmVtW2iAeaFOR8fKL/mikD41ZR5RhhbjTwVQFoSpH+3Fvw/iim4YQjz73sm2xUY0fUydDiKLG6q1SR5M2GucO8Tl7zSZp2SWUUDdYx258wjScLH0PDPdY3GJJQOLnAX0m8LJFeP/vOf6X5sN5PADU9o9tJ4e/I0Qsl7wX8lJr2toG4Sqe8AVcGqa7WqFA5L8lHRv3lszs1HzcXrXv2bObIIbzJu3Z64rocYsiL0LToYJhOsBiM6ygxtUUse0v2BbGX3bdvOiSnx+2Esk5T9kpbkAnYB69mXzprM4/mSqsuKYyXzeJEampERaw/KfZXPexLCZJ+D+clwaWZMNmVMgfFVWb7yrl1kh9DgICDccwj9VK0bTDsWT+T0SpFKM1+q0MRGtDIatlYR2aqt+ORKegjRaXqzoBp+CevgPCtwt80MansCcIFK2Lk47BLtxlDT/KTGHfEYYYI7sqdrQnr07zD3E2K3vWkbDvgH0zQa/ZH5NVV1C6ydB/fg9HRlfvTp0vOiFRdXTVyIHjsxdONpmJ+v96F7PmiYhaZcJ68TmqrH/XysMRkB1Dufa/lqPyj+5ldfE/uSHTf124bP/eGNwkejXrMsiI34ei3ZjwaKzc6fVyEa2RbHMccCuDhO0hWr4fnEROScCJP4VgFrlleqvGcNHF6Z/jjPYmPJQvupP/jEjFtiVvKKsB3A2FfuMBIGe6cDvJV4eI+b6jFMb1wLa5UsIc3NvsjfmouJ60fL5zm++RNT/Hgt1snLbjKpBQTD+OesAnsai/quatbGuzJbymXKdWtccKQonzoncWap5vHzvdsj8eelIiTkn9MMuVmlWonXmhwtL4vvjCHl73xm0EM+d5bswn6W/qpinXF0wo8SKfrOc6oQrAySa1dQ4oGoip74pDrotAyChqKxclKh+inffN/rJcXs+CSrvtTbfdnvw+2abFdJF0KW6meNPw05RwPaiiorntxxIMEL2i/O5sag8RVmbVeOvvrLpdiOb4S6DEPrZeRCFQKJMbEPws5QBM+X8ouKYM3HX1/QvTVYB1bN3zvFktoP4r4c56pL9iKQUmnNidega1F753xy5xpMXiJzBNW2g/TygJ7JLSJ6wuA4JiOaA4FHPDS6VJzLfS/QxQSMFwrXSVf5tmwDuEOF7g3WzSeSfeqlqVwwn+rPJi2zpHK4fRxceTavAt8HMJY9LYawv1EFlzXMFsMz+6kdINwe3PTjwsAjM8/Dd78d6PchonDFZYa6UwdRNg/ptgdhJZ+kWLQhz3YkpGTF38syLK2Ge31fT6BGAKD+GDqTkDaSa4kqe7wmlS7O9ecHp3e95kS5YShcZlXuzLE2uqiU4EIey+xLPA41AaSuQriu6yKpTUWu5vXDU8BqP8cVzJeBNqQlqoukhlVh/YsdliuPULPdV4zbCTKQVOhL1FuZfFQBpEJqNGaYsn+hWtJT+kOosUrgAX1p8T2Euk7k3oF2oDSjXtTCcmpz8C4ulgmb/pOLaWfXZonY96lORfx7qfZkgjlALQ1LmEkjM5IAb7gXwXhzr4ER6EAmiLztzQP5NrOR4Dg26UXcwN0nyjMybjpSSbqsP+eVrj6CscLtgLbMtRBGMaMeh/xF5VgtMo+ACWUYiJfR87LYgsneS0dASPFJKZ8s3Eu3X5s2UsgEHrrP22IrhlKXiwnYsRwdI1UYDlEfPE6SdRfodSkyrCZrZS7HkxPiDKVTR+s1onHWLKRpfdu2VK4QLoh+eeJ6UYc6/7olJJUU7s6DGVfBuvqvHWFMlBP5Jzey/f3vmr2SH2RWCdTvFGeScxWhgZZZVZATKTzWTuTzcphnkLfBdJalTKbffc+o8bzVaO1eBqVl0Z61IkRtgtEZuNomhdiIt4eqmzyv92JqkxYoWRD9m4vOgYIWZEnq6+buHMElJu+6dLeJCeIFgbVg1JvVpyb4+0vlxgoc7iWfifRoZ9U9ZXw/XQ+f6dQyocXxwJ4OSw5ADuzYdTXZy6ScZYY7kwJhnZ3NdhQ4gNETU4hDiObgysvFmFTDFG5LcjFTTv0gLCve+3RbqTJ6wjyMof9bn1zRDcvQJuQJpgfyq76swnLK2D+9noPschv+S8v4VAwjhHJUfhXAAYxZMRd4SRru1awt5ydUr6KJjPmeMlO2mCXxfPxPBMCckatjkxtYJoqQ9pCpHu5XEBsglivosHOe+9lLFepEXyn22z5ARM4p3xDLhxpJPXCKxAhCLOcl31YKAMoesld1Z1cMa/HtsVO6NpRKLTDVFBt0fyFXErtDJI48pcgW8UPbzQs/3ZdLN0JkqgvKKmomSc4rSXiqQF8t2NhLFz8pWLLD76AA2BjrkCuvPQ0MuLehT+WFINr7XPZsyaLRxp21qbSU/tlaG1+v35lD6M5Lqz2d1vncTSD5zLUDUh4LL/B1mUUb8ZXrzDd3vwyPHfUj7gqy1IrO8n5ncAzCQolcIEfvlvoeK+wO/rJU3ddNQ+h2g+JrJxtYiuQS3dWV12yucI2h0j3uERThsVAfbnbajUGTewtXVIHFWnN77XFf7AxfwkyigjAfufFXWk4NtmRpuUUXMuljqKgacpbn2p7m6ZNhfyut48MOZUS9QtOD++8URUWbmw1OwnpRPQy0pLqySTxQ7FmCUcpnbfvx5cNJmuOPTw7ELbzmqnojYIlrmbSKjRVq9Pqc6Cp3TLUyFuQzQ+DMLucpVWebhXRSXHPtOo88U2U6hdgNB+lmbsfQ6rtbwX8X1LLins88QmW5LNqzEuNJ+P5b2vhn3TFS0uK+PIdkjfvrDk/pDJj2TFFLNQOMS+cbABHy5RL6sxr/t+MWdQOChidA/bq7z0kRiYhEQkI3PS0ch1/BAUrJ4E+Am9hEa2cMkNwLlWT1Ej2Pruy4TrmR+AHA2fWfsiIM+5m5SdWO5fBM5vvZUHPQT4KmDsstshkv2DDrwJQpaNY7PD8zcgJuNt3kK0zrPBuLKuDh7MywcaDX0QknBBjGH+5Ji7Kp69g9+ZTbz07mPDBcjFwVrIKa6soTuMUDzCBNTXJDzthWe3Rcz16vMIzNRgULA/LPAuIsoOtIeR3ZV/cHYPSK2eADsZi6sDCu4hl7v0Z0kBuJ54aaf4DalXc2BBjhMx0ZEEgJICLSHzQyV7yO4yfeQoED6XXQ2XizC3leBybV++Q3O7pApYn/Io5y5LYX3arj4qbVfjRWQtqXiX5pqoOrGZgRtt3ptKGymlwIzaaSqptfk0BL9TSSs6JJ4DU6n2E87LTXt1uaxMN4XdtKVGQJiC1bXCZLwSS943e+Q9+OUx5iwb3h0+hE1PWKY2xZ9scvM/YWBRT5OYG2O6EOgFih2yotXxZnWaBiTDi2cLYnCUgHtcUQ9iAlmhBw8FkRBl4ex/TBXvLswSDhmiEe8fyaGXozGPA5u34T1CKhKPR8U1q55G/mXIXF5MSYuLQSFd0U0z75T7ns9kw54YmKGg9cL3frZpZpJl8X6ionh7eZKjutkAUx7KY6m3+knMvDGKa3v9eA+5nlPXcFvT9nABj/MgZpNwZm2XUtJhwE1UqmUsSF5t8BJflgDCzO2LNWC7nWflIQNOvyuHLrmstItzksJlf69EgjwhodJUSkipyDMSt50UZIqfUePBrffQQJkKLAaUbipZfFzYY07WMCfMS02sIEbiHry2F8YZnpFr8r8TDmCaKbDXtyvAW0XrUv3yWNqXX/FxhbwvA5zUjbEIIRviEnIMSVMq0MANmW3FnC6iR/Zkab6QAC6864pKqrrSAmy7eW8ZIc6iABJhiK+3NLbSRt3arAXCCL85DfFKB5Z9+3vmiMIQSM67thXm8iuAAkpauyIe+lQCgrJQ/lkBCz3sXQ/Pr9M5X1Wr5FMP0R9ib8fgcB9a7YsyYbX+vURoXx1jY0leP6vZFFqYgnEdr02SdzO09xX+cyQuqioygfnwEhgmiG0rVFg1Nk62auhJFjUuxUvF8g1hcypJCTC7ez1Ds3Ks3Koo/teVjL+0lqMeRS7H0zlJSWYBcS5NMcUJw5F4mNhFEJEieVMJCPZ0SZswyDOOFZY8MEMVYYKyNGJNycdty70BEIB4F/9dNgISPnzVkf/jAAeQGZneaSAzor1sqe4vc7u5eWIskgetk3/C84UlAFyV67PrNaGbP9HeP0wUaZFa1B+/Zi9XbvQLnK+B/nsHqWRuBVtpy0CSXTnWniYPbLadk/uC4nZBYBMaes+gLipj3mqtg54sefXmt4s+W8Rw/6YQpOVZI/hfquywCY4Dn/Qns7tGWq2wErYwzJcgmjG/IhTUjz9KLkS8TD+FAdnltNCRSwtLMx3+ar+s4feoxoD4py2hh75fU7g7/RoVtZTA+HJ4D5nshFr7OIfAUdgn7psEVgF7ABcY8kjrYu8YxlIHsLP7DrHr2ACicF7ffj1fRR7wrPnrliP9Ru5Tma9PH6HtDBdMMkZULFZ6j/2LUtIDcgqGvuSzPw7nAyacgCrV3I45M2vq7GC+ESKTUSihe9sf0EE5F+jD+t6ZUNQVUgAYsY62zlFXbbJSpbSHDmX48z1gCAKZyu0LbqTqgxddU1eu/VKYPOVcBlpzTh2650wfgWfdjLWmhxWMGSr627sPck8wwdjJKpWYqwhIt2+1Yea8WyLGY03s3k9I3P6Au2ol4klTKDft28vZZ9G2oqaqQMeFEGFZ+z5fAT5FmjmqUD1dZasvswU3YtMtnoWqrYoouI835MtmRhbTJg/S7iZwOZUaBLo70f+weTN2KfLNrHDw3fCctFGh496JxPbTWP0jTpis6wi6mPUU+oiyVfQInIbX1SoehSvB4+/ivqejGotB/BdZEXxCoobXGegl3Orn26j5vZUnAetgPHCeK+S+0dyUtg7CwhedFTevZbl+QJ/7AJRrhLDXUNj83Ixj3xj42k+/NovFyFjn61O+1I2cSK1ypLyMadH365iBJHDnegre9klpBnRjl1l7bdEO0J+BB++4jSpYbJTStyozt0I06+Flx9i3QFlU+4lzUP06kCa+ydfjZJQoBz8MTlHYUxIhA0txhMpZODNWYtQMxAudjUheKryzvjeaNvNba8AZl14O8Tzaoke4EENK1KJQPijbZJr9eVpmstEeHmf18Soah2BC/R8AHxPJyhFdn+ltgFE3MVEjEQqYEMd3oaA/EwtsyAOy37oY2xLadMkhxQS7bSMnqlWsBY1F6NLBc2PYpQSp8AacTFyF3JE3B4xhuEMgMQIf3686xYfSflfOd6YBZvCtMl0SIgnBWyv8YlFOiE/SCAZfhI4lZmQxQKtptmjCmT86NJk8hnDo0j8wvfi1aD+iPhUXwOQAMYt+BaMM5SIK0kTmHyiSGIwyPGujYoCmuGGn8TuDmOMw6DqDj9eDPVXSjkVTSNSX+Rj4kmY0Ml1rXlbUyCt5NAxGeFGsqE3Uj5jcyNx5VcAv5xQwWVlcJ1Bzv+HpPTo0rSa1aZoPs4Qt6O+enNQtJuUMY+xTcmAOoXcBomJsUaF98rD29HkKrrobL9KhbXIx0PqP2pu+5+6kie13gOZZp6+AXkIg/gIfuTrHNagtiBaxUxccduD3lsvO0lViTb+zGV+/43fgJiAb8dy1CEKuk7+mGmV/mLgbn5hm36V1R/kCnT5zn614Ken2XBIk6iSb0O9HAko+aTY244peHw4Ikjn8VGp/oev5ab+RMdcQoks3i0hsLhS4eE4iqn3ot/Te4EkFXRslGnxxpP4tEa8glFKwQmEBC6MEfk3XMj/P2zjIca19HgpS9Mn1LWzrY6IJtFcbEb7+egTD/q3botvT2l9mkJZUGddmmxev89POuw0adhtXmU/gc1aUeVYI9JUqHMWjI/bjlWyaJkEy+OZRjUo5froYh/76JkHF+MTgyMwH5zswUrUlWUuu65t49Afhsoqr4s/o2I75sJOyofyXaZajJzdeKf2nJ64LV6OHrrxAZmtUpd9FGR7m8ZVCbeO9CkJG6blZxBICLzrS6pPUs4HhreBO/ScaAjMyWY2s3yzipVGEY7oZ07oInC3zzzjOqQHTX+b7SAWFzB2x9I6dYvnpfA8AsAGPpz5SmGfsPiEUQHLXTSLMxQ9gwoiZb7Wbmi7zDypAk+kN7je7ycV8FuUxXSTox4kq+93vzQv6OfOA28titWRAQqN5c+JvHBRT62zfdH6qC0rJAfD4QQClvDBc9EunZ6JFtBvUIP8Gln/yM49QHVZyP3rW22hfSNSLFHPNULrMDbsYdbQjc9JOEZhRiXvBSkz4PsBVQMgGyfH/0DTFNJhswYg6vIBvTat3yFId8/R16f3MRVGTAQqLoMU/tqcrxDlbWeLYIxTCWFLYe8+QR9+kF67wFqVDcav0l8T30DAr23TqiE+FUJJY3cPfOPykQbnUBVjKhsqxgc+n+SGTyuZUM+OTMhizL1awyW7UjZ5zGfaukhk+nQVMitRLKJJyjr3GUBIn8xlRTubz9TUdxk27YMRAIphWFCoV6luJg3Ah27RHL05S+/Cmk272beL+M7SYk+phdKa49oUMjuFF/gKmXESSneGlVb49Yc0rg6Pue/5XcOc2EJ0DKd+UWNHHwWSrDJoFpNDMMY31APLkYLEopVDSK42sd23+O5AlBQ8gXjfFFTOb4K+UwuCuHdhNHL6kB3bJO1Ma7IELbrYuhK+UP/uq8CC8U7hd2jWjhfpiVlPq65EAP7NBsKOpWKiOX8EKMb6Ckp13cGpZh7hY2EbQnw8LjjRanywzowNEwQNPYS254uSm87Uwx3Th+bZPh5x8llVm4jrHYJlTVk5OylBZkcp+v4CMRqLa2BHwYXEiuj7bQ7GYHz41RmEvLji+5221Bb7KPzo66QBf5EIlBXo9lbM3srbzCmKu3O/kWEDwGGTCKbL8e5OoECP/khWzzmXtysQyEP6EOpEUEhzkJcGCI0nasQo39iv18UwLdPJEBauRWwuiy4P8dYKVLELTf7qZlH7mFxvS+YIN2CueXhXFrWGmrctQKFGUMUdh2mko4HJKl6QsuR3mw2xsA+q1I7dJ598iPrxFKBOD+q95k2pWTfAOJjH0LivuXTTqt8NYx/7fM4UfcHBqmyWQpa3fquUWAyyUJuglxT2R1PeoYNxuj7qEB7U6fnCFTPPsLLGupxvImt1ERN04Hy+0kI/L8Q1E4SK26gH1ZsKXElZRvT/ZLLdQasti8EcP1kxTcyXiPx/dv5PFJGVYOEXvjYu1BAhV/dQOEZELqgKGCNmm7tJhxuDCWJtvq24vqTABscz4jfU7UhOKoHM5V2265K7K9k4z6MhF7vnWelGEGX0usllc1I3KdQlgH/wyx//nWCDJJBObvDuC/zkzsZ29znDCEtD6Gr9u+Hg76gIk1qzdI43HSOBF7zUQ2De8fMzK60yAICoPce8WFfW4LndO6jTsWwBprwaetg1mq1pn5HWtwl0+YKlQQZnbdFmlEZ61W8/17JxPavlQQ7+A46TU1jwi3MAbHmdjrzvQCn2eTMaa2gqReqN8h8n33Px5QNi/4Zz05W9elT0e/QSY+SRV00HD0NlY2eEFivhkDk2L3kg/xTr5Hs1P5kyDoWZxlHz/TJtCW7nQ3QOVc5u3fCPVREgIjL9H5zPGIuV5M4SYK0JEtN3BkmJNtxNZJvEN1YW1TpfPtEWLacwQxL+Ce6TEL8CaljUKv9KXTDgtid+nhr3yhu5+JR00hPxeb1mL3b8Ljc8FI0NQRAORprR2GyZAM2fz/8yyZ4uhFcLVIaNu11a46WwLBVzKtcY3JLYCM3VKrZlj6us/UZ9TlSE9MxqevYz+rdTbG2atjV1ihp5IKEflC4ghbWarCy4jkPY1NrA0C8Is+EFMUb6GpaJmJdVL2BZPJdnRCg7i77nEajsPL/yjt/eSvg66rwq0x6qc2wTRe4yiv2dEkRmuB3EAJCrZl/EzVYreQNu2S5ma9ReTAik0L8Fe8rCaRdaswVTCwOHnIXOfFDLPdmu9e76B7wicuY5w5jcXDM6hORP6FnUGpG0o1Cyhm2m9B+u3rBvU/J5xDmpALNaY3wwPInfZRKP3vqpF1V+3onnl41wjx43r43A4iA96rXgtA38gtAYzDDmar1UOkvHB0U9OoGZz/BUsyNziXmwep/sSRoGnjjqha6MmZ070SiyUIcqJYeVo5TyXhqOhZXYrE7pZGetojZTvHTBxI7bZtc+G0ECpTo9n7luH6KE8Ar8gZpXlGTHA/0iZF4p/9KLKKC1/3iVoi3UcsQoa4CgNEBYyIEMk4IKtJGQQczT1xflannVo5tritpjlGYJyHgZ12mM8wHgDw/7bsG5oPocl1qOeHtw5L+Mm7LtbB0xaXH6TmoSkik1InYiXkTqOfN8+vh09SJ66j49nX1W1GGT3/82q45saL7I94zgkyb+c/hRiYvIvfecPV5JAR0RkL+qicKkwHQ+tU8votS4z4zDXfE5IuYpHZryu3GOJsmGlOZlO65ZwHTczcpJm4ZmWwIUK2g+iXHPMJthLC7e/pC/rAcj3ix2bjfEZmXrkAOU/4VSyqeSHAF1/SDVV2B9/LlYMFyvURgVksoXT6g6DXokOQC8EQeCthi0XKrev4E/sE0WmGr7g2JaygzfatwZkDyGLAUSdOLBn7v6lIYsMcvTnAY73Lz+YjKOdYpVkEMIPApitDlPADUUHhhKCFg4zz/RXxdymyvR0ISvPShWU+KC4Y3sX5f/jBhjN96Oq2pMyDqteH0bRIcAvA1vL6igkK70cwQbqkZ+JS/0hhhYeuRJlpkJSf/Gk7orqaL2skuvTJPMUEY7zBq7eL7hUIHWNCrutP2+CrGxO7XD5EHJsfLT277KGryQs8U6aqR01I9z83JQyDJhY+GsH4ayT8/f+7qaypRWus9Ew3ddzglEcF2xq0x14IzuKdCL0cojSIe4aKR0HNDUMYzqhrDW0AT5yg43v7oVgknkME17IUf5lGQd+SfgIX4pGt6K8nxYpZdOLTeeMRlzHQf9LTagAcGy4s3sbI0PzEY4DjuBvInSveUTrs3BJ+3U0J2Fp49i9LJux/li/dFW118pct69e2GHvxQug1QMjjtJGUY60n1eg+x1b7l5AbIkN3odmkhBAgv5gP0WBUn3Yq/lBLapZILXNFqbBXIlkjMz2gHN2ZzENI6WMsjzB4VktS+tzGiT9Fvngor+iko7jbY2r5Oh0OcSkVbSmwHYXJ/widtVZdb2TTlAVH9Jq7ny0IKRT7EZxLTIJWMHzxrQsfWGUv7jbXPDhomGdJgKYcxRmDBo2Kg8/2vTBwNoDaUfLBBFJ9V99GA7/3V7ZVOZLA4NDhDhW5b2ZifxCnZtRaioEroKNRGDbTtCmG1Wo7V4VHjEMLBpFSwecvj9B5Kcmc4RPCcZ7JK8WCfcZaXcgjcwoxfbi616c06rLIlLrgBHH1TqGr6F/oU8N/x+85aE048cMYKKTfgAG6XEWIRiLtfulwcJefPHubzfZLnLWT23dD50+Q++YvTV+lmysDAdqFb22xEK9vJ4uNZqT8xZ5gHd4kAoAb0qKqadonHexxlXDPABKY29mbkx2Mgp+4XExKg3Ru9t8/8n0IeNOjGV23/eavdRyCVc89NrMUVs9G9mHY2D/4Gql+G+NQyP2jSuqzR6DYRb9jkA9cVeOWwxV9Wgnacu+A1BRDjxUoMjuo29+EFBoymrjAJfb6YRPbLUYoXHzo/O05A6NvJVFT+6REX7z59yp+viqfvWtY52SY78++3xctcxxjjHW3s9EyuLwb4Li2HO9+iad7amHhmOE9F23r2LlR7t7HNrqoh7uflaA+4JuUcKskZoM9WPvXMXVX0ajUqIstgbGuOqyl5xiXbT9IiCIw1FCER3r7Iwh91eha2MVbt0hV9K1CfKJdSsHj9be4Ku2+nyRvw3BtdRxfGDRQFE9KhWjhnAbwnJggOFiMGJwCjlIYgfupHeh38Rf9RcLKXLbnRnKrglhSuoDA1RlNgtN7zReKjEi52pDGuC4p7r9K8DDXzgiw00Mh+QJzeFrZkPLEcG5gd7Ej1gnDNUzWe5tWKkmqHtV+hFXIawWZ4d/KYs8CT230ixwCG39aFaBgG5Uawcoto/WxqtdehO1KkFUOL3K0FPk7xd3OfJ9KnVGrXCDzUC+hcmm1htyrbZR9bz79AEH/m+ZvA08pFFE9ng4LTEbX5nPpu5pTph99vSwUHac0bRu4eoUTQNojR9Z53COgngH35gzzKrVBx1gdyXMoEayf80vjZ8N3DHNR/T2ynj4me+p1IEBe6tCFuIjWANEpLYRsdUtR7mclEmSrIVHCrdGHT3wqgpy6ALZglOZuHCTq6mAUCHtE3hVWKe28c7vkPlIt2ig07pMRuMehiRRUmoyh4IciWfPZAqvwoSvNnRNogqxmAyte/K53IfXAiIvGSEFg5hSGTWb0dtHcfcynTynJeguZQzBbczoc6TQIYDOMBiIKTr5wjfQyQRleA9AQqeCU8oxPe1l8kiqnN1iP5y7so702JyiJRJtb7L5uo9mtlA3nq5pvX8aLdtIav4OsodbGQNLNGIuyKE0+mDmTaiWTW/7YLXwCkCumkMp7GEuYpcmXb6aF6vAWU5b1HkXT9eED/GgzmVMFQ04rprd6yu/TRlnWKFMKim8GQJhyFrItSm64OyyIaJk7ky0MgAyH+trikRjFSV1FmETXU+9rcwikkNoYaCDqRn/tbUWxEyTWBU3sM4lcCsHz5AJw0+mb2aLn1hLLlLMPoR9hhx4zunBPOAQAV0EiyiVPbTl1MtW4bu80CGenzitI9DRb8ptFoWXrg58Dreq3gqihEVIPWVBgsrZWQXPMkX09q8mhAfeEB2mcjOeSj92E/uL51KdvLWCYkQTsdVhlObZE0cSh9MKMe/73keZK4EJg53jfaWpVG4ft/Byi0nrlYN/hW96bXl6BFlbghqk07GWA5ZLCVE72enfV2SO4iQ2RRIE6l9eDXlhK7MlDnf7nb1tK6IpuWbULuOvtjUssBY88BzrmIxZLIEcreekT0PE1r6HNjs+WOcUNK1mh5c22bKHcJ+Jc0nMViJXdiVHwbob5/I8wdjRirUp+hOpXUUAZgiBtQrmarCDG5Fr+03nL8k/cVLeZHp2dkJEUn9foqZ/deklwXyoK4tRIL00WNUlfRqEq31cyd/pTM0jESlPC/CEXpHvijttK/uHDOIz/6/Gl0wifDi6u67eP7khQy4yfx/DymNAEc3IWRs/gg1XS+u5rPC1QIvSNnEGurbrastbJsFLKvGm2onSlKbrZQmjQb3x5HhlwPDR0X0j8ZoeOKfZh9oSQnmPR/iXZU3ntkabh1DYpZ60gxtVlIXTpTylGkSUjNR0XZ4VI5RpQ4DAzjwjq8OJkI3JbbKUQdYbDYnmwrP2lyAqOmh1ICOGl2d29Qt/uCiGy8+x56IpFCN+1QahVZPR6OhcSyCaojdXrJczxnVmNY7FxcaawBFutGwdoyFL3ZxvisCmuqYqz65wG/3IXWJxMTjJWVj171bUuKLMpCv9G9COyzA4IfZzmJkZHrsqcddJJTsF09Jj1Uj0K0NL559u/7thXdXUISPfq5hZK8rSNtAI02cqdv5Cv6p6H7NlJWbZZcRQ5EIYAhAPxDLFrgKJiPtGmVOMpyNZCuUjiAo9eEeoPVgPMU0b38OGF0bV3Uat2jUZ43sPkDAzsTtaIZfEl55+CA2PUyPbgq47UdzEKfI2ZgL60fJNU5noIgEURon4zf3jqPRK9OzH273QheLfetHBz8XlI0qXXD22KmFSPIxyl7fRAXFNT2yWlOmqbmRjV/mRP0p337G0OfvI9XnmUSPDgulMopf3RlpsStGM4b5Pfs4rDowm0CavQnTrie5Vpm1P+adDsQ0yS5COficblqSXiP5sLSqkBcXl5VsRdpe/t/jAlr84pvLuGU+YSWnD7hM/xP4vdD7dqNAydewL0muyUGBHbrv6ZYUhG1vBxYDFuzprVC+q1D96a/jVVTwQrC0/G7AXMqjx3N3/V9lRJNTzyzAZgG4/pJ2QaOjVE6SkpdKyyGHIq4AaPJZkIGuQ1I6ybjvC67QT+UBmHPdmoba8sRAvSWA116eiTR7njJivGykZParq+wxCGANeskclvhr50Ukzp/RbwRgidqKg0avhOMB9qiVp1uSz7YVf6fGqmg2mLi+D1hBZbUFD+ZajJk8G+EBcdYCHb5jSfj2DMYW8VChurMDzBAqYTN93NK8yiJC/PMgVUthhMVD0cKZ/r+DP0Q+bPT77t3Z81slxC8xIYfvwwLWjkWab5hb17dFTSlM7kjXMD37u6fA1I4lFgUlRJdsXW9xbVVYP/sbyKXKdka5IxnkWV0DowOK6ixGRcjVeZTm4ub7K1HNwTS4u4CiXnq0JakbbbjczR07qnW2611458YHvQ35iWj8fyQHZ3t1uuVkqMWey0DyD3u9fR8dyz9ab6gPPq+lmOV6BWxKUA8020WHO2jz6FxV6C+Fnb63CcVwh+7ksq8xeMfUjusXz8ldmWFsjgahuJCQZyPjYD+slwglmI9AfX+VWYE5KRjXwFLa0lBD+Rjv2TCSOL5zdJktO6Fgczs5sb9+pDvq5bp0C0WivjoruRnk0zIrNrxY51vRQ0192RspCHWnzlYAf88vWm7pNIOer/Ygl0Mji1JQmwB7LWNqmNvlBDXn44KBkuM/Ps4zTfRjLnZormn6m9Muei/k3lBQ/tN1Bk+deRadL82d6F8QN2ts2fy0ARSU+9TBH6sFkYGlzjaGVpX1xrRGHJVV6ttYlyiihTV3jIOLEcsqAyg80lzSQCyXnddySPoh8zsBQWGssfj3Yl/xzRYT3UC7xZNersqg+XGU4e0LwEPQIJWWBMKHOXpuOfaiqzVehD5oV2DvW4WIH8JEe9HQ3gQ8I26uxy9dhR5DcoYfoIt+tXtWqRYHwufs6jVR60stJ3sCN0fQoDOWipgxVKLE9W0RnkVonM51ppesGkDh1uzjo7NCxcSF/utPEDUw0DudKpQfyv/VFZYJck0zPJqvsR5q/7x6kh+xJELFXTT5fAka2f9b0O8kwEel0WPgNzFbUHrtQ7JUIS+bI7viDWyNGhmjCJQ3UN3BNjuCRvKuLEzEp5dflD0ghBaTtO11eX6rlMLlJOrEfBeWPjC6NVoaEe9xl7prt/5f9cKdAaoxZzmNGmdxfELF3XvadsIFURW7aFUBHUh2BS5/JlCqYepoUqOeWgVYRgWIN18PsthPvxPdVz/Yi4c2C4/kzIobPJpyB/waGZUkDBW6OEolDdbz5pzBQ2Ny+aMoCgFjIhO7TwC4tFOWOUOB1mcryAQWnOVnnJE4kYNP1JvoFc3+rrC/t3pXYLG+qwppZpmHIj5XweUUvhIOa8t7a5gyoH+Q8p0gvs48BXPD3hrXJs33UMBYzqzP72a8E5P9YwkzERsGQGoTR8/OmT8edF8T2peBMM+ViT3rV7rJbcAQ9i+Fc5bdaLZcKTOx5GEkJlPYzeFU0XYLw0Wb9wr3pZfrXImE1MrAVkGHU3U/pOqB9DNw9wfRlcQsZC1huSSvvQPbVU0gA9+ClA9DO0cKVcndnZYSE3Fo5xiUXAeS8i88AryThHtwynIWMeXATSQEhxZizwhhE/FYXEJBat69jxbsJA+DN9oWnV8izbI4FEvJ8FtHmcDNUzvzalhB8dXigPyrjCGiTaTFcKRHaFMyVJBdV3zr+VOEs0hMJpgE21QCw2nkCB/WR8bNonvOuZhnn3t7l2FMBCA8M/w3rlPgs0N0DlUzeJYVUUF8HXGhJanD0bE+3NYp273lviRCVJ+pPAJ6i1Pa+XGb0CJzkkyvMHide8wiJ+F61IjVSE5WmFjmSkcRPkK9Drq/1ZbDNpOYXFxq7nqC7ERls8GSdOs1M5dnIvO/1fU/qTjVcwcb/lrxeAe/rkNbk9E9bJ3fM9VubQN9iTmf5T0f/ejHcV0l6s2E2q3TPXreuHoy2f9W5/7zy/bIDFvloA+dr8LQkJ9vZycoUdkbpX9jpXXLGiJ3RlXcFwNiTBLi+LhOGGO+5mAcz/2xeG8+HzwHLkt5KAv3khNR8yCfAcUoMzgKk0qcFsT1XLf2NWOOLi408rp3nCCFxEFSPGDdxjk+vfXcTnlOqj+Uq4UP8TMxXmscR3L4s2O09TbNQERbtBuNt0ODbuWsdC13p95XW1jdUpk+F15gjNn2I/gj25/PShTGIGQSn5zqJXPpkXMs8MdcjA7n5BVFMNdK8StZaKYbmGjVr2bYqMk72ARlzNH4D004zpYNG2QWd+uWSrPBR8fV3O9eYPrAY3odMU4/HUtFPLl8ViGXgPcsUv7qNMkoOJ/TsCnJraJjF9yIZIzgrl4Cc35wkRcqOesYkcVtfab1lDCOMri3avhW1tH9Wy0FUdFiEnSMQHccWgZTgM4cYJpssA86G4wZFqm3hc+X9AZpZ/uP7OgINrAcFoH1U6DXwQbijHMHG2dGZvEC+u1VAGfo+5pK3EpwJ9up2s8Ql3bwTPhDR/1X0B3LGNQF+BPc8FFFFN+W7VRng7AhNeyfgVQ04e+gyL6mbqlSnya3hVUkgCwbbqUami+hbV9Ef1GOeNqIZXpEzr6GUvKCJfn/pu99IQhoc0jAN2/dRROy6NidNH+NZu4h/g4SxsBXqG/UweR6skVCFt5uhr0WoznC6200oSGiVHBYktX3GVyDYd4OBP0ewH3ZNlXNhJkw6c+q5Uh+J+npPXnL07+uFR51Kxz9IIWO9P/pQyuXyfFrHSpHPCuAccwg51su9NNJKTu/uYlDjSuCOTV4D0Yv58/UC7h6TaJreHaxOORSO+Hhm5Y5S9PJQb7Bfp1OFpMRI/z6F2alDzEcTjl/zEMMF8jNFLZolxQs+YN3B+YjM4I0xQzlJ5GWwgWOqs7BQu+oAkxjWsu3WY5LRDlCTLOeyIoV1gObmGv70ae2rsaL4v/Ovg1QUNuKyNTvXLq1b8k5jyNGyKsK9oJV+d+w7423rbxBXK5K4T/HMdLtKbqg9zJvGLLPJLOs0yUxYH7mHDjxehoKyTWg/UEh8KNEkpG5PwFvp/uqvZkaDDn6F6cl/nAQwJT94yb9iIecgUMMVUBIUI8TU1C90CYyTpJJ2AU3l4H45tcYoppgR5g4M7PFoAVvPcQNi7FWDGMfzFRBmEnuXq8hBRJ1z2BNyTdifkwWL0Qm/SpDGXx1BFwPp1NbsG/zEGLN+7TCPZPdSUywTU1YvIMVLsANBy1SIM0ejME5oU8WUeNuAs7VEoJRAIVrORcMOJ+bWy2cVdnzndL9WkjjQOnj0OCN7he1e77f4HlNkRJXiXIg20YAs+X54Huj0LGnIx/l/3VvySx8OAF0tmqcoyJmU2BlZA/ayOtPdvvayzmdfTl8owAxbwIyxAKLL43WlU7sWz5AWgqsbMpkQbiv8HgEsWFvRbV7ofgGWWSa9CAjzohyl8XMcfGikcH5gcpnComxQFJSJg7QHEZC11jLpmmu4AgQ2QMFq/YLMSuuSJseDDrG9ntkACs8s60XfaPAtx0c9PH5r8+5XVH62DGcfhFNBpdoan2gW8jX0n11WOCEpEMdfBGgTdsc+ejPfalL393y9HcwoPBe37fdpfBgiioob07dKBZ93pV4v/Z4g6LX80xKeRiPFRXNN+VFZ3WQRqcZ2Tcuel0GmqnqedxeEwwIXOistik2AayRHoqS6CMgYKU3AaSq9BZPAZ7RkJ7QkZwa9UlCNSaORMm5dKmKOJzYHvewEm0QIU5Ej0AKRoQdoYPEPMWHg2oISGXEFe6WUgeaqsHxbxBXWbT7UAaCu6GjU07m8Oo2ofSeQH0xbb5sQo9uhDD6CrBOejDAMzcwbDhmJTMf3CclVPnxJUMqsGqWZkaUMLwA6xN/WoYhkMqKZ8Vi8Ieq3ngr1lx2nGzGH0LpeowmQigRzriOUp8fRwaAxPAMfFsNu6fbFTTuvjbzHUxW+Jmw4DBgwj8zPGOXxENp9pR9KVsMIDjZhgdYpWLeaXwzmewJrZz5PpXl71HGeE4hTb3/pBNuY0hjDJ0N/wDN67jM/90sATISRIAke7xaeZmPQRC+GI24/R1A1MrFObhVsXArclgx0YM5cNZ8NR/wNHQN5WnmhTCSfuji5K1sdnBxKXCAXkoIlTAjyfZJ+g42IPtwpuShzW+xK7M52oBjXPYhUU1x5cJBTRfJzH4CUCGyiDVhRnnn8FYqkmM4DCFuHQ3UQCADgIsM03Iw5AbYCsmF7oYXpPDal75m1wa8t3uak+T94L47pIV2JfqrSbPfJUp6YDQHDY2SiDwwKLPzaIgLbwMmaEForNJUnuMNW2Z1vKg/mfoo8KD7X/cS3uW9pQjJFVXcDkWS5SGOTjdjoGNA8p37hWU4GrPd6BEHOuHSsvAywC88QtVTaPLbtY17mlbqExs8pxqlIv+N5e+a/MYLIX8CnMdJtaG5ymj0vIUKdkWkH+iSLJhL22vYnyoCkFF1aPjqwWs32QOiPVD47/ZcGa6b4r9CCneFzBbeuyqLCwvLKXAA+xsM1JxAq8u0oLgY16qpiskx3q6OuOhI42t5dlG1sGSemas2uhFtdXCEklgGUO3np5VSrZYLUUa8EtvbPk4CjJFN6/mnMo5jlM+QUHZYX7M+qP+xv8uvYsgbBnW0QTlc4Z3bBwPnFk/yopkxL+RwqIXs/cqxexfG5dzNK020PMaZRqhFxFFqikNxlBewdbeChz04XjBqOYzC832pwWsUS0jmUlx5AAJnir2AflRocx2PkDTRdFwK6bjsuJ5SDko1qWjAvm1TZHmGKYlDxBp6K4qhkISfpQeGDu8gxQp4h1ZAqWzoCbIRhsQiud5SjzWfjG40vVf0X8EystfR9k86ACE0kIVwJAg8F1xl6UhfSgfPlbP5AEexXz6YIk0lh9oJjdnTtlbNviT6oOI7FDQUKZpTjx8miMdp2zf6Ldli1T1lKhXNKva/5qLYVTPhfLCTv5u4ovcfbo5cyKtaKBetoFdJZf+p17CEvglJgrtb8nWIwn21j8aOMxYMlL11iGYGL3BTK7c+nfVqI6FzUrGZ65z2e/joZDAO1HhZVGHDXqvAfUB1imWwcdPYQcgivo9lBjpi9YPxupsS5TSJPoblpjTUTERnh1ZTluZ00Rjal6qI1YPxxagrNbNBshGMz3+9c4kwlAV2Y68IQe1DsHBWX8u3XBcSwbYrsJsBLINAfageVLGTtRK3lo/d4XrJ1N0WFIiCxvFdAohjGd2W1M7kGYZC5+BzX3FkQAB8TQ5HT6TLWTyZmv8YoUuk/i/fucz8uptVBWPhWekoT/+J4c9uWjwUJ67WYhgwpwr4MiL4vkZEkMh1PvYFX+9rR8qESs4Dqw4o+O7CWqhwReccn/0sYfcu0SfDj2ofe61rrRYLcps+JaospoVyw8mRfAuVhQ8yK6ArQr1EhgrAyXqu4a/64laEG5iDQAN0I3af7pGGu1snZZ7AoOSX+X7gZIjliHHyrl7fjJpKzuEWycUxbG4hP/CAh+rugJ6jTjItJkCQVOM3iUyZUUXP11MK5oWnTZQ6mTA81hPF+fKMNHhu6tluR0EqnwWm02TQoR+iJNFgNhjnxArz9sOCuwTWf9vx1KbGoeqIx8xJFLUPPnvenvhy1bwNdFBOK4Lk03CzI70usTLJgrVbatclBUZ3eHqkkIt1UbjWDy2DP0aFlPiylv019Px8JAQiH53W3g2Dg3n40TCEJkB/TBVoWWSOiE9cYcrWGeISenEh9jAZXRrH/PLHdlVI8pNxANXuqys0K6Yu4BIUHPHB+jfzo9MOQspkveSMAWNaw1Z0iIy50DLaCiGTplUd6cn1PNZKRo1OdiweFT/qFIV2oBwkQ6v7PXxaSYDSHLNtaC0U2peVTdYFmhWziDsJJksfavpTKuqY2jk3KGSWWRW1iUkhqdmQ0ZZrhmtuSXJqvaJYyqqaxPo4bvudBY4jVJyPlOYXCO2KUJBl+wOntNvqQxvGf3bc5qfDGk+9iAuvtz4MSi0zLZ8nGI5tVdZ4vH6av87gqvdvDTK9K/c315BLrSAHlOPrvV0Ljh6FyJcF9rtllLRIQ2qew0+DD2cgvlsVRQnjf9W/u6EKyHmZqkTc3rmgFP43jDiAqd5Nd78TAdOzAT6QIsrPiwtqNFLHPJ8zYb2A2Ot7E2V5AeD8XH1IlXQajOuY6uDdbyT8z9jb6GnSK8OQLn6XtZO6KL8/IGT2wzNS/92L1dLdAgx9Fd9T0C6OyLeJhssPrSRe71oRhu1bdFGxWYrDskQ+VGJNcIuNoZ6qjhEkKnj8ijyQsEhu4VMIMTQupTJZqF7szkhhgyGKuWNQURaQREnRnjVAgx9izxP+U1qEl94vKca7stadGWYsFrjTYkWuMXgb7AUvCBmkzGfzbo3C+Glg9hH9v1Ndebz9oxdJWmmKO9YLS6WfXcydyDdjBCRwouBKxWOJhQbwNalPHDWT3SF6wgip2azFs8MZMNh/p3irf/vglVSPXmNrixBgprRbpLa4QofSdCZz4PBCeKb4BzCjak9um//xWNi/aJKSxttcMgFPQHqpN/rChHMPnpanYIpZpVDkm59DzVw7oGUIb5VnHESv3GUUDGVuZ1YRUJhL/8xwXWyt/1trLRgbWYLky6GjZOYRuOFxEwWfd3xKw4ZhW8IEhQYSahKc/2Lf3u9iFDC33es0SdNaSwckVXkjrGJo24/d13PShAMucWC7FWd/ybzVwW6Cgi9h0zk5/henSZfR6CM1V44gBeXVoqOlhVRRGTVwYiP2sifPxOEPWnN9GjvRk5oZRXUi5SVEiFjuySx40LnY0mehjC33BX1NoKOKt8yCpAFpDn/XXhxQMF5DS9tvrwSXZVI7/WlSxoqv5y5fy2/6LJiHya+Ntgo5M2+xqQi3qEzqUshKzjD2VvPqCExcTkDyIGmqITNfWPi6gy5eDvpYcGQsBRclnGeJ9qg7HOrpTYJAQPfAVwgfHPDpA7FJzMqFbCLFYEw/nCj+W36qfaJwEVQLUn/jKWa0V679pqMJZ6HkizQzE5Yn1G0BZ/eN/3Oq35LIMGVlaHNX0SDP9SrE2HO6YtauxFfoOkBT0H+pnrMN5ricPgvJ3tfzmiljZehLmoEg646dVLtB64wU/yZXbysocYlRj2lbAwgwTW/9Fr9I2zsMzUAymWdqBHqXgegfXWD8oMg6K/4uKTkgbBV30p2F8pDplU5+4QjDGTMuww49BBupFiK0/5UaeF020aJfcyo9PHiWZthBjH98ZxUnJocbMDYN5x9D/U9mhmqP3OZd+8o+kTsjwIjyA8umv7qwZuKIejySt+uSOqfHjqZZu/iwVQUpJM86Rh9lL2a1cy6QtJy5sM6QPaUzu+GLCXx13DkOKkFGXOaCgszmmcdol0DFPHKoNo35wj9Fb9pKC6siipIEr/yT4O+woTHOShLn5hAWsMQt5hb3caY2N3VaDPB3xrjWwZy3AelRAl5E4PX7R9r1XimTrXLsYI9Shmwx0u37K4cbXDevXUDLYorIdmWJJ8a565P73Sm95PEi7+OcobA3WtQqaEvX1Hve0+QUTWu/CNWIhnvNuY3xC8KhbKw6kba3pNmBQGUw554RoMDbAXxQ6vFYakmLOzPSELbSqQckkspPl4tv9zp8HjFmdbDjPh8CmRhpasYQEkF9wMUzhlJJR1nFXGbSTxMAGeevRaw7nGoAHnTFQxpAx0xdlSA1pEYSbnEQ40Xe5J51mh0KuKeR1rxFdBzgi0lp4NEZ/YdXAGd5LR2Y5EBdYya66gvoHd8lM9RH6SaUgHWmrDTHd1lDURV3BLthBolH0feFR84a9qCAeXGz/ZFipyuD1kxPhH6pqiHaBqGocrlmRq/85idNm3XiOWriq1EZrjfzS4D1B0uqCDVILCr6F/rDYqQd0NGIJl9CKTJdwc9ZinN6CkD64QXVbpz3Vta1lB6drWKAnjUtORS/zdojIwC38fcvz9Y6gBgJ7+8d2mIVDor7fZmAFtWegENci8ZES9NGm+E86stsxbX5W/nOSer5BfC9Dqx3Y9mp03UxDJ++0OAM0d8NLBAFwTjYxyNJQf+2neMa6Hmur4Bk2BNm+ZROA5S+VZkXtecRi10/KKslmeUPsqmkxrS45YUOqW40HGAwdXQKNJkqYiuciNIXF9w7eX4lyHUaqrT1dng7pbystRfwzuGvLKC6nXva2BXYuQh1so6BuC+nOujU7OTQOd9e/mYibLy7NDX2G5JRGcyO/K8T4XfjbhKuriI5Zvjf0BvihgwzarWpms74NBGgKCVwQu3mQ9piU/y/yDlvHsL5ymXNvtnzJwE3ONl7Tnl1og1ZD0/PSgwrdGk+V80/t5YAZLwCfl+o9iZeKd6zD2j9HrV7RUIJO7/8iJ8ta58DCUwPCN7spdNiFZPoBy/734rIPo1dLnONA79hL4Oalv9UzMI3QwZ3I7+rOcQRUoKXdp/VvdDEreh0JnqfLqns/7kselvjQ89QmNIKieQI50hqGq1QoNAuHUcWksttfOOu3+y9GxJ0LC6ZmPrdxn4diy2Nx+UeIZw4lsXGGtzxkNnbVMHFhi5abj5B1hnTMwz9lK1j8oV1mTvPOzXEQRD/ob37sVHEWCPKMhXY4HUSeAqs3qv1wdYvHT+3GQxZvQP7BXUSwaSFP54e/EtWcBInNlIDaJpJLEJylX2z75WknMzZIlumB3EO4FNVExw8w8fkIxejyk/bOprnTuo2zHrj0E+OkDFH1m+6LtRflMqOmFM8Wx2thJjVEPZmdlmbNUohrrKGEhwovR71pAIiLM0RKifhsP9POvOR/oF86WeXbYpffWjmTP+X3vUSiUV00pB3UWnM9+p7z7AYjLXl5+NNGpJYZrY7UqOP+SIugRCr9HtjdV0APSv+ZG6wste4H3Jh6kZh4EC1quA6upeUx546H+TyvYMbg8w2GY26w2CZ+/SUy9Z5Kg8+5rBD7IoqJnXaWx9RWDYCThXW8pTu9QLEiX+zKh//QXRBoHoTCboUIppUyVqVeAkb0mhdVYUEQXNpZdFhjjKotsMqVxBnOQ/MQnsrVyF6ZYrmnJ6bmD7YR31kQDKz+o8v5AItIzzcmrfLaxm6RNPpLB6wCUDL6m3634suhsabtJEhjJ+ZUo6qx2BIjg/KsUrdMPsnDakHr6w4tRdU2oi7mnKOY3y70mi/JXjYKw6ndhZXu6VFFAZekq01LTmNqJp+TYM8dr7Pxn4cvQmaFDIZaseyfaN9uocZ4BDDhgU+O03vvcMWiNJsJ5uuw+zVW7B9zi04lNEAF1uVBILTjru2kDDEXbVffynJdldJ1q2dDOjCvPytaPIO7T2cxmyBGspKAhrFLTjDAQPZ3k4K+eAORogVmUfZxZZ3EGa8NuQLwPVNy2TBUJrPSa0XLg7QXBs3K1KMj3T20v/RtaXtgp8mp5I9utdk+T4Dkd64vBom49vbSghNcVm63bina9T+8CLAb0pnkMKKHOnm0lwGdYGtX99JSHLEgLzVoGC5az7Lp7xr79o18cw6oGkYQ9H07wI+UGFTbtCCM20LQ0nmB6SOBrPTBYrGFZHKwutpy2Y83CWkgKyiRwooB9m3i6ZRYX31POlMAglEJ0vAlVTBj32FYuTULHQPq9+goTrOAOPoS8rn2whWkzBFqLSyE9flyfh/1Tqgsx0nswhrXDZUUKv1nmEQ/MYe8E0EV6Ly57QKm00S6gT4anlQjVEWS2BoubI6Ux469pIgpAnnxborCEjO2jFc2c7Cj4FYQqxe704gWLNfCERxKbvresY8DhQxv22uL9SbUcc6zvkyceHLPho2Zfk7rCescbU0OjnFn6HFnxWw1abqjPW+TS1B4hfobkk2CYDduEYhzaiXyQuJP5IjchhpyfHjMpj1cCyBgrpWVCnHt/GBss6vsadOv/6NHKQ2Nu7yr7wP9F/zxtxlvvk4H3el6GbTVoRBBDEWjGm1/P0rj4fQ2oKNpBDP3+LGYDgaHynXIeaoWDgg+9tlqVZYGgcQD0B5YcjLc7GMUwg9VWlsS1lustvZjUAikD02dU3zUj53jTve7A+KinHq4sJLx+dpnD8YpnWUFzotSSFCUkv1FLjuty+zYRD6VlNysdBw5Z7YX/+ZhZhWg43LSa+kLeS3Y4ie8zqPh0q3hsRBYaZKWfx203M5hcioU99w3F31gRcXMPAhBU+0xMBwGDlEIGRQOAHS6eWnu5aiDeD/0jHNz1m9VwC1xY0JIFOK8rPY2HNKhKOAzZs7acIz3yb+xosxnf1jZ+myFwILiV2BNVJYD6u0hG0LRzMEwLlc+Etn4r6ENvoxe4JF68AGODc27E0nyvtMDLvTkDn/+koqIUGAznECFn4/hb32qyibYFjFVP66t0P1ttfQ29MxcnSNZvrAn38AyUXVJ5leuwSWXGUdlZ6Mt3cjQqF0XsXD66cvygXVN3rQazpZQ0T/5qR8+JHZe5uDNu6wU3c9txEqR2c4HEUTLzfzoN4z+pmk7zskmMEKBTqTEAQBfGEdzqlQ4f1SgTGc77DNJZwnYK4okskFtUMSpdWkvFV6ussqHjinCagdkhtd6ERxqrq9WgFBqNlMnky5XlfPKPUKB2ReXd2ER6Tk9X8Bd9AkhOM6+9CtfcpF81XQHyCaWSSn4eqVkgNj+jzxv52dWAscuSOXUAufWBkVfodslsWw2qkidjsPCFy6bKpUI7kvC6rLVNUQOn+nMitViTQA+YgTTAZFjtkNizw5bx3JeNZBKoRVOebzr356f6d1sPWsZLAYO33Djn4QLm7e93wymI5k8ld5tYqRsXAC/86roOg9Qp9AvwrJFdVVRKF7nMZlBgMfT4UsRbVBdJbYKhyuwJU6cqLUyRltqhEbGcTCLKx7hLQNJiJfJdiQsM7FR2zqWfFh039J4z3NeemcTU/ZF/D106WT5U27UB2sUZwg36V1Ox4zrQbBdQ8eD6nsYEyM/2I6S3/QDrcfqOgjlEiq2YcTXFXbtzpvQ5AzN0bEGBhv1sRYPmgEuS86UVdVYhAm5KuPLawshhtbkPgXBqifDljtVmbsJWOGlF/cW1Rq8TA5qJ8mVRVa5+TrznG8gkIg2WPs6NWKVq15Io5Tb7BgX8gTYTyYRgrIpti02RFCFiPW5p0wp100QF7a8C58JiBYh1AkD0zsJBvpGAyTqA7DI6W2mRJWfrLzKH1vjtjM43GtvhU/qW6K2BNPnolUUs9bXccYYIm0UoJEUNHINzMGxpdwojvnrmp4NHYr8ThczGyZ/FVMJ4aCUA1FOX8N4BLYFl+UdzQAUeXzs1ujpKfoNCsCAeUvThHKHFUdA+6zW5BLpju+ZV53MfVRGKRWREJ99v/WSHBI39KOz5UbFhlOZKMv43nBNPwK9F8kcBzzFHP50cRSea/RofEIsCg/2acHhL+0y/WA6jYs/kIxETAJZhXFComhm4DyP4aycKv6ceieC39JEMZw/yPgkq7E0pYAFKJHL7qJLmWB1eoPAtw8Ry7/9bY7/KuNZ8zcODft3pm2VkRUVgG8Ij+YC70Q/ma9G7L75j7lDOB7xWoT7yLV8ajD3vjoLvR7A3OdyEafk+HDWPwc4pJNSa4+6gTK786mBdcadpWxH5o4zz6RQf6aB1SyXAnHp6CVNnEIxZ+dNvLCFd63bfpUjA8NIJMp+Pp8xuOoYFtrrN920yO/elNR6IEDUO/YZjKIwars5HQhWwXrCTrmywjMuh2PuvjrgRCvfcuXcGpmUN8ydVHn+RlZKXs0wOW0oOUynRmDH8VjJ1f4DTfF7yEozBxCIVpDtwinRPIt0BBTaU7DT7kI1n6NGmmGQ9hE2EuM2HjFpYpnBb3j9WwPIwMjjifAr0rfjjxypUxwksPbcQA3jYhPyjn3jmgl2CxqwvHpoeRT3tXY6Y1cL3vt6J52QRnh2oiFerR5ylzfvsO2Iaoe9koQPnBv2JRHSCt7rDvESPNCnjt9qHHUr8P3CT5mTyu4hnHtbdZs3by6DR0DrPlkKf5bnv3UADIKiypt9e+ZC9Eazo+8y/Yw7FbW8/hQHv7vubyWahqmoeasxAVXHjsKCDUQZ5fWRxzPAscv5NVBIt1o/iqAJnt/Fbu0Nl9cuUSMd6HLUfMRZvq2FEmB+bJZiNEur6CPAHJuHRB0yImjnr3orSQ1Tzq/S56Kpbuo8CJcaflD72kAXBW6j69p6d1ga5YGEMjAOI5BVYfz7i6xNn4FSP2N4IdBJhBomwbvn8eVjxnFzY3MQWuccH50Z96XbysayCfnyRzKWxxWMZBRXQ9pOdTqSHkzJF5sQXVMVkhYgF/SicXwwihSERB7Y6MGrAOzMOGHRZPSzYCe5I4MoxxOvfUgTjnBUBFLx9NOcCzujxco4HBrAYovexrPV/rGkFSNlb/C9HOxbSOBzOiwJ78PH2GJDp9SmZAhJrODh5Pb2LNrlDBqWPofuL4r1o/3ai6+DE69Yab+/pbPaHC5rpj/rINOeU1vJeKb1gRkpSUUnksoU/ft3wbNn58a3R2Q7B3MkOiGT+gFjGrNZOZUyUlTzYm7eGp/9eTSYbM/W1l9v9cUZ4f6uNFktI0x1C2pPm4mVAKB9D83KKbsBxJIshPDQdYusJ50oP65sYB+vOBs3pTsstMk7xdxudsOS8dkUDUF3E5QkMCp9rFJ4RdQ1ALuzguwU1GOgivX80xCPae2waeisldkGUfFeS8uDrR5bgVsmNvZtNxuP2lEZcNLsV52UJmlxG1OX8Y8bxs9QK16/1CL9ZzUOprOY5McuR61998BAuvDmBMgIWi8uNsn0IFGnTPlwEa8m4QiwQbLzoq5Dd0JYsaOYHrKoF3zWkGbBdoWtiBlJ0X4glCaQ5mRd7F3sqmqHPRkfC1RWenmFXoAfT+S4DZxlLY/3fm4avHxi3hguiBwvSWtAuJcFSgCnZpVoweheIyPDSbdtVRE4iljmbrQX3JJ/s49tivwe66jTzFNdletnN4Wp6dRIlZMjYhqgvBQ4DLe/sKnVso3c+3owSbhi2tQhZ94qxGEn69weD+h0knSpsR9aZlb5zscrKdI3JJWPN8RSDDOUNhvCMAevcbOBv7WYFNUd6raW4LqZTkjzFIrPulMUa4ySOzQdS+NXNDE7QBWJo72TF1B4Bi2t5Y6+Mmkps5RsO6YNC1yiv9P2QFlD8gLFejdIggY8YEYqJx2BWjdqp0Erz+m52WuqWdtUkuCmK9dNuhv2PqMmW+LkmKgz5E9Mr/AjaXPXBB8xZ7ek8t5pY1kublH2pYiT2/XmA8dTamCE9BRFUnmZdj0WoMoZzNzFV+nDdGwj1GqED3qz1Bbb4iSJdPkgex0bJs+d+piy/TKyVreJPLvUmk9xKM4rcscHe97rOb8XrpLmBhiGMI4J9TDx2t3XShliAitqt3grdZq1Q2cDoSO+Po1frcYDhbgFyovhgn5DQx7v+BVWFjjmFMtUOupoERNbJpgXdloGm1neTnh4p87QI97qoAO58xjVTzljZKHOZmBCT8aw1xtldTT87+wp/ylXonpYaWP2eCYIO6qo0PUI+1ADg3t26mbe2nZlNOJLEeSrzJSraK/KYFHAgWiYHda2nU1egDognnx6Zompxw72uCe1sagDgmT62R7r0kUl0zUc1TMlqDmpcb1MVFN742mCUHIFz38KkMKE16dSxG5sxJjOE2o8m4Jjb+DarL+lEzKLi501aRD5+KeIVYpTvIKzZtsAaoBt5AqIcQOsIXK/TtJqO5q3aRaBHtLVLxk8wqMLxgyI/REXsr4qi5IO68iBQsH3QuqmLK3s4HCPkwGVHp0UXLeLrykWV4j+e+dtB7EoSvd7GQIOkrD+mAiPq+U9UD2uuu0Fh8Ot4FhgHpvaxTrfwBJ+HbIu5pohOlj6cx87gWLI9T/NYSBaGn9flnuHUNq/bBUOr7WVnOBnbb7tBumX5E1xB/AmaJ7r/oqYKdgLEtR0MN++3hEChmbD4cRXoK6y1n0deGNDXFgPuvG+7gNkaSh2SMZV3Ofc2TZNaVGexIroJvrRg3AmqEPtPj2lAhlF9Evj/zFfUPgYMvnOjJL+ajuEy+BV6tNJuqLylkNmnpeMpF55rmf6l0gg23vnUqBlzJ2UEa2QDn+lrvaoOzE9zPeSASwdwMlAQKeY5RbSraMAnQBTCdhhkX4z7WDM2LLSxXnfbwSrYsXCChV97saRG61xzhyamwFISFXPZZjvTYlnMlX4Bj1JFD7fovPUgxEHeeAvjG26g5N3M8FWi00nPuiJXiEDfV90UPLbisMxyrIr3XcE/Q/jIc7lPrRR7gDdFM5otzdzli+z0emeaZr9ETLohkuFZuBSP2/v0C5MX8v9Pve+K7fdcp0vqu/N+66B9kJ2aZ6pbFpvpEJ/1jJ3q7Gt5ytGb875FHLZuVuoWJaEPRKIV1Xxp5doNz13/r1WMjDsPtxo8n3OzEv7HNx9+rZKw8PJlB0Yl2biFdwaBrVcJL1iMk6YarB2kBU4yGlbVLc2nzFB34pJ22cwb1myHYnIJ5emaulKiPCMyHi5JmMJ2nzBx5h8OwEhxXjHPdYqACmlGx6CJdnNbhnWZ6/Brvn060ZZdT7f4oe10WKJ/P0w3HfB9RIWPQTfoGpv+eDrEFnBdqheXGJhUFdQtlUkiMEif5fLyrgS6Zp5sYrmo/Pux3IQkQJm58HPz2dunQdwFLLjU5Qq9Dhawoklm8MQounsuHhGtFL0mBDsGq9oukX3XwPaXVG6ow221ifiyJkfLuGBjJVbZPAGG4r8aCjXqVGmys1ukjvlHdmOMD6RgjL0esjR+wn6OZMh3+baoWVUHhbHkBXBcZ+Y9jI0favIZ4OCg005p/dW4g9fw1VEHiNXhgTrTdJdfB55A0bRio2AQg6yoCK0dW/1We11iKVEUEON00d4zyKdJy/oN3/armDH26edIJR9ApBDJKCEfI0GicydnWQkPaXz6UAa7LekYvHHu7Eanb9unSo8Pi+2OonQIr5yY+goAUx5ksb16NKhtIvFoQxV35flphtk3pHbF3b0cb7nHLOu77dqjZ3vsIK/xqgJyXt0QAsfXK4BkyRoKzses54WmxonYIVQhtCK6XQKgcxoORuA4eYWTEvp3reN+RbHUof/oAPDaZFZ3S/GSKrp5lWUfI4ZdnPI7+YxsZ0F+CAbFzOvAYKK91l2G6FbtoFBVgGiE/UifwwhsaVLO8HBfOmUNwTosuzEw9I3QHEhwAspUOPVtBQf848k1JxfGmLgih9TM8Faa/YsheudZeaujf4q0Qz6JCm7jXPSG6ChuYbJ2WziszoQBb7guedCsjp+YjlSyabVB58CGt2vlyITIVGWJDC/qW/gPTJzhuCizvBm1BhDtrqNakY51PGR3/5ypcN/G7U7klHYIUkKE0cQXNbfPXxlWn8NSk7fVWW/J1nTFQOBZJZ9eAso1rLoUW9WodjI26hdW7QIr4QK6HVXwB2mdii7Ew3uI2vBpWCrSXfbh9C7INv0Y2MjSaInxF7ia0XMQXsQfF88G3NA6qjWX0dB49BcX+9Y8fuw3uXikoeWAxQMng3I7sHPFIN2AlDN2SMT0Ny1pvnObTdqJum9CNmbZ2ZAjtW89jVbP6f+5E6MrAIqN8SJ/PPyoxrpy/MbipLGCac/H18f1sqx8LNk9a1CCXRoXkalN7NpF+uOlfC/7wu6ASyupgzMiYUjud1+22f9Ml16t9wE95/JkPwFm2SBjOgRIDL3D0OD4ZGAk1TN174Ow+iLAFzUAdK8+J+PyVcMLaUglEfePMVff4fnWGLSoS5kSVdOM1PRMykMF6SZshYXG3IXHx3oOHTMNE6EwHyT6HaRcIJs8/ZOQ9z4ZAeffG11lkKQFzT2/0D4tQJLYa6CoS/G1dIwCy9o/0OH2sFwI7RLGp+ZJX0D9UC/Q6D44BsCK+X2v7+sUJHw3B7aIrwlF7oJQzeNUXEAhMu/y3MsSqL54bOTimHwP5EVKnAlcF0MAgEYQWzkMsKKjEucXdkdM/W/Raw+fStff9SG20zdUt2DU0gAc6fLDkxt2lxvPL0be3ds6s4sgzTd/bilOWZNfL0gci2Jf+I8/v/7zCWySVkMzDMgtVX14FrEzd52i+xKsvmFqVpaiG6xyNhaV27GjQPkdn+QX647VMyqNPzv6sa8MyZnJhFn0FVtNcHadJQ2eEzqrQ2avkAlFNVnLgo9PTq1OJOt4MOrdmsD7ewFe7PKoDPA8IQdGZysVcLtDg6uE+nyrhg/Ep7Z27e7PXQKE/HMGUPjvp7PjEv71bmE4psUy57ZncVnsrxEXm7WEr98nhbrK1wug0mlditrJJWRuFQoIwVBd7hIH1ti4h5zr/OdEZQedcjTUS4X1fAHV9gTZ9x2ZhOVQrZdsgo8v1Hn0Bmctu9XCKCVTypEJTTbGM0mV3lz8qGkLkM9+g02B1PRyW8iBXsCoXZc4drRxH1PcFiEgrbIhNy66Ya1qOuQkJ5FtE1aYIgK69bLQN9+8myY6mgeqdy5V/0rF6S4CgsatD8cGep2yVURN9NXgjHEYheNWV72ekv16C9upqGMmW1knbZM42D1gsyjasvpRFgWjhLATkwHiDPPXjjvsSketxvhqflE6ZfIb09QG4V2SjkY/9b8rQPFz7jWI2yaMWFXV5NqITPKGfMwBeaJezAE7I9jQl66pBG2Ssy9grh6Z8MpNnpyHKRoVnanCw04eIQuAWtemxlaUN9tXTYMpbOKUiJlPn4J4+vMA2Tjv/3suaScDC0fHSiAAMbbfG/gZNcCJWksYRF17RvPurA35h7LeXenxRR2Ao9KxoXC0TTFrxV+Usy1SPl9hejtTvWkANmcISDCFFUS7kYBk7BbVHorsD988BMkYxigNLPgBMdsyjN7PTyAC6TqkmBuYnijKcrQ+vzgd8Ly9VGBDYSF6aZXIN1IMt2+Xi/IavEwbdQyS9PPc5jrCyg3ASBrZMlPOx9HYcQvH5DzWJw4yYH52ljQYRLXHNmOAHkOrLuQUVRJUqkJnrHZETd/6As1UQP3wE67IaMXiYbj5iTSpiar8bZcf7Dlwe1PRjhjK0+s0rPfozLeN7u9bm3ebr2GkghwR6DGecrF7d3M6ldXrG7i+jM7l0Nnpky7SWepz1B9u315O2Eqa/civZw0wH56zkj6tmd59OTXbh2fu8pAuxPHSdVKfrx0kbHj+4dyXoJ8JKp4HhToX1Q2dQm3HWXlWdgJH3GYxeRuw/C9LblJF16y0+NNtCuBIzhw7AWC6LMgrofXoZW/D2+m4u/COp9JiT7/Wj11ymzN3N8yDKsTQZ3MsRscCbQzpyAlwYHeOGStvqPlg7C/UdIeLaRuDy5w8THAZ/azpL5OYEZQyYM7Pieax3DB+qjWWncHFUt+0NgHRRLhH+usNR3Oj0ZEDerLaRo6ktZR1UDCY5RSsI4S8er/WOoW5v5YYVnGs0ReP7w6IEJN105INrrEzZg6J4EbYdTz5WxToLvX9r5xJ8im7f1lm5op4oQzwzVvBBDel0KG6pOXt7LdJz8LgnMp7j2LqnBZ0INmFf08mrQJxnHqtjf8+vSK/fIzj6cEpv4H/QNKbJtMvMjWLY2ss7UCSVpUuKJfuDUvnYR844ALNe95691/f/UZpo4ygUWmI33o/2p/34++McHJQhh4YHyqrI19G8DMd3ryB6Z2QQc3R+53elOte380XSkwUsebh5j9btoMFowKgzw6KUIakrT2pluksOYB0QodphQyATvYNTg6TevDm9OlIHBPwNBGfLb6sqMPBXPcOIQwesmoLhxR3X+zOY5Jcajhxijz2BQdm1I5OAsLdP533T6BEn2KcAfzDwKfC0UwZ38n/VDcuFW1Ua0lBFZq4Hd+f7cC2GJhLCwzCk/KWAWABFSygSlX59814+sS8CPtKUH7f0DCzJRifZf0x+KCm0Utt0HQZz4CThm5vw6+0XRumxH4j6OQGuRq9TGnfEeqha3sHpC08NXWqlLADyJyY/mn2yPVnwREtc7tV9luwOB5UPZd7sXIK3wrAAkvA4S8HUjnR5JAg3htsYudhAYOC2JId7eQyPjYjMAp77VlN5Z+QvE250gWQM95vkhXk7E1Jwvcpt3VAfW9ltMO+OxoJ0W1jyL8wT5e2VjkO0luKKd0cNrdreJDPNRRxT+0FhA6nSIcMvHJP/HCHGG5lgh1HXG2SDMRnj9MSLN00Q+W7hQPhaZeDzupiaJ6U8YvjvgjwYDy58TOTpgWaYY0vo7uP63TDy1IM5U3Xo+1e8oDxCZ1QWnM8sN2/S9hRF+g533ACkwgZA/1P135cSh+INFi3s7cunGvq4Ox4cVmxl+JdW9MRjpOnoKHC0eKDTBWC3oharbf/eBcXbIqiW7OU7vsE5t0V2uBG43XGRiVPiI9opSyPw7+CzfIkO6YoO7f2Omy8EqpLwwhsxE8PJvmN/Y5LMziJKOgRL/zQUkKxkwxT/p/C4WT0P3JcL/0zqkXghqtOWOZE7IFZ9jQFu+yRqeZDoXraK2hvb0HzCDhGQ2fPkD4ZkooQoc8nnfA6SxKTR4lWWj/ZGwq6Nwtpx8Ix6kex87+Ordw3jxiNkyTR9kimYD0HO7NFg85oXebFk6lJWvY3IxaX3wVtArPfLMfAsb9g0UxwzBQbNiEVkTgXi7gaGx4FEALR1mEUyXTIm/lo68M/lIHgntVozTkCzOAliqwPEtWpx0sJUqShGJ+9373Ifn/GNDu6wLJyrMdM0B725u5mjKoqCSDTsGcLtqByPSdXnsVLFUIRdKU6Jk0hxjVC3foQ91bJii7QHNetE3CwlYZHRTJgxb+/crpmT9LtglhbjcrXpj+ISBeHXeToqLTR/zQTDH/sVgI9IbNGdbYPkkIq0L68o1RkF5HRAQrgT8qIf9bkt2pecCah7k/KjA/GSqKfOtHorYe/mB8a5ykdWyHdWxubePGUynKQP6zx51R4del0qpmYjGJCW/aHPRHggaHxCLppKjdYdujdt3p88sQ66BENtSGbAes4HU/JzAyuOVRZtrJCTuU7faRxNrCBdkhDXR0PfIcTNbtkJJimiWuXPQGy+dQjWkVtNtSrVYNuWvHBFZ/W/jJEehHF1InuuNiJiibErNetVvSQR767ZGwgSM3mYFcNArcIJsPg0+zGrUA++XLPIAd7HRTx9z5OOxGD87aeyTvi6mqy2RcJ0MO4iFdh5zavtwo4o+M1VwASJCjO+lzao4H2ZqCnRIf1yqWkV/5H7l1/KEqvBp/qmrbCu8dTsERLMJvbHP3OP1dLSKyYQfIlNzgnkSETrFA85nekKnB0mXoKXC7190FtAVgpNtzV0ifgelvUHjK5160O5WOt5/fe0LSYlkLD+MZR5xuL+mVKE9GWDV6JkoUIQKBLpU/mqhZeV5wGJ7JUDBusEldc0gEJbP/lKgS0mwRXmodq62QJGGjLcjXgvYnquhtOh8ZFxEdT0NsjKJzheVMNXKoWHCwKTisLut7vkM8bg5gOzcT1xjI/whgGeLRWcvL8CBw3k9uur8td2MaT63iObAXjwm7yYa7fXn+NkvCxbohiZ/9gSML6tKy2msFuSo22/oUhQgE+dJpE0gHBI6dbWnmOdrCSisS4ZHcIM0bZbJuAQMtoVjhumsSdJGBXsYWKLis2VasyEZb7DXU4sQkyLdsv2+CzVMTobfBDnfo+URuXvNtA1+ZeVefChV/HHj9aisk/jBHSMjVidleMMdFxwYnhz1uNIEjRHM9kBMpGPvAXoxdYMci1dLEOnWYJOzRhMGyWv2cuZmFrH42QZmGSQKNVcTLTvNFH1BeMP8nmcaN8FjA3/18OPsaUZ/HzbtuNTsQsr4cEloYi73oAMBjOTGjWJNV7WnjOJ2I6PvmampCz+EgqXQYBTKCxRzLuA0I6m3ml11gi0CS0bei42ZPrHRRyOSX1ErAswr5KQYpXwgWR6u1UIQ3Ndlyd+4aS7qb0i0nRSU/HvjkDub3aE9+kNMZzIYoXQMPbMJ2KjsXHYclbyOuF/yu9R5q/Z2kL5vlS3H7Is5TrJQPYn28qOeyn3edCTGllRBr9M3EnyN0lbA6SqzxcXuKWXWcOL7QNGIVWmH8EZ9UIuTnV9b5WKRi/xog96Njhlw6eHZWFBEpg7Ad2HDnD3nW+3hezDBrPFiT+pws8lH3oKHf/mcTD26TlZp+Mh09hYSDZMcHGrwXleN4ZMFoDe3Viu4NQ2U1hErfiquK5KzHePiyQiXMNbXgBosFCJ9JmWvD1oHQ5vIkFtcvaHsP8NTT+v10yecYBEhjV3woIhcDovhEY0X1kaL02eGlPgpkddthjDJoIR2riw3wNpjjqWbyr5Cfaaz/Id1Zzpm+q3t8u2RKnYTMNVZmUZ89I8eL/p9wJ24hMlcxfY7H/BqT5vORxA16R6+S/TjE81EgStxhMKfrIbTXr4WA3GGxCWy8UT98/iObjfneh4AfZlC73HcorsNm0ZE9aRhEut7LsYSSCE+ugiJD/7eQ/UyOTmGNuVJguV2ddIu1xbWkaqXpaj+qejlkjQxbGK+tCrx6yC3B2WdfEvW7aZYivZfVhkdYPx12ySVAFUBv9BRmx4qtLKT7dYSQ4hgvz4VBmAe5/j3z2LHyQ9yeHHrrCVHHai386pzhQkofqoBcYD3h5iw39TP/1SBcnJZlOj8b7Ui5dSrtQzb4/uaB3jMr9onldUx3a1JTAz+QTQgY+cogvB68J1FaH00yzzJVG4XsC5YbYggmOEc7hFJdR6bSRw+oeuWw13tDeXNMdkUWy6kAo2qn6o6TAjtgC7WV+XoRYh0al7F9Hi4N1CawfyAea0BAngIZyhM+XkZ0CAjR7vPnoGR5nuzctqZ9TQGs+Jlpmt1jrbH+aH2Y+L5mG+/3488CMwIPc4Q42c20w+n2aNC5T3PtaFCtQQoHL0liLEGg4rFhVGPtKwSSGQwZiaIUCRn3oxPJUOvCfI4W1R75hbSjtT7GUSJU5vB7agYFxJBBcC2h1FtwcwZsLLjODqbn5ZiKbqSFr+1/jxaSMkknfQbxqfFmFZpmCF9XvOuW/cwWq5zPOXzza0rXojam1G+CncHplJlfwwfBATBQHC+m30VOKmYondWRmuBt4A3EAcM8PdfgjgTfrmU1TVCQ5kcfPkrlwIIJur4BMt91BsKWypJhAmoEqyjpcsAdHIPxml0mGJ8GiQ0QZhqMuYudqhQizPQ+PoxjqjAQvg/aM0bwtIfsvr/V1tACUNqPor5wxSF+ATyz8WORvWdrympiSnK2BrRjJsq/kDVilsQ414S9XKRUnTUN15Vodb1w+jiydLhW/eiLWq0W0iNIcmOBQtSfnbm13WooiJsEvwu27JrA6ivK40PKuKnfjLVvWhn5TYhSFkNpBu4YC0DWNg3Uvd8RJI7ttEVobGfS2vrzDEnb6txxCey5m+mgdViuqGePcTY9Gy1hV7F+qQly7sruETxcQOYpibRv9za+A5vaSpPhoYHagIupkyIAZcdf492hW8qvUhH1iQTH/M9Ar3zIufo7S6v69CmTb41XGJKddv8Q0zyiwprfJ5KRYBKRsaAjVeHJcZCy40VWAxTPgAmEjGfyrA/EMtB7bfoO51w/1FccLoM4uj7E06KqqYy1lCdFQX74yE2QwEJE8BGHJQis496iaBepW65bEpwoSQG4uRZWp2u7i8HObNqBrktXgsFmNdQg+jP4cDHxdoZCDEZXtYxOnTRBVUPnfnWJVOK+6Qh0r3Rw9HFL1VL5qNMVhT1eMbOTsv3iFPENbP2kAvEiC3hCl3me/F0GDefWYsmNVQ3OHhFsIn2CfRXlVcQ2V7j1POXIbkzJ/R4krxt+qlW7JHa0UKoZNmrAjzf5F3QlF6TZwHfYd3SIIUn8I58fCI5h4RpgnTRISyukvi9DMBwTZn8lxOgTaMj9FyGBrYg6Elw5mvRnE0HY+hoEHSBNisJSOTTYi991P8rJkF4To5THlndQelEyvpYtrfV+QelxNwCJbv53rMdDQy67w6G9uPM7gJJEaAHInXaVdoioGZRFNwk/5sQY2ZLI7rl2pPXWWHkEnGPLTPXKxrDt/cJI62+VxI06eWRym6+w7LseWN0HCjaD7nG0yBeGl3EeIye/fQiTIaKmA+epuTLwE1x783k1e9pW8RRaUraiHkQ0Aykoyt5QlZF+5hwz9jHjqDIs0YSFt9xRgEQzaxDZmNFlcj42XdDqTZIyA08tBF/rVZOPwPgjvwSN+d/2rJcCgRN/aUYEwgS8luznPA3o9bOeoLDvC+cX81/V3RXaRPQV71XSu55husBwDZRr/8IxIC9YTDUz29yHFZkGusf3URFjVPbd7Wa5C71BXK3Oyr00BSDUQo/g/BU340IcKkXU6T+PGxc3r5IZ2sWWn47O0NFnFrOETi4iXABX4HY2cdl6NV6n69iq0K27vYbTXEfpZtg2me+uNszzJSKAzeTQeiSYN2jksiLcHA8aHW9ZWHb3v+h7i6i0uWV9tjMTOTRE0VLNINOcVe0BxCFD/gSMZThhQ2fKnXRAXN2fmy2IFoi/olG9W56jHj51kbqekMw3rFucHvfHMONf/x/KMqb+oFeYCycCzm02TfCcEtwjsH+5Y0cS+8CtP5Z2/lelUS8ePdEU459+NHfowNX5w2sjS62mFFU30kT2/DV6Hg2aXM5lnOijrLCU3TteS4iKBX3xCDToztB/AomYfA3k6OCmTsgM/0raj+lGvuEYvCiLYU2opowdhUblAdN8ii58HMgpQxGZji3J8fKFPLuDJqa1o4MJvXf63rFd+3DpbSDKRgO+YSXa9ThnJxw/KgNc1CVaw9ZHpSCelKJhk+wVm1RBXCpPKhuh7ff9fdsSZte6fctJPU7p1OpSzachFhfBZjpBnfylJ5IZHUQmFd6KOQpsBDEP1U1mQFkuMxNR1v/HouccvWTJuCgDKrxDS0W3otRwv7XIeru0CX1clhRo4KqyyPM3wtC3MAFdnt8yJ1OahAOKMqUbBuOORdkF2HiTrnn5MHCE/SiFXFYA1Qz57LNo6wtqO3yK5lPISauY7RLMNjbWxfaRYAvtGOm5W99RkpzhoHCSBCQZFvMzBW87sRe439rejFJ8D71GH16do9KAlwbi3YAWcVsH2KHSJeVn1anIfs30kBWJ/CURRyNIAY8FE6GEE1eMjkVj9SsUOG6ox/QFLE171woyOcsVRtUS0phSU7VVhHgEFFy0HxYXo/NG7p5cI3x5zc4bR9MWdijj5Op/TONQY8XhIRxhISdHXbiCDnc0GnlKIyeZWiNMMLUZy3v36cXkBIiUC+Oi7emkLRXvBSnqhgk7JwQA7imUd+xhOiXDxS9wCFds21sXaDOwRU4DufeBdJ2TMh3lLBN3IA7D9jdX7F2Rvn5QdNhA/8byOWf3mvQ2kTY9mPBr/YGzeDq9Ku8bv9e6xo+gaEWZO3CD04rDSSMW6qErQtMfyZSR25Yy7FqChYj0qmw+XiIh0lcOLm54woAn14jFq7p+aAi2OzuvkjczUoTHrJklKayYQ/IPTLUKLWdIckLpTsHomOdl0oGfODbz9pRvXWyNaUbFDNyYsb2azXmBnf+GoVCS+CzwzQWNc8OIWXDOZGj8cNxFQpzPAfdqFzozGYHBZeOm+nuxpZs6UJ8gRmVG45YWNT0g3zvFrzXse0P5JaAbqzxppxl/e9Vmpc9WL6oZ8HL3ZVSvqmKqC1rSwJO1oVMzKu2RQh2WSmjbokHhF/GwQYX/Pd3Gj0kEx74Y6M3qUFKPnCqB+riH141mYlFkFKgd74h7xUzR05mKQ4W8kqBWWxiUIPjHDWlodwTlvobmx7WWk1vHiui5pFkF+CfnYJCNlYjaucdyMGhOhmFqqMTgWdjhk15Yco0nwkMAnOU8QbznFGjYb+XslLXmXCEZYgNu1FbFsH7//2M5p5oDagGcrTEiXOZWfyw8OWfYyr1wc1CGtAfGqwk7D9PkdkYYtIDIneqjxvkYtht1+KNLykYsVRkT034NyHKTMG75IwuPqUC23W/TeoM3XLMqfqp8yKGKHsBh0T3/faTbmvXc2iruJs+2KRB5EGOPNfxnlOGXblLyyo7samzvZ/jVLuIImjxzqLDzl1LaktR+xQovk+ONOHHyu1eyDrt3VIceZ0W5TxoT5a0bZSy+MNrCbl4L6X72HLuWFlUbzSGSM4pV7BNLGP0mVYnpSFJGezmQATzgu3KJ61KLkyUoifitAcpqYfk93KmmKpGi6lAhAqIpktSeKjAvU5ONVp9y6mi3b/Tu34a6KJYTzb2uYfiEswoFCOKTw62dx3m3BLX/q/+rKOFWo8x//AKC6xHEK/WzmjknAYtubV6zB8DHSIGQVgvZAmxygdE+ldNx+UyR+1y75IiU6NHSGZtUl5MfGTx0R97B7E87Yv+26hQBnCWCZ8vU88tma68VF7ke9QpJ/bOInkfx1LN3ixzggDp/hoS+yGTlB3+eMIh3FVmvJfeXkHNcileRR9SFy4NvTGZpOx4vBmMd7BTLr36A7YkaaDwCuQ+Z7gzFal5MvdflwI2KCn/AddnK1LoofezrZ0DOgCXxNgSr0Toh59BsgybRSrpXFwKmBwQ1TK9Q0J5NSpEuXJuPyEXrg/ageoNZ4gnRbxpi7xmoHiOA8RyXZHDysbTSHfRFGp0lZqkztBjfMbxl6yKePUHaO6vYe41xEi8Mdqr3Aahz3lFvH4hhsI9pS60KFzDgnULOUgms/lwcdBsycXYw9d4QJ95FUOjY+H4MapsNoJrUy9TU9fgrT0ebPzZoBr7My/nYJ9LZ8CdSnY5KHGJSYXiVoZsVsiwQEZmq+3YWwdRRtUaFMgP8MfVsXEg/0zqAHVOHAIeKNOIwF1LbPpuzVoO6lYdMYqHnnkuPTQkjpLFa1ut5O/3x8p/kMvCa1QKTFRAe0GjfLxUfif8k/cj73GmgR3VnsLV6j0hB66SS77FwV8cEcq4/YKG+i+CZZL1Nz4pw1zSr3M3MAJ6IdLqNIrCS5G8KoY2qE4Fy7Vmu/LTO+zTiDgXIngle0AC/gus/n913jwyRB11rpUe6zXTaesqLwrEN5L5GAYj/jDOAaEUOYStLWtrzvUa9Vvo+22X92QIPaQ+/l/5ytYwdZadDlLAq9E4wdDOOxCtaMfNBsBqc2Ia2OHbNu2Vl9r5LLaFdbkqqCAm90OZqyfDcs6DS+uH1G25XQ9hAmKKWm4LDopas2/535DESzsMhXn3D605nwZsVpRj80PBVsK7eYqiSGyY5vaYZTeKKD7h8MeQ3WGtK6mPgLmKyD/Jq3akyjfNz80ifRKHdv6HV4maaDPRQ3kC/NWzMv96SYU+FtgXE/Pgz/QPrE3XFeKuRnL4X8PtPF4MS+ApZnzLWmUQ02oJB7+xGTXxwnJgVZksbUPkwv3MqxmbQ+ubzBlYYqF8Ocxylsna+W7WN36fiQC8lwVxN4Rlg2sOU/AZUytJWNSeDgN7nXebjJT/n5JShrrqTToD2X4G3QoMfKCesa1wyJNtw3SZSHiTEYmns/iWdcXBjo6M+F6jUblEWcFAPOUJIUB/joUoAHtbt+YEmdD0ROdU7+vBkQqgoN/juaSoRRcrPFTmhFLJjgkDaS8abM4cp/kfoMeV/d846VICd0kvRm3CMu9zgNouwcfpMA+VlBbVoW1QV2JJ3ETu+zRPbaeB5d4mjCrtUBNxwgaiCT6sz7CLeKgJJ3wTN8ZcAi8iJbGQC2+xR5GroiVxxT+ppleRSMmMpWO/2sXZO/X7AGizg9R8JeI1gclsy/6FJYj98vgDSnuouTRW4yt6IdYb87C5Sg+xQaQED12ndzVt72n0r5NinYB7NvymT+Lkeb9BbNH8fPVy6B20eGclN9x+e7WCTQVSQQe+UsjX2EePlBDHUiIhrVvJx1H6J9xnV+235Q4vxRGLGtGtgKHSsLWf0Kd85i90wo573Y+aMOXPPeHi9vdLwSHONjBd8on3to9CChLl+o9eFjAEkSfkLPaCftwNiHwpZwHZi95JzX9Lr3St2soOxFbLDGr1+rCcvibAbW5vCs6HllrYOX5L0q/YeiHv7VSzLOv63wX6kQYd2IafjbKjj3lkRC8nnzu+VdNnz0lIOuutDdIpV50/a6z/VkEr2ynEsPoQmLgn+kn869AyXj4jY1R5OYAj7VpIW3ZmRQ23wXFhga+22vF1rbrwJm6uMt4S/5tjIzsj46AuLXhJlKVS0eMeVUb4Kl1lb8J3knifXOLIcc9KqxFn4Mn7oHkhh+lO+j61CA98ETWW/yYceECXFC4LgkqITX/39pqBIElYcqBDRzbG2zOXLHqXLJSLHSYdog0ym2+zBzHklTl+zbUyWV38uNXm1ciwDDgL7eCUzOh6VNetioZWDoNqvu6xh5tGpIpM38R2Bncnsxuy7WZmTFlFwXF4icn8wk6LEcxa2m/sLYvH0QUvpxWeKHg3zI58O/i5Qae2sjJ3m/11b/ajxX0vm6nVtNdGyUGmK8ywKX6992/BRrKEyDv4L7f0+xf+2KCuWarpl3GQS4P7OE1Ssw48fYmI3LAo+LzTHsSp24L+K70p7NTNK8S3DWvZ9v4apqakM1QyN0t0ZHOontVfce4XlXIDaxibnY+WBdgLUULRDfjHFPHCDthqqsmTIBkAmSXJCDc3z13ieg49f50w2tk/VDrgt086LTTwEGlRNxmapvSzibyBmqBrQq0h8bDVpXXv+RdzyYXHRyxZbb9z5T1h7GXD870NXbz/gmgbUps8sXv3r/ts+w1pSf5deQyi0QZEL+j8W6Iyk5k+C+ADED9ctsNIl4WTHFjSG/7zqfpUxkTsqGMtJ2OfMeOjrhU3f6+w93mzJUjGY1P5UzasMs8mOrhW0XUMipTQ4OGNqfsBOyv0NrnyIqGjWfg3QauZR+0BCZ53N7qPXVTYMU+M1tWooLWC82LkVqE4CnFwGL/zUb+hsBn0DP5w3XA7QLhx0X/wXJ5Om8w/EWVK9SjCTrAAPA6vnkU9P5rmJtsbPCmynhZ0PCU3Fxfm7cYzXryzdS5pnYXOJUrUEsIxMbomNMk3NO7Uznzt4MLgmsobWuP26m7NThRwQ5OeAN/7j966JTgyUZLpAUd+wX2wVMgNxerO6Lvupe/y3qrPlx/kbTTp/ccplH0QzlUtKfsT0hGKsmYYMCKoKukp+/OUQK7fwNe564tqtigLlvEIRauWamvfVfuacfQcUIULgPPes+61SZLM98dbD/awPJZWCd11mB3DIOafq+VlvAcLd2V57Bvgs8ud8LjLlGdkEMjuStsl+lk5n3MakdropvitUt0vyYsHQTLraAFF4H1kFnZ9WOmgdC3kuuiYtExAYgb0Ke6uch/XbvqoPPIgfOV7Xr9D0e45SLrS+0ayP7RjYsNlta6LklD+OnRyObTAZGIp2oFSpkywCVeubfK8xWunNZNR9sDeN8bpeJy2PH0AZg9bFZAmVEZMWQQZae0UQNJOxGw5wqODb4NculBfuZx7TgjkLhNA5S/AEDeHvXUNztAenm/0ub/K0wde+F5bldhf6Frv3ETdjEB+GQXPeZTi97xHBGUb6PhFZMbwT8np5LeA7qlFG8jpO/k1VpEp7hiN1bqYroPQ2VjlACgEVcMiP9+P3FXqH7V+me+T5soQLKIl7Ea5h4wITq/G0XkabMZISFyX18iOGbiKx44Vmvu8u90cCFfH/8dGwJUjJBDfJNmoSLeACERMYzTxmyeCx7H8SU3ILIx/mjJ9c4veVyg3CHPtf+vlIV4W52JzlqLaJkAkFPDI7sf+8rDY4Bc2aLMhANqTGsOMNZAH6ep2eSy/sFG9vJS/87yqyfQmueQZr/vKqlZ7aB9MG3iKA2CBQ7CZ98Ib4HaFP1XGXJGHcfzwf0tPBxBDM2t2qOfgxtxI3dliDwKy5k3YDfESOYmXxGtzkxqgLL3NuSNuti5BtIQN9HpDH6RW9R+EFv170XXgDrHqdbl34NqAYabuhHXwYeK8nO9X7r11+pDICN1JLhAfavMLotL+bHwZ1+wF/F8gtEdsYMT1fv3u5Rdovbrjq2Hr7arEc7Ui0/J45A72Gn/EcTqGl/N3FoKatPdi9R+542zEDmcWMR1SdhrEcR5luSYb5EHFeCYmDaL3Yj5xoysY/Y1Ib7Wb3hLQCf4XZGtQKljPdFeOkHfd54Q6p9uMWlN0YlDr3E375K+f+hyeec2tbBxBlJGX0jG/Tw36NvoYP42TXlpFrUfbaLIwC7b40NisWTco+MKvCAutGRsLRSRJQzQUoBO9H4p7N8afcfLTJdF6/fIWBVcFyWmfO6x8VWa5Lf4nBZHcJKvoel4lhxNlxGKhSRrFaDNJCKnMtyB7ozA2aa/R2FqUVBZUBHs3zeKgu3AckKdEZ8ETBcEWjrKiObAtrcbN63aD1vBzZCPemJGmMkiVZlBVYZ34tyQDazBl6+Q0wQx7wPFS5p8yUE8hlEzAXBQg40Z19k07+fMZHtK5+oLjZtV+9RgnxyX2bxQaYe5R71LAgUlFeo8SRzPaJH5azjJ4je1EMd+/KvJ+2RPsoajz+zYC9KXG4XsWmaHhuXXWYAZpuXM5KFiStDjN8IWjdUsc1DyVUQGrEhV239qyNV5B9BOC+ZDDdfv9/7+aQsZBDRbIeBdhtp6kateHt69UsdaB4PJ5bsQFZ5pwYlKhkd7U6CwC9+qNxv9eTZUN+jwj9SQn1PvfhGrK1/BNzm+3BNTgEl/KHrbIXiEkpEaZJ4jf4nMn00Qaigkd0KgKnTYxoUklxxGh9oRqFOaMXyyc/HVXC9YA4WPvFlxBsS6DOKIUBSzBoOcLuFczUNB2h7XIpzn3sYNST9dTNcTSHSleynWqtBnCf8N1f0CVsD5zjuSaWNjGIzTCouCdBQzkLwa+pkuxm4YZsdOtyez7I0F1GjEJTjG3IyWu5dWD/GkiH8h0Ys4Tmft+JYYSD280OA5OXtR1ppnf5Te152lXxZblXJql/HfmpwTtPqIXmOZZWY429WiPdOxtwTunQRgCryDVtH4w9WQb/mYbC7iv2kT0eiZ+fMJRM7RlVBiWZpdFFGuSnLjox7qq1rAPX2tJfNoe6FyQpHOhOXM6M6kjdJD4EJ7Y6Sbq3J1RipoMOf8aAKDNKqDjBgn2rdsbIf1Mu6DlYIxwgXFtN40bN9ibBFii7JNtiaN9Y7AdZd6Cv2TAJwQzrrkKtBc2nLjd5vYfhP9I9llh8rV9wkglA4Q/tZ4Exc0F2BT0UvK1aVTI4DODWYIXzUa5y2T1aByvqZA1o4CJI+Q3H968hNATK1rthVvhtlbdCoSpmHqMdlgPvAalGtU5cKjQQMMSixFLAySCDnmzcoeApunp/p9/eGIh8xmKeNwIlBYD/h8JcVWlpPr2AltSKAARo9o4/JnPAJR1RTNV9gnY0vlqhi7Wr/B3iLPCvQMLRPwZmc90KfHqvwio6MO18hHlhQbDGqEpeleJhEKlTC/f7HjiV7cLzRgAJPYq9TJ+kH6MdAWLxsoXy69k8Cf0/V1csz+dKhZPpebKNS3ElWHuDzSHCyU1onkriNIRdekFLu7XVtRNnb78SqJ9UP7tb5VujVyc+HW6eERh1QuPC9TOKDMf0IQ1G0ey2LCUWLAJKiwtwhXQLZSmUiLC5ehIiWIFyFncZRwpctooBOIYy5t2Cmlh+u6ilAXxu9ttPIintIyjSufSOF4hV/RwV9qJgChVgDfupWXerNM50M6373rnS7xyqcTWRuzafRZmNRH9CBQkgqn/tT6ZfKJnE+q21bEIBOYX7xMOnKQOv91per0Y7f/cNr6gJGB3Bk2xT6aOuuYSZYdyAJffDn1pywy4sQinA1bSqYW+ZhYWEZO4cyN44DqoWIJd/91GV6ZaK3WTORGy9xwrqySjAUUKxjbc0TZS3dgqIJJEqqxF7DQAyvdDeggJEAkfNum/jKK9lD6OisBPY8lP34VzmVjq2WKXxrdG5z/5rb2/VNDRRR6exkDT53Tj/PHLchZTd17l2qf0rFS3jHfhleGEN/rj889qUryDgqunmrM5fE28DtqiQtH2n3Upf1kjomw0CgNfk8mK92EE5TdWyIir7SigW64kEBlmzy0YH9wlsTofSncqz4c9GuKvpmQKIeCRWC9oehRMVwFUcCnmvc8KfIdqGwZ1nCnZO4E2dbYaCzRiUv/94ia/L1OS0sOS/upMefibLvsu/Y3en+nG9nbFzIqMI42aWBNiaRWVOk8x7zgMvY258t/KZ9X2F9uI+a/JoP1qs+co9w3+iATUM4hkFJDCMgkoEvPG13M5HmYS4vjRdAXO5GgYsMqo8/61whMM00p1lynA35I5oSJIZMgs+aOMfAzBU7rt3jqKzrFNsATO5e+y9qgvn+rPiHRvygLnIgYJ+SlMvIk1chjsyi9b5AtUis7qJgdPElf2v+s1G24Ymy/NpLrxJ2Qk/lcb0TBUfdOrmEfVi/+DzbhzeHSS+BayLktVRM3KIC7xFHELimf3YyI1A1i+x04KG1uke5WZi24UaIa4DIXyceXFmeAadWLY7FxkfpKOmC0/2Ho3DHrcxBkTmOjCh0AKiAtmEhdhqiX5NYzXWJ0U9v4U3RUDoLv5YcIXqrHDkfqdLUFzjsVFua9XhYkc518tiKOEdbz7cNW7h24BQGjkh9PbOqqFWDs7WEfqLjnPT09Kene2ZNhmlsjlqwseOntBPnpgsYE/PHhLK7VbdLU5jik6uo/eLbzcALlLSjT/rBWzpH71RSGlxp5elF43ZTLrKwyOlriMRnaHclqjwsr9WL6WjNhR7wjAeT+JEFNHSJ7egZesULPXJ27VsDbmf093K2G6PJ89/aI1NyP6/dqxFYxQiGwIrpGzWCqRjNnb4W89MgWNVGjJFPZQleup7tntnS0XeFvzFtxrd6zLSwC22E5xwZ04uDWQFxc+QJsLF2XxB7/w2iH1SA/Au2cQPZ5Q2A5+ju5lHxyR5ztEGT5/zaHtonyLQw4FtRJ5YDTmf59NfmRmnv/ah/rdIlk5ewZ1gVHFqCXx5Khz8YnuIxK9wiU9fAFQqJPqSBQpY5j38C3Bez/7GdcpZiliS8LZ2wH/FUp1dgkcvTJ10G70cngo0CYO/iI4KChmKu38sQ1nfUabbx9JT1zws5ZrZeHgm2KhE23RSdlScHuLph3NAoy4TQCfJBmt9V7XgznX3IVQ3Z1/2K6+lEeYh8oNS5Q23KniEbHeWg7uHed7POQ2StUjKO+K+CCpfmVN6w7fNhn4/hmMzNZKDnlZgLqNeGtr00c7zb3XbHzZ4eL0KShLBR5fP+ss+0Q5yoadb1uO+rerIgDfOHqXNbb9lBh1m3hShmyMB6rYFl5l30CzP+iD0u4I/XG6diYhDvfDbkMMA443ysHmQn71hTbp0ZCLHPe/ulH/x37fQJd7phVpQ4KQ+oPjSHn6VVd7lKWTcbuG4ZWN6MaRP05Bxqa/YM3HrIfagwxw9edHmny8aCYqfC8IgaM1AfJ2LOfK3wX22Gh6tuMHGPEtWC3j69sC90jsqXaa+rvL5SEzQrcplD3zRpGytjCBYgsdpiqdwonyUcpSKkhZhgkc+G6MpaSH9pbic+gz7q9MdcoeTgPp19A4T9tDg4qj/E+WkaBafu5GOw9UeC0Yk+IfD4+XC9kNKKcRljkgoJN4jZh9BECz7Cjqtbu+Sx1sRb3xCYFzU/U5Bnu6Wj8EqJ6fkBtZ+avEnkQJUCODJcwc2YwHL8/pA9KfNOCBimsdgheygXRrwDMa5MJBLSHJdejyyLPexUdSyIWAU/PRmuqvLJ4cXeunj0iXQYbx+GFS4J5PrtJFee+gOefpw1488WT2TZ8wNJZRUI6ql0UkC3igDXsNmvsNBaCgz0jWHZXkXF70Yx/ILSH61OfNh8OYpcyePA36QNDRXMrQ+kh2LmTsrfF8GgDMPIfH782cmd0/Li7zPz5Nt//HcSe36PeaUFQ21uNaJv+iADUXPu+1vbGIE/kiIsYAbrfYSZLv8KGNa1prem9RPX6Kp9t42I381zhGoPHXr8GGv7cHeo5vyA8reUyaQyMlHc4unD5kOnmpHCz3R/+uyZF3CcUeMOC5pd9oczWk1IkZ0y0Y3yyZzSwOkX0Vee02SARdWAs1XKGkeOS/+WBtY6SzvnRiwurZpPO+MrpUquDit5f1vKLIy2fZsIOArLufIIxo6xh3Qw7W3EhLK48yvgR+Cv6pC9qefHu+73/spjimRSSeCDzgG/2QwyE0xiyBUH8xSdpFiThrSThTwkLC6Q7I+bng50tpRXtGpm98Tc72dJPLjMPTgW+2ryXlJtwMVO3CzWvMw4DMnolnG6RXWUX4+iGJ/SADe76vxfZvEqzsQJr9RbONsqCAqs8D6Ox/6C1JX6+O6yasyHeQ6/yQORN5D2s9V5edHcsHNZg/aqfWPaXciZ1FU+34bLZHDnbCQa/avwFy2MGaR3+qF1O+Vx5HfMTxHSpSqg3SQ1ZIi6vPY++k+0d7gifIQzrwRJTf+lnpLt9eK5srrv74gM5PTL0cvKIEnRzQNcQagbpZ6dZah6FLn1NaIc/dm39vmY6JBPOaI3QDyipu/agaY5nexhoQYJMZYIs7L82DIHJJ+efS5JJ2vqhAnZZX5y1qj7++dw9H5XrvdUZStgZTkvpnu81EcDYF57J+axXzLy8nAkjniLYiy2htW9r3oY69kY7Wc1xaIamE84hxjza/XsF0aNQ7uGIk8UEISoXKrrwH7XslMNdfObXUQ7f7xtlm4zA/K9L+Kbb0c7j/j1TgNgcUX+VE27RzF2furb9abL6FZljNHfBrduGTxxhCIaAo/KC8J+IEDHilIuRSKkFbVzMR09g8hftWNCPVqm6jwcbMd+BI+W4TWyHnTU0G8XaXe7e6lcZc271U/z1lqIjrIhdqAIW/KHxcdUme3F7N76O12vtE6uu7JriGemliRVW8nVe+TLG5RSpSLo+85tpARVocjVZr7X2d9c8Z+WSMn4q/oLumd+mp3erV+7foJnY7cagFNF8Cl7BK514gHOokobZM1pylzwuHiGyxDGQhbbtdh13ksBevQ48oE4nrwxuZycg5RMBXTSNd0jOKBkULywggqckCs13efU3geBg+Tb/CC00WCTKDz2BqwhKzQEL6mwE2IHMfD7DL2cfe7w3EK3CjZm4V7xGqdD2gTSHGpQhTnnYh7ZCZR/HnZsmz9sICP+8s2wVoqqV11iDTluOGmZKGqOLZAmbXQz/wNVWtd4lDRsoGrpXKKaLwfHPMgVzHmk4En4L0engahk/n93PhRUxnO6OH489a0wWRNoyypqmy8198VK3pYAX57HzeRk9YyGbicLwFMU5HL0cuATxwVPsoowak4opIW43JBGjW+Y4S1pPY1BPS3F8uEDliDx/Q0+tzNQgU/83q2udfOYdyzXUorKXxSB6A2zh5p5Hl6K+XEvqr3zjoOnP6nTKiYAsRGq1mD9s8wdtQMQgiks+KdHzt37s6gqNAAuXaLB5ljmGAB3xZ2XUgc0zvy5ZVjlz/TQYuwRYRwC0v9DGVDpj4JlFQj6P8eEK/TMTNIupa6rFCVF5vENtRm8SDHWxezdYhl19xzYBdbq8xFjZMA9Q/WZ/qkz9frhcy+15pRTUQgvJ5uMjCjPsDHzMKxMAx6FS+iX3mXdNRzL1M86qpSecdLqJYGqhiFnprqQdV9Ae4/18ycHsEAB4EYad7yWJCxwQq3VutJPW4eEXS7dF9Wul7LZvLo0qJMRQYtS8pgFHMMqyW9QNJaRerQxldEqeGz5IY1zdykCKOQ8Q2qfxKsKRaxd4oPkKpk7qrCUv3ESF+IiDHSq/zGEW7ND9hEZ7o7mg/UPdYTnI+UyC0ChmxjbcQeY3tijFWo5Q8zgLHITInQ51uhLucFNIgkwRpzmPkZzzRfebBlCVqqRCLUhAX+Up2vNXYUbFtEKADa8rdJw8z8adPZmQ8Rrskf+kV7vBM/2Q/k06B1JYLC51EfCd+Dh1LeUjd0/YTNoBIEWQ8SU+e7Kgd8tgxkDysat25jhsZStJXZrUMuBgqTKKIsPTMdShdiobleuEQaoasVUxXttynhasU+4ZSRNB9X9TkxNNTAoTZrK6IbFagHfO16pq7EkrXsr7vzrr8RNP/UYL9S9iwOn1mHrXSO30Cd9NTVEPwNkOMa5OENayPvO/Qp+mQJhJigAcfVV55x3EKDNvd05dn0iKFocqkZdGh5A9+rxSgovQqlBnfPOOYPEk8UohQx8yBbk2E53ed5S832d1Z5EcFM30ZxHRUchREPhlaFIMedh1U3feb7HUK4WFbK3pyxxAb7MZzhKNlLAFOmYxGQ8wUIj571F2J4tRj3X00drZd6tTRXxivItuA4jdLx5KkZ6LnmbKaU1ww0tlbimuy7EGB2whhO0xIT+zpJl1hGHaBmmLHSC+B6VyaHGIQXwIqpHvcSB+I1LPLuI3gEf0CA+CUnOf/7Nf07CVBYSK6+ZiVTrw3DBJIKNhN7IsY+Q67KX3qK/d32fcWayMZczv/HXcOgILUPIk+X7kJM1Kqsx9covGyiwDWdjLNCt3UpEYxD3N3FPpdwmaB/M6VYvQOhit9UqtweAc08078slISQoEftMi0yrTFIaVzdH/LlU9Ddq2sWaoqkPw6GqM962hLGfc4cfFqNWsolSMhjkSM5tWDncXViMMXwx1KtZgqXZ8tOyeAZ4LATRBqkb4pA7EdINDrR6u9sNPEovpblwrMCxHRg8+2/GG0WmokzCcUrlyvk5mLW+gLZYP5PQ1ZURSKpoDgKOasihB3Sq2B2bOpY0IEdZsMJRLNuZ/u/dbBThgORMj36qBiJk86TCJyJrxTtNzv6eNMuOI7ERkoihH+OiZGtQtnx8gjlYwzq2moCQAc/cYThvZsP3ctbaGLCkrC5PI+30UN07k9/cFPHYRo+iuJQJkHLr5IHHQOU3SQurt05dvccxudc76K9I3YdWYxe0MZRDbdKv8qqrs8xqeEFYDbbjckE6gxMdpNcsKYQO9QNf1TpSGQRz2s41A2luv1ZX4Q0UO/4v0ZZuW3SdcsNP6GK5I8L6sYUFEYOj+ZQmHIL0F7BZHY4kG8J3/j+P/EKUzbPBNu29I1vg2ivBKGGQtuIYgNUpyoM2oscfhV0VxYP4yDEzpjWr0oMQubknwg9oIPB58vt/0ZLiC1rT99zF79X9B8afyljrIpcIYelfcMCHJNgdcHx0jVthxq38DORNcUkWn6bEZ/kkU70l0FRjA6qPvzL+wYKlQ9j7g1B++5htOcwXWX3H6khF8rhJsxdCQBDvbwI2fphh0Wuby9nqvVVM9tuWAblvcAD2mPoK3wwmb5wVCNSdnNuXpoR5ecXD6DsECVqwqWzueUzWNCRGXg37s1I3trU8Qd7qOuP4RU6OQW1CtaJuXnHvJQc5swwB3ee4yKWfNRjb4NS6Jwc9zXkzlGLCUwlLWUINRzjTO94VjbaqCIJgYf8kVeGB7E47WuLQ7EjeONQS9s1uh9GdnfRasLSjHTJ30b5b1HcB8m5l6ok4B+anEr27Uyxs7a8ktuoQzat+DLNIt6fdyME3VFpJmo8WDAp7sYhpkByO+TgGjvLC+bTK/ONN7HZPG/pkby5oVMtHLVdbAvCSskO1ifJ/ykLJDY6UyE/IK36bcmxumN9443pwKSXidDPBFJ2CqbI5WlVdGmemMVed/5rJQZohJuYl3K2KmeWnt1j7ymMfkb/8FS7UDrDZgDmecP5cb4bS4JekZD2PzyL6o4Kc88gHI+k3KR5xoICgQPzB4Mt+QXieILvb3wsdiqNNtrGqFnZok5uoeQSFQlfadd7VqalYvczx9dc0jsh43ZSB7UQMhW3MFziGuscnJvA+RWpF3DG3i8qBpQpqCYtT3f6Osc1NvWf8hEeb5P7K9gJsLJ8W+WM6a6C0dm6i3v9ePU6j/7Zxhja2ytxdb6P/sFZJA+2z6tuSQSoDtF5a6GKjKL8GltZaXQBUluhKr0Vn70Pr2HeeSyx8aFMX8SltuMpOvM1nWJy5bIIug2yg046M6taWsGPA+TYSAjMSD++R+MrvifrIrYoQBubgnyFz6kCsnvwD69xK860RJGF8s3ooEMME9ef8EfT724T4cTfrtp+LVOSrdyoXU99GpzlbtyGYEyZeRxEcRJcrZYe+UGHZPmu4c4aRa8sVhN6i5t2oOPn7H5GUF+waDORk8Fkg+KEVftxfb5ChB7d6LYkVzoho/0CSwzS/HWb2evF6eYYYC8dFFB2byD8UswN8ionahSaJz+X9PHOBqXPrRIhgDBBiojisv/mqOL7UB3w6fv1u6A7Q7DNm2gbeMhzod42XW9fUOAxyeYa19LLG1uU7grmS3xzOMQm6cGBC+i9aflE8kSWEkue+fZrT6UbH/Hc0GJe9ntAyUOW8Xpv4OGeWVeHEksbOEaDCwB9dNFle3V2iLvtpSuEpUr/KigPOlLyvPU7rvv3cvjOBFASoUTLtGIHVnqh3mMsXjiUXnK343F7NjxcXxm6KJrtlkqWfW3Ykwmbkv4gMBExyuWdvtu//eN2iyDpuB1kFpif9fp7Wwl0nMBHgp+gyag4Qtn2Sjna1ccN0sAmlGyCe5ZqoRwSre6tVZEOKZKhb1ugfpS39sfRLqDjOJFIVGxGIa4Zr5vPmFzWa6ErdWXluwxDgh1t/qJHZ24MpujpediUTrok67M5mDco5JPuigmBqzDJx1mforH4/Ktsv6ErljDs3XDTVCnlfkPi9TkZYLeZ59WOygzwhgQ/1LEfnqL0Cjf7WImuipFiUvCoSSE4hr4MRAYUZGVN/T8LnyuV5aRhAH5fWkTwliXJmaqNr0q+ntRmoQVc0s2vhDTu5nYRod6H/rtWII3UCWPuWT0r2j6pGJ/XKVji9ShFaKGlCuPUJ6OmLugMuDBBeVB/ah3dak7lGepbpwPN1GrhlLYSl/e844Qp0aK6RkUqdXGcselJPrzJsa21ph4MdubRtYPQ0Zcs3dWwsN8EKbDvfWm8ufGbixCG6B6WQ6CxF/uLpneLzpFQWGNm22Ix62mMuUC4GB3wQEm+8j/89Sufef+SQ67QOK18zqti9U1DpdkjSBKDN/SuwcO2seg5MTtPgqamtq+lgbH9V9LCsX/driCoXcbtEBSIUJsxvf0GL2jT7m9OMhnfxtcyD3gc76ePLL+sTLZY1wTpFfSPeIxs2S0vvUVipQMEtf4YCIR6yc/BwoTcDRWP3JnxuiQcdERuxzLr2OOTHVosf83d5J50jBONKuTB+wBYNvU+H3bAfZFEZNJDjp26MqbW2xlmMbwneVqoOeVt5pN6kckji4CIQ7qDTgHRY86Fh0A1bCTAEGtwJwcPm5XAdq1DR3g3tX7eNIu5APnHb8bOd7SrvHvGiWCJH3Q2N7uglw+UI7HQpkU169283TRjjoUY7VRXWKhBj4Ynp0Lcwob6G34dS/gTbBWAQ/GyiSiM24Qljkd1jAj9bFZ6Ww53qATcxgvgUEvRPtDa+D7dtCBv3TDSKmVybYZ7QwASv6wta9K+DaZix/jOuh7lMj/39+oFp/awDZuKRZyZeu+O4hN8SPTYqjotII2nCphH2PiFBNeXnYQYfIu8vLTCbfRq7FhatsHYxMwoYf2pLiiiGq++PChHBD7GN8/zP2bPqhjq3cYlZEj7fLzJZ9aeT3zE7YvnQpRRtitd3EqaD1aiG9TD7NJ2oNq5Y/MwBOIgV9TCX5j3CTrFBNcJR0tB0dSyI3CxW/q9ukgqH1AO0LKjxQse22ISeZSK2Z9aWcnJhldDXicjsjEuenot+xkQNz75iPnGMaD9ZxHSZculYoFItNYBK+YQ9owfirs/ngerwZ94SrveMBba8sm1Uo/O8BM6OV/ISncJ4Baji4ZGArNg/+KT84rJIKrRq9NmRtGzTSFCGBqgTIp7V4BT8ZDOJyrVYqi/CmWAVchqgSYxliGlmLJrSoirz/ozM4qdLmYYWR+W6cpCjoi/4OKaMjS7w82bDBRTo/jVBZJd5OzVB8aeA2v0YkNrUFOhHzCBEInHLSIzAFzvxmSF2opunGoJSADeFXX76MB3v55E8P2OQieapZYzbAeGZakS81bxXoRGDtF0Ltrqk0cj9SsvlNxtB0+xMc2GIrMGEDcHfMmS7F0cAsW1l4odLHJEzHD0ZKRwht7d7v0vFAscR61aENmiv2DwUt6gtGXfoVWMy9uEGbmj4lPQxwl4jLVoWSgDRgBvrmWv1dV/cJ7UkZIa9w0DmW8S8QpX/fPzwlxXShEbn6Az24RHHc7VxIV5uM8tYjj4RNLmEv6eKHGFNGhdAvR9d/qiEGdPMKo3GYZNX3SfnbZSxtNTzzGsOCBsjLxz5kIihqcl9z7TEJ1vc1/1NJnK/iPUVgkQTUbPVpEh9wFu6WTeUa2T1B1BRd2DjmvdxZh/MaCHrqQrWCepoRCAm3y4qaiXZyShAH8mGgUpIw1XoLS2aCSnBreSwQXjQwhOdvrRYxYRsS/+loVBq2txZXOK3pRB6kizAOlFnVkw5Ui6Oh9JSt16nY1j+e0/5eSs8IBDdDiD6NTbhH5zMIJYY4QhLN/Z28xbyBntYq529XKd4RRtQsLDNq8MZrIf9ZHeemG9hDnOyKPfXiaW0X7xLlav7DfGPP5rBGGFFxWGDurxPWwsB1hsIxxZWL/OCBT8NSXZAU3VK7zALDSscE7iXVE9GPBxpuLo/i0CnFvfi0AlBHz4uUnxCUQE05RV+KUxwO+edaTlIg36ydNChQCBxagVMg5DMtfYAEylu6plK0JDz8LTi/63AvZUP5Eoyggoh5SU3dKjJSQff9LXh4KOwI8M8ZFdlRq2F44WEb2cdPNzEEynloPHf+W9XQsFapfjdyYMhiLScntjLR02x/gk+QxEx45SEdXK21u6ug5uqXwuYCZm6cG8bVlwIH0Zfp1YueFOpdL81vFEN4+NAbBdmhljg0a99Bqh1QHKu7brXsNEOdn3wJjszGTLaf4WO8t6KmYDwtMLSMjkxnVbiwyieYTiIX0v1ceMXzQHe7qxrsdVhqGBTKAOnyqJmp4W/Mop3L0ZXWhBRNjMizRsIoDjd2t3XkWMhWmQkReEoEz190d80+mcZddBZJM05zZkhpfT2gB0mK7kAeG3bK8mXfvU6VZDlycmQFt55p/hzSQXP7H6d33D8dV0AG+op1DFAaR6M1YLys3cFowvdwi8YJ7emmXIA9reUrXuzQe7EPYcudMgkqTWV6zN+grBPGb8wLLr+PGI4LBQHeCT2bcAbi7SMo54/RMHWruyWt738QPFcO9OG/1flwjE83sZnt/2IN7nKoGjG9Y3/5KWloVzRsiHxoRByPtL0ry6aNtqy7wVf2+9r5/aIibcbpZuuftABkQiOLrIbH7bzPKLF69WIxls8YLbC6Q4mDf6MsOsESIXcSimyA+bYtGEcRHW7KVkccqXuW6TA8lwnMKcB/PV9eSFjGkFwbQma7nVk92aqImfiUTarR6ejhsIFjiRk/ajC2Sw5Esw2yzmqgSdq+uBKRjrlSBm/U7haam9XXP4KmLVRQhkFTadRKcl+5HX7f1t18qUUU3Gq1xaXKh65tbTP/nY+9iAa3My/7kRzTo5dVS5ol6EHqwmEAfHdPHvHfunWY+VfhRCpIGyAQtjUHfUR0xwk7ErGgVYvQ4IPyTMVZEsUZhNtzcutg3fqHlNflkIHlrpZqmCswwB8v1vd0ks71S5FlrtAn+P3PdP1aeWUMRNPwMjxxntcdvpKjLOh5ha+ehyWNdwNpK7STKCcUCwGSdvxHvqWtv0i89yVWv+hrZWuHZymh4DY43g7d4bmPiNY3TUmQzQtoyHElpTPC46QwzImyVHmLYlw9NOke1kyVtH8i+yI6ePVo3tJp7yk64GFu8yF2JF1m0vCqgdFDynD23kuOSJ3DiWRCEWb7Feuem87M2/82AnE+cK7FIFaRw8dMNMXXv9ordeNZh4yLqLj6KCkpuxAIlH2CU9TmSIIuZ3C2+AezmThyqUlBL9j45DHohb4GaBl9+UTnJdpvpNvnm5VYwmFjOnRcyfCmoGBhAnRV6/y2CraFo0HTmia14emNuSUXoxlCqOgMVy4grBj7K0PrFHO2bQwTyxhHB9EBCKiNbTPuPk6lCRoCp4DncidJ7JSlNkWYy1wxNab8352ReXGeQMgwTeH4BX9BvbeoGFNdCWubcOeGBf+NIkFJ/b1O7vVXeqTxw/KUVrtDATO7rVGlMrn5XmnRgcQWNpCZvtsLzyOAEVqFr2IQaSuIz56IXWtRkRxaQ1Y9powJ0O2yFWNdMYJPY2hyP369BIyyBH/qVT0JRJKUOp0y//YdxbKJq7Mlqrw3sm72YgajU3TKNiDqERe7LCOzR5ZhJSD0QyV9WWwcS4gzAkHTIbvDybiuUzcba1IG6ne3BZzBjADuV4NdLAvrMe9BBB+moNnrRf+dvSSsBVxQWf4zhMvZM/yWsdOMeht7ts90kvDDmg2pULglv830B7A1pSqiI/7iKcIE1uBjqRlTxTIsMimmkVpdLxzap45q22mx848pbFn2xkpAhtGwnqLOUdlf/QAkN7Ts+FCbHjlpZzlMyhVwNplISL/RD7uB6sDaSQ1roqclwIHTr1lTqLtFeWXn+Bq9F0RGCPF6kyOv3lC5i9GvOyJU+9XhNCPcHNI6mFK0dHs4vDkl1RX95l9dCE/dBZ7N8WQ03OS/1O/aRjRNhRGWBnADJTLpQZsOQ7wjElp6L2YFUS2WJNcB/GCZ1jwESpA2/UvxQFkGJ4aTN2U3L5eNTImuoJi3UTQM/dYsFKs9mveyna6gzwNgQblZDPsWXNcwZmQLQxQVto99tqtCLZ5tmWTBI02puKIP92d8ZIwd2fOwreTXMLKsqKP5HmZby34h/C1zeB/uBbBIyhZdA0eCjLHpgKSwZoQMS9XxLGskrQpeMLFLjSkHU4d+l+Eg/0X13fi4wImLq79XjCMEhTtL0G0yDFZXSU7CfPF0+4T3sJgHOoCIT6k0NZfwlTTaSAlcD/o9ruxLKA5NB4f5RQ+wif2rzsjEBCP4h6M0snEu9GrxgpNz20A/l+u6/2SaOVe7ddV+38ZtGS1OHFWSWyuoFOMC4HIpLsBI6udUcCm0y7mye/I4/y/lrJYzF5/AwNLkQyoYpc1nY/jb1AQB7+k96Efbohd4BNVnn+Ijmq2ZywaaKH4cbWaJ6A+xS6G4bpnzwcsaKxqqx8SFN59e2PlbYj4R1UebEg2dHDhzSe3BLww8Ea9NjHIY1eWuh7XQ/4kniXnBQime78h5s39ccrgD/PMF4FbFsK8I2QX6+wEZsHWQ/564VcZeH6mZaPCICZqDq3fwJCwk7urraQG7dm44S+EmaTzXiHLvbWqbIoQcCtrFMKSlXn0a623dbUulq1o1ciZ72m8hGWZjPWcb09w4u95SZ/lzlIsl3sAmQzju7PaUMua0sGbnTbnG6d4IMhXQt5RuApyne4cj/dU+8oCSzGOqcpBuRV0PKxJ49waZSPeIvjamyCHSUsz47dYpkLDeWq35SnEJ212DcL1iwfWTvzSbcmijXvG07SzfLKUqsaGdTqQHuRmxJuW2igfhOrQczvEQQeaSCjhH1jnHMdF/O6d6JIhpRAn2DCkQ1nmYFJc9OGhwJMs0pzzUkuaI3TQBRObRzpvvKA5mjI/Kpqxv2IbDaTh4h+rr4UjCS9A3Nwa+XL1vvIF/huHRKhFXp2IeYUh5TDu09Cw2gZrE+nC9KGdRhg5bGg6xtbnT0DMXI8qbGfJwTUzUD+d9dQ3QJEom4aSy099d5z35sBKoCXmdL0ekegVjmIB7D6+ZC5cB5QC/n9Ob1OcNFq7tjNtlA+wCnp0+vbXQteE/hBMYtaXOjKScq2zj0BIXCOOMiJbFI2Yce9Oy37yyMkObg3EmQmdttMIeD8uXj6/qXiFLz/yTcKUZ8XGIQJvuZx/3cePHG+lgkO5+sBqWKIrs0oOKDIafub5k0FHw5IQs1SF9sbsVG92dpSRUAUgbSM3cgK6zqugN9vULZEQ1AMlVq9ZsX0Qs3sbyD2KV3naEEi05kPD+CUna7Ev+D6zBqt70VNwoagXkXBpqGOFJTcKkdp7qxJTWF+9/GBgiXT9v1mXohvy83C+jzvXWRfgYdKdfuxApMJSUe7zxt7XCi7/Otkct6SJo21Ugx5O8Olqz6MO5B29R6zd8L+yD5aA7vf+crG5c7tz9vHMyDfN/cNWmUijVRuwxr2zcMRUKvRebRPBHXW5NiCUFRQnoJ7+P6qBaAd6P5wWQrEmHRqXFPa9qb+e+T3VVxswtkE7XsJi8Ca4HUM5Od90eqmehVPALzAL7RidooYcAcElivvvxaEZtxElAHyJKXfoVJeAPt35xe1MXshBj4AwjsciacWpKALXjzBrmrsouLXuAvi4VPflt1LmDMshBNQYTkmmVoRLa2Je/tN1gvJM2kN9ejeTbSPuWJIDTsNv2geQyvw3mQBExCg0hXy8YAJN/5+vdyB2Hvq9cVmmf0jeQ6YIPEKB5QaPR25ogMz3BmOabb62/Ev+E2h4DAxWSa7ZXukAkhvCQzqHdbP01sRcWgrea6hd9j6y/Mnfe+8eVNGeWIuBLMb9fQK3goJZmnLJ7VkT27tHdUiPQgqiIJwAeZ2JV8NQTiS8tNk5PJWrWL/wuFKYYRF/tS4dMYfoz/QdtvVyIRrEyD7S+O/Ktutw7sbIKux28MdtRmhW3B/P4rXFJi/p4EAtbFsx56st+sG+Zo5sSCDDOPwdAcZL1nnqHaglbH/Eg0+gGaYV+HMA4P7jO/y3rF9w055c2++zNsofH4DyidFNlzbI10eOocxRSmi+QuA8HMDugRHznne2RVsdQfR7lzeno/TLvLQgMI/f3byDSOzirJQ4EqKMkKP4ZJJqcv1Lq8AWPafI5aluZ0I1zEBMiyrORZJyVBE4HPOsJdqUD6jswAN2SyeH8rFhn+d7RtWKAPFxjeXt9kxmiDkyHrv/x/9skR+icgKAWYqsFAa8gjzlhOceGsnh7xHFj+SYH9jTmJiVX2D4cZvj8Z9QFK1UUztrD38PVXpFWr9MKB2tqDxjrj04oVNVlmhcRprBd6X39QLBOFUW86YMQH9c9zRjC8HzSly69iIhLuuo6WU69EASRGhcMM+azytENmfnzZ+mnHJBLdFAl8RkY4atLL6ElC/SbIPr1xBMjwQ50najZui9rNDDGZ9kWVHpT+1VTW/tA+lkuH4FYyJg5GIuXMrLb+nSyLO1R23MawffCytWGJjUkLli2C2wfixU75jOlhk/mxi3YI27RCE5lbgIvfaaF89n2wMx9X5nXKp2AyFEr/u9rba1Cn7ztTFasP1gNZgWxeO/MoIWirxLt4DIGn6fBUv1K8TLyeNtIDDabrbf5SDYE8uhLCzYLW2jAEa6UE0rov6gesk0xxUqEoA1b4JnIwi97kVtfZg++oByac/nuvulfIDUGFQvdxqv8Hk9FlTM6IN2FkLZYRi6dC6Z544sQh0YTc5SpBf0xqNJCszNzyX7jagRNWDsuiN0r6d5WG3+cH0lQ8upDkArXNVp6giRDxH6sqsLExR3hSrliEHw6isEC5iFr9S1UYcBpWeuT6r9n6sy6j63xsOqUV4Qk2rHPA5DLd2Inrc3WjjP6XLID9XUV+aOnpdG9E+4Jl+JQ3pNnYOQSVer5WgJk1+5S9PBDomHMt3svVm+oKdu9I3ryXTiF1ll5XJkzc745UDt9nmtLPP8MJOZ3NumZOo7tegkvntt9+r1SdhBUiAI07Is5e2t37vxMpdFxmbgHwqlBgIx5LphO6+moFZOZkqikg2bh14fz9T3PQPrUYqMY2na5ZFYLYL2ZwZ7pvTEgktg1poJFkY9nWVz69ZyWvHJqT19KaLt8q/qeVLQlEhzbFEwgxyjTSQnf7mpANntseZALt+Qvnyi5bmECRhzxBHGXttn8oJAfy7F8UnooORDNFreyGBaCl+MEZTNXjHJKB+eHlOF1s+jiOn6TM9b4Test+mOVdq61UJKobuhn9hNQVh7/Ort1ilCG5cUcKQDjharYFEusVineFsKOmClEl31SI2skz/MyknDLqTm/VykMX19/XUTE0XjPEEeMBBfpdRj57Z+wOsGeChqr10kj0krh+degU1na9D4wp0AG2+UXDF2z8Q8pP6p8lhPf5esaEYZIR8G39eHkNnmhsW0zBV/wkzZIJvbRqhgtxsHHDgxxRA04M0w3TKhA/c2K6aYx1ooOMkjIYz/2Dfn49oMN6yuO0tpjjHR+5I+76X6ZW7EyGmaWzRhvO44nn6Z4om+P+rnw/kNanjffDN4XkYJnecFhPnziHU7dzZCcZjMhtO6ml/fDq4TiZ++2XH98BVVAproVFATWbox7JtrgO5puqy47cLYGoQLWxk3EooxuGHnDK8yNwVuIbkhmB0yN0sk6QCzuc8oRxPX6zxkZ2op99nmMGS4SrQKbOe//bObFiYn6w/sn0qFYWE7n8/pbysz8WRtuS8vNEFwjRgxLDX2VB5zEx79hQpF+d5skp3v4xGQ5h4tvR1x6GP+wJHmsfgAsWVAd3Xc5oIAoaxZycCEGMYYoXqmWL896w43aEH37zqI9WWLfp98NtVCIot+GIWs/oy97fbdfWM/geU577u83C5PVAcTad/YL5Z+GzWF3W7FYiT/Vm4ErY6+HwX5+ZDtMjABTby2GaatramS0nTG0x5RDoI6LXKKs+IREapItf+OfmNSXiYwdbGSydh+dx+6BWuP3dFHGN7UhF3E/ijmeM9uPeykmP/BrsMkwKO8cQwmdO5Db0YR5K9jJNmYpv/VeocrVLzupbU8+v+DfkTrZkP8kf9Ek2DJGrpbITpDOOBEYbEhgyQ9lczKGLRK6SvA5EItDD95wxZ95MKWk9WzHHu2J5GyMYZ5/uA6uv4BoQECsi2LxyAi07RaOCi7fwB67LHBtYcLDrpb1wp14HjHVC/JgwUk1NXtydv3E65y1UW6OfNMFSkL8HaxkT6dJEXPuZSHftZ0e47rvAzcudrSX4+mrK7SGfQ8ltK6cWtQXmt+nR7x/nrVFe5IgaoFdTAkub/HKgvMzUwS+9gGm8KpjTCKtqULGfYNAzHC1oBtK0M9oAbb9bZoRd18ZKt7ZZ6EHPOErHqrrJ305DsZzOmR3kWrLDtvcoAQzwUjYs7cDb559nN7TbKn4ZTE6SxEkYHfWRim0MEmCv1IN8ZL8jEMfX1xonh2stqkzWpMrnarRatQT6aCAkuj/4ObV2QH47JP0ztFI4VCVz2/I2VCni5joUOH0F25GmcsQ/1CMCHmbIwasSMUrM75MQOiKk9HrYvVgpFyUB41lCoLOdvQSfxyVf45SoiYR0nxK7nEkLu/pAS5/L1fsSviQRIEuPKZ1JyaRChidFeiD83bpQR7SqlMPbxXsjCwjn6d7DuRolsRGrCBEta0JF7BbfRrEMmeEVRZjQVJrOsR5nvXi/4iHT012qetYxpKv/8zCOR3bUJzX4s8NscWfPNTnDauZVMcNG9+axTWxetI6azWowOt2/BADtY2xnsXdfKUcxfj9XdzMvJPTS7gUKlbgPrwHOPaCfvDnwuvS6SAf6by68sfGkfOvUyP68pqL3sj8iSqdli1FCv+DGq89o5ABNCdek3eNecm3B7SRyqv1sKvXsfnzd07fSEbyx2aWz2KP6ObtGrc2U4CBnVM1TjPLJzbX4HtsnIs+7ZBoxFn1AOb6aQURBI1JD/riRVBjxFfYSQE6e/qYC3NXD8fRmoep+bwjhG3+5iWo8xyTTjomZpyLiAKbUT3zvDST/t9U6uh2zW5zipsQScPku8Y+NOhRajVCfIGr94s5i3/5XC1EfN9cl/vP/4n1iAiScZwzkgJqR+FfVmoORWMBTyptaitZ7FrgGn4WyC5NPKWLC8MgSKTrhxfvPDfGMwC0XEzug94iY2Mi+y1eqSpwcfHfbyIY/aPXS5+PnolnrbOq3x87aEnCL99lJPg6tYbIZkoKZuCccv5SxGUMNjAolqQPU+RENYxoCGPwwzPUdmqH3bFy9Mg+IrCOBJNCk32Xi2lu/yD23LHDWOKjCXtbBfRUCWIBUTpuDq9ASsH7y8dKt8iyRPPiA6/qTwx8YWgxzvhhYxkNYr5o92w+RfCWjsNFgOp8wa1uxHr7cGn8IP6b6kaJw0IZa5C7/QCbNuZRGpe89IObPqfHoTfEwev+iEQGUIoTZBTCBsqCScIRcgbyRRQg2PyCiNpWTtGJ3p0mXVV70HtqyrsqWFB/guANnFXZjR9XTnFAubID055BgslasQIQAELkfK1Vce5bwQqnEyCeHoyHQh42hcejnkqyLE5Gg44ufdM1RupfU9TdUK+TevJuV7F4bA2auZpCTVGary1yTj7kvQE4lQLmFz6Y30RY8eU0MA9hpNAgEgW/iWCj9rqK4aG2scWn87miXYNyHLOFoSTLkxpGnae8e6N1/eufAexk5dCun8PheiQzI5geP6eijx+rj6IFuHoHkODCfkGJ491jfTKVw4BwW1gDTl0boxfl+DIfLciEX3kFa6oGaCNsfknvfSth+Ao/hvfzsiQf/eiAnckQgp9ND00IrI4uxbR33gJ6I5hjGaQC4OZ7SEdtqZVYLHNnHUdCKcsfeNapY3nYU+0Mym92kg9LjK+gmdWtUqQlCfWL2Ig73xRZabj0PtCnQ2M1IssntKGYSXele4eaBUKvarBoOeDXvvZEgFLrAvkjtvtCzK67wnCrSstJBOtWy5gf1Tc2QaLf9joKg6i+igHj6KNt0C8V9OJm6aWWV4AXsUp6IVCZQcC9ypTYiypNi+AwcZkUyd1i6aDNeUIXxLP1uumuwQIynHQFYGDftrnuCTuQgt4JSab71tRc2SGe8wygHnO0TJBCiucQuLI5Zsdro5rMpegRRfgz1tgaV4SOIY+vmL1XnWXQ5riqrT2sNxsV2p5iWOZvdGpZoTm9AVb5NPYkdaZ0VT8CvM+9Z6qP5MMU+t/T4CJfsf/9lZOzbTXmQMR/2KGF6AnNSTKK6NSbu8s82zoj27MGp5cRam9mrdW9G4MrDNNMOybN4BYreK+EoPb8y/HyP/7XEus1++B28Ap7HYChEX+n2UccbON2cdg3uquiPOEa1XkxSVJhI7P2Y0E3fW6Qekcbm2nmB6dHGTyYs3Fr5PydsVa+oyL2VcSqZjgGlyW7p4X+lx5Ry+NYRmh8OD+E5TjYubgQwGJ8MYwyvK/0AGQyj68clwdyv4qhBlWIEjJalwJGWlROMWuE/ACUPULCvWA0hVqaqcpFkTRsZtdEL+tA+Pm+9bP5XbnRb6cuWlpKaCdlR6L3FSEbUsdDL3YvOoNMt7byQ4G95XPxGTmOjG6HNfeFv+i4wXLgkZXNbShK9EwxpsRFP9fcYYFNYZM4AwCHtoV1gPOOD8FC0qF/5SHX7a+i0N4hlaLPPvcp1IwAOqfe+AyCnIsw5v04dfgzc3XvNC6IrrFtzXXR+H7axxmlftsTY7rQ+ZSKz5dq+WUs85Mx3MQoMWPo8SP3mafY0paIzsO6lUD/RD2PrU+KMEMo1s3gCc+eUwOtag6mZyYHB+NzNwjVqn5zj0IWYnByKbkzvUMTzpfo8SnpUa6oTC0xwOBY3Da2wuEmMLgqv9MR8nXmIKL6j0G8J7wV3ZEOhaJcW+Xnebc51548xWohTes6fXDIuqvVkbcOFJZ79CNGtjvCmDZ1KftSP6aUFLoy0UD+UGvBPap7neqdbyy+vDlHZqkBprj5p58EVylaw+W1zb9k3Q0OWJp9cfyfj8jdxCRVdFu4Y0kAjw8XPR3r5K9OF8pPczU7N7UEfBxxnivG/41xdtfHAoJ4V0FGuYGeFbHZT4gta0BfKw30XGr8jixaZqc4H++qS99XvB564o+Y+tLctqUlgMMy0/1Dg3m2a32bSaYKcJGnGCzYjMnWZiau1U+U34vIrKiVnqUnHmRzhje2miQeTYAM13m/Y3MilunSurhIdQ0jTeWsnJMwSrPlJm3E/PC4IMQm4YkDvgsADN6HeRWugcI8fVOYXUwHQRB8BSCcg2xeiiS2GSMPNQpVwXQksu8lfBnwDsDKKchBJ2JLXYgMV5De55kYrMQ3gkRmAjpt2dtIEh/1D7zaV3DLoQdVYS2nCasatEIBBbnBnR8thLdl8B5KBrHjQ9YJRMCWqFJx5eMhXJrWSX0Jtad6+vEHNgVbHU376VLbdWSNshrLCilDLEifk8xlwPe7jP6KVKHnng+140oDnOFRjaqJe2HU8UllIvjzgAI3p0areNLNQXkvh99eK68i4ZOv0olYuLIs25K0AxcYx2luHqHJHPQbIiTeQ1VyLlzqmwDxVKjSW5dVNmrXDYtzgedbMN94HrDo6sni/qwoS/YqKCOxHR6HNAKxVN+lJQI5CBlaMULTXzO7B8jVC+r/8Mr4UcBhDO9PQVPH3i5XUPukNR6Toihv6UirY4YIQUViCzpsvyk6PpjfqVh0L763AdVsCIsWo676Km1RC2QppMW5S6IqSbmfqa4lE0VsM4Sw4M7uS3vcA6U3nB4w8cb+O8HoR906BVtPEjCfOhKxv+sczUDIoZWb7DAkNRHjTZmtUDY/rpJlROzOwh37wBMOi9CGhsRtZgNX5QDKgrJRvR2fwTCNSOq4A8lDOWqFfA4WU4A6ZGDh+OWrDsZnK3Ro6g2JQOpWd3KrfwJAnYzkN1w1HBQgfwRU6Kpc110vH7VW+yTO75QZ7t6RcY4pMMhNEI6pJKvlub4ioYbhUFayqRWztOgK2gFobt28CZYOkeLGET7L6CLdj8hRmuN7HRpVZNbZOGxLjw6inddfGBZWCZ9kfFWE3TqOSdSpOOqfegWkchWcpy+gTP4koa0+BX2dk00WKlbgjY9vPtBNse+I5K5cTnecTJNIzgvwOWHI+moBJNE8KQ6vuAuVxA8qBDbNkdRh2SSQNjj8AK5zUqafMn5Rmd8w9djxrNfkG/iCeZAHz67WO8y/ltMmyzJqUQP9B+2vz5MjgS9T3OU+5S89p49NjbQQ/vvyMXVrQqPB104T5WIw9ZMjDDW2D4dkPwhFC0swr1JZoh7JM9XLqHWOh87LE/gGPcWJT66OAEpBAkJ9EhZpzk/x2QLMq+LhtTANIv6xF9WNSCqJtc1BUa8MGPQb+r6tWU/3mXocZIN1MP8nJ6P9KXMtjhlEW6K50ikjFYuAk8p0cafk9Jb8JUqWS47d2AYP1QNFaHYiXHp4nciid7y2ulHsXeCLRLYi6ujgGMQBq99YQ6wWKLTNu9PNwYNzE5eUbf/kfY2e1hysT8dhQNBQdMUOlQONGoCu8B2se99slE54gS7/qQSlNICvn6iuSv+ra5m2V3seRaU6tXdwOshhA9srQQJUy+TEm3zxuHlGSxQCthZ4+TniwTMQbX9ZNi7qbOBaXS8C31NrIE7b+yAk9sf/nkOU+aTkY6LICLgieASknMMWCXau2yCV9iuAMAszVdYYHwIXYQ18ZPfv3003SIZOn2xjeB2tqpKUHH3/Era2KeFC2znjBDSwk5mN2lUX9frD8ZuUXme4jgRRbmnI79EQAVOcC44Jr8FiX4w8dBeW+NgBb3uL80Lix1TmQjKiqkr1I4n438BF3dDhSjfzQ859nYh7YXGoP0e9nqivk+AS6pomPb+FgFhTwV0r87btqneYmTDhH0uE6+z1QMa+JtoWh/HC3b9hLE5w/w97Ongm56IjgAuGs2SWU2QX1pb3zwIt9ApYi1NYte9fh9yF/yhsf7F8AOVbbRPjOzrYZoQX8dKiItatVV+fPPV2C6HgeqLWJW+wI2jtycGxujN2DqLitF4DBwqSPYW1umms4jfU1AL2web/FWe0hVfOMSYk0B1MmHbdE85kiANDq9veHJ4/QJqkooKC9jIgY9rdjxR02sgn5/yfBB93Qi9LCbIDwyfcRi9vf9zQ8HUTmSt2hMz1yTNKyVvuXzjEVWYxZSgG/HtG2rUIgD4ODlFVrVs3peHSReJifdf2eeiQ16JK9N7KYSQvUNlvlKPQ1JbOcgV5m6e3KqPG+ElM7/GhQKe6zXw/+aY/rm5qp5apXjVt+RUEHoxWzz2xmi16u4simT58MyBynAt8c0ah8CChVqI8KGOiNVfJDkGPcyS0J9Qp6uqzZb5sXyBOdAPqoTDzRpx55BkcljJxOJCFWSPhUumAecU8xfG42Lz8GmdNt9ndYcvGkNsncyuqdufKbnE7ZBXM7fYx74kjML07bdVkDunvE0z8APep03ZNwT1oQ5mWqMlLmYhjuYgWw7jA/qANtkFGKwAOQ/5FtAMooTSE9JtRCwFf0pxkmgp4HEGcH4ND6y6iyNFMB3LPasDKmDgIacWmZ6axFVthqgI/OemQ4xxA/3Kj6Co42rx+0Tk9ACq5xuBAwctWoZ309ADmCQdi9PUrY/t6t6tOEsW70785DkzPBm+89QjWE8rdB5H0G1GrwKLY9KZH8sqsmGWFxLxYX67KcqxxYnQRkVdD2yua4YvH47ArqxIlF8Vb/sSkCRDpUq2nDKZp+1mL1DMLXTJeazP3NAkV7KiZoNiYVNt4EckovkB0/9/gNHEoRRtfa1olUwP5voYdzA49Qsv0+zPRrbDdJHJg3m0Z6zUBNoMfIWJ3V+/1XOfgyx5vUiXmsC/BkI7qSGXf+ETNo7/Audz9VhqIxonTZKKQpn68zUacOE7qxxOGd0CZ75qH/zSwQp3r5YdL2V95KXlsgrssGtuI4ZprKqXkScmknT1QNwxjCyDIWnDiWtPMcprhXSQ40i9xVy3gPUbj432MWQEmWy97UmzM75fWeGOgijS8m2MzShFPA71I+qPdWk+zPjOvucRTr2RghoYQtp5EDXQoPU+YtDEqP356vbGe/gs4sevtZT8pJDpbAULk1JEHfwewMbtrKqwYP2wqaS9uldjWUUw/BjvuYfFWDsgEQ3RS2ivChLTPFvCeWz51oydR/nGOcBHSUotv79Z2ApFiDclmvCfAt6mSJWa/4vXHgmv1rlLiJiIdb1GBFoePAQdOPz1hV6wmgJDL7nN9fH/tU0S5uRU82sHS64sk4lL31s1tDsmtISc5S5SdfgjhChcTOUmXB7x14RLmghxVaArn/PbzZHdzRmDvZI0gSQV9IY2DXOohZH08L4V8XsIcNX9H2biOOdsmfeKDJY3Hsne8kWnZWa5l9YVo+vtm/FpzIhDQiYrUOunCyyFQv6L2C2IGvDSx+ixcp2RF7gzw4mkTsH1Fz6IjFJtj/bJAsLOgZwy2cfXQfr0ua3YULQW3S4l2X6dB+xOjBKB32iFtf6BfJgi7vliJOYcGqOjjfr7kMQTRBbEaOdj2XQco9zXzCOets/ef+Aic4c8TYCbsyL68gm5xQzN04KkBJ/ZHpgEi1MF8s/HBIyjKAcTisS/xm61WBq2vQTTX6Cf3Rc3OKSu9bGMvTgBHpZX2sNpxznDbjcjGbeNXo/RGJ/GHVrd7prJjCWAZI+FA9h3/7zi/HdGG93yeZw9FJ8EbLWmOSLnwQ5Rkh/rWi/8uEq0X7qXvEiRxEGvA2ULDZROkWqNqQuxC1OVKDlGPlwPSv91Cka0FfkxuM27440UP/tXoqPHRr/WL0+bBXi1tzc8pMUvGYID1trQNKhDDtbMK1tZr/gBblxKWi+ggIkfDh2Tb8CxrllOs2cWscL4i9vXyuIdulx7McA2Pc6O3Q9Vv2/F8DR/So617DXK1cvUWqL3y47qioAybmtGSlMRMJ52LwHqrXeshMpbvmOSsSaQD/Mc/ePGKb7oryZkDcmMbQxO+X+uv/yvSKFtUU7ZMMS4CEJn7d0pMo6ZlS7UQVVNywx/uxpc63713qowwjOhuiJ7L0rGYDjZTnD7B/eCc/Twb0HpF3+SExC1TQY/vUCDuovMGzsriiuzaMMwO72dW3iOuREy45wLLSEdkMWpozvgrUNaeYb719FlnIpeSD6v9BPR6cebd7PyQzpKI3AaMuAsWJdWJaAewnYU+tWRZsxjFtgRhLT2LjWRRAaOzQ8Fom1wpx9XldxBcahkNaTJUIJTMfbOw/+snpN/cuF2Y+ZHZQ5BitC8jQ9dlmMfwU5F7LGuoavG1RKaN+VvU7Uj0CR9ygieufsD0w4pTR80sO1PoYH7IiLS+XKUMwg9hqADr4UtvHv854XCyOcunHAE9LXAd9kFnx/RnSIhQciC73fxbi4Na4YRh1o5Z+JFFPtrHabiTKFGw+uo0DyyJT6vM+tcRK5pgrgfRMIcQ+1vHlOoMhGZVwiXYbexk9X3dy1gYc3ed8BEItv1Z0FEp1+rmu5jBsDqp2mZq5rtSwvyS/tN/PeRRyyTH+D3tVSuypU04TaeYFeqeVIrBFD/XAGPuABq7wc1FwF6T0au4OTNnFkfSpxar82YUH0NJhJQvnYobk/Y7Qk3tQfWXE6ZOY9qe2jhgYRSCQmY6xVq5sQtz+Xhps9fcJbAIg0y4AItsxPtDHV3hK1NTY7RH1C83F4MDVA5Jf7JnqoKx2v/bnUaV9swXyax78/3aebERoRSKSi8I3rNNqTPFx9YH2GKBACbl5OAErOqDo7uHXSjw0B+O6PWAeQPXKpYIITQ6LIvNNR8+vDWk00lrvtNvdcIhWmgxCU8S1w5h+r790TpaSJgOT6hdF/mxAnu8+RoqJsNt1Xac9Dm6jVzHmfSMyyKHs3gixiF/oXQJq6B/uCdRk0q4e2pxZTiRVcwThb6QfyR4xXyb4Hq88ptce9v/xEBb7Fc/gjESu71R1hyde3AUnf3VWFWuAvT3hvm/jxVU9KRjPQYCYwUPvGUD/imnrfOzMqIJTDqg0ALHx/yNbDMEi3xwBOYhRFDN30q3dcuSK1qI43VMxFdVIxRXJwFUmYsuHZYNVsTakvE/DN0+kR91kZc9E5rr2B9lwqNW0YvvC7UcKxGwqJwZCCOdxdse/+oMabp2/10RfjwA8Z+owcsA8c76/5UkO6+vs4Tp5H8HE5fHPcWTe3M5K3LMVDNLbHsPky+SEm2e0d9wqg3AAHM83MwoOf7Ki8gF9cTSrotMmsEJYssiG5Jxrn9BHjQW8RsZcEVsvv1xb8ExIJFMqAy+twi8r/UXd3Ea0OoN+ZmWACuaGdBCuXvGaQ5tztCBN50x+FbxDRGyafcEG35f+prRki4g7Qa0pSngbzpKnO6bZq3/nmd3J4LVoNiNzfdoLGGOwO7mdGqFbG9m8VVKiBub3gX6jzqNrnZpssdw9rQVYy2gWaFWpGrX+l5Mz1n8kFuNv8WB4HC49suCV3xBkdRcPJ6jmzZKmuZTGP5fjUNFqveXzAZwwL2A24vSDROOIXAVMrWNNAmyA1xwtB3W6lB86al03HEobb9rRZJMMiA5cwNSV8lKjYoTW6F6M5wHuzVGtn6n2sbW+na6haTjPtjVYQv3ktHO/NZfwp1KTBUIS14SrQPzgJmVItgG2KlRjfMRN590XhT8TGy91dzzxKOFjj1e9q+vhmhlVldvkg7sHyzgu2Fc6Xfp0O4Puydft5G1SizEJPkm3PTIGah1UXSUrwgXjeTLFWMMGRlMY+FDPcwqSu0uJyx/t+fQAINntOce9g/UbixCyoFaMJ25tthlfrGWVsAqekMRpRNxWUnFmC8Kspk/CLkPe0vRxGhILagdgebS0iFRyfE6ULAtwCnSmHWtQIEB0mDCKyWvMbotwgjQAMSJIQW/R/2DgFr2tBesu1jykSaFwjiUa2XGaZXdF8V+9GTFqKRgrLkd7MYhcfOJUjTM+4UAKmET9nyyj+oTm6FuSFqY218sfk0Ss0HeEajW+NRZg0EScplY0JmS0WLFLq/7YG1970Fkefq1qys3GEJ34uol/FRJO+TE1YmLNiLg55pGxK8hoTH8b+dbliGlMnLctb3fPhYBRZlMN/6QS639LeUAsluHbTagJHkX+3vn5Xhq9pY2HbPJdLUC0C6eAThq4Tzn8a85RsrOu8SlT++Qw8X9ARqdScUry0b7ydIciDf7BHgPXmjTDvOVs84y065uZqIrFkUC6QoGCOKBeLGSDHiPJR0zO+u71/lik35rIQ2KFRb23V/Ts3IHDwOkBTXVam4bfO2y8qjeUJ2eDovfEOyhKEGaVO0+V+y3VGIe8XV85tQcYuj9wvDZKeiTIiOH2iNM8cPG6j5Das1QaiAskClLW8KfmGuKb9I77bgQVqhpdoE26ty/+ApabNJmWj970jBTngMorcMVECYcQNwoUbxP2p/ftJhWqZ8BjAk69vFLeWu/u0cPe3DuQfmg2doyueynE7+BddA9jZTaQTM+LW/upuwlsAeT8vRKbgaYIv+t9apSIeLn4upeXelADSv8ulhMdc/S0ORzvHLvPKdAJmItR31wkdKYdjDAU8oE/rTmzOXeA1xUUKKGf3kTbyoGEi9JhBbpSHHiOKDtkEuYCxggSSODsm0VHxc9XJtJEb7mMbD12FKIjw9mJ6ytO16xROUNpdb0IRpADlQe0dJJDCsXrUu4rRhFXoxIfsXZqNisC+QBnKuJ00WS3tWTYYKsncvxc+Pcke1Mt6BQz27h8SGOEGYFn++ngiX66I0lK0297Yf8K8+axBoK4xLsuTlKyTd1ffBL61gTZTUagTSNaL9NjZh9gvqctdVLZk6dr4PeX+k4cE5PQBcv+P+GQP4LiwxLvZE+gs31A9M6bAL+X/NhVhhBUD+WZHDSR1Abze/88RFaZPteDdKFA2r4NpCbsinlq3oZkanhlOOcafhvv+cQ/ZpexHN9i0JLwJqysUm5FdRnqtCQqImPjo86pMyRgHZ63WUoi9NFVs9ltgwJYqm9vqLsDUZ7gNsz7p3RP5Ien+DYGid8HjFq0xfKgMsn3wBzm4we2LCWaFDfbdzp2TG+Bn+Pgy9Z4XLXbRa0R4Sc2gPvgp1DHDDszSQV0admCnrwjAvl//3tYE/YO4RLSQrhTti5tzbPX4hvCk8bsXhz07KFSZdcoJXvoC1DkYF02G5sNMwYdBEeok5EjIZt5Y41lapDIR2kpIxTeEiaBCEExs7LfnrN1YYadHZuK+6dJOyeH9vXGC+OLIojWpgrPRgR2xIJPFkN/9zPIW8y7QC60ryADQpmnzXpNp1H96bgOSTaMsoCNPHvqTssc1CYn422vpJxe1pu76ZYXfpkGViIu+AUnf0eB2MyJIMDt4QaxRIru7rH5XNTVve6wfCVXag1JSejEcDqpbBc5FU3pYmRXxUv8tIRr1PXbq/QtQxWwo6dQOtbMK9vHuAFcQoG+6nOHI6wCaNp6EdBW4vvZMmdA0YPQd9vjiurHOwhcmSihT/jHu3mdmc4V+vSqLkCVhMT9k12RuXluMKOFL5lFsuvzfYpVVqwDlmyI3f8q2MvTyJhw0Pq7RRhC4BKZzx0FC7zSMbRuq5PjDfdxxYfX8WOCty+Fw056sofDSkDVfzYyYlahk5awMzaKitqBtlgzGQAxu86mAp3h7BRwsAsfnTbXOk2vAaQBiM8fxi/TKCyxEqfz3eKSRB0SLJKK4VwSXbpt+mk3m8H4kN2dOvQfaBxdXAVCdGAun6bQjqQTTwfgZgLWpUSx81WmtD8nYNzMC5/q/vWDFgz5ClkbyYZIPIrgN2EusH7V7yKxgkZyFBIBxiwMXki4RHwP1hrSb6FqplaUvcPTkryNg2Stik11DnPPDd1yXmRknuSB3x9zTgT0A1q/mNwXjNtTlbVwA1vcuD/Ln/nrumdMCI4fZIV3lRsn0WgGsDUYm/mPJdSQXdvp7gh2TDkMSVN9Ctx7priBDZ77dm24n7PaWNKmVPAqs/GUJcb2bl0mOCdhWceijPskkLibELv9JD3OxAHfx9h75k4egU5DUJLhrU8soQQGj0w/+8B+lr7ucZKHeEKJ91egh0kTFCNEHuxVa7G/hLeiMcEKBCnbgMDhmLAF0hLX3xPVdZl32i5cAQmec199jevyHgHgiBhOcvl5svMqYa/J7dhFrfzq1CXJdneCdqzBaK4t69hLDzjQT7E8kQb/2iZSAV+NFvsUA9yNOsMi5K+BDvVG6kiMllcwMvq1B2v0XH0wpunxiYz1PlCuy27Fuc89Er1Ubb1ZnjbPgHNxcu238v36bw6lOwEknck4FluipjMTyElY3+WtMYqQSHXXezpoXOA/CjtNfFiE7V0A00AcYvJUYaabpZxJDGfYCvl2dHUp+1hKiq1Lq7wtKRVKna046dATYV+ifsGnAfzMJ2hG1G2k0VzAIGHISDxipBAC5Au6RVfGLGeCzaywhoW7sYj9PduGJbeEzrE6dpaELubkR2DTzGKfUjMTAIQEFx9Xey/DusRELVbHh5kl/jrXuggQYbYwj1Ian0+QGQMlE3TiakiQNNBOopQaHtXLsYRQI7Tt1Jp/2KysD0YuU0mZyysqUY2kw8R1vKnL1tGoK8GksSasQ8cGtjYc+GEpIPiZsQqKerwR1/kpxNdcsdWa9kqC+URS0PB+gYJjV5O6WbXa5vDguIqIspWgTWBGSWel6uqyMRQzclwpi7jmf8UDxapK5Dt6TbEykYwor75HWbMHxDyaejOHgHksz7LGbP4jVr7TijZ5JMIDr2Ou7MFGyvOvs0acMSO3BE09vTW4QW3k4cxrBAw3WFK+FGsxXPeLGtnTk331VIjjvUqsPO+R+qvVKWmdiKRfuP378YhFrwmCEeEi84xUR5HXdNVDe5v0CB9tl9553IPLVReo++9V/mZI15pf/yVOkStwAYTC40PmKiwRvJ+owYHSqCJoHXQbiCQfoCSro6jTcGlLqWoBDMbcGcLcOGPE2AaymllWRF1zmOJS+4RLsI7HLwqU4UFZ9aH5/Xldw0XVf5CtL3DStmcQLwpcU2w+5x7jmPnw4fqE6Qyg+F0PJDZFLCtYWNZ3nDLq+KIhjarf3xi+liPJ+PyfiEZWuULmLJr0i0lvMtplid/lbYoUsrOm2ZhwHSAg1n5RY67KYGDcw+WyDQJ9zUAdyJzGJm4wBujGAOM0k/lHK0bcKYBRjxsRhRC0VarUG8hD3DMGhuQs2KrNfJGIdzoZGitReOk+LZVI5QL2WX1Hsxx79JT1iN5IBz9ispaipUfFRMMD0j65aQHe3IBWC15G7rDXq1GruCt080iDCHu7hj5RjTzxqmeW3ht/t8jYmb8tixMhdQUx0VWwRPYDoUbHxUUFPcNk/TCtHXAlrBbPe1EJZ3Ky9mUJYriXQvApw8e+lAwtem8xdRwTB19JucyiSKyqeHp5c0CdmU0S/jg4SmIkXcHw7A2MS+7wIRqtIDS+TSbk5jRO1jvERnK7PbqUc7uynKBccbW35vc01eY2Xd7q0mKxIiMOm0dWd1DuzegMGw5aSMGw3lkSWtVElelqoDoWgfZecx73zbprkjCpwwLFgf0jPC/DgfZRQzPVch3BoMPIStKm2gllrObYiA7cPjmIL0fQ68PbA/4WX0cB4DXmEjyXP9GTCFRDRIHoout7Dt+r8TZFk9wkHpFK59ohz+qqVj+02AHp+eEUY6pWxi8hqhysJGjzw2fQvvEu1L7FoEAHVVtUsbgkql3gV101fUnCCxhMfL8+Yu9nC3O59MiX11l/kbUBBcG7ljm77jo4yhqqhqLix8yOEj2Z9UceRqOy+WsEPbCGA6B+o0mFIS3D7VT+C7N3ne1Vt6gevl7U9JAhc7+VG7GXE5W+zl1EOiTiJVPL88iGghJuXVbVshxzh1CfOgRVhbIR1WD7kGRh6dPX6DUH2yixhj2SLWsfWDxs3XDyEwO9aktrfsBIKdeJt3+a67nWi8wRHzaOQjnxqx3ucQOrRDyhDdoztkcULGAf0XunlpkcJ5Gxf8g0P2BcTIFrJAEYmGXJsYWYx7auu0DOizZsCmSp8V49s+jwch09J1ZjyZcrLcPJiGjScUDFWC0XIj9jQ9fKnz48dHhGcrkmcxLeFIGn5jjmZnvJICnNYFR7mR0lwRXaw28ryj0xkt1I01xp3XE16FinEUDkwy+mmEAA7mZrNki6ZQhN6ieXoWm6KGa4ni+W76JQGDg8GuLbXXJIDe8wmBGmGSw0GbiBapi93ngEo7JlTtJel3gLxpAhS1QJm0ksFP+HilnUDjkvBRqyShDqQqMvWsqvwsqh/E1ESEClklk0p7TNSQL/UmbEI0eR4zVZ45omeo8resC+j08AQHoW3EbJSbwQ9n9bUrjwjkfux+1P6enRmttcej7hmq008de9rbwm/rSPVr1N+uhe2jEXzJ9akDw8UFxrYewaadIB7UMMP6HMgu1h6DpZMEy55aYCsnZGoSsV26A9ZatSPAXuDolWCkUDkLiI4Qv+2CXAl++vtTfgfZaUm3/ZYjX7Yo6XqJboCl85nPFORY2SBCkuEsbHfzxcUM7Qh2Y9rT2VC9jL0oeOMrrwROpQie7aNBKOX8aNXjZDMZoHmJXwKSas2k0hehVUF5Qw8xgaIjrSZHVM/t9QJ/91Ir2xBix9j+FHtp0Z0IT/jzzp+IHmNVYjwg/b6e1qbfUWvA8zlya5bUshb0gTSaUqP8GdT4mnlOVc5frfvtgx4surBMlA++777Y5Q2vtIt80B7P4TDaXJjEh2i/Kli6VQMzRLTC2LkLcXSYHX00zOG8pL1MEIDUMbhpYoLEf9T/3ow2eF2R/LubStyL58It0WgyO2y10OyXPOmseStBqiBPIxfwYMNh9Uc00x7X5SLwzLDwBARr9DdTkh4rk7DFf76MmOVMerVozAWDkhgt41ncHtK4ex0ttS5KdX0kjOolTmYHfpFyBWFchHZFp7UsG1pC5kOYclaB2Jv6eRSM+0u4SvRFG1wW24dLwqA0VOj8HfeeUCVhwHDKzeCGxxLU3/O1joEYPllJvL8gtRkrcm2Guvv5k4VUb/udj14pdTNW1XVSftBg7u/B7EWW/3vQYLNvbtCvtBQhzGXMO6mZ+r1ompKoSCCnjUmrhpLdlHWf6ty43f+zPOYOjqw01hBOXrSFWHYaJlSZ2A8YEkKzNmgQtd3fpjuo9mh4KUke6fJnkgLFuQqxr86W//MV7pelT8vbqqGT42Wvull7gZBZkYzA5tlt3wOBb8eCeoPvNflIGmZBwnextd26+kYfVPuqIFZyZo61qIx+DbAtfER8NP68BttsYqGhfO5uX9mUByEVcQ+FtQf3EDO+sSY6D6gJaoghzeyxBFUfmYK7p+x6iKoofuIaz6ATkvtj45E5zsCxyyvUE8w4H/dkyuztzzttfcWi6S2AS6/7TZfm9Jn49DDuZNIXTI64ByxoYkueGj+0lfcatJa6BysD4QdORca90/bqq4AGusNC3rqa4UxOAqI/SelAGk3k3dxRIeEbvN9leDq/w4ufB4jtMvL9C6gvyXKxSxCsEqxMocxNDE6UeAekhmNoHsO8Vl9FILzYYGRoajOsOEZs64EOXn0ufXE5Pnq4SGnmZZ58VdqUGXGiRmnTTIFf92PMasXTM7euQiP8OKitEr/hbvuOXINq0evvryKYiTteds+h4BkJVqR8fKRPaJAvs+y0NzPv2p5ou3xHX2djcOmYpJeS8KAahjLRhl3zhws8dfgOrJ6d7CPH0Q8k2fVguJoWIIxyZLNUO4n+EkRKoI5OAtuFgQa+Tg7nToEs+vd4bYRCHizHBn4v/4kQ8fmw/oC3uz+3iFraaNl2Ki/5Nr1JgEW8hrKxDlNrDlMFOCzOoOCW38MshGit9xp4gFViS1WmvrTU2KTG+KRMM+H2vXOf2xQuLAP3HDuoDH5Sbr4szfH3SylP9g3MGk7Czgp5YJpvQ8Whr9CVsfMJ13Rb1r7C8jX3jmtXSTo975YJic4ZDuiUotje6DJSFDK0/xE74vYMdKyM1+eQGB+PdO+gabmFJhxUfGC3aci+BwKLAraLvE0oHVVPfVGoLBFngjeZHEwR/q1voCd5trg4K4nG5mGn25Q5zhKLrHtwteVU5wcXAFcPeGBrH5gKWx2z6SfDjtbmQ4mbrnM7AHr21CASeRJe3j05MXIuALuJzGabCYcfPqxxJYVuTXWN+GhgVNTg4US5MRiG90Iyd8w0KY5PYaPwWZ+Yq8qI3sOG+Q0iliT6WMxxGD/exIi78V3VPedzyPLIaXxyPva5KhDrU2zITvcUrImWCBLLEPWJSIyyTdTkoHibm2gJ30uhmkJ6kKz0QVmg2WSf8aRJde1KA8Lxw9DnKI7wsH2SWi7o8dc4QDsp1cN0OutTmjBoYifmzCESxWaGcKxTyZDG5uig+8fn/6tppowJaz07Gf5V+0CWwgy9ofdEOxUWznOrE6BY6SajoRpsVUz0gQyYnUgDlESijspEakZsY2xVwaFpXu+in8qr1K8VWBv3svSKrngoK64jOh/rqsYr91b8Aws12IByP7OFAPHLpWKa3KgTeaByUjR9YC0x3P++lr89C2EluIvJrx2C3HFvb42MUwu6BMKBhpc+S5vFCs/1KgWnZCYqVbjKItCkPGUwOMMJEm726QzyR0CGJdMJanITe7V60PPZ40DJL7tUkfRSh68+wARc6yN2F4GUksRvlByETM/7XpxWAT24NTnECMOTyfLYo36addyFeaZQibhPyfFE5O406E44rfDYFsfVi7fKhx3wuOeQqP507yIAZ6whJWJd500h3yV61BQyYx6K3iThSu7uxBO97WjX9RvXQvz5XdLpmA7+5CwayZYlWoK6R/whqao9fH5f79WuyJEaVNU45FFmyRDGc7I+n6uF0CVpwAk1qJgPHO2urmPCEalJcS1l3mLQsNMnmgw0MkXm0e5i130q7PuHh1+Q8h4yP/UDFWgRQ0D9CRpJ7N+mIsmMC57jvajA7eUOvvHk1NSBPIgWXLPpWht5Q9yRxxAG89xkkPxFv6CSyCuauqxQTbI755vF4qgPc+RNPD3cbUg2VEmufHT3SqUG48xowJSW19SrfrXXKCGMEzMMkcEHHGoXUAEv7Om5mdtMs7omXzMRQIvasraiifypY2yY40ZGoP2FffXwHRMR0Ceb35oNhQLopjmiyrr/4kXZRxgX7Se/61Si8gLaim+/h0xDF1LF5GpecHElhTB2DbvgGZ8pdXtO7Mg2XxrUavwOFp0/Dpd+ornnhHssYtUwtz/a9Mcs9UeTrs+IXNr5rPZ3NwiUr1IYNHdki7h5sL+PA0CH5b+8+ouuGUNv+J2E47Wh0rOssAd3PWGuWy1IEx6sDM5y9DMA7YJ0RB7yYGHSS9KRsDfM5Deop3tSjKxZY0KBML3ylmTg7pac9kHOhVZ7/dzYOEzRDHjDxS06DxnoBEgtbWfkE+REz51ZFnm6oo4uGIloZ1QeQhhJU50ZIgbhRaoaIWq4BuUU27xFjcmEyTadJzfBz3MW8bNuogCs0XvcmfE1rN69PI08Zr9Nf97q8j8QvpUb8h9lASbvAcrMK433DdxQiRO6rODc/5WKOSM0Xuybcuw2wogEpjHlN5rV5Q1gUJiase+KaECntRWJ0wLYA1kiO6cGEfTghVNrbAKRfS6jJPZvWmMGQhLVdjLPdeNcWeqVuDLvEf4by85atWLyZvwNrTYsZk+PEUo4TvOYHQ7w+/zlYwpudcTdpnyIOKfTZfeCMrxuL8evEDhUSe2hsdzDOScsooH3YhWcpNLebwYjPlEF2NGlFq2QtzuNfAJnfngXfzDsRNiUqjieZkbHofNwHrKeVAYyfENLmIZMqD5u7Wd9Uk/YJD7CMhSYIM037oQKFrjpEmYs+9vBXXMGMPbg2wVhirz5DrUXbv2sPJrr/IO/ZttAtkgsJKsRRGkTgXDKZWqsShQFEbut3fLf7PM1Bj+p/ledl5qpRunvn+/CvFv51qqpUZ8PG+Yc0LQwzEHey3QP7c2Un7L1qdWDyQSbw0PdlaMdNIIkkKsC2wuKDfLvq2ZVWSeliBoEgYp3Sd0Aqh06t/coDawKNlGTLqkHvYJLpTr7+OZxSn5g82fhBo145mCtatI8wkusaDDrnBK/MoQuQsNlA5YXpF5Hg/Jr6Haqvdx1RBqhoh351N1KjWpI7p6usPsXkQAsM7LbGf7Qc17MzIRsFEVsQ78JjIzpAK+Jo7Mnb1GPSO3uxbrddxhBK0xQm2XxVIt+wcXoIv4N0omuOJpl+DoJMJn1VnoGJhkXJcF6Hkj0q76ja/CPxCpvTxPp3mkpFKx2kTbLsLVlWr1czLhDfTSYIIFgdQc2o8JcT+dulNnLqPKJ8uJqBqYyhN8b6VSiTLma1qqCNnS0fSkTTxDICloplBTAuPzpC4UsYryp3NZl1xxocCc2LIabIfsQPm5m7AeNofZw7Z7RRtjzHAbswBuOQZprttB8x4m+5lxAFBkDFDk2RbcdBJajd6CjMOIM38sn/I0xdqxTP4OBZ7NfQ+Uv97G2SKASRYOPSrVa8DTRe73eD6MzXmVzpTbPheKRIknhBUxXLSJ6k0h8/6h6Agv1hatrci+Hsc9jyR+rAC/uu4444XG3d5OgP3K04tgX1l3PPtxXS2hmnnxvZgUzXYa/7XasGr17d5k6ftBZ/k1YsN8V1kXNky80ipsPw5PmB9PiFTf+gVGyGtIAkiC/fTHAglV8gm5FCSCCInSCwiRkCaF1kEpcWZ13qWVY75iHe8/ixu3Ue42KQoVtrxfrOwt0HbCbW9Uz2l3ZhadipoDgzVBUCcmAxiTGxg9d4Ei/fA8wNSkm8OnakfH6DivdIjiURc0or8MZ8fBCyCKI/MeHxYuQcKmXPYsw/dIZJlkTMTQ7hKxLPcLzmyuqvUUHeyZe2eyVCbp7aBh5rbFxw6yU2kEk0xFhumuvGgJoAS9yvXvXXBCN1gSHiAWWzYqdeqYNw7rgPyjbhF8bN54hsprPr29lShn1GNI2j1+hFbxtQ1ZkNRg+AgJ8rCqjg7l/xtbrdGYUNFDENVNPfQr4q92wn0+aZuxj92iWSx3nnRi1o6Z7xMFCervnrUIxqfYLi24z2OTw+IpT9NNoVpiH/cC/pfZahmvv+RJu6FqiQPud/maiFfkCLLFnzrp2+scTxYelFZvyzWI0XtYPbRdqkkPJ/an2RsULqB3KTYXRwIMGIS8yZ8F6hBtBJip6bX6GtBwcIlVBXi0ZX/YIN865qAryG17XmylMDLrI5HhkJ3d1dlkYcZrVOjx4eNa6anXfolOExohcjhWcIOrIdloTs0UFo1MO99Fx7vfGQyMhWsH87qnQAXClKkhnXcv0Ykd2G9c1N8LFeaLKcaRkwdCRrcvuvBMIFbrdFLmPEEBQoPFXjLb9vxxptLUyc4OGI0/Oah7atj+JEz25j4B9c93esOXQstNk43lxbrhle3222xFS7EClFHZPWOTHjpyvUY4bm8Fw8gV8Y0MxJW5XRHOp7I9Ityrig+dNyEE6cmChsMOUWvGru2Oc1Gk4zKFonzDJ3THXRNRJX6vGpXA9hNneDrD4rLPzRQGYSe/ObJTHpdLU6QOFY/zBflt2t392Q3t6xlJN7V3aBgJOj7UYx2TGmPyZY7PYimxsfyrx3o1Y49Y3CMwJGjtsF4BET6s7qKMr6ufs6UF95onA2SejmKNMi0OYdeSjfMvxHZ7/QKxyZzWyNW05GZy/qIhCdGV5QcXz30BVa56I/ypNDM/z1/Z/PZg38xPvXWYRT7GIFvMNnCgudL4qOe1mqngZp0YNZVROJuWjoQxDjODWT95ludXjStH9vFKUbBn6nT2pDarZ4TZ1EDA5x6/ue8FKDir5z27ly780Z1PHzjMZPRFYyHNaQUmZygzxVTjUU9y05AohfZ249INW4BXE4u9rm1Z8pR3Ky53ugb9b5WglK6YjgiQEpgRV6Y8TTuh2oYrJ53ZwcBSm6MyqFg26CNfqDCiMPRJ8HwNggb/iPmIznLykAEGsqPYvltVfLy08IOFcIKjoop5xRiXoMTFEJVmd0E7UtIiajVl+6olaFnHSWAZUjoVfsrTzayhMP6Zc02Lqj+rVvxMyvpZXY87KxI0W79U4ZyM7Rz6ti8xdvrdpHAU5kdjYYOVbqJQs+ZzGpS/7cCJzH0AVUn6lvAsYnfthFa2fFQ8SMRDXL4ObfkgS1GIFPkna7D1n8e3eBb+Z22zUlCMRqbzo1M4aUlAG7myCXDetZbCUz69zut1lcVYrAvO232WSUoROsozDdgxWmBdouMKFEoZ6gTuc0vBC07EqRMeHmm1fmX96DBeQy2ASBkbFyPQU4CqtMXsp8/SuArFc7tRaR6LTekgEhddXpMOeTLCpWueKNnBpPpUOOQmhGoF4vVI1dvxD9XIx/r38cFYEcRsNU2MTNnfoz6HYXyQ4LmyQ+6kJ5reJwcUAcEvPSLjsSj3XmbzrocyFT6j3ZLvYU4PML9/NNH+0EQaTtPVCB2tFczNYVEpN3sZVs48AXhI3k+++S3z/aO6XxLxK9MJTCqpXTAuq7YboyMiST6FE6fXAqHwXBB2+DlbibtXFP8F5nLa8GIByA1aug3HL3RFtwbgMzzXqMIp7x/XIxws/uVMh8Gkf8k4XwZ475EQ0ZCtULQnl1+VNUy25yClA63s/2gnVoSc+e1fV8qKyjhN5wMhuiWTdXZal2xYHf2lZf2YiXTtCvt6p6v3UxNnYqKdVGiPu3iIqZMjHh0VQRK+9Sj27TuyHy/b8lQGoTTl2cb6pRMKNku23b59rrtf9bEQBGhg4MtL7ulIplrolCZ7UYIEBV8huG2xYJ5rqwv2lyaKePyzo6fI/X/yzWmaUM2uhPQr8v2ZPJgG1RJQMjbKTeKWluRpCO7rFplpvyUZjgpJLMPkMZx5K5mjaK/LpDuEMu6GO7n/BykyWpWGT8KVH5to2g9oVNiyD8j52eMbPOoBjQz3NsweSMK8vClEipJ36kU5YEERkB/dZ9F6Hj7Unnk/4aLEF669mXnjFl9cCHVwO1SGkQP9lxjvWzfY+ePb38JrycPbPYyz8f0ELZ3w1WfsT0Wm7fN3WoJ7cwGRJUogOzTcT4Mtwg9NH2Frv2k+laq0n+hsVx6NCKzFkvnwdnBmFdsOZegg/lESYi3jPpC/aPWZF5u8FH5NbdL1d9jCMij61iEXeM3uPKgjJqqo+qpjgF9l+0LUYer+L/bYBLCFt82Xvfkj3jWMqTKwPb6qpXOibMzhCau5XB1OMxJadWfcdYoPrPr01q4xL2iEhwYs1isSz14psvFymkvDAga+G0DlJYWfZjJGg1E9eXKGl/M/QAvLjHTXzjb2iYsFpQ+1sCKB6Z78sfazXYsrPzNAA3hqK4tMacgV3IKO//2RG0YkfAPZO0TKTl0FBNvuE0m5QxbloBIx1Fi0PUDw5gbd5jPl7kw0PcBRumc8hWyzYR4sVLNcCb0BpBMQ//ZgpNW+HJ1uiNFIym7GVxhhctq0mCPi78d+T2DiPeEkM/sElM6F7TEa7gtw0KcPTe20M1xrQJGDEa54xXrmSjhMVPoMvUS22orN6Q2MX9fdgdofQ+S40tirxmmo9b1jhe0DaDs6TFk/oBAC5sahJeJebDZPuRt/bNIHjZD/UnCvikXoOUV6+rglPzwNTGTsfJ6VyY4iWOoIij7Q+ljHPlreHQfr3gImfHIWKkd33AsSh+WHRgRQVPmyJyh1+VbIXS1CT9HacUJ8Hxv5WZdDlyQ9Iy8xZBrrqNkYyqE2SSR1XECSKZSgOXNtyCiUQmecYSfKKxrtFk/yJselrP27Pu1IThgDvDUyD+etwa1PdigYpd4jIytkjEX257zHf+Ss/5fqOkGNKKnNcNU52v7GXXRHfo5fGTM2CvHG07K9EmtRRElphqSFoGMYbJmCmVo3o+eONyV75SvdcHdcfJDS/X/CSmLnPlFB+UR4c7/Aa3zFX4BKbsXTI5Cu8/9ovWlPy+mtYsweH3Eqp7XADv5R1q/OUpRtyQ2p0jn3vQSKNvmRc3zBv116E1m16QP9qAo8gMnVILh/R363gwrzO2t0sdsykw1Ut6Zjmqzv86TTxQuR9xDt5/hJ2LnkuzlVUjwjItSU+/IAs5PI27jfuHfrVzgnvAm1Du/bOuzjImO+l11I/O2CqtKTqUdSd42iADw5AVTcFJng7M2ZtHO5dtuJz7uv1rVJV4oJPDzxnoOQwC/Mr9HENvviX3jCMv9RLOan/+Le5ylwqJ2CchnDtaW3JvDmYgbJZ3xUQKvmqWColfEs6ctPNHD9JjbN541Y55QBLLSnoB8e1Ks8tlhkz22XZVgf7d65TO5dgjYgxQ9YNlHKfwkANmKCrCRgz4aNWYwjZoZtNj7BUXw586ypaeLtlyArr4vbvFQOMkslmKHaJ+jfyjRmXE/T5ibTVhYOo49rhcQ8UkcJRe/Z7Z/lObPfU/bDVhNaLoZBTzydWqFALFRYZmtVtlvH2jtVELhagWGl2Suh5mOwVfL829/gwBWyKkPpKnjIgmtMEJsUrOjkIrAAcGbla4GMJzGlno/qcTTp1sV3vNurnFay1ke1rZdKAPQr0n3dl1/sA4dNRaBIVZmn/YNotXPViZ2r97n92HWg3EnkkJw0cqPg0aEpIM7Hnq9iFxnpwws0mCjt6TuOvZYTMzaIobry2UZ8lmbBIRCYYaT1rOVwAjlowLMRRsz+t1opyjaTJVf/0FE0mV2eV7F7vKn465GeeSwXJpv6PIHkxwfNDB7TIcopJ3G7EGojc0zwHohMUzC4uaaklwEADb+2wZCcSmnFCACNnDrpnAINj7fJ3b/rJZ5N8TMI3BWbBv2wVEMTFK9gPb9MjIal6q3TVAMdyIfymgkikr5qJJA6ai+GSQHTsytsAREJSor0JFZDFz+kj7CV8bOYw7V1w34+yZPSNekrM0PRnyQH2StPQ6X422IsNsSV0SZ54NkUnTIqG2mYyB1DkM/VN+P3QTW/FiW8QzvoHqE+ggZl8iIUs8DEBRx9/z9eNf1yW0LJ6ZQ9TIYSrMK7J42nuLfekspzDgvuuBoehc6rUbSWCod4wKtL/9vjfoqDUiX3RT9oD0HZ3fdn6hTaBJlx+v5qi/X+yzvySBDxrLYUx2RNM4Z8jdwz2JNzM8alNdtAk3SphX//0d3bKKhyOHeaZehxqU+uIGnTrsRydguU8NB4QZ1phLT6pWyaDiqsJmPJcL2dDy+OtwLm9SVe+qAwaekEZqTLAxJ0a73JjdEJMTxZzsvm4FgpOzbMv2LD+amnXmVmQjSrcWkZDcESFiQZJwJNH0/hpM5lVKRr0bHz3PkeY6E1MWDXNb5WRleCdxgbsYA6+inE9fGiT8SoA3bj6yMQcI4aiAtZb/3SaK2Y3upszubSonuLkxv37U/dZ5dcOa+LqbKwIUyGvbuFbgh8CcnaLL+i+oL0EYRzS/EBKjwaqCip0xkJstk8jeREFg7XI0RsqXpoEm6DD4jyFducgTLNr/oVIQeBhvbHWMUd9Dti2vt1SzHgbyznuPW6ZNdsuT7xJCDqpF8Gg9asi+1KA/fjV0unzALVS+FOqhBDCXwuUq841fGme08BFuXmaomQiB6RIZkkwO7hJUXsOAmDcKvfpxfr4WXt8MAzBAQWb5LcodTgFrh5Dc3YEd8d2dXU/2DME7NzPqTMoGKnizCX43dsU9F9+PiPxCBb+oxMTSUYM0ZCQyOSuQVfSqN0Wucjmixk5NVaP7bP598inTZ1Xuso8pvFUAdgP4HbmnXCnqhf9iQTPSbvtLpnpt6oPNMFpaVF/POw9W7cA0Dyz0PCo3uHdJeJJeOOYIecWrSGOFGOSA2464nu7ph2eDDMlCJf2iOjlQFVVUyIXec0psyMaGvSv0DToTsscPbgzoF9hvdm9WvNV+dBFy6sDVNslNtmKSozvUGvfugRYwuHIc2IHPu8zpLAIbsqx/b2oMyUyX7VY/BxUGcKIBKLT14zI8G4HL/02eWJIUq5t1mVNUyLUlGfBZUzd3TY/QE62Q0GD/05A8CBt7um10AEzMVGFamg1+8BJwsFT5R4KZUlOSuFtpZPeL8pd7ZqaEa1ps8aifqf8cUTa3fDKd4isKzgGlgHhBe2OJfHid38HmAba6qbB1+SQtIENlo90zwP6QPNHhCr5bbdJSvpaduJjSH1RPYoHkXfyyRkegHN8MMoir4V/YycEulUwvCTHHONzdofxDl2aH93EwHY9QxMk7pz1goqbMR7gqtqlRx13VOHgJfVlXZdgIRGA0mXGwpINryA1r22rM7ob4nSr9k/qxTFUMELEEtkxswVE56GlsrSalFerv/3IpPJ5DsU8P5OWEtBY6oNKy+c8Y++CghNwTuWX7m7IOoxvAhydQ3PMy/P+ymqN9/kn6300wMQpIQ3OwjnNrXx6laPdOJYGswyrjABQqkD8oxyYDwyNKTO2KHT2w1sBopjRT9pmzwVM8X/bwC47Ao2/bhEmB+SdLXIGReOfDUUZ3by0mszs0km51v8ZL4pJLTIjqjMSFb6r3gKXhP7/oxWynnWR00U1zWrYKMvBMO1wtJ32RkjL91xgF2gLdK/nDizTECzCyTNPUz5bGJ/jN0j8IPMun/QCRD5SvYPz4xScI0VTh4V4hlX/d/fTTeHVPktfaLdcVHr5Ongen1KgGnEw74n8JMktNZT1OMuzwVCtKNpOPk7+MlsY3TlZ+OT5bFi44cfBZ3kwqq+aNcfmp8rTPf4QaDPlfAgLKI9vDJwxeUDzRnzSlWQgmX/TspbBXwqlQCH2SqtnmAnkmE7lIIFmO6FvbzSHprDV9nvHsSUPpSUyEplmXs/e95WSABk6ZhouC1p288TN9GvFSZfjTB9p3Q/GbCLdclr/xTLrTgMmRPv9CXZslbIjHCgSJVLkCJb7BiM+W6YcEwTZkneJYgoUbKMAXGemV6OQmWdfW7oQas4WbW2HKk2TBDjru+WA6zjXgdWUADuc5kohgJUGwTJf+s43NZN3mNKbTjm0vbh1TpHDgWLPPJK8+zVLghjJ/V61dNo6y/tkc8fezw8NTek06WRKMY2O+UOEfF8HrUq0v47MH+gnBO3agqCnP1u0a5qE6u43TWcvSpSMt+LZ83wcZ0K4W9pXAOHtDeJgLhb9riUH7HL7Lwg1AH27ZPnIDXe8ESQl9tkVdOg5zsU8BQ5E6dCfkncIL4E9R45B+JJD+bOF6EbdGXN9tUbdVF3hesM3q7kNQL5Skzy7jy0kqch+e0CEjWp7HozOjDo2YRJaso+jeZQMG7/ISOiwyZjy28QwycZB2w5DJbolsnOXQSIZU6A5SAqG9GCeRrCsmJLFGV1MaV4Ewffgu1VYB5a2FLyEATj2TXfresO1OFPQGj3nYv8S2taRi7RVGvjIKt2mKZQSKmmeBf1mak2gtS5adNqvsaY7beBUTWo+dk/F/8O1wtcASEez5EZ8VrjrFJDvkGyqu0CSqD0ujAVKYOacmceFVcnk3MDRxodsXvPZpQcfOjkPmZ4/gs+T8723c/E765GI/KOQSKUAQzM1HINJfj1J94ZdgM6ltwzzIbo6o/JgosccynKaP3ALnXlh+lg7arH1IZ3sEH53lQRjGuXZIp3y5GJnCQU5Upp+WTHV+IISUv3J5Bi5op8tvwgiUH1osbbOpfkm/4/JmxdudyGCNShhJKmWydN3Po9nXyke8Va9suErl9oYB5FZwwRfQtKudoLDe5H0YoOBew8LSuxFbgge2r0aYZXhTQmtDbyJmok6jdZkNK1oap+K4BeenXFEpXCB7E+U04+yDbyDvyid4NTMKzuvaYsdbrN9C/Gsv8/37bCl7v7Q+WLmeKfTEVJ+kYzpV25oa9SD2B/4uMgMsBhqPWCtqUJl6H0WyjCUe8JFp1vgJWw6XgaOfrHmnruOycC1uU9aD3h+30ucYmSs3db7wI4VkIKlBtFgxPZrGeoHBZEa3Fk2r0T/QcZhcevgOY0MAsuBiFbw17w7Hezh8BZgPOiJxEbwhfLuod4G0VkFu02AlQoEd6iDuV1WYTGm891p6bLVrUNtML6ObVuuLHo1sxQQsth4kD8mKwzaxf8uUh88TNe0vZanJ+ZqNhehZwGpz7q9RQoAOT4fncd/2CRRaQSRcf9Rp6rx4AmqCh5Diqt+BfocHxR8oM8iy855eFhnyHaIRkkOS+M89HxfNAbRRqtTgLLf8rKGjpZB8xdzuG+wic5CIpcF3gOLgpkrym7/bpThEYjBwi3v9aexBoKwVM6N8VuO+BTmCAfowyQ9toVLP6SZG1DdSDhkubgqqrZ6YekKuOmqKjErXm0sVSdDQ1p+ybClFjfJe+TumK42+laMPgWwaCKwpziWHvZId53XnPkpt5DvCgw3+Wvl28w8kG6Tx1EWAaSofh5p+1hOnPrmWj2OFC0aHJQyKypmqe7902IqKfptcwP92FVriL7M7uHaZTvTj69+Vd+zt7o0MNUSl4fU7g4n1Q2+zslAsg5yWdyPOQ1VuSS2CnJ7FV/T4M/BSFrN84OY/MiciZc6fQQYU4urp0UX02qSpJ6iAXfuzxNwz5OIe8JRBrYUqvIs5lyHFB+ohLtoepscKWsVGTDB+j945PxduIrtKT6wUl6XK911gH7KNpEPBIpTcetTBP+bifI0Hfkm8Xy2dqFSfBewEd98wyTdFPNBb/fTIhwFvlzp3fm7ECrRctv6tUSYwVCCTp8V0qJe8Rw+wupziftj3azabUwGO8e2WAHMODYd8ToH4QUQRIFN8tDDdZkm3upMPBA4Y3TwAccgFZwPjSiXljAzyYKyQ67M4w8/jmiI3ulafx0LQUlkmBIvXEfWZuVmJaxHHhpJu5BnWa/6RGZT0O6O2SySwKuOSXntHEPnN7ZYrjeFZdH6RWer0uEvDmiFQOHqf9fCXnwVqhSaYg3c/HTpLbLGKGU7+No6AGfT42tXhOwbh+zD+Zcjwl8UEkSZyiwHMNHTgHdU+HCC1uZ1wnCezJcfddAC4K0Q6DbR9rj99X5eFFvxyx2wudChQfGfhXdJHc0urp+SQOYeieCIhZNYmdvU/gw3OHnq25vxWLnCVqN531I7bf6/LZcB0PlP3hui9/iRCpg+6MdJ3WwlP3VPLoU9lGlez3CmqVd28/KHtUX98PoOzdY4xrKXiS1ZEPHD8VWE92DNwrC93dgdOFjXCH/TL2ooh7PCyN4k2icguPRgDcvn8fEiFfEBNYAmfJbO+UVcQLGRlgICtZf22FMpWsjt2IVXBmGsEBRFjshBJYRV/hMFLSDSxaCqrJVytkY3ooc2aC7TIGCUJjhFmq3EorRNeiEvGXwn/h/LjhU9HRQHW25hBzbjjvoWXMRorfpzbCF3s+lBHDcBOqPh3tgRgWQWdVUgpFkRuF7FtSpQ0J71zxsvK3mql160G1QU1Ka7rOWjEEedKTXvTObNugpD5v3JTsKHEfMBQvK32M1qs6EMZF2lVILA8BN8+nNXykeBpeiSxoiLas7bpqN9zfohTTqwaiMWX7WLu1mx+bPa9gsea/r+8a7ToU6tTaAp9A/I7iaTd+xAXH343d8fQ0qixgZjw6BUfzgrMfJuMEmOCldR/ceS9HaY6tI6861KikceP/4IXDJXNHL6svsuevD2KpKUzmwF1hHIe1Tx5T7InlAkXosAAEbjKKITveR3GzcpjiJtf6DbReIF2ac/jxE1ACCQDikFYQqJXlZCZwUVPn88DgpIx0DwsBoV6X/tvsOcyYNeL8c2/n+iqxrIUaDORuvOtM5i2YcyPhRTt60N/UBpKXG3ksThJ6Qr87UP0Tv6CSVO7vHaf2GJsRyggp6ubg2szmG/JuC+wdR8slcHITk5gXsNL08x1+Use76y8I5FRtF4ZlKMwZWySaTlu4bLbmhIpkfb/5GXNoDX6/nPShKzP7rY1cP5tKALysn0ERUQ1eRCqiYNRPkSX/oY+usi3HPRhI8SiNwSM6O8yj3xxCas+mWjRatnSNWXBGcZlF39XuvXFe78gksFuFuEd5CLpAEQKqje2w86t2Myy2D9qU7gQHrpD8bOdb3KM80ah3ZcDAyNk7K+QFx38JB73AVMJ04LrRA6L+tDIgnPAFDlKDi4kVatEIAg5Oy3EZwB/PrlIYiznhOnrMLmyngWc0Wd7wTkzAlawMyXyIjljk0ZY6w48zQyVmdJssu8Rsy2oWVqobtLB1sZXfF+E+DcGF9kcgU9VRntFcNsnWOqi7tSZ8fGSIhm8fUA9hQTty7FZtU/qUCrj91ctzSpShBAU1S5xVY0STguV+a85+yq+2D6O1KFLLx3qufFiZJRLR4lZXIymtJu+m/Pq8LCKJjsbC7rY2aS3Vj5PZ6x7ZL+w2KZ2RLZ6LiZ4Bgl45alKCVBHS8otZEIfvBjuJukdQvBT2S9C5tOyQ8oM5LLLoo+gS09HsfSCcNPNqbxFdutLo6VmONeKxxUPuQoj13p5zdOvtwc6J2JpPgv8xFn9F43YIBb41WIzVliVGpdm1/r7/StbKUScIBkU11dTLbou0CR/1pR5D+9Ergs8JYqWeWtV++oF8F1MHLzco9BBRtxlaVgUJPtHU05XTnKwmN9sTM4bTN0NcVolDVAKpvc9+J67qCL6ElQ7JdEI3pGPzC0XBLCp1aT6axQCV3EWQFivBNAK5N+3/xVaE7VX4vQ10VccH9zVyg2XDpnahPrLoJBa5v1DxbJX0ffJdsWcqLZ4qUobGdmBL0HL+XRt+M3J0SUwuH32qUZhmar7ttxVRRN9MaxNcrHFAup1WDhrFG85iEovl+jCTojG/Pf6Zs+yJZz7pSIqNTQhqwiNgExPs6gWjuqwIQDd6x9GVPcw6oeNjnqiycJTOOXXujC7p+aYnHSz0tUsmerBl5Sv1sA+MsafY/LWEdIP87v/PtkO3q/lSXccR5y+EKdugZf5Vm7773isgWgqg77p59Gk6r4vNjkjcT6lmn4jNMcGG/1DDJwNvTbSWVGD+ZvrYFY78BPB7J8RWPQ9Z5YZPzi0TILHZ6oDNoZKReybg08CXEZQRSsSMsTvAWYjclhNMxvF+CaidoejSVISDvsljn76rLyobMC71s5aKRgpzz8h9jRf6sfixVzwsNT62oeaRCP6g7KKU2e4ne6qMD1v51iGxRO5Z4ngTlbvJsYYOMVTQxwMVfdL9C89KwI+zPWgDV9tMjC2kqLfUGb5Ez/wFbTdowQhj6XtDl7Mq3qv+yH4VT5izfO804sq6F0Xgo4Gjic9SVGqISFLJzyhMOb0EbetJDr9syfvfENaTIMS7EfC+U3iRJSSe+zDR1Kxl0Vptevpex3gm7sD0TqPBP0JMpE5StrFCnAT0aa1SB1g5ldhu4r9uZUv8SeC0/fBuin/zSaBvnonWF0GjlIIPcYFVdI+i2lJUi/Xf4xXRliHBPw0aPSlONq2uKS+72ctipCGGAs8uJgD2msNQyPtUs5dCExaAqDCaPQZ0ldRmUPFhBLjpm7pbtaT2aDjTnM3FXSTfTqASRRdKb1K8Gfo33/oPPmkIPvwWrRgYnNmU8JEc9GR0AoQOw5++3qVcg7Bsr/jaSDRgovC5kB6eqVLZpFIerasFSYXFPK/hW2jdpFVuVgCQmcfFyHouDfaBtgnCx8cgiuNSREhUsCuMzJGAspUoBPpLWYCfpptv+/7SwdGwFiBYXEa82/65MdpmHY0QF2t/VIhzK09WGKdij9p2/vXJSwUdLoE62ILKWVt7r62eN6vHMCddLLzHoQyqD3bLnvngcze/8dFInKrEJUoP4lZKVtp+kRQJorZlwJzx0X300IZ8DF2PDMh5S8DsdsPh2KwVCAXWRsa1eVN+NssLeynaCp9Xi9Tgtha9WoMizb8z6LPu9ZAfHcLcMaiiO7Tis7s5uw661D6luejBszS0ggfNqu8DLGpHlre7WUZD6Oq25r1zTOclIAQj8DGm1eMhQzU4TM/GO+lHBMtXnLIvVUZsbBE7VNPlAMMDOmb4zX21d4Htkki6pILcZjPDUPsjjB+pzldlw2RfrJL+KwyzNzcmnR8S9PhBPd+SqP2Xdvpsj7/dR0ILiATEvgBOQ4uyvp3T5ixTyrZg92n01FOf/fx/VOwXo5+noLeGMV0N090rvPZNJ6THmgWtq2yfQxbNos2flYIyvBaam06yPlcUhljS3nnNOne9QpILEl6z/rhF0c0bXr8ZnmvOlY5xMlVyQuyfQzxQwBs1P3pv5G/VoZ8KqkSOm+4auBvOk3VvSShlZ7hAFmZsUjFhu0MVLcDPfKIVMdzn0udCnVF5GwMiTHt+ymdig4F1Rwn/oAFSYPzx2rsdRmcjR9jrCgZQzOGjwFE8Xgl1W+HZuwFaAoindkNg4YP60gSKc3u8MPz9GouOpXXuQ2JjWLO6PklGWAAP4zgWV0Sh7Z6Q1ID6E7JlgN3QypZ+p/bdnq2R90kK4PfWkh5PbXneiazK9NOLwoxL7UWYQP+7R2gphTJKCYLBjOjyzA+27JewFoZ+kml6fe77bSAsPSZNdlraeze8vEZlDxb6oGSTgcgs6mOgfe7km5mSl28bERLTCtMKoyondnEBK20bG1OVWti4XUcp52XbEtNA6xFJHTKDuSj51xZHpSahSNX1bv8E1glKQBcOfupvkm+wUrq6Ycg3DfroGb8d1rtmKfYTDIL0NT6mLBSdQ+9K0zXV8D1vOyRrc9204cqcZARg997/TlBMKntG0WVIdqS6QmVS3AFl0BpcmQcbm3m7EL+sWI6uFR9j6wYM0s+i7BHq0fhXFyD1uEOdyEcey0/9+cy3jRRg4gpI7H/0dBLssy/C6YY4gE+B9uwSfne9bhzIwwaPRbDk9wx9qFS59RI6zAM7l0j2TIIa68Nv+9QlegK3761MKP2K25RQl1/796r4vFN0WX7Xc30XVZg61QRiS6mcJfJo14UJscuV0dzi6wDuQMBqmr02xxt/IwSFygyylVi4GjY21hU4Ws3ZilVnu1+5JT+dtDHkla1bsU2zGuDxEjBO+ej2KK9sncvAgoGJhT3/XYyjI/Hq2DO535RLtt8Qp0WGVe3OIdMbyLhW0mtTSaUDx4T6SM0Xmi5nCrKM7dP/Qzsw2k1xWDZ7U+qbKIucvmwNm0pgIcNPkyAlBqeB6CMjQhdYnBhGB6ljtxZ1Y/dx95paX/KDfPZ7VvOLZkzYgeTxgQUKxd1PDArd61pV5m5Cmx/AHe++dAh57njw5o7jhYh7Z0MjUj5eJgOxJv0GmkGzcEabHuCPanPnuflsl+yu40NngYog9TmG6fATuCra+mvLcyx6z0/lEz+mcdsANxynnK0ixPGsOUNJpMII/W6z2jDeMwbi/8+uIJXQ0vxhihR1l1S/bmvpPH12z5HJ71TixTmV6c8znTXtwu8fzeKKkGZ78vr10qbiTU71ls5pjgyJ8zwDWpqbgJ9wg5/OL4438OGddhuM2Z234Pf5udfuH3S8sqJG4LWy0l767jhy9i4vu3YH/qZqzAhn3+iOrAS3HVWJg0zSqMQ/RJcmeoSwbqvwDm3wIjF9ULaJDMM5+zX+kzYi0/e2YZV4OqJiHHH6NCP/ju9jIFsYp6516BDH8CCB+mzOIldqmoskNlThd4digQ8qHOv24Kx2yTi/zNL2syqlrZaofIYa+DKfzKZyw/jkf873sNjM/n8D0zW4d3D8cqses+KAl4Wnoo5Y1/P1UWFBKVFtOD/rt6QF6d60T3bJeNw5WBlGHS72APaPYndBpgsI17yPb+g4Gm/RIoIIb4mQG37YBsDrvNLQVO0uWKNUcss1qhp9ILjzhPHAcpbiwJ3TqpYJUSNee0WJ7e9DqwDz4BtrHyZLujIDI+WZSYFqTsF009gpT4PvvosDn7ZmrBeyBq6Ym2C4OfkdObDUQwd4Mp0THC4LPGuA1544RP5J8sxMFAVOmlVKSG4jhkPmS901cwuYmLv01VSDklyTa8n70Yp/vNCHg6Lcc+v4dvKEzdqBxLoZTF6lLj25oaH0VJboI+2gvlAkz7RzsTGfFhBWDfuffBWB/AZYpNwPJWRviQDVUILn+05wIkyJVfNU4I+RcatLPtLpVphCZHq5Y8QLLjl1eOR4OPHjIBeF4pDMrPXgUdeEqbpnbHKrv6Kg+EkGqoqvROhU/DwNNXxUIKp2fNM5YoZElaLenYY1wN8JjilijVkhKJe4/xfag6nURxYOJk+O3CRTCCy4BuDYtlg/RPb2p1WINmpycQbiqAkhgPJtCGahdmVgcnKDVMzT0gNfLb58AILBWMUr8R1ihUjdEmPIAogCgfGVr2/tKKcljurZC1iKIZtM21in6k9RXbTOmjRf3KAwC6NK1dz4sPLW7E+tx/flE0zPvAesfboquUerjsiqWBorGRt8wsG3qtO79FJ/egX3BIu8IAdOqwz7dlxVZCqNHYYRXFcbpeWsVLStdFX+Js6kUOXKnqrE0EFiip96Xqyg2qKLoaLvnlZ8H97TSy4tnMkk2BO/CzFy1zpGLBz9pvuBmsvd+J9lIWDEXmz2OHPMDPdoVg/0cBDgKvyq5neldRHupqSPgHkZoHQ7nxv309Mg2WsSUWK1PtzruQ5kk7FfFlwGwbDjfPks3jZFHHR4U6oA1wXkNqXvpoZhrVece6d3QcShnjMyi/OV64RMnMd2hKnNU8mwMiQ2CrSs/dpqludsd5XlGCWN85731y2i4Aaec8YMukHxL7Anbs53qGCNkGV36WH1wLZBYxvFsPXhd4ZR86Yyi1H6pkKtOXEImApCvlOuC0ExKMaO3QJ3nL/5GtTY9ZwZ3GYW5V0std5igggEsOxPfh+VufiN72XORRnDnKFbPSbR/bXDIv2mylQOtNGSfR6kHuNtGElv6yjxG7W+KIUkizZdhCRJD/ghpikQMhBBfKZW1tQGkWc7X7nLfr+eqAzmlVnihdmtU045kpLGqrZaJS7tvZwX7X9dDuybqYyPFytCBT0bHYsXWiDsLD6USp6YqINgmrL0ic3cKcrHr9HeFhkObRjBjwQ43EV3ZC3rIVxFW0atx9rY39uO5NBcdJWQwh6mR8+6LvxVqA/VMIEX/eLnEf8nc8/mk01gH7VVTq2rZv3vwu4UTLkrMG9jxYZ/lU1Zb4ogUA1I6WNOTo3W70cbCxvk8mvJklSkaVTp8V3spZnldXvz4cF+3YA46NsNkuElHukgVXxn5oihbwRJtPASV3/CEFVeuLeqPAah7OjDrOr8WxiskP7OicPq7BF9uly+MZqTNHzcXjJfB1HKj1l1ene/o6icWHbSGvnxIpZ5XHLh9over0c+9j5oJPtQLemfvQXq1OH5I/gmIdIEt4CXPhSzSreCwA4TBqwVrCLUbKTrk7Urpr5Ts3O/eWTLRHccx8K6nfEEjDwsgHTbr6Cwvyl1VsEWgCvdJqug7GXcZ535uCtBmPoem0jBKkDcvrodYVvLbatHzo21jlkkdf48S56sX3xKts/MeCBDMZco+aQKWckAT0xhbgQS3GDJQWyYPk7guSeEm3ZPt+7JyQTJ7dRCTSi1oCupwKPBeUIFf9REZSdfh+rq3BD08HFnBOOp2gpFWjVFyidpg+tA7jyDFRSQqlaMmdl9h4zd9E/KMNCrZisFKlLFCDJmX2epLgfR3a3DLQr6KY5Fa0oq4CxPcafWBV2kfLHkuvMwVYK329HbuH6npl/Fll1MXSL/JSH/ERF+y5vLhqzmbnSOU0xlCFGLSkxpAVmg3tXD2bDRjRjHnXPFnnjydtDdW0lufxmJpPqrpPBQJUbML54KyO7i7tCZyUxg8TBcZgfYJEABVPZH5c+V3HAa7E+rHcYXt2aSeyayic6vlUHLdNEx7d6V8rfWDCa6hEE6+h3pmEcjvfJWkZwDJGe3P3S9oA6DKxV013WxcSoEhSEq9W4vHvcoGBJOmQNuL6l6W0GGqPiYF33EqQo8znxlKpaIuoGK9/566n7i4jn4WUxmyHFPxVkhHEUMW6TQkfHNrpjr9gM5wcEN4MmRnelh55YfAX7MvT4ep303ohhqyfIp+7wPQ7Uwm/eFKG4y0caGFn/9AtZRKZ6WnPHtcsW4RZt0gcPh7abYdsNIYlaNgIi5baeZXZ7nIzYKGvqOZxamd/WLpqdzIKpfjB1btoA64EPEd8bbtrcH31QLvvRzgrp6pLnNm2YmOExve9d7Ty1ZBzylMMrX4slM/mr+yacbbsjmBUN9xpDCeLjtam9wTYqpP3oGKvVISMSgPeRYY0rA0gbnzlhp8FsjB0OljTjdi3hgW71XwVlCB0/CaitRDlhFvLMJ2oW0JvtG16hiC2M1LExcQt4O5JOX5WLTCE+BGrSPeE0vxHl94b17vtsSmAmtfniG9OADo1tTO/wDe7qxPDIvhipjMS7stj5XvSIkAXdkXDm+H9/YJvkXXAoVmAOTsdFJi0zBOQz82slO6/P9zvpzcV4VBvVe7C6U6smYcMUj7lcZ7iXKMnr5EyVlNCqWbhW1uPfYnNee9xVrdLqJDYeVBXhyDjb70Rg1sfWgbqMSXnyLErYFxD14/PlnT6bVZiayyX5woSNxfz1OELwaHJzVyG1vdpKo/kKXOlnI2OBkmY+YfHKZjieidG/wXETsPHcbmty3UbjNeQHez0lsi7x7fP/93CkOWnIej8XyGSem1oQ6B82O0vBYM1L9bIhs3+45mklqD1er7bdhD/4OMCX/HuVPWgGi6MzjPn6wR/wh8ZIOSIl12hkJEQqklQlYp3ApI1d+fxhT5dHoBiaOO5+gHVFFSJDR1S9nzLmX1G2SuApEgsPu3II7vSh5Hp1/+0Y4nQ8Rdo6ptjMAa+UhyXsThab5oD4jwD/mSgIh9irRdRfyuIFrPhYfbadjZsuUy7+YSpS4FRrpp/x3FAQd3N0hK4nI7/Ec4P/JlrmW1W8rPRJLvjyH12L5S9aUHgxGyc0rIbhroqe0alZM5HwvFGriHcv+WeEScm0uAyJ2aSmNkR0S18coeLVzR1a7nn3z4Rq9JP1bfiixkFqPr1PHc/WYza/w5YcFU46W5Udbs3qunLC8UeYzABIlefpK/28fxBw48sGiD2OhbMlrIaTRiVPP4H2ZRbnKoSGMK4PLQd0Ni6mOSxWzB96qF2LYD/dvnKpQ7Ux7+Q9kjsEl3zuDWqp90L5k4hgJBBlnmJdglYd/9OsKGPefiZkTDD6wxu23I+WnPkOkb1LZTwlb7olXSoXCxpueYTV+jtPHEpPrP74K9KxVjKHw13JBvlgJO5S9gw7ZhD/KyFrxBrissLQf1lVL+TQzz3f0WBARMFSNGq9/Mw+IaZfIerAEMKvmmnQIEUr06/dujQ0Fo+V45eRbDoh8gMwJDuLIWvKY30Gv87+riX2lCEzZ9y17TOvPaw=" title="Mekko Graphics Chart">
            <a:extLst>
              <a:ext uri="{FF2B5EF4-FFF2-40B4-BE49-F238E27FC236}">
                <a16:creationId xmlns:a16="http://schemas.microsoft.com/office/drawing/2014/main" id="{AD6E87F6-488C-4C54-A9E7-883422DB212A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323569" y="1460886"/>
            <a:ext cx="10475265" cy="4550053"/>
          </a:xfrm>
          <a:prstGeom prst="rect">
            <a:avLst/>
          </a:prstGeom>
          <a:blipFill>
            <a:blip r:embed="rId12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/>
          <a:lstStyle/>
          <a:p>
            <a:pPr marL="0" indent="0" algn="ctr">
              <a:buNone/>
            </a:pPr>
            <a:endParaRPr lang="en-US" sz="1899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0"/>
            <a:ext cx="11604488" cy="876687"/>
          </a:xfrm>
        </p:spPr>
        <p:txBody>
          <a:bodyPr vert="horz"/>
          <a:lstStyle/>
          <a:p>
            <a:r>
              <a:rPr lang="en-US" b="1"/>
              <a:t>Traffic channels: </a:t>
            </a:r>
            <a:r>
              <a:rPr lang="en-US"/>
              <a:t>Similar mix across industry; Direct and Organic search driving more than 80% of the traffic; Social responsible for 5-10%</a:t>
            </a:r>
          </a:p>
        </p:txBody>
      </p: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870999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1_132334223706527884 columns_1_132334223706527884 6_1_132334225502619957 9_1_132334225898980258 16_1_132390894981357400 </a:t>
            </a:r>
          </a:p>
        </p:txBody>
      </p:sp>
      <p:sp>
        <p:nvSpPr>
          <p:cNvPr id="9" name="btfpNotesBox735198"/>
          <p:cNvSpPr txBox="1"/>
          <p:nvPr>
            <p:custDataLst>
              <p:tags r:id="rId4"/>
            </p:custDataLst>
          </p:nvPr>
        </p:nvSpPr>
        <p:spPr bwMode="gray">
          <a:xfrm>
            <a:off x="330200" y="6464154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Source: SimilarWeb</a:t>
            </a:r>
          </a:p>
        </p:txBody>
      </p:sp>
      <p:grpSp>
        <p:nvGrpSpPr>
          <p:cNvPr id="16" name="btfpStatusSticker443151"/>
          <p:cNvGrpSpPr/>
          <p:nvPr>
            <p:custDataLst>
              <p:tags r:id="rId5"/>
            </p:custDataLst>
          </p:nvPr>
        </p:nvGrpSpPr>
        <p:grpSpPr>
          <a:xfrm>
            <a:off x="10102664" y="955344"/>
            <a:ext cx="1759136" cy="235611"/>
            <a:chOff x="5455942" y="955344"/>
            <a:chExt cx="1759136" cy="235611"/>
          </a:xfrm>
        </p:grpSpPr>
        <p:sp>
          <p:nvSpPr>
            <p:cNvPr id="5" name="btfpStatusStickerText443151"/>
            <p:cNvSpPr txBox="1"/>
            <p:nvPr/>
          </p:nvSpPr>
          <p:spPr bwMode="gray">
            <a:xfrm>
              <a:off x="5455942" y="955344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ct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15" name="btfpStatusStickerLine443151"/>
            <p:cNvCxnSpPr/>
            <p:nvPr/>
          </p:nvCxnSpPr>
          <p:spPr bwMode="gray">
            <a:xfrm rot="720000" flipH="1">
              <a:off x="5455942" y="955344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8F8B977D-BECF-0EBB-FFAB-86CCEA44E771}"/>
              </a:ext>
            </a:extLst>
          </p:cNvPr>
          <p:cNvGrpSpPr/>
          <p:nvPr/>
        </p:nvGrpSpPr>
        <p:grpSpPr>
          <a:xfrm>
            <a:off x="10726224" y="2010535"/>
            <a:ext cx="1061822" cy="672132"/>
            <a:chOff x="8239482" y="2010535"/>
            <a:chExt cx="1061822" cy="672132"/>
          </a:xfrm>
        </p:grpSpPr>
        <p:sp>
          <p:nvSpPr>
            <p:cNvPr id="79" name="Right Brace 78">
              <a:extLst>
                <a:ext uri="{FF2B5EF4-FFF2-40B4-BE49-F238E27FC236}">
                  <a16:creationId xmlns:a16="http://schemas.microsoft.com/office/drawing/2014/main" id="{4C0A421D-8F35-40F1-98FD-4D3DCA1FF46E}"/>
                </a:ext>
              </a:extLst>
            </p:cNvPr>
            <p:cNvSpPr/>
            <p:nvPr/>
          </p:nvSpPr>
          <p:spPr bwMode="gray">
            <a:xfrm>
              <a:off x="8239482" y="2010535"/>
              <a:ext cx="75658" cy="672132"/>
            </a:xfrm>
            <a:prstGeom prst="rightBrac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rtlCol="0" anchor="ctr"/>
            <a:lstStyle/>
            <a:p>
              <a:pPr algn="ctr"/>
              <a:endParaRPr lang="en-US"/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28F87EA2-CBB7-417D-AC4F-A63FF6983CF7}"/>
                </a:ext>
              </a:extLst>
            </p:cNvPr>
            <p:cNvSpPr/>
            <p:nvPr/>
          </p:nvSpPr>
          <p:spPr bwMode="gray">
            <a:xfrm>
              <a:off x="8350129" y="2240116"/>
              <a:ext cx="951175" cy="22659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indent="0">
                <a:buNone/>
              </a:pPr>
              <a:r>
                <a:rPr lang="en-US" sz="1000" b="1">
                  <a:solidFill>
                    <a:srgbClr val="000000"/>
                  </a:solidFill>
                </a:rPr>
                <a:t>Owned Traffic</a:t>
              </a: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BD0B9F4F-DAAD-C047-9F56-FABD44D1CA49}"/>
              </a:ext>
            </a:extLst>
          </p:cNvPr>
          <p:cNvGrpSpPr/>
          <p:nvPr/>
        </p:nvGrpSpPr>
        <p:grpSpPr>
          <a:xfrm>
            <a:off x="10727167" y="3899264"/>
            <a:ext cx="1060879" cy="1140178"/>
            <a:chOff x="8240425" y="3767120"/>
            <a:chExt cx="1060879" cy="1272322"/>
          </a:xfrm>
        </p:grpSpPr>
        <p:sp>
          <p:nvSpPr>
            <p:cNvPr id="82" name="Right Brace 81">
              <a:extLst>
                <a:ext uri="{FF2B5EF4-FFF2-40B4-BE49-F238E27FC236}">
                  <a16:creationId xmlns:a16="http://schemas.microsoft.com/office/drawing/2014/main" id="{35A459E7-BFA7-4982-844B-DD5D475109EF}"/>
                </a:ext>
              </a:extLst>
            </p:cNvPr>
            <p:cNvSpPr/>
            <p:nvPr/>
          </p:nvSpPr>
          <p:spPr bwMode="gray">
            <a:xfrm>
              <a:off x="8240425" y="3767120"/>
              <a:ext cx="75658" cy="1272322"/>
            </a:xfrm>
            <a:prstGeom prst="rightBrac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rtlCol="0" anchor="ctr"/>
            <a:lstStyle/>
            <a:p>
              <a:pPr algn="ctr"/>
              <a:endParaRPr lang="en-US"/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E443538B-6283-4732-961D-14D9AF56C49F}"/>
                </a:ext>
              </a:extLst>
            </p:cNvPr>
            <p:cNvSpPr/>
            <p:nvPr/>
          </p:nvSpPr>
          <p:spPr bwMode="gray">
            <a:xfrm>
              <a:off x="8350129" y="4297141"/>
              <a:ext cx="951175" cy="22659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indent="0">
                <a:buNone/>
              </a:pPr>
              <a:r>
                <a:rPr lang="en-US" sz="1000" b="1">
                  <a:solidFill>
                    <a:srgbClr val="000000"/>
                  </a:solidFill>
                </a:rPr>
                <a:t>Earned Traffic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A418A0F6-B224-5C04-F6DA-AD89B66CB9EA}"/>
              </a:ext>
            </a:extLst>
          </p:cNvPr>
          <p:cNvGrpSpPr/>
          <p:nvPr/>
        </p:nvGrpSpPr>
        <p:grpSpPr>
          <a:xfrm>
            <a:off x="10723176" y="2919740"/>
            <a:ext cx="1064870" cy="742451"/>
            <a:chOff x="8236434" y="2919740"/>
            <a:chExt cx="1064870" cy="742451"/>
          </a:xfrm>
        </p:grpSpPr>
        <p:sp>
          <p:nvSpPr>
            <p:cNvPr id="86" name="Right Brace 85">
              <a:extLst>
                <a:ext uri="{FF2B5EF4-FFF2-40B4-BE49-F238E27FC236}">
                  <a16:creationId xmlns:a16="http://schemas.microsoft.com/office/drawing/2014/main" id="{3CE833A4-24F7-4230-B362-A6E57439FAE3}"/>
                </a:ext>
              </a:extLst>
            </p:cNvPr>
            <p:cNvSpPr/>
            <p:nvPr/>
          </p:nvSpPr>
          <p:spPr bwMode="gray">
            <a:xfrm>
              <a:off x="8236434" y="2919740"/>
              <a:ext cx="75658" cy="742451"/>
            </a:xfrm>
            <a:prstGeom prst="rightBrac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rtlCol="0" anchor="ctr"/>
            <a:lstStyle/>
            <a:p>
              <a:pPr algn="ctr"/>
              <a:endParaRPr lang="en-US"/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87385A0D-E528-73E9-E286-6789C6F473EE}"/>
                </a:ext>
              </a:extLst>
            </p:cNvPr>
            <p:cNvSpPr/>
            <p:nvPr/>
          </p:nvSpPr>
          <p:spPr bwMode="gray">
            <a:xfrm>
              <a:off x="8350129" y="3182514"/>
              <a:ext cx="951175" cy="22659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indent="0">
                <a:buNone/>
              </a:pPr>
              <a:r>
                <a:rPr lang="en-US" sz="1000" b="1">
                  <a:solidFill>
                    <a:srgbClr val="000000"/>
                  </a:solidFill>
                </a:rPr>
                <a:t>Paid Traffic</a:t>
              </a:r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EDB6815B-105B-A9C3-67EC-F56454916E16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 rot="16200000">
            <a:off x="1287491" y="1437564"/>
            <a:ext cx="4275534" cy="4871218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grpSp>
        <p:nvGrpSpPr>
          <p:cNvPr id="27" name="btfpRunningAgenda2Level378849">
            <a:extLst>
              <a:ext uri="{FF2B5EF4-FFF2-40B4-BE49-F238E27FC236}">
                <a16:creationId xmlns:a16="http://schemas.microsoft.com/office/drawing/2014/main" id="{FC2BC76F-9B6B-470A-C907-91B4DBDE9873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0" y="944429"/>
            <a:ext cx="4297901" cy="257442"/>
            <a:chOff x="0" y="876300"/>
            <a:chExt cx="4297901" cy="257442"/>
          </a:xfrm>
        </p:grpSpPr>
        <p:sp>
          <p:nvSpPr>
            <p:cNvPr id="28" name="btfpRunningAgenda2LevelBarLeft378849">
              <a:extLst>
                <a:ext uri="{FF2B5EF4-FFF2-40B4-BE49-F238E27FC236}">
                  <a16:creationId xmlns:a16="http://schemas.microsoft.com/office/drawing/2014/main" id="{495AEA55-B3E9-057B-0A7C-FC0677D20EBF}"/>
                </a:ext>
              </a:extLst>
            </p:cNvPr>
            <p:cNvSpPr/>
            <p:nvPr/>
          </p:nvSpPr>
          <p:spPr bwMode="gray">
            <a:xfrm>
              <a:off x="0" y="876300"/>
              <a:ext cx="2486478" cy="257442"/>
            </a:xfrm>
            <a:custGeom>
              <a:avLst/>
              <a:gdLst>
                <a:gd name="connsiteX0" fmla="*/ 93477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34771 w 1816204"/>
                <a:gd name="connsiteY0" fmla="*/ 0 h 257442"/>
                <a:gd name="connsiteX1" fmla="*/ 88005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34771 w 934771"/>
                <a:gd name="connsiteY0" fmla="*/ 0 h 257442"/>
                <a:gd name="connsiteX1" fmla="*/ 880051 w 934771"/>
                <a:gd name="connsiteY1" fmla="*/ 257442 h 257442"/>
                <a:gd name="connsiteX2" fmla="*/ 1 w 934771"/>
                <a:gd name="connsiteY2" fmla="*/ 257442 h 257442"/>
                <a:gd name="connsiteX3" fmla="*/ 0 w 934771"/>
                <a:gd name="connsiteY3" fmla="*/ 257442 h 257442"/>
                <a:gd name="connsiteX0" fmla="*/ 934770 w 934770"/>
                <a:gd name="connsiteY0" fmla="*/ 0 h 257442"/>
                <a:gd name="connsiteX1" fmla="*/ 880050 w 934770"/>
                <a:gd name="connsiteY1" fmla="*/ 257442 h 257442"/>
                <a:gd name="connsiteX2" fmla="*/ 0 w 934770"/>
                <a:gd name="connsiteY2" fmla="*/ 257442 h 257442"/>
                <a:gd name="connsiteX3" fmla="*/ 1 w 934770"/>
                <a:gd name="connsiteY3" fmla="*/ 0 h 257442"/>
                <a:gd name="connsiteX0" fmla="*/ 1103086 w 1103086"/>
                <a:gd name="connsiteY0" fmla="*/ 0 h 257442"/>
                <a:gd name="connsiteX1" fmla="*/ 880050 w 1103086"/>
                <a:gd name="connsiteY1" fmla="*/ 257442 h 257442"/>
                <a:gd name="connsiteX2" fmla="*/ 0 w 1103086"/>
                <a:gd name="connsiteY2" fmla="*/ 257442 h 257442"/>
                <a:gd name="connsiteX3" fmla="*/ 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271402 w 1271402"/>
                <a:gd name="connsiteY0" fmla="*/ 0 h 257442"/>
                <a:gd name="connsiteX1" fmla="*/ 1048365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423687 w 1423687"/>
                <a:gd name="connsiteY0" fmla="*/ 0 h 257442"/>
                <a:gd name="connsiteX1" fmla="*/ 1216681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423687 w 1423687"/>
                <a:gd name="connsiteY0" fmla="*/ 0 h 257442"/>
                <a:gd name="connsiteX1" fmla="*/ 1368966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423687 w 1423687"/>
                <a:gd name="connsiteY0" fmla="*/ 0 h 257442"/>
                <a:gd name="connsiteX1" fmla="*/ 1368966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423687 w 1423687"/>
                <a:gd name="connsiteY0" fmla="*/ 0 h 257442"/>
                <a:gd name="connsiteX1" fmla="*/ 1368966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575972 w 1575972"/>
                <a:gd name="connsiteY0" fmla="*/ 0 h 257442"/>
                <a:gd name="connsiteX1" fmla="*/ 1368966 w 1575972"/>
                <a:gd name="connsiteY1" fmla="*/ 257442 h 257442"/>
                <a:gd name="connsiteX2" fmla="*/ 0 w 1575972"/>
                <a:gd name="connsiteY2" fmla="*/ 257442 h 257442"/>
                <a:gd name="connsiteX3" fmla="*/ 0 w 1575972"/>
                <a:gd name="connsiteY3" fmla="*/ 0 h 257442"/>
                <a:gd name="connsiteX0" fmla="*/ 1575972 w 1575972"/>
                <a:gd name="connsiteY0" fmla="*/ 0 h 257442"/>
                <a:gd name="connsiteX1" fmla="*/ 1521250 w 1575972"/>
                <a:gd name="connsiteY1" fmla="*/ 257442 h 257442"/>
                <a:gd name="connsiteX2" fmla="*/ 0 w 1575972"/>
                <a:gd name="connsiteY2" fmla="*/ 257442 h 257442"/>
                <a:gd name="connsiteX3" fmla="*/ 0 w 1575972"/>
                <a:gd name="connsiteY3" fmla="*/ 0 h 257442"/>
                <a:gd name="connsiteX0" fmla="*/ 1575973 w 1575973"/>
                <a:gd name="connsiteY0" fmla="*/ 0 h 257442"/>
                <a:gd name="connsiteX1" fmla="*/ 1521251 w 1575973"/>
                <a:gd name="connsiteY1" fmla="*/ 257442 h 257442"/>
                <a:gd name="connsiteX2" fmla="*/ 0 w 1575973"/>
                <a:gd name="connsiteY2" fmla="*/ 257442 h 257442"/>
                <a:gd name="connsiteX3" fmla="*/ 1 w 1575973"/>
                <a:gd name="connsiteY3" fmla="*/ 0 h 257442"/>
                <a:gd name="connsiteX0" fmla="*/ 1575973 w 1575973"/>
                <a:gd name="connsiteY0" fmla="*/ 0 h 257442"/>
                <a:gd name="connsiteX1" fmla="*/ 1521251 w 1575973"/>
                <a:gd name="connsiteY1" fmla="*/ 257442 h 257442"/>
                <a:gd name="connsiteX2" fmla="*/ 0 w 1575973"/>
                <a:gd name="connsiteY2" fmla="*/ 257442 h 257442"/>
                <a:gd name="connsiteX3" fmla="*/ 1 w 1575973"/>
                <a:gd name="connsiteY3" fmla="*/ 0 h 257442"/>
                <a:gd name="connsiteX0" fmla="*/ 1676962 w 1676962"/>
                <a:gd name="connsiteY0" fmla="*/ 0 h 257442"/>
                <a:gd name="connsiteX1" fmla="*/ 1521251 w 1676962"/>
                <a:gd name="connsiteY1" fmla="*/ 257442 h 257442"/>
                <a:gd name="connsiteX2" fmla="*/ 0 w 1676962"/>
                <a:gd name="connsiteY2" fmla="*/ 257442 h 257442"/>
                <a:gd name="connsiteX3" fmla="*/ 1 w 1676962"/>
                <a:gd name="connsiteY3" fmla="*/ 0 h 257442"/>
                <a:gd name="connsiteX0" fmla="*/ 1676962 w 1676962"/>
                <a:gd name="connsiteY0" fmla="*/ 0 h 257442"/>
                <a:gd name="connsiteX1" fmla="*/ 1622240 w 1676962"/>
                <a:gd name="connsiteY1" fmla="*/ 257442 h 257442"/>
                <a:gd name="connsiteX2" fmla="*/ 0 w 1676962"/>
                <a:gd name="connsiteY2" fmla="*/ 257442 h 257442"/>
                <a:gd name="connsiteX3" fmla="*/ 1 w 1676962"/>
                <a:gd name="connsiteY3" fmla="*/ 0 h 257442"/>
                <a:gd name="connsiteX0" fmla="*/ 1676962 w 1676962"/>
                <a:gd name="connsiteY0" fmla="*/ 0 h 257442"/>
                <a:gd name="connsiteX1" fmla="*/ 1622240 w 1676962"/>
                <a:gd name="connsiteY1" fmla="*/ 257442 h 257442"/>
                <a:gd name="connsiteX2" fmla="*/ 0 w 1676962"/>
                <a:gd name="connsiteY2" fmla="*/ 257442 h 257442"/>
                <a:gd name="connsiteX3" fmla="*/ 1 w 1676962"/>
                <a:gd name="connsiteY3" fmla="*/ 0 h 257442"/>
                <a:gd name="connsiteX0" fmla="*/ 1676962 w 1676962"/>
                <a:gd name="connsiteY0" fmla="*/ 0 h 257442"/>
                <a:gd name="connsiteX1" fmla="*/ 1622240 w 1676962"/>
                <a:gd name="connsiteY1" fmla="*/ 257442 h 257442"/>
                <a:gd name="connsiteX2" fmla="*/ 0 w 1676962"/>
                <a:gd name="connsiteY2" fmla="*/ 257442 h 257442"/>
                <a:gd name="connsiteX3" fmla="*/ 0 w 1676962"/>
                <a:gd name="connsiteY3" fmla="*/ 0 h 257442"/>
                <a:gd name="connsiteX0" fmla="*/ 1845277 w 1845277"/>
                <a:gd name="connsiteY0" fmla="*/ 0 h 257442"/>
                <a:gd name="connsiteX1" fmla="*/ 1622240 w 1845277"/>
                <a:gd name="connsiteY1" fmla="*/ 257442 h 257442"/>
                <a:gd name="connsiteX2" fmla="*/ 0 w 1845277"/>
                <a:gd name="connsiteY2" fmla="*/ 257442 h 257442"/>
                <a:gd name="connsiteX3" fmla="*/ 0 w 1845277"/>
                <a:gd name="connsiteY3" fmla="*/ 0 h 257442"/>
                <a:gd name="connsiteX0" fmla="*/ 1845277 w 1845277"/>
                <a:gd name="connsiteY0" fmla="*/ 0 h 257442"/>
                <a:gd name="connsiteX1" fmla="*/ 1790556 w 1845277"/>
                <a:gd name="connsiteY1" fmla="*/ 257442 h 257442"/>
                <a:gd name="connsiteX2" fmla="*/ 0 w 1845277"/>
                <a:gd name="connsiteY2" fmla="*/ 257442 h 257442"/>
                <a:gd name="connsiteX3" fmla="*/ 0 w 1845277"/>
                <a:gd name="connsiteY3" fmla="*/ 0 h 257442"/>
                <a:gd name="connsiteX0" fmla="*/ 1845277 w 1845277"/>
                <a:gd name="connsiteY0" fmla="*/ 0 h 257442"/>
                <a:gd name="connsiteX1" fmla="*/ 1790556 w 1845277"/>
                <a:gd name="connsiteY1" fmla="*/ 257442 h 257442"/>
                <a:gd name="connsiteX2" fmla="*/ 0 w 1845277"/>
                <a:gd name="connsiteY2" fmla="*/ 257442 h 257442"/>
                <a:gd name="connsiteX3" fmla="*/ 0 w 1845277"/>
                <a:gd name="connsiteY3" fmla="*/ 0 h 257442"/>
                <a:gd name="connsiteX0" fmla="*/ 1845277 w 1845277"/>
                <a:gd name="connsiteY0" fmla="*/ 0 h 257442"/>
                <a:gd name="connsiteX1" fmla="*/ 1790556 w 1845277"/>
                <a:gd name="connsiteY1" fmla="*/ 257442 h 257442"/>
                <a:gd name="connsiteX2" fmla="*/ 0 w 1845277"/>
                <a:gd name="connsiteY2" fmla="*/ 257442 h 257442"/>
                <a:gd name="connsiteX3" fmla="*/ 0 w 1845277"/>
                <a:gd name="connsiteY3" fmla="*/ 0 h 257442"/>
                <a:gd name="connsiteX0" fmla="*/ 2048858 w 2048858"/>
                <a:gd name="connsiteY0" fmla="*/ 0 h 257442"/>
                <a:gd name="connsiteX1" fmla="*/ 1790556 w 2048858"/>
                <a:gd name="connsiteY1" fmla="*/ 257442 h 257442"/>
                <a:gd name="connsiteX2" fmla="*/ 0 w 2048858"/>
                <a:gd name="connsiteY2" fmla="*/ 257442 h 257442"/>
                <a:gd name="connsiteX3" fmla="*/ 0 w 2048858"/>
                <a:gd name="connsiteY3" fmla="*/ 0 h 257442"/>
                <a:gd name="connsiteX0" fmla="*/ 2048858 w 2048858"/>
                <a:gd name="connsiteY0" fmla="*/ 0 h 257442"/>
                <a:gd name="connsiteX1" fmla="*/ 1994136 w 2048858"/>
                <a:gd name="connsiteY1" fmla="*/ 257442 h 257442"/>
                <a:gd name="connsiteX2" fmla="*/ 0 w 2048858"/>
                <a:gd name="connsiteY2" fmla="*/ 257442 h 257442"/>
                <a:gd name="connsiteX3" fmla="*/ 0 w 2048858"/>
                <a:gd name="connsiteY3" fmla="*/ 0 h 257442"/>
                <a:gd name="connsiteX0" fmla="*/ 2048859 w 2048859"/>
                <a:gd name="connsiteY0" fmla="*/ 0 h 257442"/>
                <a:gd name="connsiteX1" fmla="*/ 1994137 w 2048859"/>
                <a:gd name="connsiteY1" fmla="*/ 257442 h 257442"/>
                <a:gd name="connsiteX2" fmla="*/ 0 w 2048859"/>
                <a:gd name="connsiteY2" fmla="*/ 257442 h 257442"/>
                <a:gd name="connsiteX3" fmla="*/ 1 w 2048859"/>
                <a:gd name="connsiteY3" fmla="*/ 0 h 257442"/>
                <a:gd name="connsiteX0" fmla="*/ 2048859 w 2048859"/>
                <a:gd name="connsiteY0" fmla="*/ 0 h 257442"/>
                <a:gd name="connsiteX1" fmla="*/ 1994137 w 2048859"/>
                <a:gd name="connsiteY1" fmla="*/ 257442 h 257442"/>
                <a:gd name="connsiteX2" fmla="*/ 0 w 2048859"/>
                <a:gd name="connsiteY2" fmla="*/ 257442 h 257442"/>
                <a:gd name="connsiteX3" fmla="*/ 1 w 2048859"/>
                <a:gd name="connsiteY3" fmla="*/ 0 h 257442"/>
                <a:gd name="connsiteX0" fmla="*/ 2209159 w 2209159"/>
                <a:gd name="connsiteY0" fmla="*/ 0 h 257442"/>
                <a:gd name="connsiteX1" fmla="*/ 1994137 w 2209159"/>
                <a:gd name="connsiteY1" fmla="*/ 257442 h 257442"/>
                <a:gd name="connsiteX2" fmla="*/ 0 w 2209159"/>
                <a:gd name="connsiteY2" fmla="*/ 257442 h 257442"/>
                <a:gd name="connsiteX3" fmla="*/ 1 w 2209159"/>
                <a:gd name="connsiteY3" fmla="*/ 0 h 257442"/>
                <a:gd name="connsiteX0" fmla="*/ 2209159 w 2209159"/>
                <a:gd name="connsiteY0" fmla="*/ 0 h 257442"/>
                <a:gd name="connsiteX1" fmla="*/ 2154438 w 2209159"/>
                <a:gd name="connsiteY1" fmla="*/ 257442 h 257442"/>
                <a:gd name="connsiteX2" fmla="*/ 0 w 2209159"/>
                <a:gd name="connsiteY2" fmla="*/ 257442 h 257442"/>
                <a:gd name="connsiteX3" fmla="*/ 1 w 2209159"/>
                <a:gd name="connsiteY3" fmla="*/ 0 h 257442"/>
                <a:gd name="connsiteX0" fmla="*/ 2209158 w 2209158"/>
                <a:gd name="connsiteY0" fmla="*/ 0 h 257442"/>
                <a:gd name="connsiteX1" fmla="*/ 2154437 w 2209158"/>
                <a:gd name="connsiteY1" fmla="*/ 257442 h 257442"/>
                <a:gd name="connsiteX2" fmla="*/ 0 w 2209158"/>
                <a:gd name="connsiteY2" fmla="*/ 257442 h 257442"/>
                <a:gd name="connsiteX3" fmla="*/ 0 w 2209158"/>
                <a:gd name="connsiteY3" fmla="*/ 0 h 257442"/>
                <a:gd name="connsiteX0" fmla="*/ 2209159 w 2209159"/>
                <a:gd name="connsiteY0" fmla="*/ 0 h 257442"/>
                <a:gd name="connsiteX1" fmla="*/ 2154438 w 2209159"/>
                <a:gd name="connsiteY1" fmla="*/ 257442 h 257442"/>
                <a:gd name="connsiteX2" fmla="*/ 1 w 2209159"/>
                <a:gd name="connsiteY2" fmla="*/ 257442 h 257442"/>
                <a:gd name="connsiteX3" fmla="*/ 0 w 2209159"/>
                <a:gd name="connsiteY3" fmla="*/ 0 h 257442"/>
                <a:gd name="connsiteX0" fmla="*/ 2377475 w 2377475"/>
                <a:gd name="connsiteY0" fmla="*/ 0 h 257442"/>
                <a:gd name="connsiteX1" fmla="*/ 2154438 w 2377475"/>
                <a:gd name="connsiteY1" fmla="*/ 257442 h 257442"/>
                <a:gd name="connsiteX2" fmla="*/ 1 w 2377475"/>
                <a:gd name="connsiteY2" fmla="*/ 257442 h 257442"/>
                <a:gd name="connsiteX3" fmla="*/ 0 w 2377475"/>
                <a:gd name="connsiteY3" fmla="*/ 0 h 257442"/>
                <a:gd name="connsiteX0" fmla="*/ 2377475 w 2377475"/>
                <a:gd name="connsiteY0" fmla="*/ 0 h 257442"/>
                <a:gd name="connsiteX1" fmla="*/ 2322754 w 2377475"/>
                <a:gd name="connsiteY1" fmla="*/ 257442 h 257442"/>
                <a:gd name="connsiteX2" fmla="*/ 1 w 2377475"/>
                <a:gd name="connsiteY2" fmla="*/ 257442 h 257442"/>
                <a:gd name="connsiteX3" fmla="*/ 0 w 2377475"/>
                <a:gd name="connsiteY3" fmla="*/ 0 h 257442"/>
                <a:gd name="connsiteX0" fmla="*/ 2377475 w 2377475"/>
                <a:gd name="connsiteY0" fmla="*/ 0 h 257442"/>
                <a:gd name="connsiteX1" fmla="*/ 2322754 w 2377475"/>
                <a:gd name="connsiteY1" fmla="*/ 257442 h 257442"/>
                <a:gd name="connsiteX2" fmla="*/ 1 w 2377475"/>
                <a:gd name="connsiteY2" fmla="*/ 257442 h 257442"/>
                <a:gd name="connsiteX3" fmla="*/ 0 w 2377475"/>
                <a:gd name="connsiteY3" fmla="*/ 0 h 257442"/>
                <a:gd name="connsiteX0" fmla="*/ 2377474 w 2377474"/>
                <a:gd name="connsiteY0" fmla="*/ 0 h 257442"/>
                <a:gd name="connsiteX1" fmla="*/ 2322753 w 2377474"/>
                <a:gd name="connsiteY1" fmla="*/ 257442 h 257442"/>
                <a:gd name="connsiteX2" fmla="*/ 0 w 2377474"/>
                <a:gd name="connsiteY2" fmla="*/ 257442 h 257442"/>
                <a:gd name="connsiteX3" fmla="*/ 0 w 2377474"/>
                <a:gd name="connsiteY3" fmla="*/ 0 h 257442"/>
                <a:gd name="connsiteX0" fmla="*/ 2486477 w 2486477"/>
                <a:gd name="connsiteY0" fmla="*/ 0 h 257442"/>
                <a:gd name="connsiteX1" fmla="*/ 2322753 w 2486477"/>
                <a:gd name="connsiteY1" fmla="*/ 257442 h 257442"/>
                <a:gd name="connsiteX2" fmla="*/ 0 w 2486477"/>
                <a:gd name="connsiteY2" fmla="*/ 257442 h 257442"/>
                <a:gd name="connsiteX3" fmla="*/ 0 w 2486477"/>
                <a:gd name="connsiteY3" fmla="*/ 0 h 257442"/>
                <a:gd name="connsiteX0" fmla="*/ 2486477 w 2486477"/>
                <a:gd name="connsiteY0" fmla="*/ 0 h 257442"/>
                <a:gd name="connsiteX1" fmla="*/ 2431756 w 2486477"/>
                <a:gd name="connsiteY1" fmla="*/ 257442 h 257442"/>
                <a:gd name="connsiteX2" fmla="*/ 0 w 2486477"/>
                <a:gd name="connsiteY2" fmla="*/ 257442 h 257442"/>
                <a:gd name="connsiteX3" fmla="*/ 0 w 2486477"/>
                <a:gd name="connsiteY3" fmla="*/ 0 h 257442"/>
                <a:gd name="connsiteX0" fmla="*/ 2486478 w 2486478"/>
                <a:gd name="connsiteY0" fmla="*/ 0 h 257442"/>
                <a:gd name="connsiteX1" fmla="*/ 2431757 w 2486478"/>
                <a:gd name="connsiteY1" fmla="*/ 257442 h 257442"/>
                <a:gd name="connsiteX2" fmla="*/ 0 w 2486478"/>
                <a:gd name="connsiteY2" fmla="*/ 257442 h 257442"/>
                <a:gd name="connsiteX3" fmla="*/ 1 w 2486478"/>
                <a:gd name="connsiteY3" fmla="*/ 0 h 257442"/>
                <a:gd name="connsiteX0" fmla="*/ 2486478 w 2486478"/>
                <a:gd name="connsiteY0" fmla="*/ 0 h 257442"/>
                <a:gd name="connsiteX1" fmla="*/ 2431757 w 2486478"/>
                <a:gd name="connsiteY1" fmla="*/ 257442 h 257442"/>
                <a:gd name="connsiteX2" fmla="*/ 0 w 2486478"/>
                <a:gd name="connsiteY2" fmla="*/ 257442 h 257442"/>
                <a:gd name="connsiteX3" fmla="*/ 0 w 2486478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86478" h="257442">
                  <a:moveTo>
                    <a:pt x="2486478" y="0"/>
                  </a:moveTo>
                  <a:lnTo>
                    <a:pt x="2431757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81" name="btfpRunningAgenda2LevelTextLeft378849">
              <a:extLst>
                <a:ext uri="{FF2B5EF4-FFF2-40B4-BE49-F238E27FC236}">
                  <a16:creationId xmlns:a16="http://schemas.microsoft.com/office/drawing/2014/main" id="{3CAEC365-8383-A956-65B5-009CB71B6E9D}"/>
                </a:ext>
              </a:extLst>
            </p:cNvPr>
            <p:cNvSpPr txBox="1"/>
            <p:nvPr/>
          </p:nvSpPr>
          <p:spPr bwMode="gray">
            <a:xfrm>
              <a:off x="0" y="876300"/>
              <a:ext cx="2431757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web-traffic</a:t>
              </a:r>
            </a:p>
          </p:txBody>
        </p:sp>
        <p:sp>
          <p:nvSpPr>
            <p:cNvPr id="84" name="btfpRunningAgenda2LevelBarRight378849">
              <a:extLst>
                <a:ext uri="{FF2B5EF4-FFF2-40B4-BE49-F238E27FC236}">
                  <a16:creationId xmlns:a16="http://schemas.microsoft.com/office/drawing/2014/main" id="{4F012A4C-BA74-4F42-EDC7-DE4FE6805CFD}"/>
                </a:ext>
              </a:extLst>
            </p:cNvPr>
            <p:cNvSpPr/>
            <p:nvPr/>
          </p:nvSpPr>
          <p:spPr bwMode="gray">
            <a:xfrm>
              <a:off x="2351636" y="876300"/>
              <a:ext cx="1946265" cy="257442"/>
            </a:xfrm>
            <a:custGeom>
              <a:avLst/>
              <a:gdLst>
                <a:gd name="connsiteX0" fmla="*/ 942786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42786 w 2313135"/>
                <a:gd name="connsiteY0" fmla="*/ 0 h 257442"/>
                <a:gd name="connsiteX1" fmla="*/ 888065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4 w 942785"/>
                <a:gd name="connsiteY1" fmla="*/ 257442 h 257442"/>
                <a:gd name="connsiteX2" fmla="*/ 0 w 942785"/>
                <a:gd name="connsiteY2" fmla="*/ 257442 h 257442"/>
                <a:gd name="connsiteX3" fmla="*/ 54721 w 942785"/>
                <a:gd name="connsiteY3" fmla="*/ 0 h 257442"/>
                <a:gd name="connsiteX0" fmla="*/ 1120719 w 1120719"/>
                <a:gd name="connsiteY0" fmla="*/ 0 h 257442"/>
                <a:gd name="connsiteX1" fmla="*/ 888064 w 1120719"/>
                <a:gd name="connsiteY1" fmla="*/ 257442 h 257442"/>
                <a:gd name="connsiteX2" fmla="*/ 0 w 1120719"/>
                <a:gd name="connsiteY2" fmla="*/ 257442 h 257442"/>
                <a:gd name="connsiteX3" fmla="*/ 54721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54721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54721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54721 w 1120719"/>
                <a:gd name="connsiteY3" fmla="*/ 0 h 257442"/>
                <a:gd name="connsiteX0" fmla="*/ 1289034 w 1289034"/>
                <a:gd name="connsiteY0" fmla="*/ 0 h 257442"/>
                <a:gd name="connsiteX1" fmla="*/ 1065998 w 1289034"/>
                <a:gd name="connsiteY1" fmla="*/ 257442 h 257442"/>
                <a:gd name="connsiteX2" fmla="*/ 0 w 1289034"/>
                <a:gd name="connsiteY2" fmla="*/ 257442 h 257442"/>
                <a:gd name="connsiteX3" fmla="*/ 54721 w 1289034"/>
                <a:gd name="connsiteY3" fmla="*/ 0 h 257442"/>
                <a:gd name="connsiteX0" fmla="*/ 1289034 w 1289034"/>
                <a:gd name="connsiteY0" fmla="*/ 0 h 257442"/>
                <a:gd name="connsiteX1" fmla="*/ 1234312 w 1289034"/>
                <a:gd name="connsiteY1" fmla="*/ 257442 h 257442"/>
                <a:gd name="connsiteX2" fmla="*/ 0 w 1289034"/>
                <a:gd name="connsiteY2" fmla="*/ 257442 h 257442"/>
                <a:gd name="connsiteX3" fmla="*/ 54721 w 1289034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54722 w 1289035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54722 w 1289035"/>
                <a:gd name="connsiteY3" fmla="*/ 0 h 257442"/>
                <a:gd name="connsiteX0" fmla="*/ 1457351 w 1457351"/>
                <a:gd name="connsiteY0" fmla="*/ 0 h 257442"/>
                <a:gd name="connsiteX1" fmla="*/ 1234313 w 1457351"/>
                <a:gd name="connsiteY1" fmla="*/ 257442 h 257442"/>
                <a:gd name="connsiteX2" fmla="*/ 0 w 1457351"/>
                <a:gd name="connsiteY2" fmla="*/ 257442 h 257442"/>
                <a:gd name="connsiteX3" fmla="*/ 54722 w 1457351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0 w 1457351"/>
                <a:gd name="connsiteY2" fmla="*/ 257442 h 257442"/>
                <a:gd name="connsiteX3" fmla="*/ 54722 w 1457351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0 w 1457350"/>
                <a:gd name="connsiteY3" fmla="*/ 0 h 257442"/>
                <a:gd name="connsiteX0" fmla="*/ 1625664 w 1625664"/>
                <a:gd name="connsiteY0" fmla="*/ 0 h 257442"/>
                <a:gd name="connsiteX1" fmla="*/ 1402629 w 1625664"/>
                <a:gd name="connsiteY1" fmla="*/ 257442 h 257442"/>
                <a:gd name="connsiteX2" fmla="*/ 0 w 1625664"/>
                <a:gd name="connsiteY2" fmla="*/ 257442 h 257442"/>
                <a:gd name="connsiteX3" fmla="*/ 54720 w 1625664"/>
                <a:gd name="connsiteY3" fmla="*/ 0 h 257442"/>
                <a:gd name="connsiteX0" fmla="*/ 1625664 w 1625664"/>
                <a:gd name="connsiteY0" fmla="*/ 0 h 257442"/>
                <a:gd name="connsiteX1" fmla="*/ 1570943 w 1625664"/>
                <a:gd name="connsiteY1" fmla="*/ 257442 h 257442"/>
                <a:gd name="connsiteX2" fmla="*/ 0 w 1625664"/>
                <a:gd name="connsiteY2" fmla="*/ 257442 h 257442"/>
                <a:gd name="connsiteX3" fmla="*/ 54720 w 1625664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54721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54722 w 1625665"/>
                <a:gd name="connsiteY3" fmla="*/ 0 h 257442"/>
                <a:gd name="connsiteX0" fmla="*/ 1785966 w 1785966"/>
                <a:gd name="connsiteY0" fmla="*/ 0 h 257442"/>
                <a:gd name="connsiteX1" fmla="*/ 1570944 w 1785966"/>
                <a:gd name="connsiteY1" fmla="*/ 257442 h 257442"/>
                <a:gd name="connsiteX2" fmla="*/ 0 w 1785966"/>
                <a:gd name="connsiteY2" fmla="*/ 257442 h 257442"/>
                <a:gd name="connsiteX3" fmla="*/ 54722 w 1785966"/>
                <a:gd name="connsiteY3" fmla="*/ 0 h 257442"/>
                <a:gd name="connsiteX0" fmla="*/ 1785966 w 1785966"/>
                <a:gd name="connsiteY0" fmla="*/ 0 h 257442"/>
                <a:gd name="connsiteX1" fmla="*/ 1731244 w 1785966"/>
                <a:gd name="connsiteY1" fmla="*/ 257442 h 257442"/>
                <a:gd name="connsiteX2" fmla="*/ 0 w 1785966"/>
                <a:gd name="connsiteY2" fmla="*/ 257442 h 257442"/>
                <a:gd name="connsiteX3" fmla="*/ 54722 w 1785966"/>
                <a:gd name="connsiteY3" fmla="*/ 0 h 257442"/>
                <a:gd name="connsiteX0" fmla="*/ 1785966 w 1785966"/>
                <a:gd name="connsiteY0" fmla="*/ 0 h 257442"/>
                <a:gd name="connsiteX1" fmla="*/ 1731244 w 1785966"/>
                <a:gd name="connsiteY1" fmla="*/ 257442 h 257442"/>
                <a:gd name="connsiteX2" fmla="*/ 0 w 1785966"/>
                <a:gd name="connsiteY2" fmla="*/ 257442 h 257442"/>
                <a:gd name="connsiteX3" fmla="*/ 54722 w 1785966"/>
                <a:gd name="connsiteY3" fmla="*/ 0 h 257442"/>
                <a:gd name="connsiteX0" fmla="*/ 1785966 w 1785966"/>
                <a:gd name="connsiteY0" fmla="*/ 0 h 257442"/>
                <a:gd name="connsiteX1" fmla="*/ 1731244 w 1785966"/>
                <a:gd name="connsiteY1" fmla="*/ 257442 h 257442"/>
                <a:gd name="connsiteX2" fmla="*/ 0 w 1785966"/>
                <a:gd name="connsiteY2" fmla="*/ 257442 h 257442"/>
                <a:gd name="connsiteX3" fmla="*/ 54721 w 1785966"/>
                <a:gd name="connsiteY3" fmla="*/ 0 h 257442"/>
                <a:gd name="connsiteX0" fmla="*/ 1946265 w 1946265"/>
                <a:gd name="connsiteY0" fmla="*/ 0 h 257442"/>
                <a:gd name="connsiteX1" fmla="*/ 1731244 w 1946265"/>
                <a:gd name="connsiteY1" fmla="*/ 257442 h 257442"/>
                <a:gd name="connsiteX2" fmla="*/ 0 w 1946265"/>
                <a:gd name="connsiteY2" fmla="*/ 257442 h 257442"/>
                <a:gd name="connsiteX3" fmla="*/ 54721 w 1946265"/>
                <a:gd name="connsiteY3" fmla="*/ 0 h 257442"/>
                <a:gd name="connsiteX0" fmla="*/ 1946265 w 1946265"/>
                <a:gd name="connsiteY0" fmla="*/ 0 h 257442"/>
                <a:gd name="connsiteX1" fmla="*/ 1891544 w 1946265"/>
                <a:gd name="connsiteY1" fmla="*/ 257442 h 257442"/>
                <a:gd name="connsiteX2" fmla="*/ 0 w 1946265"/>
                <a:gd name="connsiteY2" fmla="*/ 257442 h 257442"/>
                <a:gd name="connsiteX3" fmla="*/ 54721 w 1946265"/>
                <a:gd name="connsiteY3" fmla="*/ 0 h 257442"/>
                <a:gd name="connsiteX0" fmla="*/ 1946265 w 1946265"/>
                <a:gd name="connsiteY0" fmla="*/ 0 h 257442"/>
                <a:gd name="connsiteX1" fmla="*/ 1891544 w 1946265"/>
                <a:gd name="connsiteY1" fmla="*/ 257442 h 257442"/>
                <a:gd name="connsiteX2" fmla="*/ 0 w 1946265"/>
                <a:gd name="connsiteY2" fmla="*/ 257442 h 257442"/>
                <a:gd name="connsiteX3" fmla="*/ 54721 w 1946265"/>
                <a:gd name="connsiteY3" fmla="*/ 0 h 257442"/>
                <a:gd name="connsiteX0" fmla="*/ 1946265 w 1946265"/>
                <a:gd name="connsiteY0" fmla="*/ 0 h 257442"/>
                <a:gd name="connsiteX1" fmla="*/ 1891544 w 1946265"/>
                <a:gd name="connsiteY1" fmla="*/ 257442 h 257442"/>
                <a:gd name="connsiteX2" fmla="*/ 0 w 1946265"/>
                <a:gd name="connsiteY2" fmla="*/ 257442 h 257442"/>
                <a:gd name="connsiteX3" fmla="*/ 54721 w 19462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46265" h="257442">
                  <a:moveTo>
                    <a:pt x="1946265" y="0"/>
                  </a:moveTo>
                  <a:lnTo>
                    <a:pt x="1891544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87" name="btfpRunningAgenda2LevelTextRight378849">
              <a:extLst>
                <a:ext uri="{FF2B5EF4-FFF2-40B4-BE49-F238E27FC236}">
                  <a16:creationId xmlns:a16="http://schemas.microsoft.com/office/drawing/2014/main" id="{167816DC-2E7E-3243-50EC-979967F7D7B4}"/>
                </a:ext>
              </a:extLst>
            </p:cNvPr>
            <p:cNvSpPr txBox="1"/>
            <p:nvPr/>
          </p:nvSpPr>
          <p:spPr bwMode="gray">
            <a:xfrm>
              <a:off x="2351636" y="876300"/>
              <a:ext cx="1891544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sources</a:t>
              </a:r>
            </a:p>
          </p:txBody>
        </p:sp>
      </p:grpSp>
      <p:pic>
        <p:nvPicPr>
          <p:cNvPr id="14" name="Picture 2" descr="Pave America | Concrete &amp; Asphalt Paving Contractors Nationwide">
            <a:extLst>
              <a:ext uri="{FF2B5EF4-FFF2-40B4-BE49-F238E27FC236}">
                <a16:creationId xmlns:a16="http://schemas.microsoft.com/office/drawing/2014/main" id="{D84DA506-C416-2855-2EE5-360C5A672E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5476" y="5179468"/>
            <a:ext cx="701200" cy="73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" descr="Alpha Paving Industries, LLC - FRIENDSWOOD CHAMBER OF COMMERCE">
            <a:extLst>
              <a:ext uri="{FF2B5EF4-FFF2-40B4-BE49-F238E27FC236}">
                <a16:creationId xmlns:a16="http://schemas.microsoft.com/office/drawing/2014/main" id="{523A29E0-AF50-0972-8616-9B50525F6C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6796" y="5097903"/>
            <a:ext cx="465160" cy="224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10" descr="Contact Us | Quality Paving Services | Brothers Paving">
            <a:extLst>
              <a:ext uri="{FF2B5EF4-FFF2-40B4-BE49-F238E27FC236}">
                <a16:creationId xmlns:a16="http://schemas.microsoft.com/office/drawing/2014/main" id="{8216B2E9-2414-49EF-3AAF-ABA1043397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7067" y="5149425"/>
            <a:ext cx="660297" cy="185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12" descr="Turner Asphalt Reviews: What Is It Like to Work At Turner Asphalt? |  Glassdoor">
            <a:extLst>
              <a:ext uri="{FF2B5EF4-FFF2-40B4-BE49-F238E27FC236}">
                <a16:creationId xmlns:a16="http://schemas.microsoft.com/office/drawing/2014/main" id="{D8C930BF-3E1B-7C71-8916-30B2BCD4413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968" b="40222"/>
          <a:stretch/>
        </p:blipFill>
        <p:spPr bwMode="auto">
          <a:xfrm>
            <a:off x="3769060" y="5171489"/>
            <a:ext cx="670051" cy="132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14" descr="Working at Cincinnati Asphalt: Employee Reviews | Indeed.com">
            <a:extLst>
              <a:ext uri="{FF2B5EF4-FFF2-40B4-BE49-F238E27FC236}">
                <a16:creationId xmlns:a16="http://schemas.microsoft.com/office/drawing/2014/main" id="{0880F4DA-BD70-6D03-AD26-AC8974176A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6503" y="5135365"/>
            <a:ext cx="575260" cy="1768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16" descr="Pavement Experts in Denver, CO - National Pavement Partners">
            <a:extLst>
              <a:ext uri="{FF2B5EF4-FFF2-40B4-BE49-F238E27FC236}">
                <a16:creationId xmlns:a16="http://schemas.microsoft.com/office/drawing/2014/main" id="{43E4A6FD-1A56-53CA-6197-053F6D243D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0906" y="5127176"/>
            <a:ext cx="633800" cy="173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18" descr="Rose Paving Merges with Atlantic Southern Paving and ...">
            <a:extLst>
              <a:ext uri="{FF2B5EF4-FFF2-40B4-BE49-F238E27FC236}">
                <a16:creationId xmlns:a16="http://schemas.microsoft.com/office/drawing/2014/main" id="{D9F47601-BC22-2B81-51C3-4C1DD6068EF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88" t="27030" r="19071" b="29133"/>
          <a:stretch/>
        </p:blipFill>
        <p:spPr bwMode="auto">
          <a:xfrm>
            <a:off x="5958120" y="5137229"/>
            <a:ext cx="496829" cy="1927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20" descr="Atlantic Southern Acquires Property Paving to Expand ...">
            <a:extLst>
              <a:ext uri="{FF2B5EF4-FFF2-40B4-BE49-F238E27FC236}">
                <a16:creationId xmlns:a16="http://schemas.microsoft.com/office/drawing/2014/main" id="{2F15F726-154C-002E-38DC-03206A16335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984" b="28085"/>
          <a:stretch/>
        </p:blipFill>
        <p:spPr bwMode="auto">
          <a:xfrm>
            <a:off x="6531518" y="5145073"/>
            <a:ext cx="657766" cy="144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22" descr="Asphalt Construction &amp; Maintenance | Sunland Asphalt">
            <a:extLst>
              <a:ext uri="{FF2B5EF4-FFF2-40B4-BE49-F238E27FC236}">
                <a16:creationId xmlns:a16="http://schemas.microsoft.com/office/drawing/2014/main" id="{30C89609-B637-EB23-FAD9-A1A9A8B94B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5271" y="5137878"/>
            <a:ext cx="461381" cy="15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24" descr="Paving Companies Atlanta, GA | Georgia Paving Inc">
            <a:extLst>
              <a:ext uri="{FF2B5EF4-FFF2-40B4-BE49-F238E27FC236}">
                <a16:creationId xmlns:a16="http://schemas.microsoft.com/office/drawing/2014/main" id="{3052375B-A800-156B-6125-3FE46E49C8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6401" y="5149115"/>
            <a:ext cx="531176" cy="1493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26" descr="Nationwide Commercial Parking Lot Management | Let's Pave">
            <a:extLst>
              <a:ext uri="{FF2B5EF4-FFF2-40B4-BE49-F238E27FC236}">
                <a16:creationId xmlns:a16="http://schemas.microsoft.com/office/drawing/2014/main" id="{C887FE97-42E4-3B97-D0CF-9390E12C5A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5678" y="5124161"/>
            <a:ext cx="590345" cy="158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5FA47E9E-661A-A431-07A9-335700ADCD48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2455878" y="5116760"/>
            <a:ext cx="485843" cy="233395"/>
          </a:xfrm>
          <a:prstGeom prst="rect">
            <a:avLst/>
          </a:prstGeom>
        </p:spPr>
      </p:pic>
      <p:sp>
        <p:nvSpPr>
          <p:cNvPr id="68" name="Rectangle 67">
            <a:extLst>
              <a:ext uri="{FF2B5EF4-FFF2-40B4-BE49-F238E27FC236}">
                <a16:creationId xmlns:a16="http://schemas.microsoft.com/office/drawing/2014/main" id="{98AF2067-550A-039A-9EBE-CD5FCE08D1EA}"/>
              </a:ext>
            </a:extLst>
          </p:cNvPr>
          <p:cNvSpPr/>
          <p:nvPr/>
        </p:nvSpPr>
        <p:spPr bwMode="gray">
          <a:xfrm rot="5400000">
            <a:off x="3326580" y="3737718"/>
            <a:ext cx="232435" cy="4841593"/>
          </a:xfrm>
          <a:prstGeom prst="rect">
            <a:avLst/>
          </a:prstGeom>
          <a:solidFill>
            <a:srgbClr val="C00000"/>
          </a:solidFill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CA" sz="800" b="1" i="1">
                <a:solidFill>
                  <a:schemeClr val="bg1"/>
                </a:solidFill>
              </a:rPr>
              <a:t>Pave America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2AEEBE36-5D7D-49E8-BC94-A86C40441FB5}"/>
              </a:ext>
            </a:extLst>
          </p:cNvPr>
          <p:cNvSpPr/>
          <p:nvPr/>
        </p:nvSpPr>
        <p:spPr bwMode="gray">
          <a:xfrm rot="5400000">
            <a:off x="6477894" y="5460623"/>
            <a:ext cx="232435" cy="1395782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CA" sz="800" b="1" i="1">
                <a:solidFill>
                  <a:schemeClr val="bg1"/>
                </a:solidFill>
              </a:rPr>
              <a:t>Rose Paving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1CAFFDE6-2BB1-DD2B-E5CC-CD433846B0C3}"/>
              </a:ext>
            </a:extLst>
          </p:cNvPr>
          <p:cNvSpPr/>
          <p:nvPr/>
        </p:nvSpPr>
        <p:spPr bwMode="gray">
          <a:xfrm rot="5400000">
            <a:off x="7906303" y="5460623"/>
            <a:ext cx="232435" cy="1395782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CA" sz="800" b="1" i="1">
                <a:solidFill>
                  <a:schemeClr val="bg1"/>
                </a:solidFill>
              </a:rPr>
              <a:t>Sunland Asphalt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2079F709-A382-C7FF-F5ED-FE41EA11D5EE}"/>
              </a:ext>
            </a:extLst>
          </p:cNvPr>
          <p:cNvSpPr/>
          <p:nvPr/>
        </p:nvSpPr>
        <p:spPr bwMode="gray">
          <a:xfrm rot="5400000">
            <a:off x="8927562" y="5867774"/>
            <a:ext cx="232435" cy="58148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CA" sz="800" b="1" i="1">
                <a:solidFill>
                  <a:schemeClr val="bg1"/>
                </a:solidFill>
              </a:rPr>
              <a:t>Let’s Pave</a:t>
            </a:r>
          </a:p>
        </p:txBody>
      </p:sp>
      <p:pic>
        <p:nvPicPr>
          <p:cNvPr id="76" name="Picture 75">
            <a:extLst>
              <a:ext uri="{FF2B5EF4-FFF2-40B4-BE49-F238E27FC236}">
                <a16:creationId xmlns:a16="http://schemas.microsoft.com/office/drawing/2014/main" id="{7CD0E422-70E1-33E2-4C1F-D443B23BBE32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38" y="946635"/>
            <a:ext cx="252287" cy="25157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086287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think-cell data - do not delete" hidden="1">
            <a:extLst>
              <a:ext uri="{FF2B5EF4-FFF2-40B4-BE49-F238E27FC236}">
                <a16:creationId xmlns:a16="http://schemas.microsoft.com/office/drawing/2014/main" id="{00FEEA85-108F-A6E8-9FD8-EAAD6FB8871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2511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84" imgH="486" progId="TCLayout.ActiveDocument.1">
                  <p:embed/>
                </p:oleObj>
              </mc:Choice>
              <mc:Fallback>
                <p:oleObj name="think-cell Slide" r:id="rId14" imgW="484" imgH="486" progId="TCLayout.ActiveDocument.1">
                  <p:embed/>
                  <p:pic>
                    <p:nvPicPr>
                      <p:cNvPr id="5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0FEEA85-108F-A6E8-9FD8-EAAD6FB887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8" name="btfpColumnIndicatorGroup2">
            <a:extLst>
              <a:ext uri="{FF2B5EF4-FFF2-40B4-BE49-F238E27FC236}">
                <a16:creationId xmlns:a16="http://schemas.microsoft.com/office/drawing/2014/main" id="{7C631E32-D798-AFF3-3935-0BDAA8CCA276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46" name="btfpColumnGapBlocker756055">
              <a:extLst>
                <a:ext uri="{FF2B5EF4-FFF2-40B4-BE49-F238E27FC236}">
                  <a16:creationId xmlns:a16="http://schemas.microsoft.com/office/drawing/2014/main" id="{E006E22E-CEAF-56FD-C675-6A0F3C083403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4" name="btfpColumnGapBlocker586026">
              <a:extLst>
                <a:ext uri="{FF2B5EF4-FFF2-40B4-BE49-F238E27FC236}">
                  <a16:creationId xmlns:a16="http://schemas.microsoft.com/office/drawing/2014/main" id="{3F4DB019-FBB4-010C-7CF9-0AF16C6D98DB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2" name="btfpColumnIndicator859905">
              <a:extLst>
                <a:ext uri="{FF2B5EF4-FFF2-40B4-BE49-F238E27FC236}">
                  <a16:creationId xmlns:a16="http://schemas.microsoft.com/office/drawing/2014/main" id="{DA606FA2-A16E-C10F-A1E7-4ADC9252FEA5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btfpColumnIndicator498469">
              <a:extLst>
                <a:ext uri="{FF2B5EF4-FFF2-40B4-BE49-F238E27FC236}">
                  <a16:creationId xmlns:a16="http://schemas.microsoft.com/office/drawing/2014/main" id="{050CC9DB-35BA-44C4-8917-DDF2A1190122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btfpColumnGapBlocker543708">
              <a:extLst>
                <a:ext uri="{FF2B5EF4-FFF2-40B4-BE49-F238E27FC236}">
                  <a16:creationId xmlns:a16="http://schemas.microsoft.com/office/drawing/2014/main" id="{6C479752-CC14-5500-A5EE-6A67DE899CBC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6" name="btfpColumnIndicator991286">
              <a:extLst>
                <a:ext uri="{FF2B5EF4-FFF2-40B4-BE49-F238E27FC236}">
                  <a16:creationId xmlns:a16="http://schemas.microsoft.com/office/drawing/2014/main" id="{4C835E82-E489-733F-F917-DC8AF9A53A93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btfpColumnIndicator182040">
              <a:extLst>
                <a:ext uri="{FF2B5EF4-FFF2-40B4-BE49-F238E27FC236}">
                  <a16:creationId xmlns:a16="http://schemas.microsoft.com/office/drawing/2014/main" id="{D3A81267-8177-7470-6C56-9140229B88FF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btfpColumnGapBlocker664504">
              <a:extLst>
                <a:ext uri="{FF2B5EF4-FFF2-40B4-BE49-F238E27FC236}">
                  <a16:creationId xmlns:a16="http://schemas.microsoft.com/office/drawing/2014/main" id="{60164487-FAB3-90AD-E3F2-BC614C0F38FF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0" name="btfpColumnIndicator530649">
              <a:extLst>
                <a:ext uri="{FF2B5EF4-FFF2-40B4-BE49-F238E27FC236}">
                  <a16:creationId xmlns:a16="http://schemas.microsoft.com/office/drawing/2014/main" id="{E22F763A-5DD0-4819-0FF6-6CEF04425854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btfpColumnIndicator878515">
              <a:extLst>
                <a:ext uri="{FF2B5EF4-FFF2-40B4-BE49-F238E27FC236}">
                  <a16:creationId xmlns:a16="http://schemas.microsoft.com/office/drawing/2014/main" id="{6CE2B68E-02DF-28C6-C4E1-AAF2A602A145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7" name="btfpColumnIndicatorGroup1">
            <a:extLst>
              <a:ext uri="{FF2B5EF4-FFF2-40B4-BE49-F238E27FC236}">
                <a16:creationId xmlns:a16="http://schemas.microsoft.com/office/drawing/2014/main" id="{1F83FDA7-1EB6-C414-F069-C3973457B176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45" name="btfpColumnGapBlocker664974">
              <a:extLst>
                <a:ext uri="{FF2B5EF4-FFF2-40B4-BE49-F238E27FC236}">
                  <a16:creationId xmlns:a16="http://schemas.microsoft.com/office/drawing/2014/main" id="{1287A749-0EAB-5278-1CDE-BC7AE90E1868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3" name="btfpColumnGapBlocker883059">
              <a:extLst>
                <a:ext uri="{FF2B5EF4-FFF2-40B4-BE49-F238E27FC236}">
                  <a16:creationId xmlns:a16="http://schemas.microsoft.com/office/drawing/2014/main" id="{9EBC17B3-0F08-452D-6ADC-5BF9C0210775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1" name="btfpColumnIndicator534240">
              <a:extLst>
                <a:ext uri="{FF2B5EF4-FFF2-40B4-BE49-F238E27FC236}">
                  <a16:creationId xmlns:a16="http://schemas.microsoft.com/office/drawing/2014/main" id="{BE717B60-F591-F778-F3C4-DCC296DA24C6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btfpColumnIndicator180876">
              <a:extLst>
                <a:ext uri="{FF2B5EF4-FFF2-40B4-BE49-F238E27FC236}">
                  <a16:creationId xmlns:a16="http://schemas.microsoft.com/office/drawing/2014/main" id="{4BA523AD-D52F-BC47-52AD-2326CF646C03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btfpColumnGapBlocker848497">
              <a:extLst>
                <a:ext uri="{FF2B5EF4-FFF2-40B4-BE49-F238E27FC236}">
                  <a16:creationId xmlns:a16="http://schemas.microsoft.com/office/drawing/2014/main" id="{761B65F7-A22D-0BB8-A57C-4191DF3D4933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5" name="btfpColumnIndicator851294">
              <a:extLst>
                <a:ext uri="{FF2B5EF4-FFF2-40B4-BE49-F238E27FC236}">
                  <a16:creationId xmlns:a16="http://schemas.microsoft.com/office/drawing/2014/main" id="{B0585365-F148-9824-9923-BA5E6E68AD96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btfpColumnIndicator474763">
              <a:extLst>
                <a:ext uri="{FF2B5EF4-FFF2-40B4-BE49-F238E27FC236}">
                  <a16:creationId xmlns:a16="http://schemas.microsoft.com/office/drawing/2014/main" id="{380DD370-2F4C-D50D-D25E-F284160CE42C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btfpColumnGapBlocker594979">
              <a:extLst>
                <a:ext uri="{FF2B5EF4-FFF2-40B4-BE49-F238E27FC236}">
                  <a16:creationId xmlns:a16="http://schemas.microsoft.com/office/drawing/2014/main" id="{F2842114-9943-226D-FB91-ECE22CFAAD60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9" name="btfpColumnIndicator547229">
              <a:extLst>
                <a:ext uri="{FF2B5EF4-FFF2-40B4-BE49-F238E27FC236}">
                  <a16:creationId xmlns:a16="http://schemas.microsoft.com/office/drawing/2014/main" id="{C653F484-BEFB-F48E-0921-0D2ED027FED7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btfpColumnIndicator544869">
              <a:extLst>
                <a:ext uri="{FF2B5EF4-FFF2-40B4-BE49-F238E27FC236}">
                  <a16:creationId xmlns:a16="http://schemas.microsoft.com/office/drawing/2014/main" id="{39D2483E-92DD-FCD9-7964-E9E917D68308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1172363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1_131726425293132837 columns_1_131726425292645634 6_1_131726425286513480 7_1_131726425287321256 16_0_131726425288450120 19_0_131726425289097354 22_0_131726425289906076 </a:t>
            </a:r>
            <a:endParaRPr lang="en-US" sz="100" err="1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4" y="1"/>
            <a:ext cx="11526836" cy="876687"/>
          </a:xfrm>
        </p:spPr>
        <p:txBody>
          <a:bodyPr vert="horz" wrap="square"/>
          <a:lstStyle/>
          <a:p>
            <a:r>
              <a:rPr lang="en-US" b="1"/>
              <a:t>Visitor engagement: </a:t>
            </a:r>
            <a:r>
              <a:rPr lang="en-US"/>
              <a:t>Pave America brands can enhance user engagement through faster load times, intuitive design, and compelling content strategy</a:t>
            </a:r>
          </a:p>
        </p:txBody>
      </p:sp>
      <p:grpSp>
        <p:nvGrpSpPr>
          <p:cNvPr id="16" name="btfpColumnHeaderBox892297"/>
          <p:cNvGrpSpPr/>
          <p:nvPr>
            <p:custDataLst>
              <p:tags r:id="rId3"/>
            </p:custDataLst>
          </p:nvPr>
        </p:nvGrpSpPr>
        <p:grpSpPr>
          <a:xfrm>
            <a:off x="330200" y="1270000"/>
            <a:ext cx="3483505" cy="285432"/>
            <a:chOff x="1234762" y="1308131"/>
            <a:chExt cx="3309120" cy="170481"/>
          </a:xfrm>
        </p:grpSpPr>
        <p:sp>
          <p:nvSpPr>
            <p:cNvPr id="14" name="btfpColumnHeaderBoxText892297"/>
            <p:cNvSpPr txBox="1"/>
            <p:nvPr/>
          </p:nvSpPr>
          <p:spPr bwMode="gray">
            <a:xfrm>
              <a:off x="1234762" y="1308131"/>
              <a:ext cx="3309120" cy="170481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>
                  <a:solidFill>
                    <a:srgbClr val="000000"/>
                  </a:solidFill>
                </a:rPr>
                <a:t>Bounce rate (lower the better)</a:t>
              </a:r>
              <a:endParaRPr lang="en-US" sz="1400" baseline="30000">
                <a:solidFill>
                  <a:srgbClr val="000000"/>
                </a:solidFill>
              </a:endParaRPr>
            </a:p>
          </p:txBody>
        </p:sp>
        <p:cxnSp>
          <p:nvCxnSpPr>
            <p:cNvPr id="15" name="btfpColumnHeaderBoxLine892297"/>
            <p:cNvCxnSpPr/>
            <p:nvPr/>
          </p:nvCxnSpPr>
          <p:spPr bwMode="gray">
            <a:xfrm>
              <a:off x="1234762" y="1478612"/>
              <a:ext cx="330912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btfpColumnHeaderBox517112"/>
          <p:cNvGrpSpPr/>
          <p:nvPr>
            <p:custDataLst>
              <p:tags r:id="rId4"/>
            </p:custDataLst>
          </p:nvPr>
        </p:nvGrpSpPr>
        <p:grpSpPr>
          <a:xfrm>
            <a:off x="4356244" y="1267214"/>
            <a:ext cx="3481510" cy="288220"/>
            <a:chOff x="4750147" y="1306833"/>
            <a:chExt cx="3309120" cy="134142"/>
          </a:xfrm>
        </p:grpSpPr>
        <p:sp>
          <p:nvSpPr>
            <p:cNvPr id="17" name="btfpColumnHeaderBoxText517112"/>
            <p:cNvSpPr txBox="1"/>
            <p:nvPr/>
          </p:nvSpPr>
          <p:spPr bwMode="gray">
            <a:xfrm>
              <a:off x="4750147" y="1306833"/>
              <a:ext cx="3309120" cy="13414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>
                  <a:solidFill>
                    <a:srgbClr val="000000"/>
                  </a:solidFill>
                </a:rPr>
                <a:t># of pages visited per visit</a:t>
              </a:r>
            </a:p>
          </p:txBody>
        </p:sp>
        <p:cxnSp>
          <p:nvCxnSpPr>
            <p:cNvPr id="18" name="btfpColumnHeaderBoxLine517112"/>
            <p:cNvCxnSpPr/>
            <p:nvPr/>
          </p:nvCxnSpPr>
          <p:spPr bwMode="gray">
            <a:xfrm>
              <a:off x="4750147" y="1440975"/>
              <a:ext cx="330912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btfpColumnHeaderBox827492"/>
          <p:cNvGrpSpPr/>
          <p:nvPr>
            <p:custDataLst>
              <p:tags r:id="rId5"/>
            </p:custDataLst>
          </p:nvPr>
        </p:nvGrpSpPr>
        <p:grpSpPr>
          <a:xfrm>
            <a:off x="8378295" y="1269997"/>
            <a:ext cx="3488268" cy="285432"/>
            <a:chOff x="8232648" y="1308131"/>
            <a:chExt cx="3309120" cy="162790"/>
          </a:xfrm>
        </p:grpSpPr>
        <p:sp>
          <p:nvSpPr>
            <p:cNvPr id="20" name="btfpColumnHeaderBoxText827492"/>
            <p:cNvSpPr txBox="1"/>
            <p:nvPr/>
          </p:nvSpPr>
          <p:spPr bwMode="gray">
            <a:xfrm>
              <a:off x="8232648" y="1308131"/>
              <a:ext cx="3309120" cy="162790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>
                  <a:solidFill>
                    <a:srgbClr val="000000"/>
                  </a:solidFill>
                </a:rPr>
                <a:t>Average Visit Duration</a:t>
              </a:r>
              <a:endParaRPr lang="en-US" sz="1400" b="1" err="1">
                <a:solidFill>
                  <a:srgbClr val="000000"/>
                </a:solidFill>
              </a:endParaRPr>
            </a:p>
          </p:txBody>
        </p:sp>
        <p:cxnSp>
          <p:nvCxnSpPr>
            <p:cNvPr id="21" name="btfpColumnHeaderBoxLine827492"/>
            <p:cNvCxnSpPr/>
            <p:nvPr/>
          </p:nvCxnSpPr>
          <p:spPr bwMode="gray">
            <a:xfrm>
              <a:off x="8232648" y="1470921"/>
              <a:ext cx="330912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KPIDesktopBounceRate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z2dD7pS103gZfJ6l4USC3jqtWOPR/ue0umjYEY9KlLthURXCUyUuZbmGDPUXB2idlVQc+R1c0j6vNnMaKvr/AnBHPFsgePkL0/XTpsFrxRwwYvjcyvyChgSTkA0WrA8dwG0GmwlBBpsIJyB1sZP9d7xAp2ey1gpzW0jRb65HVkmH31wU0CUfz6Wsa3d1WVhhm8nLUzZd35IJort9u7v0aOS6xXWeGseyTUT93qRMlwCGAgJ0MTKWrvhdCAhS33lj/WBjpWoOveYj3wIs0uqpiLwu66QD/FKmmF3KnLAGEUHPCFZNIeZG+VemSHwWaq3ngADKCST4iC1+L7zxKxU0QXupoYlGQMVLrkA0coQiBp2c+6mlfdFGNG6STcGhk+zwVDTwZ1QO8KBE602T/B99MuZxD4YvDZH6CUXkgn+Y4Ggg7/1wwYjoTwMeK8cL9mZgEZ/m4xnBtr2rU5oNIJxa4Rd0eA5/Bt/dF+oHcCDXPh0j4rIPUSNKzNSj3SzPEctP4oxJXpzKLHBb4YU7q3NMKy8Zi6SUkWfgv+tV2i3jJ7n1j7dvAy0opkpBpeY02Tv7TrLegHi+A7Xe+Gn1SumBwHg36SWPZHLzZMRieft+PLDAiSIopZLvYNnI/CGxK2gPF+IN07sumRvzVYcfUEh1FO2N6n+25VeSBo3+PrGuQ/owIlbkv+DLfr1xOdsCYVxuBfFol3AtIUOGhO+/CImpYPYSp2AAVRSFe1et4BzWd6LZDAXKGRhj7gottiBWV2+VbTbdbext7S/HoM199BxCub5ta2qK4CjzNk1UC6h5f+nP2PNNb5ZwPvjnH+Q6VGE4YbFCgSPvxk4Fqt/rSxvaydBZcDk10X2TjuYmh757gmBXAWL2IGelQWl/27FolVcNa0JtPEvF9MCin2V1pnDz+C/UeWpMz5dP4Xo/Xb/PpWJmlFPrCCCa7ckP9W4fzLRp/W/VR5zh2KtS1HzcDc9w17MhP7pfM6/4FUhJ1UGeu5jDAZ6wz+UawDnfhuC1KV32BTUjtb5uWN6FHEAsbkqUHPu7yEvCXzZoIAqoDMo9LFpqL6zSeRuSGDobLL4qv0AaAK2X2/rD8V4r5i8P4RK7gii7ieM34qTRnZcRcuwuhWmDC4HN3hwOt/tidWa12DgURl5+ZrjBsC+2aNv59THAmsE1G7pQz9DloaUHzq88Gs5VV9Gewh6AdVOfw3LJdKiPJH7wUcS9q7JRlIFGFh7obekPch3PvGULWinUK1gOcyWpotxIYQD9Hm0MjV9inRRvAxY+HXC309XtcGAwEiibAGZoiTIwzj7EMnDyjiWTbLY9k2wduBFu0/yQnGmAObMZJ2v0ZFnDzVxNU20o59vzLubZTy8iM5GtkxIu/IfjX4OF2VaVozay1V/Lb5SsJdBZs0qmQ7HzvsWFM1nlzQRE3M/p2COYIjG/jjjqagq4NXurGvmOF05fzwgRjgpJzam4kOwH8slOQ38uyjV2PV+OoEA1jBhRK0s1C5A+A1Hzn0EnIyymG97ZbZ2jYGQ1/YGdtzlUun1ucuM9z+skUeGfI9vCTzAf5et/YJ04qDogxT3qN3tDER2m3hXWiX+Sn5ZS3SCqWTEZYoZqELQ4VhzfAtWE+Q+4kQnTG6Ry9733e+JbZJQ9N4QpoCfEl7z0eaEvNskqv1SMBzeZWx8UaQt/bjhhVJOX3BmvW5M6LLWxwPFnomKhi6Wv3zRnzub9VM/APxtjXBD/nPdxLNoYdOBCQe8HC/7RwdTTx00riNMIkXXUWnkKiOvo2QVftRVr8KqFAHfp530CIAZCShqqna9e3OyEqat2rgcL1a1i4ox2wszvqWcY43uZKNiKizgZ7MqYdWXefrH5klskseqcVbzvkPiLZodGVrrh1c/9l7nkpmCwfcCHvrqkq6+amkR2jumbQB3GqktcZiaOQFr/gwhhdsuKbYGH/dQ06Ml9ykP/a5SVQfgqW9bWP0qrmuMZ/ro0i15cU5zi8fyfxOPL8NqdFzeIf7WKxk+rCJBae7GBLXZZm+WQ68LFwGgEBwFRBdNrawlmew43DxLjqOdak/K+OaBc2DSLhUdS8CfNK0qUAR9rtwYMVUkOMs86x0ryhW1PImI3Ewg+g3pK2dyeE238JLS8srVKE6XO9Qb5EzAYckIWivWjXa6AcP5Qnn8EHCgaGj66dXKp9Pph/g0r/DvtaDhUmC13G1NYm03qWJ1rGGPBziNkstg+rnx9DECtHCXrFHr/MlM76aEFHUwjLXl6ZOAPunHOggcLx9JHKFNgJngk1son5Q81VMOuvNtVhTc7GRH5AwyxqqLxGXc6jQDKZFswkaaylNlmcVRSLDA20bjluZZka5zojFtemUkZASh+Lh8a4A2/FfmLt/ehnJ+8Rd1CJYlKmtuBzPPQp8Ser2RrrSerGsfEHuWk4ELR613zSuvWfCrTNu0ZenP93ibpGbe3enr0xlmsGQ2uL/jfBwINvD7IcGAO90izCozj0aCaeHdSkpVrWzzTBv5MYVZEJ/rmPN7EuHF0S+p5sK+lSXgy9HbNUrh5pHcx/w2HSEtkPSpzRfC48DVKUQEA/uf8tztfi+NXAHeS8UYfaU4L7TwJ0wxwFcHyqCtXSG8Z2xpLJUY/BMrWxpaqv2TnvfyX8EtffF9qfbUf6ZaxKCwg+9w+Oi+UqMkxQ8WiI+arQfmjz0INkWKGchRe/dcQ5f/jhpV4rgxDG4ZnjDu7HZz+yFlNrNgHDKvh+e65+UBpcrTBB+Vf6+mOVrebZgLmrvkvFxQtdljgpqx0/2Q7PM97gdmbJT6+A0C6/BOKTkkhKasXWXeTBUuF7qEE2lI9DL9WlVnWy6LUBdB/USJqmev56XztNj5zbqXdn0szT777ajE5S+G7oQ3xq6VNke1XK6QFqDbHIgGpCfvuHOQ9ySDB1dX3L3nKXBrqT3eAszhohIYDtPhlbFuJuqtv8BE3XmKNXRDvZjuNJ9UQbxvLr/FMETzwlgzNcl7AVH76IOatiwMdD27RXPr2fgYYCJcvelz3wKwge9HaLortLJ+cqpr5lwi4N73A89sL8MphYokY+UhkXu0HhtvRedL/mJSQMBU0GIEU0Bpj8MGVIeTKPkzvg0ZCpJUDZwjg/LjEp1wnn071yDuyPU/8hk37JMMmJ0jKdBS2KpY7wbnQOLYz057CdGD16FXjEamrXBDAcOhTppay2txC26dmDf74V0cDsTO5kYWwJ07l5gdnYQhlTi851SbsMoOGvQ7MnfEk7w5fotIiHZgjHsWUJCXThb/99Z3TZKT2ImD6di7AG4RGBOg25UsIOzqK5WtJbwLTlfYhlBiAMG+lIyle5DNFVeuziT+6Y9BYVtGTsh2hw5kfwOeMgAX7vJsbLSBpfKMXVZpZnteCw6lIRVvLFBIQy5WmqQykGe9vjaw6APudCtczpI/dLDGnjbNqqS0dhGdjuckrC+7KVJtLqDkIAMw9LsMTWkgFmiWfs7sivLlqZOBXAX/YyItcAREM6UWvhIoU0l3oLlN0nstx3uysZ7oFiPJiEV2TL7Lf+bWQrCiwqU91u03hEfJpZK763zAH4i7jJqMN50ro35lPNGJl1vIICCOeLJgB7Lgkgr3ncuLwDS3opH1KL2B9XDFiP4/D0AsIwh932IezURt1PZnFMQXjmjFbJwxsUTQzEIeFt4ik7WC8cLsdc3rFv1Bc1ErwwTokv1d3MeIV4ykD7svnGJ+fxJFMI9z2MEKATvf26mo2X/QrZypLKSrNpVAKqUO4PKFz1qy+KqKpnBd/td1wFAjDw04vxP3gHcRK8LroB0iHxWJZ4lJTY+qTMaUW+/D6AQeqvvznS+Ha+eS7iH7W1WwHP2PG7OhHawdaf949nsqogtj7hP7yv5HwMyRAYgIQpvZepGM5afY/CrO3Abl7c53c4rULfAoLAEBPmUaUNYqC/C1v1Jw5s8y48EnAwUhElS6N78W481pCc2Yjp6TwRrMwZ614KjfHlpt8/Il8JD3OWr4DK/lzog4o3C+ojAkM6AtdYkUSfC3PybFEJRgmbvQrOMjc+hs1yHiaDWeQO90zjYB0mRi//cI/E08cTm+Xox0bnTkBFiZzSatH28vlel89MuIrqrXqmk1N3baCrr53QLcyPaRyZuKUqL3AFHrVAPNu25Hg2bMN4P3noTj78LoKDpQSy1zgaHk++e+cI+Ti7GfAD8wMDNlh0jJbpeJdAfgC/uUHyLinCcdB8ynlSN7RFmdPAhs81TO4mLt4E9sGgSspeUsDpOQhDFyV8AsJkbZgkL5MnHQi6IG9Kv51xZ0g3JCDlpm7SAmZqWBIDgeW2Ro+2HIhGkmQup3VHt4KhhJ828MRJ+ROsv7cVLPxnw8l/zS+D9ner8mDPsvNh8Va+4o4YJSZCtRNff4QSKUtuggVHJ7am/lpATRCfFDpx5kdfiic2fSTODt7es9fkWKfXNdVOMSWxa87zd9LXrpfQQ0R5sHidKkzW6ewtAv3JhzzfA2Yn441n5qNCREqeuB7CrKTQHM7rGhfhQw3dQYNyjoZrYQ9cnNRwDsDFZ0eT+EQ69b2dwnu5xrpeGznwlMcJPCkcdA2yHN8sl5yWB+c0xZQTXktPrsplvO3K9J1Kyo0kZe/HU1RwssSDhAzuHRGrMv5Y6tyjKg06eNxeX8pP4VaeiHU7kfA7Od4lWIqkv2MuswffRMRJL9fxxei+ju/sPOdKOF2Q1Es42hhCIhQZSI8CUGWsbhS1PuE7b338QCdyWoRZg+1/C2abv7irrkl51KeHKHuiZyHsp1Y/KVufuJHA+yPuUd5T+CPReIn2x3KzGxojds2/2MStQe9NSg0ekCRXGO67v9mP8DybOTiCdaRQAPkDQLSJVZakMYi0ogecupH5geKTEkhS1JLVHabbXcaETx7rvLVKcc3VQVu7Sk2246eBk9wUIOr/Sy7o/OwFvNR119exWLi6UqSIMeBSCzvZVMAWmgQTTyeQPttJpXzxCmsGdYd5+S0KsvhNTVGrMZ+8Y0PzQZBY6mQLH7Q2gk6oCHGuZjV7V/kEir+e0w+CGWdMuYajuAqaZV6eohF+Di5UhUs+0zcdYALwGcJVPfKXQWZLbv+JZXcqACWGLEBHvaLHPkaSi8pGF/FNEySGDH6pTM4/bSZG8UpxxqQqLUpM6ZphMF2Tt4h+7fpGZHL0rPk0bKPHW60xtvcKPTfp7eHpN2jej4/FfYHcfFe0Os51IvqrjHHFvpZ29GKagu0HleKDHod2B6Am3g9rI9+JuyKzJbV2AsRFjPuEkefjLsiDoUWaCl02FxeyiurFeLnK0+/E8GEyp96dgPMgjb5kDgvsUvoxTf5CdtwyRln6uYymzx0z5RhMUQ+newp3+VcBLa6PSX89Dr9feiKA0NXeAz74Xwfzjm3VJWTbOd6zNtYnJCq5dyM/5J8yLl7uMBMI5c/rIA1R4K2O7HEr0yk84G5+HkA+Nb/KVueejsHVVwsAq18GVJ7xb+snullC9WsVqTsPzFPPzQWWR++DIpbho2RuqqcIkzM8i5wA9OvmN3zNkW5rsKWiyew4DCpEDAegJyBpHLW+h3ElYXhzfoJAryC6LKtXExNt3UZ9tmLcAz1YME+3+bM4iUp+R4co56IaRpMQgW1HKFObWGJ1BIKBJ+H8dJyj5/IThQc55MZuQBj/MYUyMMhJ0CUvm01+y6w9H2gigbfoP/e4dkxsvtBtG9pJ1eB2vJh3lahaSlteHrx//SDa6yPKYdvPK5OknCFF7reFMmQTKeTT+px4zpfKeSd+pf0ihhTpIZWXC0SEbMkYqlay5PMXIG9DFq1NoR6uGP7ClkQ6p4Eq6oHdlUTGE1cdVYWawq9Pe9lh6/HLA19i+GXW6P2sBG2WX+p3Z9NC46qsg0qpUneToOun+t2HjSUZRNrAuAmhvEezm5FRt56cmK9rw2VT84T9pQ5P9OfCLxMJLcpFC9MevIlqruJHzHPiUWaTGzBRwxnGw+e6vVA+BF7rnm2xrM2Xe3bAJjumRXy4dHCZ9F3+8SXm6LYUv+DUere6ZvHi9eII0eMz0xWEghzIIoudZ0fKGVI5s1Esc5ZuCqeL4rLJELt72geL1QXoZbvGgHe1girF9j4A5ONNX7UJJF9z0rWmjskmtEpKSgBxAqsFOmMiQsDAIJa8qUYRIyekxa+an8kGPTJMHsYlSFibgI/PVovNLPB7RHff2OTIVL6TuJCk8LLzenYCHTtTtlrFaZHZPYgpNcXsCmfGcclkX6t26lqMx92IavnRwBiHwvdGyQEPN6svTsq+qMWXkou0Jh79iL0Js1svtvH3r0N/87ezrP8AUB5q9a0mWMoATLx/rzAn8F72W65GrSrtRBrOrseyfwvri/Wcbc+CjAc1yv4WTh0CQWPJdngwXShzDNREcugun2we/zGmjQ7pleWZ86Z1k7IMUyIblRcBTGNxrs1Nlti2/Y7jXOIppwOtK86rd4lDX4UWMoejUCeF0u/ICNkYCqY6XTuSiqC7vrRdUEjcuGMcT5mLlst+T9VxQZX/uEpyNkFPontxUWmYFiZNqBWv5x1ne2Av8Qt1ywrAzSp5Q8ObS4UD3JHFhmOPRmU/tKPhvVSxBq6+JpMpSqj4kHl+EL3lfcZd1YkpJ4bH96OKACjUJK9ehwgKxQLVi+NeflQ+pTY/x+Gp95PaBo3oehFLFy8bcVTcduXHWE70BfqYhcpbp23a5NTnKsR8gzB+wkxkHBKdY0IgCMdCrIpFJXPwcZkgbnFtbz+YXz6sDS1PbjZjlqlXB5/FJm4nFbKL0rHGVyk5aES97I2JCJKtQrUwr8meh0XYq/zT4dC3Mj0v7aszgrQC4V5FXFPpmU8P9IVgmpMP+txfvzHQpazAU3KGm2WK75aYR9sAkHVQaL0F4CnVtNpUmIPh1L3AFjAzhEL4CCXeJpY9kuFSMN1+CuNBQYC5k886t9+HCD6CQFM+MgYL2FOdssHTkhMbUqZJ6b3KJhTQRmB/vDEzunE4/Zgg7GFhjlpVW+FZpAI2Rb4CIDbHuN9NiLElnW/6aoLxpyy58AvtJJq7Vn47fyOsoOfk+isaF5fcJSFXV7Zy7w8GSLvVrBVYCnaVwUla+eo4nThD6tyIg3lG67I10MeA/gWUEdbvWwY9agK/5b20aOATyI4XGqIJGyfzXCbGdivzxav86C+ozA2DnGchMCBjTK3Cg+qANF1LLlZzREsBkP2LqT+kp4QoEd+Ap9i5mxuy4No8z8Y4+2/PDGjuFeMXWbQODYUJrWht9oQUdGxl8wbNtqYR8+9mC9JoO14v/CjY0rY5X1zH2z/jRYJUACRr0Gklhs83F30QOWZYtrG9iM9ndfFGmAQb68JXAVu9r+ycqG+IRcyALr+BD6j00criDt9FbNdZdcMYevo4hL1LuDFUkaMUJAY19ZVwEfbdTC9ZE3Dw03NBiQ/0kGA+MksOOlvoYVeK8xXTZ9Qk4nTjSPXLnZ56Dg5vFZOOwgBxhz8CAnmNCv0ybIW5OzJYdhFjtsmGt+IEeE3e+jjJ4zuS9p9NTOu/GRh2vybTZanG0+OAogZ6XlrZa1czBH+gAhS5+dQA49jOpJ3+arHWuTCE1HzOMUiVm0xOjxskxXfbE4K1xsMLRIWmS3fs3kFbRrzR6zNIbgT2YcRSZ2WZPYFlp89KV6lE4/M4OQh5FjAZH67HAE/qQMPLoRb1HGLgWIkPM1U/REslsWRFgpCPwiihTWH+8yGG70BF+C3bld099xD0vzvdr5yrxjRbX6RQZxubOz0Psr70YAzOmLKZx88KO+KCImUfXUB67o7HiOWqG461T3W98OYjUlD/53gcLTgXxzpOBK3E2xeDF7hFRlDpCjyglNxnSLY2OhXZGr7U7qbwR4BJ3fhGOLlOB2iqTHFKZaKm60Xqw+C2I2kYA4aQ5zuWJqld6Q2wvrGbSWy9YgIAa/Rv6L14PM1qClUa/8pn5DzIT1SVQw10sYU6y6tRLA16jjVgeqMp0epr87aqEiFTBvUNvHTDJ4msStt6oQqmZCr+N+70QKJGm72lpwoHPesrXAnLpqviOYHana11k8JBvLkbxag3tVMgUOwC6d+B+fRLydHsjdYDR438yktqbDBwwCSGLEGdkLqatYhGXBEa+jyajNuTTYg3iHnKCGnIpPhTcoM20uM4mM3L5btWaMnY0GC8A+6gaOaiUemiWiKIBg0ojG4R7S70EHVmIZ/zfrb1ieiwFUFOV72z2YiqQ2OTx3AbjTwNxE3nzU2OwObLY/Bxqf77wpQMSdIJP5lkhslPlHJDc3a2sRVL2AZGcEkNggqFLCpX8fo6eDJ1gcxCxYIxjLorFtR+yxm/sfAeSYFG1r5g209c8J4cSPARrD22pGOICR3MLGZl0mFaJWm5b/ml2vFp2E9sc5WcqWWGNH+lgzXVJP21sRwqMfIJCV3iMEDZJw2ApCeNTzZbsrTktzfAVPf6oqumxtKcJecJED8Kgqxai7csRmeXccsTpkQ3w0ZDIFqrvVxE50swMdyoed690OTHZVLoBdQlk0rc3rEimINjtcf0lCbyjxUgrNaBQntdphp4rn3kd3NfcU//2EErfK0W1CnbsXJ42GyJPNev4WhJXXIic1yMTg0Gh6gdXELPy8Jtpl6XsQOY9oPCkwwQHdk2P+946Cbx1KbZWQFXwmetdI5G8czca49C96HH35kG6sqMEJBE5aBZjAaKPgjHILjP3+CYfDXF0MwWtLfxnV7ouBt7Qf5RaSIbFbxzNTHnz+IHaUJdDEXA3Uyeh6ch57Yiop+v6FYsZjthAvV8rX8Rl9/nAqr3lWjiOM/fSiFESWxg5XZ63ZUMSnKL8r6DhSj+hTkyQ7dL+15PsHJXs77whdKNCXuAGdDrvNoJAyt/7Q7V1+HpJjkxFVSccU+RopsboKOseLdxzFyj8MebOab14vYm1yfUHSCy2+qKDUMHxHgp2IFU1F6+H+Dut7RNhMtjzBixaOpxyqN4s3nOWqsFGvOIsxmU/d2smizYUs7r4RA9NqZYcmGre4NkA1Oh7d70EKNVsue7kV83N4j6AuMNSDB51fqjUYDgkeXgxS719t+GLMCfTo/eeVUxCUIgg6eeOtjex2kNt2i/CUxOEpymDH+5eVWCb4lglyqk7YRZNqXn7oy2KgOscK3qa20JN3cttwXFEYK3K2o3+oFDdejJCJNAq0080UIR264Q0BHwhcySZnqH/jft+vq6GJndmQOcIWXoldZZJ+SgRt5FaBElH8z9KBLvyIyTTM3n9fUkzI50oGKoRmofDvxzvlnXIT0RrW23qRPNWkSTwn82ckKeg4olIDdpVCF0R5trc6rzpG8LvHPL0pJwYubxFtgNpIsiBarDtnHpV9UK0Rw5uEn209qoNRGJUR7aKv3xnhJzUVTAStvUEP+obLZh7clXdge8CcyYi3OcfCfUD/a6SLjhnJYzQDGI0/pH4Kl8ZR4Txg0rvSDS/28bOAioZeT0EUve26dx20aNmBEv3gNAUWjNP8vvFYtsiVK0RL5DP1APIgfoFn1dkJBmwewSk+PzCi6b6pR7dIx23Gx+RNFzFwpFPXveG1JGlC3KJh/puAMB4BAOknaCLcIbgBRtlwj20FwA3zTJy2VZfGrLG2WQdVqVsBpdp80xxfj7mP+jJfCrA1kMXGBhK5h+i9bTXj4agQAgdWaYU4ZL5bQeDllbHEHFtMJzyE61oxoiTGT0mkwWRTKQXPQEs7n4vv8eWgPy1YMAVr0o5FpYafVmYYFYy+HdnU+wP8GlHmTWpBf+PmJMDVnluU83G2NukNu7yJ8opfa7tThzOL1uGHt42N1jJIJVvSY7/vZdUO8CyH5WMaY/UoaC24jvAJcVAOtPnlj7AUp4a6O5ghdNKIfF4KBBSTF48DG5HCGeSV5ifWMXGWZpxGND2AY0RGonHP6cRWNsIvUn4jcn1szFquw1AObFRnLV3Ei6SfuGJalMrik3oB7nozJgp6KCVOf2cWtCHyNCvKndIj2K7aN/yMGS0cP0tHJ0UA1R39vGCIbZfEeC3GwvDB64bMwu48a3pGMOFyXhFSnBUdRtW00PItvD0Cz9EKbH4/RqEeSIvWX4M54NR77qY0nvlCHYTnNU64Gq2efjb4d0fgnhnDZ1t3u4eUuoX5wzlNLb7AgIfwdp0cm6q5XPwhuhfOO4wOB+aMDIyToBfBXxosqtFIZWmOwZPb+rcH5dV1RjCwd+Uu/BW2/CO6Pdbd56rLpP7NrF3E9WNYJTk8zL67J/NZnSU7ZSsXXEC1KjT2RB2jfSTGagfAQO7yDOHNPcRr4op/yvpA6Y4nKUm9w+ETSxHuDWyqSBFnp+rk5sCQXUKcLOR8a2ErLLrzBgFLC0D/fczOAb/DjXYUdyrutgoKAcYmDGLybIbPi0EzcAZKKYhSonSb/1HmRNgRMnwF0YRtPhduhrskC5nf1Q/XCpV6m/NRgWVvwkl2P95cwMXTRHkWmUJyKKOB1Xuu4psX1NUGBzigqxEKKsmmzq6ACoqfINlhAlV7ULcHdEv2YrbHW3Dm8+XcWZC+Th1MKSgPzTtN89rpxxU38rDko9gk9cyZCz7pE5MlTZ6TvidhhRcjjiI+q15QnuhnxAx0UpW5NH88U7PUwGq3D94oaRTjcEK/ftXT3eNv/b0Tky44kfIx0adBvDP9Ba4Da0NNgnJfkoHS3n29qKEPUVLj5vu7Tf0uuPUD1A5dJOMjwdN/nXSt87BTR+xKv6jpL5PpZoMFjb62535O3LNQAL8eovHb/sNnOeknhM6QETuxeGeJuA07YVhLpq7Tp/qOeyEXlzYAZ0v7AHAQ8bVh49rHm9TrkM4MLajmkPBlFFq0ITKhucCLr23A0qQSqQdnV9+bkhlOumKtGF2IKOnzHkajo5qxHrmBLAyVa5o17Gvf4YoQSMFHLvgbYXCJ4UFK6xQ9RQmPKCbKrZQKIusiSjyeUY9YA+ZJvOe0tqpG1jNgSOYRxTjq1Ffe8iLwpZ3rqODvq3l8sgKRceD8/l8FfAI8di1pQf805xv7M5BiMKXjoAx+SdqqLY6uI/D9AUtnHt+TBy4BblDCkXX6xRrFPQJGhfTeI6bYsF1gi6M2OgZfCckQXZGehFJEvZiCG3k6VyqFRLXfI5BYTQOEE8y6Mc277F09fA797Q5bLxLY0xn/aGHHKEoRQZuG++D165JORxGtg1jATUIfSaYb28wes9rhoLvkU/B/yRv2VPzSJY/xLHy1ZT7BWfwVFsTYOZY0HqhG8s2F0cyNZqDOKHgkd4+O5XdOJKzk04OjWobr18E4YqHZ4HzIe4kbncfv68A/NRM1FmhyU+SM2XkIVAM69XbFpqVOzEAIya02HWWXGTuMnl/hRDjwafYXHuUc5eNdg2uVnVancM1+SRkcaOCfwMOG5qN/+FLwJTntvNVcrQt+vXIe/ZspfphiKuucC52gUA8fLHmEMvd3ihF4ILypJf5X27uEpUvC03sr/UUcuIUUlrmtdY8VRNC7Q6+y7qmkAUh6JlX3I0H8D2cf/s8Fzn8zXrIRfd0wkhIsKVzzIabc6ALRw5N6xftFOdrcWi0wP12h6hGkEDXV5MKnDGQOOiqVPV8T7iH01db9fOutVPl+bF9VoTqwK+WHQjM5OagPVJPjs2B9oyGagWYvlzWUUHPuCXrqaqgJy34MAlnMdBXrFKMDcM91r+UIgz2AKeroVGM6xtifWHQQz1Z11dpdTyOfXB9Vn00DC1dQaaCfnrIXVrdGiJpk2ah2PQHpQb2kL9zJUhEUGqZDizWQD/AGIY7i2TIPBTpGapu7DIXeaw8HUUY8QlooTsevAv6fFwAqXzNxJKMm99VnaSI2gVYqeXCtmS+0wbwCKlvdvvYdaOuLL2qTo1umcumy2/69/frF4HAjUhTMythOLrxvSgO9/MCC56B37qr6dVekVfqj9M6TytCX5Y4dHEn4v3usuJd0GDLrlgaPc2IgCVfX+vAiF4RglB3PfdIK3TjoxHt4ypbnjYfRV7pZprC8OgDridXWXd4JmPSqKoNiZtlpdXunv9RTrXgjrXfenk5/zs8gLmw6WGbXLFy00F05pYwUZMZf2gNK+SuUdckEHkOQEvEKvK1bW3xemGI6lHdt3vFLrc2mIoUseGiWJMyfIq1EeZUOSilm/ju+2g1l14ZxxPce8E4fEEIIhIyDazwFioHtFVDpLGIW69HqGjWiE57V1OnUI8t8RO/zuVtJZqE141/5s1KUnO0cB2Och2+dySaP27vacwQERkRPB2cYoa35JfuW/Re+09lnlT0h8M3/2fhtIOVoU92xaGU1chKs6E5ui2+yBGTTHrsgr5eB+cbXBgqPRq+ZD7ohQ6rP3D7JJAUZ7P+NXqaPXh4VumX4zgBX7Mvj7W4PWn+nYEUzLpbzU3yGjM4dpj0ltcEAwEubobYPF6gRr9nSII+M/MO3o80IFffAIHrew6vm31SIbRgX4KoqpUpz0ZD/bAPYJlquM06XEbpZ0Q9Tqxrg5YmjL3+oVTP7LLagwqA4tZvgAE5qMMyUjZBXYb66ZN7i+SK/xFeKAFkmt5jAZeS7pZJ1DoBk7NT+pmaPjDLdla+Rv06mvns49Bh1Poq5HEIWZxr5NT7xhONzHuzNrFGAWh5E2r6aiyuCZ5z1q0qVHdgL2Ymj9spxak1Zy1KFJM9JrAR00HjXJU6USdKKisqTjfI4FwjsJb/mctJVXaS/FTz0NXIk68vI/y4NlEuv3jMTIbFo+aSALSlwz2MxuxT2Vd9L3KobZuN0j+fqn5UoNgWOZumPMoWPsi8fkua6+bG/unOJw3MATpenZzMw68t99G2Gtzb2f0spsEDzxgEQrtz2VVztHulAYXsLrn8hjA0mRuspXzL4TzDmBWegkAek9kvYm/q0ui10Vvvo4HqqUQMWY9VY8ddHMzC7rSLPEtGENa+MtYtbf9tE9sZGonGUxhQ3I1KrFCiLuPctvB5b929DtBPMlua1/o11KN09BFBo+5DVDuLLcrn39xPFuNV2w2DSDZyJSlBL10GX48D3wy41Gzu21rE+nT1uQYbqqTM00KDQYphUD3xxcZswI7IeJSbwR0dVhwWkmQenmfxfyIxDato4OL8yx774FL7TEiI25qTeHoO1Se2P2X9lDyr364RYoH/WU9s5/OHWoY+rVNd05RcbGqxhQVMTdrOJibNfHyR6RfzxE82Uy77sKIAx+YrTiHKmoV6tCARGq+zH9lQHewXVwDZq4uD97sJ3jB1yrX5NMTb/k2rup4iMlLPbW1q4ILOd6/izaT3BMMCYX0Zz8A695uGdyewFegn4bpjGIZlsGEVGbqNiPJPMMdR7mCGcBos17bvcBXg/ZjRwaGvUldNNvrT7mMgE5T0yOGlIocXFKMqZDdkmXZGTUOesgdFhuRbeaePkJmnyC2Mz2aGNTLfk+shVFHNupDM2GMVkMLo6esihjX3nY1l0GOhZ62wBM9ttziaabgPrxoIJ8ZcCfMDJEuSbZKkUzRPohOlvGSPqCRFIbA/+1ecUuGcOFN+wtxAh2xAaegkZBaKO8tFWqMc6zai7RBuG3xlvchrXgIa+1rrf8T/48popE5It/1mQeNK0MEOE/fHe/uZsgjadqQBitoMk0chiubVnz3U8dkv6obrDYBm99X4iQIgb/iaA3b0fg21pavu8uIcQaiEJOwYYvHAk/GUYI33zevEME7r3+7G4jH5irx0zIqQclnIKbN3ynk4a6SLES22GVAZFg75XxWlntxm6ejho02cWZQRhEICEzqevU1SFzzCt4RXR2J657vgCdpYEVvDEiLovJfUIFa3rKzRTAKXr8Mz4PO1iS8gICgT0+j3L4lqZgWcfhmrBM5WtA7lLxXEB/z7I6VySHwkqw7NQnGowYrqi/bqlBxyf+0WWg2EhFSUts+QkE49OGogvQho6yjnr41jH5BRAWYBmy/Xzfg3FHV9bbCBozmEnncio8coCP92RmTIttH+dYUwrSUY7nId260NVlHzDIEl7yAaW/QkozPLc+hKBTUy3IhdYzWcWEfSbCu3cSuLYc511viqx+/kjsOVzyxleqeqkuzZi6ohkmy8935ZHMoZhdB7LcLWP7Gv4Y6MqSDQ1MCioLY2Ugqctkydad+Z4oqTFWqp8fmJhVYlOeKrl82M6XyrIpAYhE/2k38m8cSgmlfYrSE0lmKPz6lTpomOiEZKBylGNDnylCHV53Td6U9PvluCO0ZPrxbOtj0pB9f6OsrX+zk2Um+j8JXTyfM48xHi3dLYekiN2JS4SVYX9xQlVbzfu1dPTyyjV0q5eaqE4yWRzszBtECr8+8qKEjdu36uk1B9yrPOAL6mZ7G/LUnl+aDErn4o3aKuy/9ceGO23zg6jrR3bsvcT8QNtOUV+hDEjGPOHidZXwemGeyZjxiR1PSB3T1kVHNlIKuAGN/HiryAXwMb7II9MkspHlKx8wJBFwE8K2/L9s68GTRReoYQFG/qzokb6ksrV19FRWssLkaXn+vNtQqHu64BspUMP5YQJEkMcbMgNUjDh5JET0kA7l5/inLEUVy1pKWG8fOcA2wb0IcIUNeYiYUwCaLruW5llUT09gmBfBLVRiGoOXBwLvn/TsD0L6QD7s2wioGHQK/6tHzpHAb9aRnpLmhNTG179BFvhikEUyKw8jlUg95IA9qsXsLXFY0462XFTIaRq9J3ryAWYAr5tXFIgQlGueBUQHyvXIbqoTJWMx0qiGKASzYwa+FoS6ncq5MQuNQVwzr4ZpOGtSdRk6YqYgFhgI+Y4Q4ViI+AvaLj9/xsf1X5k6MoCOKmouBhYttBB/TRna1nI/Sb5Gf58Jtl7AdOo8C3DgK1krBDJjJgsQHFlmrvMjhf54wjAAdpG7bHxZ9ywICRChXMu+L2iMgcrReJKq64jY849UJNFOcRJW7utQbwpI50IQsFM/OEJ5cRSiIDU0AlxrTQ5J1tD0IdbVexQlEpAcRo9Gr+9y/+NCb+uar9Tk7hwDPBoUE4tXKs6wrF675gmA1LgMovmZqEqvkU+o7BvmInznbJH+mCcfUs9usbZGICSr2FY54ipUSBFowKoUsjURxha7f3yc4IsFgE3i5QFQ09XC8D+O1gp8mLYwqreiwe7H3tVWnmt8LkJGgT77rUj181l0lm73adVglI68OuXlfA/KtXWkVCvP6Eses/pAoBGf6mj71WfnnutwIhXI3gK932d8XFYXZ+8q4xf8P/uk27uiZqdX0Xf8gaz8/0IkZvC0gTaYJiIyy6axPMkTUhIdbO90GZnZeLOWRKTNJaWft/TUWjAoU8iqAUfsYvVtouf/VkNQcsIdWnHJ4juox9lOyhNB54v2rHvqubLqdS+A7LAG7yOvncy5Tpy4MeQKYhizETjjnJ8CfdPzl22/Bs6zMCeuUXPmOGQyEP/9QZO1AKfJKmlfvc6AwRQhOONBKo/WUXyO8flJE/Kb/RQRvSNfWm8BkCkzdmf58B99xekPEQEneR5rSzVCF83NUHBhThdmT141Wzwmm39bzI6vy6mZxBCOjJ44UbBbAfeTzl5Iv+46RX/zRosGrm35iU7ee3Rh51uzCHrgRgGHsPcVBRJZfF7fTeLqktYXGPjupQeXGbKphtnyT+ACZ9s1vdic2JjKEL0LwFutJ4SKVJ3ZdOf4F9jy0LekIZMnB5f+CnosYLk+plZVT6iRV/twROInDQf+81RXok3bo14rsWrzgFOhZIZGE8ypBWnIpZS8b9wVOnbeMNBCESpiN3z2Qh8uPMa4Ph6BJaqUAAM9rHuzU7gMpwpsHp/jSZ77pIYaVTBHFvGlLcIhuhsmwfWinwFjena2IgNYDE9/L1fv/R8JomHrRRWMDZJZ6T5BgPZnDyEL7ZcoEGwrBQW8e67gSK+cK8uxv0LM25SYTWX8pwacitq9U8b/GyMAwQPvMXeBj3YNtjyIK1YiF6v4+n+2V5lM57ioxyQcqPrmGjfAcPDJG3FTQHKmXQZ2vMG/ivKIfWDe0qq2bnAStHORHwlpBQbcybEx7voSM5a0HY39/BkkbSscxic8tYdtXs6RwD8g9XzhvD/h9+bf4AqDdxCvTnOOg3jyQMt5Jiobo+IwxWtptDkYGBeojwe9enjsGrpY2O1xbU/DCzBhhaH8PXKGyMIBjqCIjwhi5EobydEB3JMbbBeSXqZDyXPY6W/AY1jFkP04AzyL9JhO4rB4+9qy0u/Ye7xlcDnD/g+7M9ZCWsB2Rh4ZEusyxYvNyDPIpjd/RfL4TnTuCxeCh0BiVDaWIJOXo08HguWGzaXaiJ/KnjfT216//DDa1UjA+bJg3wO4lj1OZ9qqjSqfa0/+HKXXq0uJcu4SRrCiDeckNZTtExzCj/KXjB9jUwgjvXUhN4LJw2yFbuUUW6RBahMl8PAjP1o6LW1JhF68pRlb9s0miQllzPWNJVj0jTU0a591f4BDm4apX4FKPOyjq+iyCzp95RXo0FlEg0QIme3/xV4EbgufLI9AHC7DN9Ima9HFySYPB6vrMhvQDlNl+v+B0z/HMoY5xkD5zykVnhM1LLwkg4G8Cb89ZRrlCOdnJ0wnFGG/RFLXAFdn+F7u1mMysrHV/bHnMC89X5Asd+XxLEPZ/4tbD5D5btlh8MFuVXXOscd5ZZt2x/vMcUQ9IOQwFNO3bo4SPqEZbRvq6zvxLToMD4J7M5fUayBUrMx98+GN/w5vE/qwPbGvcbJoIyY7bLdmaOAh2+PRYxFlgYJs2kHwmYWlwXT/Lz8zDCETGrpM+67zOFqaZfGFIqhsz36Pe5lEREyReXcb2N/YzWr6H7ujAIVMWeUmZCu9DxjRjLL2zLh6SgMbZakn0rlFvCv9zkh18zGn/s36ocGvWytqWRYgcu/cpANlf5uZ+r5tZOOP+SUdPcBli3O6DKTYLmdIErCgiYwxcn4ueIe1agO1ZR0axlL380nRRmLhDLQec7I2W8KY009FxmnCe4nONcT2yNj9/x69Gwpqj74Z6+bsKsugjn4omSOmtKHoFJ1laHSl0Gwna5eAlP0qWDxScarxvU8xMg5V+1Y2EEZFMfKBwDkRs0wnR/i6P98YCB8yo9thjTE8Pn6JUh0F9mjAOazxJcBKglUQzreRPY76eO84Cm71YiXmHS2hJ0Dj9jkBQ7z7tAlGD+A2drad2PW0PIvpIWEizXVNVlFQL2VvjLVd39g388l4QM6Fcm/qLe0xmMsrx6NEpY5JXwU+JoJc/T41J0mean1Fj9dzBS/vW1l48TV7xbitnxDO+mQA4N1RPgHGILa+RQzUEUXNioQOCFXkzpTIJH0Qxm6yozWb83/0nIudiGTGnIOR3aV57OvHJ2mugQvFv3Hz9aGhWsiot7U1v4iDej/Sfnu5zfYFsSXKQr6f+oJ4Czz7J5piErVCQbOo/kQ0YGob0E83MlSfLHyX9PGD08TqfOwjd+jvf6tKcGQheTjFFjK3ZT8BMRBgeEcfPF6uOUK/zIs08+c+7ws9PHxsix0mud3X2uu0Xe9Mh2jQaA9jVx53sFb5i0W7nE/xIC0ipOBOHZPe/1ur/0z+1z5R0Ck9tdx7DV+ZjXnt1i49joElZChZ929Y9BEVBTnXiSFCC6U40UmPOeqasnDHumQ4HiyDGV1ZbIGIr20wbi+X/LlOT2Etd/hCn+SoVwiTaEWx5fXgWoov9GdZas1t5Hz6LWYX0wNwhBUoSC96GaGbab2RHbd/V4WbcaRXRWiJcv8Mdi6oHF+huSl8VqMJIiVpMm5RvYEHZzQ9smgA89u/hv4YMZ/R4NpD+vatkAL7urIpp5+f9B0gI5cjUNjnIne8j2McLmjTJ1ST3D+Ey2ryY0hA9EZTwVAQRm+QNVv0FJQqau8fqEjYIA2P1hN34ZE+01ara81+wfylwb3hc23NjAsNIY+/ClgoL8KNyGSEW24cmA3ygIi1+fzL/tDVrDlcbgcJ7/8op+KyqSVKfbToM10Mx78W5CQjeRtF0re9apIbJGjwYvkIIUUgUknaiYXDWCkaWZaC/PFpJC6j3VLk5/lsHhXhbDA7N4B4onzudjX1sKP0jDqSMBO2qDX2N/2UAYCtdmIx5U229LdmiHxC8efSQ1Qw2mmwI9hULhHjB4H++c0jVNsCpsHMv7+EsWd8WeylwGMzVE2WjMbaO6obqjuc9nuJcOR6cMZQ/7FyO921gclMukOmPyBpGOtSm+jjiu+Yd2ZhTW7mNR2QosfyM+qyJCKCd3giTw6+TI7UKPXWv43Mx5jEQu0AeGwRbjFDh5Dk+TIskB8J5r7xT3Tq9eExH3+2qyeJI+oH74N3urF+9eX/AJt7C9HCggfbHMX6Mb+hGh1cNN+NiNlGXbHYBjTUo6QTRRr6yqGCWMm8KCRTZpz9DK48JvMhycsG0CE8BEZCmDv5r0wa5x2BCeLpxOETZwd9XpkHshBqQT/6h5JBJVb43s2vmO7vp924K2svXuthMzhGajBf9EQndXTOFnJ4LkRT1ZDgOQu+pcXrEEQxQPhLo1k8j/4GQjR/ShJNIPEt3+sRYgdGT1FlOnYVMkMNI9STDGhNkN0Q2snfACAcLJAmgB0RXLhDzxl5//BfxKOXUKSsSlcQhjth0l1hirttvijj6sGIrjrJ3aLOOeKQigmxviNS7B0oj7wuEoT3TwfvH1xErP1ciYtdyh3QDRo14ZXrC650DFKGYEkzFzCY87AztX4aOcJo/k3v9NatBbVLbJiW9e6Okl5niZVhI3vBZ9a8yCcNa/wgNglf+FJZ94lXiS6B8sbGe6InlonK+ppJHHDPblnhutkNRz4ruXuE6H0jgIUmMcPDuAwn0vQEkbHXudg8LC3Zrg6CHy8Z7wbNNHcx/ezZLes8xFNB/s31vNu9eyXYTkIrsl7Fv03F+W21xKhgccOysidPy5isXfRc0iHtrmAhg/nnwdmPCaYCYOI+V7+p6wVRgiKwS8h7H3a/x8F0asQRzkDxZnldU1KZx9kDMtlznL1RkHp+tsZ0Wn8lFD+n2wahmBvtyUV16FT3c0culCQAGadhRZx1r3MLUaGJ6eyCmmfk65qWJXjfBVud9P5nU7mcS0WDC9kZAH1w87yS1XL17jbHBcTsJntgZZdWUR8aS55EkCUI3Zc0C+Fn9CAm4w+3O+ltllxLKc+8RUqUXPYppYUqpVM1+6ked2emCAFKT6kDd7pEdvhkZiPOl3y+r14Msfq7L2o8aX0nw6a/WuhFK+PnBtNlFf3oVhabmoYzFB7YzghwrxoaCuE9E/WOJi2GtGTq0IePq4ACHK7AtEVOK9TSmvL6ygub48WdIPrwOPuSazMpZD/U9PMQHl8c8DWQ+vDhNGN93Si/RQA9lVi0nRyyaBHZNKIuxE2opYkeFUE3gkjT3k6+rc7yH6G8G/JumOhkju7/iagktpSGanFdAqYW65NGDlkxB1zrVVK7Ug7AALw5EtaNAfI0bhJj7fvKDZwypXueOUeILEatAyULubfM2hzn7B29q7WDidHcC84g29xtqqbvIUcNLAvbxI4UcR/8B3B/XCDwyL50bixan02Av6j2vKrDbh3Ay/w0gyAnx//Xu3kDj62eSrQiE5qgYyMY6X8bIBaKpqujRXC7EWqmDlpqvTKgvi5Rq1KNEVioiOTwgHJf4vowfuPRO9ksNKcsQ0d0CCYREyMzLDW7beXmVPH9frBUWisA3Bh8YaYTl2xkpwbPDcjNL586JFc7ZNyzoqiWF16036MP6n7G5Ueo2pJRsEUr5LA5J0nYOtGWnfUF1BBj7qBdZf+WZDYQxpH8sl0z1BR3S6/N/FG19Ad3rK0BbrKVqmvDHs6xakQ0WiuRhqGwbJf57KRbMNJ+htfT6U6wn2yk4x+fguXx32wKfPVRvYF+9V2HIau4ez7i2omYx6FcCKdWnnuOxrTUx+RK953y+tdLNNZMK12HXZDkuttnPU0+mIEc12yFcin6qYHQKHEAI0KS9AWRjaUgSabaYM4wS+RY9VzKs60jvbA2d7YBDnG4tF82Qt3revvuo1jX+Np4sakPW/SNAVZE8pxcPpR0mUcG8r+L42MATc29YyOgDO1o3XbswYxp9LIp8/UxPOzIBJ0hggCjFbWOu6sacENEcJ8mjNO2eCtjHjg6JvqHgkDQ2TduDpgNuv7aCWkEnTlae48lF1vrIB1KHzoJUkAqHWFAH1NA3/oAgaG88KIF09Qwu/yAmx2uNvWRoKligkjzyugb5Hfu5isqfxtLMyMaPkIdAi4LjjJd1GVd4Di+ZUS16cBra9wiAn6SHQct1E4fjWN/EcxjUr4XbeWQB1rcZbtVKZzJbr+4/fo5aAd4SX56nltkn3NBHj0M67cNOubkd749fh+7d3BsjvMWyY9wxeG9XLJrS/nYRnibIoNkP3qTneEeklQtqAklBXn7x4R2xHpAzPkSBwXlQGb50mbcqv4sm4PcfCl48Q4VtUfCSR9L/6mMlSkUa0PfgATvd9wtmD9GYIepfAe8S48Y2/LPlfL9GZNcVEfSBE9C8McljD6Dhj74lvzN/NMJoZ2hYMP6bP6Lby8SCj1ryOp5xCz5vI5Fgkyc3lzGSf/Sc8G0bpTnjRnclPsMUfq1FTrSKmjWmbZ7VOWNtbicHN9umODv/IXZPN01EQvozo0kydxC6dgHjgTJJXvXXOwIQEiATXzXx0j28684+hM2LKRFkV1uGAtQHrLwxu4jEzZi8T+XI61OPY5JkeJom7pV2YXEsuzdsTxs/H4j3wUZbTszw+tyI4+elGEaiVw6f/V8vhgePYDZnlDtTtAoiqEFITJIDvf5SQqUir2GLfE7cp8gHtP/45FAG7QrAChQSmXM/xhY6XZvGf6ZV+cQm527IQzO7KLslH3ihfINEZ4ZkVWGtviZO/gZqZ980rRIfOupWDb3vzZIDWwa3yPzG/cuk+YP4PUxvZMJiVzKLR46/h/QKNDV10Fs8fvs66ZP36tt7netCzmI1kiq/Nt9iP9eD66Is87h8mzNC5vQt5HTYM56GI5XSex3hxfkjqXhsJCfMMCJ/RlT9Gah7VUey/l/FsQowNOOv2b9F1bPMUZkeuP/Jq7bRlFKjKwakFD7/9ipT9i9DDmybd7jVkBFVfTu5VaI6/q+nMy6O5hBKMg6nYa0DP1zLbwOhz4OsVzVFmTcV5zjgWqz17bppTXvYfcLKFiyOAzNblG5dlNzxmrWoW2ocynwZAhtbfySRhMkDddSpb37gHqLAeb/PfM3FhhUvsATmg4VzyLF94P8+LEE15ZH6yyh+DJkPt5uHh8YKu+CPFBINU9ZfNfVvGV1ENkoSbUgYAFswNqw8nkaS+WI96P0LADT/w124BDm2hIBzbHb/kVwtwA75Sn46kQoN+cnr/A1+3rBucUJx5hpFxSlQ2NLgTHJv8KSh5C5+hKeDPb5FKdBC55X2kzy9/aUSGlhWf0uPTitFhKVP/akAv9u93oIregDpTcf9oBBnp7DBxsTp8dej9fpiHCraQDc9RxREnXnD5D5byquFfVq5+KI+kt6LOB6/0XTgQODineBMANDTzJpDKEJjUoP1gm5tD3ndzQRcNXrGQoIlCZSSim6Qc5QS8d0OJDJcYZurV/UiYzxOeZP7+pZkj7btvKYlxBzXbitSoxnWmUziYXsJ98nAKpmZxcgK9JdgPAfOZJpAQtnbknJESZgpnFShQqqxWwBxAnofrl4fjtMAGZlPkWizcov8RRwt8l5nhmW/sdnCDvukCk3siz9XUC2BAI/08SdfbK63Bz3IKPcfHWvqdiYYRLjkDx8OAcfw2f6QnUlfPTVYJHuJFREJgrjt4MJVpDLRQMc/gTBpPBZpZIQCjz0/ySbOe41neTSjtqBqZiad/lEHcGq4O/9R3lm3ZGamDVez3CPwG+ZgbfpMzONqOCt8Kod18j5O33E6gtjpq9rDaqW7if7eYiPmyuFVCAhdQAhgthrJu8NSuIi+89+qNxiEXmqGc+QRvzLg12ZWdU2UdoCzZQ4xv+SdD7bkPJVVZOJjUdT+VZU6SZscBU2e5PzWy0xAYATWUf4RbR7UWQFaKlQA+qxhNJxWFXdEHMFcZFd6VLnzPaaAYdso75NMQWj/PhgeA9DjdP4GRZXrKr2G9doMJu1x+eBEJDS3QRPrsneCf3y31OKDUpw4cvNaURYHNvvUWmsjSsT528kueUM8pEFJGj1YD5TV2JzfZn+0tvYRxroCzUsHOQkKOcKDUk5L3KFYUPvIWcYDFCH+iLJZRjV0QMtM3UJJSxQqLjLVnfmANB1Oner3B1ZTgRy3VdYLBe/XkQA3yiFosnqT9phnxs8hWtTkcIieU7wYSczCcZveyJ3KrOG+gkjpliJACmTOwep0aGxqOvHWBbeOXC69KB5IbBZkVS6bAdSgasOMVfs7zzxE3TRoEQGAfwIwvkEi3ANr0/YgGo70DfhwRvdQhphqFFZqwLJ6awhcPMhK0z27TM/0sVrb4DHCcVPrdu6iG812cI1XWzzkEQy/3n4eb2cabS/JkjB8MBUfo8QXQ6GBjM37ZzL6lB1qBz6Pb9kjmy+LUZsV5lI9oZSrhD46N0jKu9IpCoURXEleNGD+BLB+Otqi/AHvgbn3odtU8WDGKlwEGG2XkbnDN1d0FNFmyj3dcngmYcagydYJlY0fORxxGw9Avi2kv1afgdZ097F0to+vFW4iif5xRDRK1vJq+dW8pEvfuiNZh5dCi7NUyfi0/iKubGlKcXR49s4M8yYIOHV656+EZrnw7XSanN6ULt/vL354noZkd9PxrSSObQ3itQQ0MLwG8LYQDAWskejN/KQe7DHDMOo6aRUKTotcoWaa+j4O1uSBwoXj5Dwi+BIHhx5L3Rthb0kC5BJuzgqta2tntO1rt/Wr6PZT7B6L1xyxg6kOlyklWjoK9KTs2o9yhJY3LMX9fmjPvsL1yDzA7luuctMcpdkmh3UTkMJrIQooNk7LkymAfIKAiHeEdxV6WrWtRcxW1SjQ9Pa2tkc9qmmKWRFDMlPZQGsgGjJ3y2hQj/+d18py4ZRSn38rOqz3uY/de5tYkyVw/TdlWqNMiHcj7SNCMhNAQ4YFgdbb43eeJfA5fa/fKvachBFRPDCOAYBtZdzVrgsF0uOu6AeClfNNyyZmY2njxHH7Ow8x1U9J5tte+2VVbVD8LAW3cHXUbJ/ccPQSpTFf757LANmLA8uVnr67CYysIPumK7HcIEZH/Bk3omq+oVwS135xP5em3u/IJH3QPIY7MmhG/sALusYa7u0FB3R+aMiJvaW880t51vUIvmpQPa4rCXQpw/bwKL6p9aUkP7e2w97kpQpikJdpCrBLHzSU6PQpJKCJG08tO6q+cpP819vtYCBDzUZM5t8zrUfqLP6i1vGYlN/G98dCWL9grdNo3ambbUlFfZ2pt9yiKw0IX/x6tpUEL6v7jhaXMznXqsv6iCB3tXDgQTBsXOe6xdGZyqI1G/Qm8UB6U+iOseMbWZDp9CXK2KwZ1g58zytHCk6kdol5fl1bfcI1FaZESNGo1K4XuEoyBAinw/cUt6RZmzCLwLmPF4g7OZOenDElS/uSiHSdqQk8wxArfqmv4TR6N4f70JQ4i++4ot8MNrqRxInHqhhOtYi5Jc0uBi6aAmKWGMnZUIY9HWne4xb+zbL/fuXGt8Ec3SIGTFzJ9l71at4MZo7vzHhN4YMWDnD5NVvuvY42mw25LqweTq6LV0e1+vFnFmW+92z7OruhsTGnI/ErIXQOBnyZgeDTO8Gpzlirwceq3tTK/7TBnfJ3lwE3MkCCqnGDabxU9dXU8osZetSRn3qOxrppUOrk6NFuxTErlOU7cDYb9MWPCmwiEkKgny2yXt8vJtx/Vhyp8O2/Xpwvcsyd4JyXo3LUQryIRSZB3IB3u3cngBiYUb01sgaSGrnxFyY6Cap9/NExP3mQRQmqkkm3RMD73p1a/pm2IMDL+mj0mv+E8H9XkCgmaWBv38/BO/t87/rEWWRpcAsPwXVVnF5h5KfkU3vCCqQsegM2okl5YrfmHRIoZ8mdPgfIFXm46NrE5TfctlYd0pXUxZNQkDBxErc/B4D7zOMVSi5ELPDBOl1OoZoVppdqhper56gSE640LOAsEKXAIWnedJgdlc9Uii0dkFQCvxq+Caz4tH0fx7Cgq8+HMMWQdwspM6hC2mNP1osxNhx0iGN0CwEieWUs1hl737qI3RL5I0K7q3v0aokD68RHsxFGDIchOyWGxS+k1WLPr5YuNBfpFpWf6+aWKJ2jJ8KUNvp4zZS53ga611TaQqACVI24YHlD1RtzlAgvaziVtVfZ18BgrKUdYxB5VHTTQzU1eOMZMRg8nHTleFJSIrNGDv46Yhlnm4cvksDaCLanTOZTbl8AmISkR2t9om44GWs3XKUwFTzKJ028vWdfrCLTsMpXsVUlXMYkdHLHbONw2tnulJ4ns8Z5W2LRaJ7VJlXhJe68x27wyp522ze+OIIJte6VXOEpPulQnzTHhXm5TdaqJQSNlpmFVmlhQ7WYc/ve4PYuuFe7h86zy75L1fq3clWkFkZBWpD/yuKE9qg88/Icm+reKjecx6hywkpA6kclXvxbhGj2WpyrPg1owz9BstsIbZk57BkSWx3ktiCF3KJ5icToWW2rnx6O8Z/LX1onKMyn29ylH0ZYuwom5XUfgkzXkQCoP6uW1uRKuIFbVhq3UCgmKSNMMipzshb7VXwpRc8EHA/AkOQlw8tvRL5Gqsfs8d0ETK94PDz0yaGHdrMPhCknx3PlsIBgHs71FWoct5IsB870s0e0w9OUu5bO3gsAT8+oBEoT2UFCTWp4PI2YsUUjdrHC1ZuuOC9WMP0zhQo0bvedf9EK6X1voj0P3NhCNS2tWVNBc2zkBI3/JXFN8QN7bBqz3pT9XUsb+O7oiH0CvESpyWQCDIKT+3uW8fI95fLcQNjLvoe6UWKeQWOVfHNLjWDDKc/NwML2t76ozAN84NXJrTUafs3vWZ6grjMNvDiaoLx9DbncKKKNK8CKBQ4eW1Ree8jyysvUMUrTbblhUfps0sei1xsW8tUY+sgeVdfqk2SI/k4rnECeQzBCAjgsfWBqvTcZgH1S8vg18+EfTFvBJqVvpAuKlTyY5Mq5VcsfKGe0jtjmGZB3zvs7DsAcCmv8+ST5gaRXIATcvp+51wBXagKMLz8+dnourYgWsf8NGvipgahJXF9dDXGM8FJgFOcDK1AF8NY2UhNmYVO314FGjLv2pVSaxykTe5q3rpjUPZ84kiEScnbSJawpb0SxPrEIaSGAe92vZDS5bRmN1zMEz2An1wTn6WIoBtMaa+d6J8CRK5T1k1nfAxCPoWN7gJitXdXssXZXHWCXjLAkB3bKaeVuvu92NDX9gZ03qr+e1uOsYAEvku3rvaxCQZIcUiu0aDVIEygueGYaxFKPVgW2N+P7fIUVYOwItmWejtRK9FZOr3NZJGOoIHbECJWq7pe8rIY1Oas/ZnCSezlkDsEsRPteRaAHdZzBkhkHETADn6QNFkkXAIlHwNFLjCPHQ0PgLoFCZsudLHlDd5G1nyHiDVtgraLN8wMdfNcNzG41f5EB/WB3vedQx7mHlp8aFF0tFtY/xCb3yncptEVt59/iEBxiF6IAqLnpFU0DwaL64Ph76vym2o98WonMB1OWmEcTrWuceGv4zsBvmw2oEuR697jqy24kq2Os4FzY2pf1jZOwkMBPaiLHr+c4ZuAkiijeSrV8rT4SqrRfe2w/MoDuIfl8mRhusIVXU43Bw/TBQN2tSD/nAs1z4WhHfMc/fLYPFquPKh2Aue7twf9HrBMBbHbtY4oj0uAv9sAlLi7NT282L/LkPLAfjRqdtFrtLe1G5YzKjLEZfjYBQm5Y0i+nbLEAYEJqKSUtQ9sEbBTVFnyUImptBSVnNc4J7jLg2KpVFNvHbwu+0yHyGgjRwgV2wE8pMrZRujgujbtHHLWEAifDINJmWGfCzM70xYMZ76PsUSNRr0xJFcVixkFMbkW2vpuP9b6CAxJvjUF2sxFB99/zCsqOrSUmI46AM+xk26T69PwAyehWcIFqt9esj157oPVy1hyyjhZWoX3FuY+vHvm0tXoj/VQB5nu3nnGxCnyxj2YwLYOOr/MuRCfdb4fjCuf+LXXTPmYu+bb/v79Z9ze04blPvOEzRXAJLc2x+HEpqiCTMjKtbEm+mvgtwcMjw9DIwN92Vwhy8fy8lgLFwKJglkToSSH1FxTB6YjYJQ2NeTfZRMpAIGNJulsEu0ZA8vHuIFG+QD9M8/usYCmDGspbh95e31jvJg/AZ1bCOSOAIgQuAX40f1obHK/XEtLupDVplovdXyhwtPi+e2Q49WGQCCS0B0L5KwTVyMuXbTb/MXe8DbTjK+b2r5tZpiOL8OMwIz2y0PIGm0JEEaxR/DO3q3nuUTHVDedL8fC+tsCORS6is4eWkMq7bs8C5TgA3FkuGIU1/E7/T+XTOCdkCra853sRK3k5GSH94MNX1LEa9QUr+x7y8MhNzaGXnQRoETfMf5OhqQrhK9PrqSbiRZOfywVnkmbiuM6/5UC9SeLSVIXMDhELTgR9qQZnnHkDkNO8VR6r57SPOfI8RrRThkeAWU/kucvRlFowtN5FA0TY3eW5kGzCb/3iHb5IpS2LTzdTeGc3AC3BLxhIbDlsryqJa7TfjjjfKb5NHdXfmeg5HsLJjag4x52GRAQzKm3d7cxh2FRtGZMrBNlDk6SpgLp0Py4Xb7ge8MAvqaSaPTfEtx24jCesuZlb5EFK/Lo7N3Wd7SUZC+eyfpmjjQ4LEqMQolNDgfTc08ejHyAFaYcEyiMCge/JWskS1Mh4hB12OpkB5lKQoE/MY2LNCPLvZXEGMsT8Vuvo/kTzQE+b57FCs+gKN7yEkCAwlUm3Wg2Pl9Mak+xD5az8ZW0nuv08ToD1clAePjAmOPT4G+3GWaQQV4AjlRTuMR6zMdIayR5Tt9LVoBoXzj8qHp8yVMnFS4MLFy4JJ8on0fql6WUek/FJfdRDtM3sImETTRbdHWfGHDl4/xAb9wfkvYkL18BztRTklU7QJHj/i+fyOI6JwJ8tWsQQCUQK7tJNDrSGQH1zLtKTmMJC+sVhLU80PQI48Kn3Znn6cwkiAnk4a90zSGsVrgJJfVsyQSjZoTV29VNpIompLc3HvPjLiPUtWJktdoQWLzyOOQILJiEZXxNfPVurIGZA8HyPkBocUZ6yRpYi5nBilLalAZ+ilNC5SXx8cQLSsKax4g8kajn+pdTjPJ9LkZUIkmZUFKNk+L1A53O1uUQa24av+7baPxyapUKFO0nap7zYG4hxGfxQ6XdonURWzuUD22KBWpsyHNkOXUyBkKiWHOvo7BQuAgkrpucnYR7H8pSlozdNmQGMaAot190IPsP2icEdj3HG2auia5/pudPUcjlAGu2EsOi5oAblhNZ8H9CLP+Bbtko0AilUduyIuznFrro+dduAVAJuxbZhe1urg4hHr1/l21TPhAEwBlGzkxHqBZ+sL3pqhSknNij3BnXTHnAYm4ImOfEtM+NIOYr41JdQAP3C2DCUFgeyFdpaYH/+3JUNd7NPU/gweFI6kIUG6RU8a5sv4BRJYV5jdDTjoZrXy+TjezJItq+XzWfKhAGLNeJcRVW+jsK2AeeQRJHM9lfJQN3zToDHzlbbZGJKCIe2NVM/OCdrQowG0+Cfj6VutJYIp52FhSt4o/+vZmshdvtifc4oWrmzhNnz6QhOnsaF6+q/JVm5CUkSyXd8ztIFUTJhXBFuVI+LXtYObHvu1yDNVh3mwctw64y0d8EXdQgSG6cgtnPUvh1XrstndEdHhiHzGUKCXnUaRH7d0saWnfkN4Cjft4eIp5sEFl65P/Maqlx0HRM/eAsRF/ZmJtvGL5ooHxoN/i8Cy71XxfHISCFOFLbaMBv4aphKjaUjNBTTJD3nFo6W709i8kuBFdd14gJ5Q1sH09qcl9umOIXwKWgKinIo28LGWumsmnMS114xTAfA4TZqvuCjakdfED/fhdJuCLNkUOfcx7C61eZHFMZUD/bNde4Jdu4PkGHfFFDRG6X7JmPruK5ZGb3xYvvDSnFlm+OlBoBo7mP7LQgOGzutX2ayKJLXGPnLLQoFvx+1H1U1pyP4/ZGdbQykA5uPXAbyl+ya/g3ESoKR7tpuhwdsprXJlmFwVWPHzgp2p+gULUoCyQjTZZ3MAtYxB+FetAlb5Yoe92d+e3ALCIOdUrMRr7t73F3F1PJSfzgmXs0glmDYErlFwtkpZXqhTAO4BuaKEYkFsua+um5rHIX2OO1ue1B5TKP0JPw97j5VGHRhCNXkl67j15h0TjXhJcLq0OWB28/DRG3oVj1awI9zbXACMR9VCHURRBIwGwns+VtitjHXVrrA53yj9+/mMBa1Sg9tfIVP2kBcuwLXP3ZS4Wi8ZbJknDCORKH4lk/UIcWHaN0jksWZJeyyBbwfBNzh9BaLfxbooYdfelXsvk3b1OczQKu3c5bFI6OcLYMdai2EDZtOiF2StTG3Jxa3j+pSLEnJeyzyFbh5cCI5GnlTS+de974JYdMjJMaonYuVvj5srtfkFBzlzZnGen6DmSDjXU7v5k+pHkPNsPjbS+WPBhObgjgC6uxykLp+YNuRZ0TqEdqViPifWzMxeKxIMY9ec4fO5+/aYjCBP5nbO7JhCVikOhbcIgwdiv38eFkgBAuUMv+0iWVIr6X+p1GdZ9SZfCHo1lo9ZRTd7Vu6Tu+xzDP1PnXM+LOt28ohYAmMogVGJyiOa2g4RoRc79sIsfvL3KX1jcJzsLPbQPI01g3HMsm85EFxcq+G3uLg7XH2La1K1s49/n2NLGqlgZwytyvzaz7adF/onfgAi4QvqDhPDFXeCfS4Dq4lRxkvfq9Yz7nolcisJCny1aNyC+PqvqjuGSnmeEPGK7c/EwAwDo7WPzN70wUvCVZVD6fPtbw7IrNl39V/UjOUv7xpsolMaJEbzSKr+997DIsmL9xL89GSAPoqTkk0w7UDF8eImYy9LJGhmB2JvIgtowbxasDmB1mc23rtYlnScc1r5M0AWl3xzBB6X/Bar2Lxy9DJLZ1J5TWbYr9vCATdb480ys0lgYFoug1eLNOFeQxMtSt7eC7TVijv0DGbNN6p/TQifWfRXSBmyGJcyd6uBVR4Isf5eI0LKfYL2M7NorvC0RqHogPWSk1ZdzLbyiYEI9XofAljhg7kcTapH0QEtaK1hfDa2IXUf149KdwtKQLuGSpSx5Qxv66k6U/2AT/0ckWYzeghDnclzZlUPngBMHILy3UFtC58WDuUa8HVjT18oyYHAcM2bUSVJW0QbCSlXi8FDmV9uka+mMakqAMuanQhLoWwn/JVsUgvUHWSWpiVrg2SKjOjcnGqBAuut4KghHLx5m8oYtbr9P2M0nMMs5J8mIi6tqYIuKF5PrRFs4HcQGb2HzPvpNCsu0EkVl7uAwaUBD5pfmlth/05+sTfnMhI4LdmYs7sBS1L7gLSU4VJP8uvb29v9vH2tb2pRpvXPdl2nzDY8CwbpZPh0N/fg6cMthkTYKkTCF+hEMT5AR+GlqjYAhW0cXb2DFPOmoFEi84Yb/onz3+/uCIafNpwSoH0dKKBbWXDQMfFRdhnpsacOAbD7oDD5elMzXRPrvjYHSV+8c6mwicE/+E/CDNH4m9dPOUUhJ5GNESzkTaMalyUugZZt2w4XOVCbKnH25XllFLPoaQj0CXRzZP7f2K6+cbA5jkEbWAp1jhbEyhOGEmKkwSNIX64svyB71Gb/kAvtli2VBXMUoLm3JZgzrkjuDhPtFvDRQJQoXlp+UKQHThaYD1tJXmsSdA26FGd7NxSA6dSRJq+R4spqu+UxP6huv9lcsRWX7uGV4ssNGfwVf6wDhukdiNg1hJTfiNrLFlJwIbslE28cHgAqfx49fcBRqQYy2H42OOjsc7MdSVaryrCzd+Rpqx8BkiWZ2mPlWVSLyu1vDx/qvhcSAQAsdV4TQONtDrCIrZO5clOs5HT4AYW+SAQQImfOxeb1E3Yd2Hy67S7uuiieGoeiHitG9NGPQjX1oZ0LPVSifzX1ZQpX4/0w/8+6D440Ult2CbjHLGCnQ3Xd2Al9QxiJsLNFKc0Fubou+x4KYLXCozaXsHwswjwuOyKWqPl46hna/1X2WMT9q1igKPusl9bkd9zrlRX8GMGN/yHrvJsy8VLc7MvrlO3u/kzx4LyYf1RD6fzuFMrCGN8Lnw+vcS1kz8QZXblLGn4s8f0IcypPVW18GWr+l/28lgP2T9JjqP07NyifWGDYOXRcZjWyyxpZM7Y0TdV8I/SPGtYjDtGn7G33hAdE2KzBuQceHB9NQLxuhygVPs4gH7H4Lk+y5CX7QXEE6FviGw8u5ZW6Rx0xNUL81SLLoc1tt6WzG6hfHV5mAIHMYznEZNUnCxWZhbL4YrAr2Ht3oq1iK7vEHSxrPB/YozLVVlxf8EUWWum0TBXT2GDiU4vRhDNW2bTn+ppAhkDQ0uXaO/V0bDZcQDqGEmVSoF4SyX8U2X4+L0K232bShW8pnJWf+rJPm9nowwWkxyEhuMtUD5wFxqzQEQajUfayAkPTFz8lppM8uhUbMxpmV0j7g/wAhnKHT00M6ZAuyDnSFB2OAPsWuNye9hSYy5ZtavuZVvnHqMIUnKeMGzPVbbbtp1xXmzG8LKaSIosW+l3fxdlqvPaTAqLsMQxlnSRUJafgw4ChJTlUewL1k4UL28erRvxdLi1R9Nsx8/VV9glH9E0MgyJZ7pXU7xtNTL5xynlgiMArAbGlHMA5Pzb1vW4D01tSakyP/9t8WjWzc1xgjnEN/O4BxmUF7tOyj3gPjDyoyMxEYA1pL1deQKNzyLYFCIfGX3jAT90nd23vjSz7I3YDhudveQVGsZVwDbvvC0aTSIB/ZodVoQE0aP5SSXVw9kQvhgxO+SFwUw4ojrwvmYBCcOMFx2pLfGeySAa6Vpxzr/ltzwZB7Z2d2LQPeNfeIByDoKXJE9VBR4pMFNKEHUACg7/us1m/NFe0xRJEFDChDTiMjBh4J6BapIWLNhDKyHIXondFwmjCHmRRgyvxn8AyZUS6DOPDjixesHs5hhX+ABqsaaVEDpWY1MPiFi4mqgcj19M0cbzfXhf/5OA3mLybjoO8hOXX97izl4XQav7glfhxs04FopUHh01lJb7EiAEgwjgB9UnZUhlV7Gi3jbt3iRpoVl2FusqjaLpBj00YOIjyVUjQDSTRGHrOxVRNMi7L3Y/bLC0RsjtLldsBWe8sHOVlAsdPy1vc8qJ3QnMS70lzU0fxCrrcGFpcIewI2IlAFvXgyBimhptZzix7AdmgvYgcYH6Y4vyUunidoG2BkDDLv9h92Qz5S5Ht74CqG9b+xgFfReXy921uPkTmGFEeQlcbAypWAwi94L0XBgpITZWsOaOmqucNwpwI88Zmzus8tK9CMWnRGY0Ivd3v9inPQBlHfe5PvQKwAYh2Vn1w4MzGinoEMMzbQKfRmX9EXViY5yBNehj2WoTrkvDPmBE1ujU4jXzISqAIep5qYZ9Lut2S9FaOpJuRkhRU288i3lveDyu7Q8tUxpaB2x3e0ngbWXDttzGTAJNErQb38Gj0uJ/jYFQmFzGkCsbNGtLguFC3PPeV2uBlvkQdghUJL8Bb6w4am8oSSRZ68ZYqeuDf5jk3kjtLZPfV4+yQvlc9uz2mDdvWiZ/Rg7rkiR4qsz5Mm/OltIW5U9m/ky56zJRGTiXCutNm1h611RMHYFSAJYQkOKh+iOLnhjF5b4kFx73rL9RAnRBnDIreYZlDzPD6fNOvzrZD1TdrGEOQ4Eq1Mzw0wu2x/rVBlCCmElIoyLq23aLkDz1JSKLWy7Bd9JO+7B28jANFHb6zPio+sQcZIqHkL+qoMLlcPeAsPSgOonzOfhZWs8W64bqaf1TdHboLvq9wx31CvZnsIzaJAReOdyi0h6EQxy7gDj/NYe4yUyy10ZJcVXciSaxb8Mflp1Jlj0dSv7dsK8211nZNxb6IoscHryXlXJCSruGiQ9PHZDL3HZvKTyNuYfUzhNFV6XUan1IDxovRZc55eAQWWfXqTHADsXqnaseZXWuvbvEP4x6vnXvcxEfIHLYGOrH2Jy8bV6RCyCpNchILaSQoL1seFh5/fBNIcDmLZwl6QJdKNhftTDKGfRJGrCFllna+qqmMYtRaRmhi77sndFCfbX4Jni/WU/c8Y3vPYF5FQYd1HkkSmKLIHNlxF7sOLEO5VdORPu0wR3guFAgfv+M3y0GZ4cl5W62Ey0VLZLQG+/j6SL7RGW7y8bBLmo2a9CCb1TiM8i6N5frXGM50iBJ+tG11hZ/mxHodUcE0ZslHrt0LTk+O0boxEkhl4Xpg89ttBHeKo9Ad6EZGn3TgZIFdf0rRE1LcHbJl0Qj5epOppyCh7UI/vDMzPLOkVJm1khvSyu70s1EzPc7VNdXvFVwkHYJBZLaC3CQUQewYX2z3FtKSouBAyg3/8HF0tpzAVhreOZ62vaS1QbCoReA+E1KZdAKldtVywQHLQaPZqO5KTk2xzVcOjymdYOjhUsyBd0sbgEXbLPGRZHoQ3dzupF+vEZUAXf6bPN7iEHh2Xy5i2nsrfX8xIavIAkmQlQEHVXW8YJvU7538DpVSHuRX6fNGVLKa2tUU5Qjrq1ZN8mA6RvZYEECq4iJbzMM/oUN3hhHQFkP07WvA2oZaAVy0U1uzRo+OKOzXyoVBHQa3Vx14geaQGMd88RV67s6uaB78JWlPG3T9QRhdHvw61tWuv8PZMAY7anhf8x0L8hujGP1MqotekDa68eGVq+mlxt4pHGfB/000dwQiZH2v9APntIjIpKKr3SgcfXi1m7l7Qn21hEFkvXa3aaNDYIgHEu+9a/BDt1qzE8caqJ1PT5qFNk35DJuKuJr/Lrh9k2q3/mKczSHmQzbuJAyvlPPp9ANcqhlntOMfEzwzJGO9+n9XDAMA7eSBV4claLy7Hq5NqsHYRCDiua/hTTtOxd8bn9rSm90dFhLXOlh9ipT2m4v5STKJ/J/7NteFVxrTZ55dyCi+lKhUQMFJfFeBlzIr0TtycrtRFdIQ4BgRpp103MaibpK7DEq8zrlqg/pdPHDeVaWw1J4ODZImBbbrXA4w6cW1rlisMTZym5GGX3HNaWqbIWfsiOE4FyPOfzmdZqIgDL+FtASdhG1qMna21wp/In6h2hIeEyueatpYEHLOO8Nqvocz2aKgMirD2bAX+hIf0+gV02sudbtd59XA5cBmuBRKWFUNC7qpti13UiIxSBfn+QvcGGfUimrJiWAbkKwVFe7p4RpITeLud8ij0szfhEwlLCtbkrtZtqFLcSYWNypn1sQh++VLVWpABTg+qdvT6hWtSP69+Tgf1Famnelp+NakPPTxo0jlPu7jX5a+v08G8lnG2LfM9JOnLbwQUp4qtSbrWmuoEOeKfrhNwefgkIrlYmlh/hgqoGYlqn7XXeM68do38PVjheUUQXkgiEpofOsoi7aIlzZQLj6fp3XDOgtDGfZbJ97wZhikpjOU8pmcyV7sUBXl+mHSayzEsUCljuZysSoIL0sxezdP0Bph3F1Eemr2yhuHOJTQzKkPbDSdn0q9fjB74Dx0yMIZb5OVVyH2wWrEtRlVAbdXF5JgHHilF45GiYhhnBX/VHeezkHbhVa7odsvKbYZEV0+9+xBDX8TGDUgresqZhSe3VIQ20V8ea2hGHAWAAPDRpE13buDilnrp3ebLU0VSiIN3dP1OLMGe/dCBV6dE++hGpBU/lyHoSfXIr+ZUVxHQrS2W4m1rOJP87sZ5/dfAak8bySYMTZhyScjMbzGg4gTpl0QJp2WN3UxF221j8f4qYRzanr4S28tAhKzUIlX56u1UQMRUdKWNi6+yAExHFEycqCV85L6Q0Ehi3yMKc8qg76xFzRqHKoSSbj17eZJ2fQmfze0SEGAMBN0O+HY24U/cIdEUo4X8e9ufzBjmZNkniDp3VSiXHoshtftXYQoSn229dP5XLFyT3CV9xLpYQ08dI9pnCxGzSezZNFws7RLEnzY5FnH1lOEQqIG0fvWpjn+p3QY3CpOH36zgGC75s1MZKcpO+feThuXMy4Ae/NNB162FR1DCawaVWdM++olzFNQUnC30yhNwjMl2RdjrXpyE+pBpXJ3/6auV8SzJjfoNRM7gOptpKQU7hIyKKNHHBdtrG+SpeaTODh5Y1p2bH5gr7dzDnEiA2jdzV96xkBLj99/AIqNvqrFpGxUCf7xaY5uoOp1uTw+YqSo6Umpns10CjMjiDg798Rt2b1tq3jtW/oVg/iBcETpepqxYX3WEOXkIsS6D/kzKsY7zwaKL/fCDaFo1HLxWcgeFQjMJp8aBvcEfOMwuc7tFqtEC1oD3GYF6BWXmnZ2HzJPt44CUEAh1FY6TlB5junxw2rYf4B5cqYqexkx0fkmV58imyp46Q/Z/tqveMvJJeihrWjrTaWn614HiBapEP4hOhf5KW3K7f1KN1zM9TCScRFfrd77L1DsM+zTo6asCdhlhvQTGgDsraI8/ee65GuQXGglKhueD/+9eSTYbEn0grozxj7BwEqFThodEGBf2KExDTUmeIu7D2uQvp0yfmvqG5kh6cHmex5B50jD3Hx7Ku/P92KWARZT0Gf3g9NsYXDIkcu+5pQEUEZScDMmDZq76Z4Nx0q5HnX8shIhkx7IFSrbXhITAPLdC3LIMXvO6HAitEve019m9ABMIIpJzQxMRLH/gA1B+8hde5KmRQMprmQGQKrRs1B6zw2RUYSEgAXOGRCocfpp2rp0fpkuhHvqtzLLkCM/0kTY/krYMaq4eFB5MIxAjMevx22NNBBaSQNENz4AqYlH7KH7ZrphDx1OppbLBCXa6H3kMMgGJKimmUYz+0m7dN+S5QrVPfXzmBZZlmssCNIn6LfNgCXBTw8hbEhwgPmxpCFVOKcNxhooKqOu/MrT8rn//I00yNVelk57Cm/0czFYKO8T/iJKpKuK3evP6TNsXG+TBl1cweVWvYjuBFlwhvjjwku7E/w08LA2wUPei4LoJjlDb8gmtAVW4Pm5mheQCojih4nvXDg8qG3mHS9v3o4nMBzqzLDzsrlfKGqfUnLe7X/m5Oe6sV/8ChpQswK3SqK3kCEnXNj5WqaZAWnx5qU4flyhyjamqbBjClqbmpwqIITc+g6h9IG6siSvSdEQJAL3AO+oAmA+yk/ZzWuJ2uZ111PtmjjLuF82v+R9yqclGUOd8zpPefsN2TmcIeyHmMcsB0A09loXkpvc2WtTfbb5lqp6lWlHakBrv++BGJ5BITneTq09WZORSTGJMcDkjhno+eEFgXA+Is8ThY0KsTlhvlUAieDPngGHBv8ItmLWjCiS1Kk7NlM4mLaScOXPXflkHJkuRnkZiuWyO03+2CDFt8kwuzkVaPga2ariWxiUS7UoF4kIIjSUP4AMmRe33zyZuxajQdMalEi3bootB6D103RJTaPmZ/mxyLTvwxtcnnQ7miwtvIh2wt49NqEEIcuV+gk1If62iuVNv0DdhOT3I8sCjwCKQ14+VFddYzNvW0Wid0YMOvwW6RJiOSGs7u4OLRHz6GTJRKbQMlRUS3tmqV8emScXmi7Mb/m9YvixegtXOnkfr+ZeQl+wPOvXJtYVDvK5LKGaEiLCR+VkIjY7GwTI+Mq3yDvgUrPTaxX2w3ypxpzPZiVuCSjg7KoloSNLXTjZG1xUjCfJZErKJCCI3mGi8oNKB+3H5XVChnIEvJPUrgj9wCdujBf+BXbpYgDlwDFDfni6bBYUnhZ7gl06moLXtA+JyTwR0aStOAh6wTU2kMdpNWLXmEY3QSMD6rV5WgumXCglPMPi0XZQ3nSkKfwnDLQzV6QouFyS7eqGWn1+iWrCNOqDnwXhkmEVqkksYMsNQgdq8Vz5cquRBQsexY2k/MFiLyvw/eDiSmHoMs2qEWeLGtRDxdZaKyDresi41ig7y83tpwHDva2B92BtbIo6aosY8hVZtRs6XpSFN1LsrY1sA5ztd8t7sjsUyqpoFbXlmWBVWTcmMmhTih8g/ZJmQ6dhqMVu9zapsvMfDKhnMuAZORDnr9NAQKnnMdY5svx6HGoBanKjf++e94nBiJ3j3hoW26v3JLTAktVKv7Vbp/O5LLvRShEHAb3kg6ahR02oAEN9+u6flEY9xgRpUSuvp2VFIl4a3Fh1nzM8A71ZiwR1NrsWrXl9anKdNqsD0Eh1G4nhsLbgGCJtoUnFXTnVjvLIn+vN1FkFv7nVYQw4RQE/xAnY0nLSD2IgDw5SKM9JJjXG/c1N8U5M+XxoncluqhA1ssy8GrF2sirZkdchERMjptWh/86EYUk/7vKrdd7W8tfHeJX3RYF/H0/AvNR7iWnWnQ9CUeaWebYeC0Ws+AnFu7GbBIAviEU3dNumowa79txYI1J3eyiT/yCA7IjeF/3r2UPgQkk78EurI1xFF4AgpofPhmfP6leYHNvWCUV/4uyLwCjX8GoIk5wp0ZD/Kms2YxoAef3nnaFcRnoVWrWm/MVdo2MaYjec1EiYHKYk/rxIyscLDx0h517k1VcB4ArDNhoy9IX67g2Thv74sjBV5GNY/++F49ZZcixZyuKCXIQvcAQ0kKklYl6A5822uMxZ96+USmpRoM6q9CLeTndsVF2Qtxhvu70QzljzDIpQfxFOYviQc0NC5us1vlKQFD8Xwbba0cZh/vANU/kGgv9rm+6G6XspJ9LPz1gEOPeFiiqBV+hdD6R88eiqhZXSegnVlmo8L1HQRHgeQSkk+Zbec8OzxLlAnYqJDjaz0dDGuqTD2EuC1rTUOqKjKWJO3mt+GpTb6QUkQUI0CJCkG2S1/UmlThx5cVDnxc+qEzqxFJhiTCSKMBW5guulHJJ1mynnMFQ7TSfUcGSeQSG6rZYIGS4KZC1lOmCjNvg9DXJI6kjnifqpnFeYfCVt6pZskrz9x7gS4gWqOGin68dPndsrO0m2Ekgt1D9BEFR+8DiBwqKFVg9LtejK4dBW6fhjGgweBRL60F1use0ZhY+pVoNrSvMOpDUBRKbmja1Zxe/ySrrL/6EBAQoG0ULbIdkcqc6J9+r9PUk2Mj1Fl0ckZCqO2XZahZ55KKVQtPylPWLI09RLNMv8v7X+dBZ0Lu4vSLpxxqFacGJNQ/E98Tu5GyaOxV4CWmGQ0QVIM5mDUfHdkAXWE0kReT84SPKUT/Q1E+XKnSkKCTE8Ik1rTESc5+4MGWaX/78w6UtFokCsogXsXf793oWUpbNw+3xZCZ2704nzh5OHIgMyE7o/T3WmPFV6aYZmzJztdyl5dfzmcp/3ic1iBhMrrZnEGAsi4C2QsY2qYmCAomScA6rfiZl16FGBfOHyzGmNlpjgRaoEM0oKxZI8Oq0he+57C8J+UzyjuLkJl5H4wo1LjaKDO3Amq26iDgD48kn86QyymmUH+GlTgwbQWsR0zju6t0qn94+YtUsBq6QWzMb+4sA5LimPHsuHx+qACn79DzbGMxCS5X+t66VkH2c/bJBAw/1YuFKbgU5sq+lSE/lRnxK3ky2QRRvlH2z2kmS2boblf536nXpGDUGuTitZuzV8q/WLz6RfIfK3v9zaXOrrandfh1fpwh7rTn+aRiZVOlroTKSZRt1jfYlli9S2jb2sLgDTuCd3xDVgEQymTrDUzzXtlAKPBvPvjjEuIKy2uLjzQ6g8X8vygPS/L43figiWW3eBIK4jap3Ea+dSjJskNfGthjFH9qlfZu3BcvBMLmr+WVRZFGcOhEftLCbZdEiWNlOgz2rwyHgdpEPa4Lo/hxltDia/GwWpbompUdQZ3Kgd8AMQYsCSUWwstj8NoOGIczsZTbvY0qZhFlmBocuGmF4v9Kdy4uqmnmJGjiPh6yIZvakjJk+cxe2ugv+FpiGY/C02VgSsh3dL57VB2zFrtaDJc9t0MPixs++wr2n2BSdN3uBAN4GqpLL4uPfGRQ9fODH6219k1Cq2HwKq25bP2BL7mg3NWSQkwTq/h0jgbEPeE939fsqp8UMzzt6DtqzA3zjOq2lcAu+78La9qHnhP53H9TaynEgTyrUycp6a7RdesgWfPEWv+POXHtMQ3+S0k5drlD3omKb5OdSkvcIJtGwzqD5Se2EjXi5RhnP1nZUQGNoUizDhsuj83gHb8bqzjC1mmE+4vrfkC94MlSJDyMb4zW9wSLUNw9grZ1ExPjH1w7woISCVsO8YXs8W+C3ojS4I8yYH00bLXTXwL5LmoCNlxarCLVUNzNY+cMlzJKsONTlwhCRHzakwbcY1HOQAUS2Fh9he+OHy+1FXuRZ+oq+GmZqlBozxSFH9fhnrZge8Qs1XV0kWxuuUGoo68LGz2B5F+bFb/PvxdvZlr5MN56o5hkxY/meeuS/1DPkW8NM5rDffAGE7oKX+GIXGvA81fsowIW8egR/tPDmlDlM2TBIOpZfNhbmLMP6YXmckrj+SH/IgcSYzQHVGGHrk4SyJMMsSZa6SZPoniT73fhHmnm0hXvuzLyH+60sbM3Rm+B04ntUgQltVvz0vN0r0FUPi9iNNx7fxivB1atqPEriMt0BqLvXP++jRJrOj9ev3ckU/jF9DCOIkJizSemCa/VQKZ44Othid58OUUnyy33yR875t9PdQLMNWJiG4FzaqYI9WPLoPd0eJW/FFAUuFXHtJJN3V2k3SDYeKTB62u5RkaEMDChmTLjJ8zYVKk/rvUMY7l0glkXxWj9dLbA0GsfYwP07INi9ckVQw/wz6OJGSg0IZfhEfhRMN7kx6aZmbEzZwXFU0SJZE32Ca1U46UEA633So5v6n+IRtPVgikG2L3ytqFfgHc5357akADxCSVsJKGVDAMT/OocD7ytWe0wrYHQ2MjLwv01Bi91kQ5yy4g0mb7voWgg5sS/ndDjmq0AJK8x6rhGLv3Xr9hpqJmy/XuXLXhUb3BfWD48D6tRYq6y0SUvfdjGTp6JrDyThzSwg0+93zdGXWGzUm2PyjJQBVUVBRm6lGjSe4E6UyYEW8PLy/zCfjc8q6L1ZmVhWEwnm8X+BPrhmbyIPozWOagf4YgsCQWCWn8UjErGqkEbvLjR9V2pn97ipj2yCDwCV+WmuuS3pV3Gb2AY++7b3SDop7ugZ61kcQz6v5F6bNzOz9b5f+YemDCZHEKjy2TETcBuDxodGCEidcegqldYnicQq8dN3TzCKq4ndygoVh7Ajg+1ziduep8gh23/S/cJxQZhTVpwLjBMZrs3hiOGgF5+xxsvTbhdcAkKs4LcP/YSReGgh0SEIgSs2LvJkHOWj4bf/k8tHcSr/a7fUYBOVMC5d1FNjy+gEv7rVBm+JK99RQleja+ceFERSr9tvR/OTACaTL0YtUsBa3HiAmqK/Go63RGwv6qOJVAZP5ttma+dfrTA1XHai5uiqPX/vBkT/TBBcuvfC/dSzVOYlg5gBXKrmZ2xx+7676Vi4WNLSAMkguYJ0QfgdOVtK8No9ehVQbgoRWycMXXqLA+880U97kwI/UbwjoTrbtFrQSVW3r0S5tD5vXhs7gl9mDsJvI4GK1rBJLnzoLhUhlD3ADCTpkeUpuCSVm5oZ9dxIocY5fOFcxg7gROVTFgQ2+ZUWxNRUe9mZWm3KsxahIqVbhfa/9wSc32eTLx9asjaSikwsFGn7/xaTHr76SNF4gXV6wzUNjh/tciVI/21UeyqEr4V4QYe3ue+ErGguXaKK5pfAL0QvbFI3qhgCs0FJaV7DY/Ojb8uahPT2e4RAesKG+QXL49mX+lAZRN0nocoTPd7+WzYICweVKLjvjefE6nyvB+M+5RzCpWd5H3B4KstVCh7sU4Hk42cqSR+fDtt+mXWX9hVjEkanebENqqjeuETGfHAsVQDy1DnQ9peWcwjHPm4ZOkZHcYp+p7VfKhko6phKSxQYeWkNKKy6VpCekaHqJVe57uik5zy6WJT5QKhv3qMcrDCkd9OkahtTAclZHEn6gLUQ32clsa/zcZPc01q8hupH9mZIBxOjWEU0efDjU3hKSPrTQ2/zn2v5jUFBgf4n2jV0ZjcX32M6t0kY6SqxruatBFPkt+ETtX1o+e6sbHx7MxoI/t/3BvFiDhCQNNUyHKSLFMk7df79JMJntuYWIxerIVE1uNIDpUn1hT2iuLuKbpjDMw2YnovMyXZ/YXyh/lncfaikI8eelzHBYHoXdNYxSh2fzSXspHD7TGxmiu+MV7j5eyrclXXK9rCIY1TwManl5u/o/BQ30Sv8WCFpE4QIn84hfQHkNH4Ev2CclbCPKOozW+jiZ9/0LjJj6kXaVL+XiltghRy+pBfrQmRp94LrYTR1zUUSX03H95RiZSADkYIUYZL7r9VVEwC54f2uPbcfGUhlOHC1Co2qrAGBpgwyIEDggJ8ag8tMQButB2E396+/P4GB4oGoZ7OjtBpXklBwUf3HpD8INUCcoIB0sdIM0vT3fcbb3Faro+jcpelWVpaPKpLMP4itRvbetnWvkctSD6F7nC4P8eZqTeFaUJDnZFZJ7OBSmomwWRJEWBH4z+tzTm8a1NCfvc4d3LBMKtXaNWmMF+GwMfnJDrNY8EDdJJZgEoK2JX2c0CKVcognPilAVwc4fpdALMwlFAYRC6Oivmruqn/mcgyl5EaI44ra5nN/R3rIsQWP97X3czdOMiNfEQt5f54UPJlv8olIuxAqXCt3k6g/r/dcXMu85rW1TRgxnslJYuaYLjjI9dTF5SdPsQ97KYsZ16uwWFf3btUhIhJRcu5UglaITnpPbAnsAjf22nqndamRaXl0i77kX30E5kn6Scb33E4AkGYsBSEkQeXj6cwdx+ysKFwhwPvrcO2D1mizftzE6cVsyjyjnbTkEx5MmsGrgjtlBj5jbIJ+FORTIRVF3LO9KRLrbpQKB07xeXEeTwSa/IrrrOx98JPuMG0YAgOKOQqG3fWoR81pzCNSk2MpEXMwrnQsnX9/vOt43iMhCiDlbJ9cZ+YiHS5tjrbv0s9ch2Kv9G7IulVRQ8FX413J8mBdFpnNhT+jeulQ0t9tMrB7Wws3jYhvJ+FYUHOQrWT3HCuMmzOGd33/ZVXwdsVFF38z59aiaACP3zA1gqOKBWxEDt6/wkQ91PL2VYxkEfkziupV3zNbvTWNXPaBqydyXPUYL0pBv9yY7ABNk0hbk8mfKtpAop+1fZui3ITgyery5V28oNOLJa0nQ+IbRuvQ2g+xIpsa5A4KdhXpUeu/KThRf70BRhgevj9ESQPjZtLMQjlvgBLxIztw/d0nBNufMX6VApXfxh+chisBSIqP+hLhvymwX0OeTFL8Kp07iE/XcRSLuV7etUEhRXZoT5WMgr62Z4QNJiX9yW0V784cNBVrb4hOTNV/KAQX1G+7DVozvxjOFUqvQYokdRGelGOp4YH8UJXJmq8EyAAIZgYqJdnP2UENQZP0pJ5zKm1lPkdfkqzX7SMwIA3LAI7WJw/AWd1Sm0tE9YzG5yypffK+udUDeVbFpSE6by2dZBWREw7b3htlc6cp5uLJgY0tZaAYpF5lQMdzzAK/xxWLMC39nr6Ju1BZYd1xJOFshIsYn4NXtde3cbiK1X460u0oYmAc6exF/RFqQomwgkYH/B2cnwNPXz9imqL9bPpS/hMvmuR+UqwHz1cX20DZspmd9lBWSaY+pFcj35Di1vDzxR4WVa1oK2IzYkeACuijudvbvd48wzSjWUhyS84TMtR48xjCJat54KvHBhIrTbjJb3Oc0RdmK+FSOo6yHzRjt4aT/tw1IJ0p39uIZ7p0GG93Q9A+/zjiCDFQADjrPoWfQzRmPTkvK37Kb9aWmMAIuFm4OL/IEH0p3biqRX/LTunGgvt/aMnjW/BK2MlZPC3k7W0hAf/vGXWuT0AxhKYJwNWKaad8J68QSifdrLLPbqviWJjrLV+BfLeGsjgMKf0Em4hSJZSjIhG08MaLqcO0PelYr5K5pnjFDc3jLsNLOUjxEOqglFLGGUI1grxE77pWMpgrIUGKRhgtVR1pTLgdIHMdOFAwC0SWLvKePGTMhjILgqhtCvTlc0d3SpJujzVU1YcpdVXaCMfTjnFXpfZggfvaL5y3/fANSBAjnGf2vpUdVOzVp3CZWXncSlPB3bJU1wDQ++OzQZ9p0q2a9Uqxyt53VGqLIbTqCeRrxZ3ojpo98/aM79p3OSMCf6OJ/9xeGEr5rRTx1j5AGKtoz+n7m5nZ4KvRkhnaYY602HUAJTzWraPtVmoqO/EAO926qnYiWQizG6daEsZmaSfEt8tGLETcN+W+Brv6LR7WueSKf2CGLd3g0OhKkoQfr5+IDr6KtJhXivqqVXYyf7OvrFI/HnkPC52zZb3qjItvA99yPIA1JRoOzIXbn4rwvl2f8TEWVdn4l5K0Sl3uHCEXeTRcDaDnHrfjDvLDfBC4lp6WcNRt9UY2VYRijn3emtl8oDS8wLBAitxjwS6VkB4AQRA2sS8B3LY1IOhcPg2jXkEAT0SzBWK9xYcFArm5srFrBRoazZfX8rx4UhMcJT8pInJV4PPFt9geGPAZ/WtnNUHKNf1g93LItTtEkrYr6wNtsv7BRgKrlW11O6nNhKosBtURgjS4n5d+7bS7bKct69tHRVkBltzqHri6Z2BnpQSf3W+/QdmLLnhcM7UdwIxWLhcS5p7f+uIXytdOTk3jX8DNkWZGNdOATCzayoo8uI/vN8iNVfQ0i0OzbEX9LdxbPqyk+s08G+OI8zzw1BSoGk/V48N4M8e0ukmTqfUseWqExk+ddadBx24fQmdzuIZODEf/NYlpQBLuhIYWtLTvmwGqvPa2s4tq0nTlQ6pssU86XbYSXs0eUcXDFMjptamGdK2i+nDoUIqKpeHtS4rcIYSOHqR/smUpQJIj+wnkw3DcWSzf81oelOf6abr/xNunXM2/SO7gbJ+NVMXh4PASg3oi6eVU2q4jj9OQXNX8LWj1hoPPf6IbxqQZjIDUQA7xpxscVt5E52JyZ3AQaf9rQj7UKQoyDXL0gC8pSFyQ2iLxNCuM6zbeJAObTlN2Tx3aiRFOqgEzLVKwq11rN8jaLlozn0pLDYke6Pv/8izDDm74Xf0Q0hFnRL6UvImQgxwCfplw16SyCY3Pc2ftA2xjiAl/cpn4xWvpK/zlalvRp6cTcjCEGF5FSv4XIgEy5T5e60A3claZnK1o3Qx2AT1rtawKkTM1QS5/jB29+NvNLiRdAF2GYZM2rejPjsJyv1RVwb0F2F0RiIShuJ7MZptaSAJoUdl2OBOAaJyE7YIz54496a7oufafoTbVOMb+VOY1/gS7zgVAhMjn2rrj1Yswrvll6ciM8TRL01GGXmnYlcysbwn2800DLpMLk+uHimG1edzlcmJgjtJoMwrD+XtZ6YhTV1VsTaXC/pbGKZ6Q6GbpyuYNlMbtIJVEShshhs91IWJh8I6WhbrbJlq5Akb8usCqdnXsBoUWhAf65zW0bn294LUPNag9GaiOp5i+evR8o8wUrYG5zGllfESkMGgH5SQdIAZ22R6m5kJfUxyhUlf4xVv0L5DfF+oQiSL0tJHSoekVpI69PlNQZ9wch3tAo9AbvziWqp1mhhXQiCca6kOBhTE0FPbo7lJ03TXrR1Vh6trI8e9llJ2LLJTr1/QSPUGmCK/0js9oBFGwnpzNupj4i5Qvf2BHx5r0QCaVLHFK3T3hCP9tRuI3CiC47XElXqCHX11xtlmGEe5f8x4V75G7SmvQhNRGKYnBZcgkH7CNaEQuNaIFourQTA6gXzHyd4/EebnHAYbeouI5Ix35hfcuT4uXg0TdhdKEMJ+JwLVre7m2XVdojZh58vCJLkPUaApvZH6YtNhESX3p/fipzvLvln3sfxPKv9asgbLAyxqw7RE+D/WTXkOkRm6qmu3zHzdivkYBzsmc2b8wKyIcxy9C6KKuEp7AjGTw2O7Tv7O7Dic3Vz4qdG86itgWxDoel/ky+/nTlq7+KBZcvnWoJw39+GYZ6C7g1QWWj2stziWxvD2/S6LS5df14ZqQ8hnbH9SvJHsT0QkOSwqDk6U5GdZ4UV7fHkUW7WcsX7VI6kAdRVFOaHqeUJbcymyy6j3zXe6mo3nrwctIjX5ddV/zrPePsOioHK/+Hr4b1OHTeLfG5ul1T0K8UC7GVVIkUu+au+GPLQwYMnJeisxWDLLY9ELUvSdQX9b/dqHCLfpDzsVN0SbSwAD3s8nBet6cVeeLfRPdfl1hqk2vE4gBp+dVEOTj/qng8eF30lOkNAZcajiDWwsKNazmm2K3i+nXG27pygDEeY+t479wrtjMUNvozCC9F8qh4+WuuJ894+vtI4PpRAM41mk8Fsj6x06MIqgkoGdaeTyDFQah7ZvV3R3aPLUioVTMhTPmZRNx199HZJBgHyAxTd+FjyJTbl2emMrhxzsUSTaMv/nQjqb/JqOWFDaz+ayCnYQhhI5msiBqFlwnJjn2QgNK8V8QljxZ/2J4PTrTVrpock0+HrmPT0YzjkG97/a9jQ5a3RnMPMoF8eNDhEjfPmM98qugZlkse/FTmr2XJANgXdi2xRlp6GhJLSaPB8Ie6CVZwzLurFLvnzfHc/xV7txgpYaiU+O76RD6265UJpqbnyXmFm6fknweAt3/wUzCP/E6iFMoew4/EqzKuvOlmZyhycfHD9SX5vNo/nuXoBArqf3FVG0AeXw2URvFVzsTOeNg1Ci+xM1ZuawhnJnACr4tQ+OLFmsQmjHUWK+Gh9PdJyA+GUf5MEriDtRZUdA0Xba0iEUKSBrEwfMiyMmCx8i21e1Vh/r179LqZp524Y4KeZz54QzH+0i7Jes5yArlrFS6DD/T10FsSd1GvDOp5+IuCWhIHBvH0alaTv+HW/f0RuiGQCeQLXwvvZJ3axzPGCrm6Hq91yV1Cs4LaGG1KKcFM0gWwj6yWOvilTYY3p7hs12CYMvqQSylwhkG9j4nsj/wp5YmpeYqhUEYJErWXdMHR6Wu2CCgFmBTXMfT03J9YGPVJJwDGewHpE5tUrlgqUryTevVD/+W6SOoICUez1Rgbv6mKJvuvlrFaVlJlcbBCe5CdE+vVfKsZwElCljBByINPzDBVWrM+LfDHORWaovYsRDphou9yen49vEQN3Opx+leJzBcQk15wT5IbiErkwzpfNIU8wNuLJBe3uw59gFbApfVLuTMqwFYjRU2q0ArmUpPFUzMoVZYm4Kn/41qJ8+/eSZhocR64Ns0gsiriIAeTtqCfQXruNJEwggGEyNlHBQ2LGWU38fPxHQbH+Of8VjcWptAI4rE9HlvU62blzB+Sph9bPkyPlwGGeDMmK4puLeeB2eGDcYPjX8Y/eG/e9P4UKp/KXlWmh+Qu/3RHfjMSwA5PvGYazzPswWRykxQxvYYuob6KY8iF5cKeYALA85OidN//M+qtlY8RbhUNYgXhHeexbhNwWnREn0vXccOVzqZYd51jqs7MfVBA3rAxq5Qo1OuBMEE5hsTo3TjCx3drCcMEPPCRZHMba6AuXRAg6JlXBB7LQqFuB4cIdNiHc91o5JPso/GGZXppmkuHkWsIPJNEecuqvlncTxHjlmUYr8Cu2qAJwo9nNp2Z2XRl2iaC68nuaPpJoF/dI0uNfm941uIN/fv8QTmV5ELP9mA1uD1N2T67QqNzQoC5hZwD7+fwjSi7JpUnrMJI7Y6VIJRoSg+q4E7kNeeoLZooH/a+LPWXFsKyq6iV8X7qR+oPhmrTkQwT0EW0hNHu2TH7Btw7UXTYJAmdU5mLcQrP7zLFgmR8p1/BYXx0k5kSGBOpZ/MGfShnBJfstfu5Bl+h+emqNlaMKJ4xych7rz486A2D7F8diBOjSZsSjsyMdPC+U+dE2lKAPOACmmmBL4C4TLEBc3InzMCknvIqakZdKawJ+Q6Cxnb2QkQmaplmAawoDD3u6P5J42nonCbQPwTKlJBTPcdRKVBBvDJY54xso2k7UmuVvQ4DuBJYg15d6PNbL4xSPrUUmmFeRsoK35F7jotVPsSwyTn0m8+ZVLRCG/lJQe/uQYcHUR0RdsRHB0bZrg5Ytj9u7PsVIHk/cKBRexFHX8YGwm2Z1wxjUWqH+J/2H9TFAafSb/r6xDvAXMSMoYH6h/T2jL38oFL3NO9JsnJ0LJupUjKyUFCHNtqTsfmkxCq3+6T0Nlt9OFe+fvnWwV0zc+0MY74B+oKivjVO6chOIsSiqr5Lb8wKVgqHbT4TJ6i7VmOW/VFUmWA+zdlwhWs6K0kXRhlwYqZCoSQnfq0nnQzQvdKuDe37TrLhZ2Y/Xn1Yw5ptaGACmr8PQ9sQm1x0q+YyfvSmu5d/DfoO5PTLCXqUs/nB3BKziechs2KFX1tr2sN9qtWBolL7QuPpVJeQ4qm8UjU2598hCrhpWviuhr7IlFhNRX4Pj1TWlbiUUNuNMecmrnsmBhIOBo3fHw130EJkSyp/QwncT5E/Kdi3Bq81w6Ojk8gTQsASmqYDPS2zzQUbSowXGqrkClxBu2LTrE5wmhJe3O113H5KsX34YoR+gNtyTb2huUCjTLg/LPAl5yzyPamnkgxKM/MyOLA49ZWj8cbuCW7zdjDDllsq5eM48u5uhVs+jAzC0F+gk/+PYKHxlJrrsrzDl52hyU1AjZ6zBedt0u45AXE9UIqdsTvs/Txm+1Q8zlT2skitXJkNHn/1rDA5Egz868ANz8PWqWwrDPgQHFBlE+LPQCMRYGb9V7iVUGMhfjP+n19KlLVAthtkzfYfGBSgEqObBmoeA1GTMBJQS+ApIECICEOCkiKMa+csYYjit0Kj13nfCv8EyQnwilaLZrmpXbgqdmHB6utfZaE4DIS5aHtJOS00RpgozAV+mLBCbPaJVFHdxBxVJReU5JKU71KwYQBHFI9aM/dXE+P0t4MHHlP5fFC7CIoHBp+VzFTlG4JzkTeF+Qfv+R5JkqDjfQvYUw9TF7bNT5Ht4E8orJoyLmzHF2tSD1IrAhyhYd0JfaSjpvhdcsMeemw14yVXjPZb32BvVSgIJZAwHOIs+6UoOfrDvUZxtGbdfZ51OGiSnHvjf81KIXGXtUi4sl0Q/OvDxsBRHJEmJcItHueOZ20EJXrjkg9kMbC1h7V0/G6XOpMTmJcuXRgxAyoJgW+bgLzmyIxmf4IC29FHg9Mo4sPTuCxwF2tYUlveNR6oqXSjt1PC+Cj8RrgWpbA2kYZytvlhYla3DvFPedHJE32ynlV65qyhK9uoLEYIFra18bAH2pIoZ9kU+bDp5GG7iRKb6ve2vS/Gy398mgAnRpuLe7QK+IE2q2Y7mvfQtEnEMSdSgbmMPkL2Rfb9oD2832xRQp2djgGmKu0p+sC50kSdAWOuNMuWZO8M2lfSlkXWTpyEJuiJK9hkeYQLGPSZBvWNELjGqGqhPlH2smOyR+jDR5kkUBzwfZEvL7e0Pv0eQnbhwf5iBdW3h2vJZByHVlK/lDJn5dIpduv5W5GsEJuslDJRXQ/hTyMjl9jeAx/o4eN+x1mkvstAnc/e7H0QLLwH/Pyo0VbbKDXDVbYah2WtBk7HWhNi2BuUilPn9Egat3idB3GxOJNBXEflPGvr1rSjJWEjfaOXPkY1E7McbfTv97W1wW2+UI2mkW9MKkmow1ofcR9TpsR8z+XBG0wLIhvTZSWQPI6DKQatKmkz9uCKwgyXAZnDrCYhCXOU1WuzV1eFRz1AZ67uKcKimEXlh7Tzi30oXnpIfaeZC34aIgtf0bAkh23ZpSIig+sUOozF8moajTu4344mH6tD15U8MuKKgfE5z+GPWgKshOl3uET9V6mwl2yJxIoLzUj/TklkQ9qQ0kNa52Y1SCHe6R1qCkoNnWT2+y9IICw1rSPDg8mcT76n4p+RxJwoMLxg+jxYhEB3GsniYQJfHNUOx0VfgHQTSZdykNR5wCQ7WF7TD6letga1bDlhfo0xO6/sd5m5if+5J01b2e35LADUrBXfrNctWSvL4JhiqYdWpBLWndXds/jBMska8JoQsMUX4sdhkOc+J+nPupJC3T6PtQsH4rACdX1mkPJ9LR6mrRApc/5DmkCMyCUiB7PyJw+569rymALioO7DEQQbgi5FdSKnaqoVHkvi8c5pFTofR7JPZgszjMpcf5OLazvmDptewtB1iKYxCdjPUREXRcC9RxYrrxt5+Zm7WDlhJYPKb2o2egnJ59CNIXXlXNvnPH0ClRQa8dPuTfco2rzocjArN6npUuSoQa3KLS5kRTgVm+VUD0JvqLKKdzDOdR3wGzDpuXBWbfzeGiWha9VPNKMQvQ5e6vkuxfDfNGDaOm4cf+ounoXWEeay7NVx1ZV8V7ZiGcbVl4D/x+XZWGCK3UIxThNcgwVBmFKcGAkSWitp62un6db8vP/Xa0bRXu5qsrzqUTJl3xCKPOYUxqIazu9GwoCJe8OnsdtleJ4bHpmZRS8fpJJhGJxwc0Nv34+tUHhW5VgI3kNlevRjrlJdKxbL7wY+KwKU+Kq43xXskNy/2UmEGoO7J59YVvQLLuIRtB+bZsBoBchwLufDFfnGN16h93txYTaG2Z3xiYp+ycPfVmocNdwEiIfSFts/z7KrIXX3tWkouRzc+f4/EM7XI3prsBcz6BIU1x9NBymI4DJXwSy05X3bdtxC+ajD1+TvnWFkLk+bzkty3LgkyGF1F+kN3Wxnix3qoPJChzPy5VMAX7TwS1DreTpLSSgGoHs2UGcpMTh3DGmxX4l0MkAlzc57XEDhZvGt2UwItiTygdRBNpL4z7guye8if/AZ/OTCZEvWYGsQ7haS4bReieWb4cU3x+2fGOYGTmWboGbFogHchEcj39ad460tXalpqmZH8w6n62wfyGcPJHNKPriTBO4cg1qfMzqbmPwVE2d6AIHfHOF41IpDxg6QrSduFs+YEzK4jpAhABHZThPaHbscCgrT2JursN47/lm8ATe4u/eKuMsVrrKbK2stOFXWGiZ9/RJsQW29di3Lcioo3F57S2183fsp934nzjmP3dH1miC9pWxd5U1rjZ7SVroWzwHP9+TYBA48Ood+yqNslET3tXCvs4XEgRgz+GnNnTrg91qxb2JFDQb6YLK5++fhxXsvSMrRHhm8BShM6ewZQdX7lbiKiDOwejKV9IXo5cxg5d1XD2zSkC4xJlm5cc2tnZRO94qJfaZDwsrVjW/m82Rmv0iBBitRy9yx5lHP7cvyiwX5zjiVGUs41MA02Xcpqp177qmFff6fGjLyM2v2/jXjg7V4jTxPft9BOwZH1wzn1ZRpoWj0kEKSHPQZ/fi8iUhHAcouGtGOteOsord47dOwi7cBHNTmqgiQE2Bfn8OivBNG59Jf6btFgmGORFtE4l4sFjURprwrmF2J/sboKABujFDjvHwIkgLzgBnff0PXgDXVgZqAQ0hQFfoTbtZ6gV/fGrg7jVsbWw7HL9DMY+S6BYLIRiemahzL0ROFw2XJmO8YwP61jUZHfOlo+snGoCfZrGKohqrl24sv3F/oAl4wYNDI3nAafiisJF/3+5l66UdAtxSZjlu77LJC6XJV4q4GIPUCVwHm7Mpq4dwwpncCutI7HNIYFc//yOhEq2GcTiPqEVah/QUD2/f0EXe7h5Kv8aKDN8bTQ141IvqXAUg8+d/0R9UIRfZnER6Py63Fzi2zrnKKis/jRLNzXsxPrj9/hwZD6aJUl+y3/1jBBmK2IS1jnhd1ixDCzm3PAtdrJt1lA7yJce315ZY8ifNaHikbEkUD2NqpvUrgSKmzm+4U6rAAE1RERIrVkyEE3P6gCw3FHY+RidnUpYzokoEwO6aU6FBqCnBP/zD90BDp1FO3TPgo2Jn2pLOrFIcJmpIXZ2hcb4YAov4iqrCBwkrCf/MT5K5VoRPfofCsdNW1E0jr4Xzt6aFZQQ5w0i4lW41I8aJ/ui9ME6Ry+DoGCHw2+BaJJJDi/DBH+3C2lv6eBcRpv6GHz7cNwtDrl2JlZdBC5WZTXx6kfZb9DVpbc5t4hKLKzwT4B9Q3efyEEUAEZlaoYS9Mvmubp96pRn/QmVX5XU1o/C9D2F7InGQudlQfvT26/8bwRUPrjRxH7dK+VdtZDSfindyV9lOVSDsu5P5QtJy2745IxyWDDrgV/7E+dpMVOwHrjcZ+7pCCSkF0yaL4jOsyX84ezwNWb/VapVTABYy+rzsDUNt59djza7V7xS/hDVEh7xXUWILgROciFbfbbkfOyI/YpTVSxB0QlFliuB45UPzouITY8dqRE5WraLrog9u1hayitYh9yQz6X0hEHBljIbKpBld3y2EKw+hgpOHYOzDc8DKI4FCCk961OsGwipePherMIYiaWgKh22qbE5h/6Td3C5lELQfU9iiLgsVFHxT4r6tqnfiwbTth6xjEdyTloEmUQco1PtIqS28tq+AvWsmBGxasB1SeISmYZPPkoRrzvdh8oI3hclYxo6dEvXgsWdTuufaPQXKPSeSG0IuQIPEVw3Uu/AgsA+g0/AKFEs98Z4loClRw9ioPPZ4B06ApMdVWRgNpEUvwsE5u4yreoLhVn1dj7yVJvisfijnWAxKYOL09+rFilj36YYu2xEpjNofiu3U86e6oQu1w83jafJMR6hdylLvwEMxr0P5zEe7+c0PKoZE6pRmawAUfFf+a+sKDjsNbZJafS56zsA9DHa2t+zvTRR7FOGhvCXAWDRJsv6A7OjfEoSJeoF2VICD+vqsE78rEGvcfnrB2YouSyaTUibP+dHciyTDe4iGi1n8H9FQNJxwKVLi30ZULnBw+BB1I61sRaDu3zHnML5prjUjyPVqP+DSWmqf7NugqEo9uALD8SLQ3Ah8u2/5txtFGVMSM8NQ2zmKB8AUdTIqHcuVKA0o68/NQTv9G+GayY29JfXJmnllYWw2oMLxC+CxeuMcRaaXAK0txbhzlRzUhDgEXIIu1pYTS7KEOCBkeiIhFbhTxxLac0BCPA3rCff2GTyMW7EafHUrAedUcBLGJdOYno1l5SMzBZYchN41yHl07tMnQBFHaTvV9liCiWXAwlxecI5zyTkRIsl1JPcjj0j6cZWVDcwwkZCbtxW9Hc8TLMD2L0H0bLJ0+ek+3Kp7FUFF5pxakP6UFZ3Tq0SmAeV7zoZFleAnWY3L9ZkoKdLwcf5J4ntPinr0KOZAPVcnyNMCic8ZS3lhIHMSP4/MaeyfvxHUSKWI+0ZlTM0WXM7afkSsxitvS8hJRc3epec96heug9LUDEtbNZzoCyei+zxh6GEpqPEfqaiGhCncqduUIOAL4jwzUhyfuH04a/ZujRPabKbu19H5TC8bky1YejfuLWSzFIxTKIFKK8a/jA6OLnKm2D1hEZ9uy1lrwE84Vt7iV9g8ITNWR0tY9Bl57C9OtRvS2GK3n3opI1ekLKjzxGcWAyAVR4WNGDgN8DdA0ZBUqCpAI3s+St5edKHhAv3u4c8zhJKgHW4vWwk/y4/NGFa5tW/yh5klW9VsuFthg3Ep0+knjoB5vpuCFWac1InwtT4GVAjqSQJWsm47gMltLx+q9vjN9W7owcL8cX+DDMuA6yGh7wx2wW6itsLg33nkv/CwLlyU+rJHKKOhCLFgWJeJmdRDS0rhXda7atPDC+yKmsOQNgZCXq5Ss4ow9GSZqD5IV1QI0HgKSYCHCyKrbusSS22ADdz/NftLFR1GG+TKl/ifBD4TggB6Bxs4S1muLs8oIcLYJu2jf6nihtNKqn7ed6mmZpAPCB3rT9bhHKzMx1FEIrBVOfGDAhxyBZSOwSuVEi75s3XLJokhMNTAkw//aYA4gkpXPhUhOpQKJTg3zZWzC28sQRBmg5Ck9x6qfPkRswW1elRj8xsqyUsK98RIiCt9uMgl9cKqR040q2KPPyXeRm150nXy5EV7kO9Bn6xonPMIAEkP+/K8w0Sl+QmMILRZ5l1u4fUTSnwgXkGFuXK232BkqqlzkeMiW0rr8VUfvXl1GhV3mZga78r+c2L9/I42ubgFlqW63PdTabUP3Ns0TTP6mCaga343j749KciYjschrVlOQnqUDx5IVQ5nAlEPn/JhOPcOOUq2OSI+MoemjIPqOz6yRKWOl7rUpJIrU2q3b3LWaTlnnnIXwaX14qY7QAO0i/Z3/v11NQSH4sqWX+qoeIzrwbW2SFSKlDRR7bRiNZQLmMZIKR2CPjifL5dE/w5TH2qNci7ZOJLrcT/E7bN9t3ZznbIR4rbIB9vvlp/miWEoZ6BMA/1bPAu/z16VFO1HWBk6kpgFJifKqBIG9+8yENnOeRzAVBn7FDYEWeGTv+XMqDw8FNKr1uJhe+1NI1OoMJS/i9/BJsOEJfyDMzx9rEdfRaoT6LGEAcKlWTJHt6DqVGZlD7aZrEL6zuuvozUhe1I/ogYeQviwrdJdLMCHMbk8JLZugUJwgnRYCaBlL/kn0My5M+75AgEhVHgL0XPce8iKWxxE9zPS19zvyILflfg5959cOaZxWybC2oWGp2t5Cb4d2Nw3J8P82Kl/x/vKqnwheifvc4eMjNPXDuEAw2Moq9+m/Il+6FgusYlaE8P6ICfczd8E9o2xOydaJ/qEeIuQ4AXovjPDLDy1i+lrt/USmRPQG/EcEHJ/qY+9jXpat3K86umIY4sNZZB/AtEFwDBifnSCHoEIo+HiztsMj126CZfLteK5UV3D+E1f7oDdfnIyk795UBoa/AE+6nzXL0zXhOsAHpsr+YCL+QFpXNvcIzwTGdgVG7Z2LAgPPfwvw03I2sJEeo8VcZUGmoEOpN3eXxkyoJQVghWpOx80lygLNggO8P9/kO2eHwduv4Ogvj8qezhLrTRFxBQwgXQPgc61v4fLS5so8Zkpk8r33mjN05+SnecW27JnuPT1FGgeTegT4I01phXzIHLd29dq9YyKyJGw5H5lAe8DnUQK8oNaLaDBzrxn4U62sM2G4FWjyY4t2popxxc1f6yuSL7YJ18eC5+xJcO3JERfaK4qMFqXc/6+cnTs2bimsg3SmIjd1usefZmPT57Rk+Ovfmw7MwZ8tVX/6jlMRhGh4qCUvfy7JT9N9po84jJXv4+jU1OXW/4I0qUD7qwZY3xPCeKwAl+MX8eqg+idOSH+DU1OWovtQ9d/64/4527NKHQXI3kLzWwCz5/OHHgIu5YZohbLKY/yxCgv49yfw1s3kb3tS2lm1pWhoQpsLZSq7hYndCzroXb6bmHyJzKDQniBGA2kUaVuB30xmhMvKmjtQ7hyofYrSN9WkgROoNFeNbPkhol6wkC/HZH+xt4nH5LLpVy+HpHNnYGPB92mH+nOVENYW3kRIgDij+hlICRSOPxXbAboby4fi/1NgCYJBk5pDcxB6pn4qDnBWVhzJ+3yaMPt5vZ/4QT6OKRaFts6YU8nElroCsDBnp5q6nCCSZF5DYfTdGc5efiZtlzqDh8X6slvPfOJl/X+n7lsdY+7ytee43o74gzrHwjHQqPi8QVCB8UmL3dLpDoFpcH1NHjkDYktkAD8aI/2uAvlCiJdo/J6por3P/BQUhAQI3Lqy4/FJSlnI1lUN4bWbJ/2Xurh2DqmGzGkxuuJInyA02oqAB732hkpcSvunuHdj2LPEOTrDWQ24cnrIoGGs+9XkEUttL0dYBwmGk9obMyiPx0V3cAI+ttAwwKTkuhjLzzwNHRhxE6aDlSRF+NNQC8gE7Gxh9gl6939EWTva48mEsR65YbwC4533MqW/X7Tr4g1u5UQ0+Y4bJVeT7xbwtR6Qys0O/8HbmCLnaHAAvc41NFN+hdHtjteG5b0DPh6I6jpJbnE0tk4WWkYL9/MXBLd6/hjSNybKFIwrXGrV1PK6uMkwD1jiS7ec7BO/sB/GmvX7CbcAbwPXlOm0Tk31mpeWCtl6WT23ae1XkiTrum+nKQfMQT23jmjCgQ64FZ+ZeyLPCrKlp1v1tCoTyjNhc+YIUSCaACF6OcIrm1KWXOOnhrDA6TYOodFACTtcPEDSYR1tN0AWN2npwRjwFKwiVcpOYirj29DNQgjs77BPfq//90IGVjhp5PvaweMVYGnF0IUvjV307ZpOJTa0qEb3CisNBwb3fPXVmVLi3u4Eik08pyZprOT4A5nH+U9OWYq/d2sEjAQuiCvCxaWmn9lqTZocI6EKAZQsKOBzPMjI94gF22Q/PBS+RD86v/ky/+ILZV8V3ycloBmZ4ff3QIGDfLWFUjYMg5Odz/DSw/SqOcDGjnojFTIY1CI/zlPGq1QwwYCMcLT6j9A3XkQ+lGKulodfyV/oEdQcD1LKw9xKIYY6vlFSX/gWwfsjjKVaevK+fzguAQwkroU0Crn0ZqOHCxEqCWuH6DAtyNzg75lDoMBm0jUyhb/9c9H+p6c543eUIX8apeaxk2fzsD1KuJ2Eb2SoBz9cI2j1ieUUM+KrJSi5tztbln0jyE300E+KBcivX22BD02PgahgaAL8IQjdPMehdAt0ER+cpoxYdcDCfFAHvk1XSJLFCyRPHKvtNdd/uU4VxYODdh9QTW4cpnsqF9XV3GzjOQet9QE90/0CaTZ4Nwt8aH/uZBRygODkvL3hyeESxc97MNCupenxcJ6J7nV91kHYfWF07X8Jnu0NszNQcxbl1VouxDtSMGyVqgulY9CDpC3Msklqa8qIoUdwvlC8rRAxNlpSDBzuDF9S2Wh+3EgJIJsAimztmGoIASlE4PmfQ+jAndvKFXb4z3T7Jdh01fumIViZxXUT86rGW8sb03UcBgErfS29XxkQyWSNifNSy6W5VFIEaOCtGjawQDWZozpFaiFD0WbQnMKWIc3lCvuf90bWNqCmGmS4x3phLIs8yZFLrZSs64FRJIgxgZiB4Gz5Aqxg5+TBNVU2UmjAEzBX6BrBYM6Qi/1oqUhps9yIlZNeCauRAyRQO9+H5r5ZWeQbAlXYbkPJMg2bpFIYFF2fRnmTUbma2MDh+KbVNxLd/ZNTjvml1HFC8jrDdbZRWiUdhPurMrS3hJnANJ3mMAjwYK98amYlaQfv9JbP9J5ahPpIEf+qSvBb3M8A+OX9hNnzFMiWZuX8DhXBcEhSQ/7qkwckN2g6izQ6meHoKKxjRR4GcY0CjGHpQiwUb+1fd9KGJB+D/9eglYddohy7hrGZ1W6ZEkUTkYUFkauJX+hfqodUKvEi+VdZnGFl1kMIatr6KPPrHGi2Wa97gVH6beMSDSutwL76jG/ySFicD/++Ck7HZl10iQ9cIyOiZOFv2HVjnBanwF7wmnPI2u6G2IJGACIGHch4sb7XTLnms7HJvFHxzXyziPV0/ORh0e9BsMdWw2C0497qm7+2JxNcxJ6Ji+tlaaz1TADyh6f4ogsqwadZ3gZYJCBias8QH/676lb3X1NcFDlxoq0OuQz4lGOOOS2hYZcR1wLPcOgF8fXOT0G/vTMRJtgHHIPmGSpI3C356sFS43JBGyFU5yTiOXjxBz/3Mfs30n3smrVTBMN/uX6LbrMlVdSCZVj32WCOWwECL9elCZpBZn7zVUU6TeJ4ul+XObex49FgeK4T1Bb8LOXvxiRvAvgsETpYzkrF1XXs8A7b+DthErZzrbHSOmx3gxLjgJU9IHOiTPQKVpteJp+MP9sVamOhKnWB94CEvZSGNg0zVSxeyAc0zCFrJnzy+qRM/zxiZCGI9PqT08cIHggtrrKtrAF2fbrCCeepI8lO6P2G4pah4mZQOLv9vSqLAuWr8G787wYwUoEXFFKnyGJc3OeLtYgCugJTMJqE3hZmxYtXEuv45HjjHHhXqhL2NCfJip6IlCPTRBGhp5OwQ5ziEy1R28sWuKgLMjzgwFRDUrnxDaAfz1k4jwgaeT6j0dk6pMiPUWEWlIkXcds7YNRhlMzbugk0QFD8fTbDJzKU3rPaBTyP4+OHSGjjZC1+P5XL5UMDThayvaVKKDu92oTQtIFGP6HJjrQuuAeOr7O/CnUBPEr+qW/3s8WCsifpx2gSUwkCfrWnXc/inUcebw6s/a8m/WSk9snIPrM5ULliv19F2j2lj4ZdWWSbfa/guxmy6+1gl+bvWpZTKjGZa9caXsg3NTcfa4wk+ZgDwicMxWM8fEscUfoJFORKinckm6TFYok95vNUkn95OGOM7aHqyArAg+m7NfMiSk3bgNmuitTlMgxB+tDd0hobqgOkP9ZWSu8DKfqGI+eZHuksm+M4vDShPfZxDb7q6RNxx4jdbt1Z5qIhy9rfQiL0O4CCKf9uH1h4YgKmQCEAO/uWTfwsX/X1Hfl9qWqnxppWa9kbw+sBXaJwrNImLWU8A6tZSiupoQIiH6WzjqG3sDekj6LGGWg/+pP1A93gdC4dUhi7ERq8kdUyuLs4uccl/OBH/AS7aXH3whmEJ2hCcOP44F1J1Qoe0SA3TIzND8WF0UQ+37KcOtWINGEZ8qJRLRn/GnCEZD5AvaY/EfL5SZSsiobdTx214bAHa7iGp3at9hXq+bpp5dIGSndI5OSSBG07bv794v2wjLDdr/o7RPVxxmK+KBrNiuQig0cHvCj6a/ct7D+mbburbEmrrlsRlkDBGK/HYrSF6IcDcNi870jFjis/cCj1E5533LzxtBUHNX8q6/lgWeTu3F/gxdIiKya/+wmDgqd1Jp5l7JNSMNVMuDY/sb1n9pBfU6Mkma7Zl+Ro5Kx1U1qpBVyGpwQuQQFX/89bWnlyPBmPD/NyEP/PQO3HV9gdLssPiCbTdTWtoRvf3I+v2nIudrUN6iNYCfQuXv02f8E6eyHkPzpx3duAXx3cnXHM5i9hGXKJeU4eTesYsXz5LVmnL2x/Y43UOk7GIEfnsV+0+LXPT4v3qw2T6VycFevqSz2oWKp0mcmWdhE1s3Lw2wIUNlTRo1GEZrZEFQs0mPFwdim4eg2Y5JtC0+TYZVtFQMh2RNv7pGnF7UUmPwEiShsbQHD9Zkgak6UZqV0XHetow+yfZ+DVU2xKRrZPRoVLJ8iJh3LpmMsgkzb8Fwe/nDzfHlazymNy2Yp/7CvBw1jYf5SsPFfK+LPRyZTFxDbWB/jDsL1UOLCYWrXCddpybztIJv1ZWyDtZe+2ffZQ128Zqf/oNGi/KbIZzFk0K2SXAilzUZk7TDujqgRT9M7B0zFv6KxVwUWnfzPPm5ccgwohoHQd+VbIQExwIK3AQyHubKSH5swbA0TYcHlym/XwD3KWN1yyyWnIOC3XF4tPrA67ztbC7Q+eSjGWIx4/s4CrdSL0Xj4TSkCfJgNP/TqyXvVPeG/UvbGfzdib3mWCN575qmtHlFCOKpgSrnH7b9V45+0shLta6XBXTpzhvJWHpjxnNQ7vBSKBIxU+kfLaPOlr5G+oA26ccJM75a1I9kadQA3QYeaHd3JLdpjoWk2CcIBJMY0ox0ZuI29NHXXVaAE9qE1dEY64BYD5FXxG+lR/HlXFYr0TS+uzO24pVeXAWQvAg14+Bk4CY5z+NUPgE1ZYuov2jRQRct1A2d+QWHg4/KdNjG3s9EF6sCfCMSGdA2HqbeJqJLQHs0RTW2kO50nqkkOgDc10p84kuLE33mLzTMoALTbm3BDqH1LWqp1REwR3VzzrTXEM42bL9qONGcbsQ0HYTpPebLxTAoWNm8N6EPn0taptUV7IU7+Cj5oN6fRYRZqd0Nq2GNr3PBsGWyZMFzWhTNu5rHnhMj6aEzMU9wMfhiNpPEp0mTFgjUdeK96XLSWtxUAXB9oO6Ss8T0L5R8a31X1POdcNtwLkGTOypZaRLIXSSGTYZFeK5WMCd5YEDoanJkdWJg/vhZTpPjo9Cj6prdT3TEUOBQkMtfFsq7JklubSTPBfa3kY/Gy5j+kl3ma11ffcHGgyn42SBsE5AePoJbl4YWIo1Fjn+f5sg79xFCLvMHLDGNw3WK0qC8QOlZtd/WPacmWaIbNJcrV4OuX57hou+calp8+ExHggNObjAJXOCi3j9cI476o4rNi/sfp8vLnW8Of+gi2YrN6GAyzbdmlIWMr2N7vy0ZUTs1MbXjPj2MVKgQdbV/SFs4uRNbJCNrW8oiMMbbYGefrNHlQoJg7HFaN0Qc0nax/0PqBPWnSycSSUfr2ircGN83LmvTG9Z7aDo4Lf3zA+jzXt0e1rz//OXy3vzI28FQRORVxSrV5oeHv9iLSmKMYeYrX0+6Y1Szt+7x/8oGAVytXttE31izop1ghB4ajnOAYQaF9mZy2Y7Vxs1h7zgte+/6/BAyg94vFaP/bDs1iGzxeOvVZuKY68a55AXo6x9Bw3MYpzVeZmVjcsF1Q4G4XC2of800aWDah6fYzS0cJU+E5gzfKm8k5e4E5wsHU8VqIqa52DahduOs4vvC5mP1qBb2B7Ul4NAro4cm+KM71BiGUH8k0sHIsen9koaI1wEkLOfBMqqMJUCHS+SmHC1LFTgCuagLX6VKmUBEpJD99IT1gsaumrtILbmtyWUlBXEJ1iy0Lt0l9QFZrEh7z3QSksXR8G5aBzMW5z97M1tLzvnfnVWX/nxvLFdE7Rs5SEipkDnt0ZjJ1sTW1Zoha9fUfrca9P5F96wejxQ6zEPHLuN0MKQPha8S2aD6PbUsACsJ7bo1kRuekPTS4q7D0Kol7Zm1qVG7cIeyR0myjfkvLGK/tbEGEgPlQky7wZJ1pqPxNdzyfoStvfxptCmrPpRCF4QPFJ4baDEvD2InkhLvtIyOJvh2xn/MgAGUyEWr4GdTuoxfOH483uoQ1jlYWY2cqpgAhC93ZoUp0FgTsLI7eapxKguymQD+IcOyr7WbZP73/IA1AVRjRXTtmsLjC1q3Y8kAFGzYYFxshKLCliB5PcqWRuJmuOXbAZo1GA+CSOGfkBf3oAlcgng+bNaDXELr8/IydFquBKujYaZh39AdIYzlc+34QeMabiBfJAsDMLfF5R3CkqQm6NZnVMhzfFS6d11WlE1D9rXiev+9A8EDbp3oaH8A4QtsDr0cXh7OzKnojq6rJQcqbgdpAvsINQLcrwqe/50c5A46rNKCUzYqCy71tnBB2dTKMTlrWDnxdoIwexCCRndKQgrrsNMPy9HjY1E4iBePPWH1Yipz1S2VmcCmv+NUI8v3Ogz8BhkxONG4uWHLqZrFec3u6lSh4LcAWVz7STPrUFov/aO/YiYEVSUjvQ0jXdphKdpR9zlg34XXbj4Av33MpSlPj6s3HEtC3ni5jvw2v/nlLNksPGdtT4dZXANjSXTStw+yfF/bdq3b1gXkdsQAHZ6iJReKWz/W2fpnRB8nHaQYrdYC7BrtkL0nnuAErnOhwyFIj8Ez9M0ZeUp3N//yDtVHQt2eMvglkWfexaXS0XIgnnkbZQ2AGlxs01L2jxX1m7IpnNhaWLAv/zLEE2N+0EJxITX3OJM0ffVo8aFBM4gq53x0Z/im8nIjfv52YIHZWK3gW67poO7ip3X+CwOudkW/xhoZSF4ZruA3zwKZ6kHlsybfArmNowgwPaDDUYJEZEXko5gIe5lSlIVRsYYaY0Nr1iCMvTALSiB0U95J6OOqh6C746mGyqP8jVe2X7glKrimGKLlOuDHTVKZJsliDORMROSw6cE6SACyRgwwWJJqYEfwosFvWi8SVP9zin6LrnhPti/cEdQjvfCKDoV3Vn9o6Qf2m4MSAxA3BEtsvBx+BatYOls+7BDiSue0EbiJEVc/fADlxL4lClvmfLsD5pHtpDIAOku5rXY=" title="Mekko Graphics Chart"/>
          <p:cNvSpPr>
            <a:spLocks noChangeAspect="1"/>
          </p:cNvSpPr>
          <p:nvPr>
            <p:custDataLst>
              <p:tags r:id="rId6"/>
            </p:custDataLst>
          </p:nvPr>
        </p:nvSpPr>
        <p:spPr>
          <a:xfrm>
            <a:off x="345830" y="1545499"/>
            <a:ext cx="3483501" cy="4615635"/>
          </a:xfrm>
          <a:prstGeom prst="rect">
            <a:avLst/>
          </a:prstGeom>
          <a:blipFill>
            <a:blip r:embed="rId16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indent="0" algn="ctr">
              <a:buNone/>
            </a:pPr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3" name="BainBulletsConfiguration" hidden="1"/>
          <p:cNvSpPr txBox="1"/>
          <p:nvPr/>
        </p:nvSpPr>
        <p:spPr bwMode="gray">
          <a:xfrm>
            <a:off x="12700" y="12700"/>
            <a:ext cx="72768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endParaRPr lang="en-US" sz="100" err="1">
              <a:solidFill>
                <a:srgbClr val="FFFFFF"/>
              </a:solidFill>
            </a:endParaRPr>
          </a:p>
        </p:txBody>
      </p:sp>
      <p:sp>
        <p:nvSpPr>
          <p:cNvPr id="27" name="KPIDesktopBounceRate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z2dD7pS103gZfJ6l4USC3jqtWOPR/ue0umjYEY9KlLthURXCUyUuZbmGDPUXB2idlVQc+R1c0j6vNnMaKvr/AnBHPFsgePkL0/XTpsFrxRwwYvjcyvyChgSTkA0WrA8dwG0GmwlBBpsIJyB1sZP9d7xAp2ey1gpzW0jRb65HVkmH31wU0CUfz6Wsa3d1WVhhm8nLUzZd35IJort9u7v0aOS6xXWeGseyTUT93qRMlwCGAgJ0MTKWrvhdCAhS33lj/WBjpWoOveYj3wIs0uqpiLwu66QD/FKmmF3KnLAGEUHPCFZNIeZG+VemSHwWaq3ngADKCST4iC1+L7zxKxU0QXupoYlGQMVLrkA0coQiBp2c+6mlfdFGNG6STcGhk+zw2mOVQfGh0Gdpv7rWnhY8iazYekLsejxO5ZK2QQ7M5NVLeExQhGGslsKOG+gmS5D2B99PivESraokXcqEXGZZZhzQa0TOu6sqODgXMzolGpA4Noc4UXDQ/Hdre9k6ovIkRGkxe0SPyTowdhr7eWPf+IgHvjM4hzex33TTGH8UAVHHHzv+izQ0yooqbr+Oe3Hy1qs4TagJFP+A53gVQX6Wd0dd2yfwpR/tiNfr7BGhiYiDKNqPbTjzpW9/WEev1EINh8USJ0LYCMGYyGujPiLFq7JVTFLRdqVB/bZWr7bwtJBcRZYf5ZeY6BJxqF8s1xNrAoifibJPatOiso8868CXFm8MKrjeMbl28wcu8Ty4vhokhHyDCLmGkQ6vwIzyN2Hyv0nV+QTSLUdD7M+ob8hQMrHN45IZNKXb2DMQ2s+1wEtOrKc7GButgXpx2fIYc+s+rxUfOopIKqtxJIr/KiSbbXxz7Hz1H77HszEF5GwekjYa+MpWrOAeUCa39Ckz4dBI4Igf83ci+KLt7mBEL8KHYFj4zb5LBc3LlALo05/XgPdepcbVKnanocQ5rQojOYDE6zwU/+tNi4kKHG3o54TZ2rHv3y07xa4QEM0v5kv5N6+mzMYGqmlOa5M/rOuQlz7lNni+RANwkn3S0KCFIWP0mP3g+4vXLQjNczDuXdQQLjVr80HxK1XyxWb6+HJraYC+36ZRH9VgqDixSkYp5mxRlsIdHTmplwSTm5SsfRIFWj/RjycY1EtUOdeeNrQLOJNyDbMyhLOAA+l3oAGAXg6LOxAAgMimPlZaqnhpn6ejUH0y/3nMc3UX4WS2Ei2oDHPecMdSUXHt+cWAHqxCxmFoj3DnqmkOJWoH1ckC+n8G8Adn0j/LHEO6tp9tlTGU05B5ZNTvV/5wW1cDg9uwJD8zBw/peMwpQlzRVLezOXdxEEEVedhpFXM6Jwqwnm/k7Jl8BuQdMZl+FJFk7dAHXeX7+iIqnTyWFu1SERG67Kz4HpMLPNqp06cDzkie98kiLif0VUMqDKLgRHo3IRvXz14/wxWyYXVgKwBJSIgl77P8PM+Qi3gdO3/IIznaS2/z62SQ16R42TQQLWwVYJb4QpXVYNDAC96FCBln4sZ6Lm1hINjaRAUH0vmiIX/hVxNgpxkEl5YzMM8GwnW45iMuB81WEafVVcRcjGnGhHE8tTEOsdPPzQE4mFj7HsfIVw7PCFQV8Xjj9+vAeWgRayGTpFr1+gqbMNoIEmDEp4/5EchP63+5P/Yi/xgiAmvw0a+L8BgyNXRtXrLd+UFcN1UzRMlTNd+AWM8QSwBGNjmfvMPWwMQtpb1jDyx4rwM8CuirddqhPnZE1J1V9Mtgo3HoPyhJ1Z3FVkQSq+9Zb9CRaPeGnuUrLa9+VBOxRpF7xRFtAFODhvDqkuniiq9pZq8Ez72JFmoyX9bvPc/KsNF0AKYtDlvaomrktx3fV+lkovOyHIwngyNneGghCEpj/9jSj4OLFkuDG6N1Qw/XK74CMJeXFzqvXUn/MYJcCgPsQS93cFeu8irudvcphNYtoUg2MTLgZR/tE/Ih51+NYLFowIrUr2Y0c9zHfDZTZpN2o/z49/LX96pNlAkeZv2AvY5tz9qDqXJpy3CV8tvPhDmaN2Z7L3YL/jNfIav+0LQbC77XBvl8BrCJV4HclZyqHEBj/J/O/Q0hsevVK+wWExVkPA4Ggy/qoFh/48D8XN9Kj+RTf532+KwhShZA3QPNmcf3JoOJEstytqiFPv+/4It0Nd4lkibo625erk6GoY0umf/v5cVi8UXHfod+h0RzwyiCkD1vSLxGvr7KjV0Cb+hZh0AB7QQuY70MjmJ7jN0AlFzBNlniUCJGk2LXwdhDFveuRXaiW/YE5urE5GjzyAf/5ZjIrFNHkId3VfJ8OlGC1DO9Uuyt/UZByjdZ98KdfpgqWIBS+9fhZ8yBz5hiV4kFnj3rfQMlvTgqli+Fx3lpB/VB4eKYzvAXEZZzQvdwRJm0ur918DxsPSVif+kA3FCRFktdXUK//3jIoTyabajIKtplN0HKRPvq11LoDuRKPjS2V0d6MnZ1UVLKE8rd2tWKPBZh6tV3lZ2+C7z8iZldz3Z4Mo/ocz45fJNeS1dLys200hny4/vgTT7ueB4duxApjf2hVJylS0HvJd9ny/G7yQEIat9Qj8tyUYQd6PM7Yf0l6GEsoo1m2peSpeEPn8VJy8XFpgT1gdcHxfyMbnsqZ873QHoXn9WwxBBk0pahMtU4AB+3f3qVv98HqRR8AXZa4uJ+D8dDxPjB5aS2kmB0dit8qAY+NmXRTiTipM/OC3UxXowLXxzFQEmQKclG8ZlCQUdltxZaP8pnIYK9XPToUw8ROZJ22Td6Lvb8AkhQyMj7K1jM61MlxVUIYpXB7evt7f1TUZWKrBsHCdPAuG4ob/bBWJrwTdav5Nnh8aY0vtgfH1/hV3FURMeXMNKCVXIcv79S/d2VNOxOo+pkjB8dZnfu/MZC/pD1JFpMQ/8+R5ClnZsSiT1w4oO8pSee29Nytfs7P67zXwT/PvWXBFa1Qy19tJoaev/eAOQh/wXamOSMBepp2u1/ag21Ihn8Q01v5aHU7SlI8OyOLCcWO5lcsTbpwI6sOMyNdIjbYVJKLD0ZDkqjM6//rxNgXLrgOHo2ot7E1I1TPo6apZt8d94dPIU20wKyhZMQDd4ul1TdsH/KFTEbFyvTlEdsQBkMU9Up4QhU2VZnB9if7LdiytxPF0r9vO3eqscnaBs6Qrber+8onGnwP23HMBLsr9Vh0wvrp8AH/t5KV044orHT/tmPu6lqIawLioTf+nXXk7UDYMOXH18ARsUl0dPynTdbdq248zXaWm8mcZp2jWv7W7uT3RJrpsfIcxkzYDwKYSNVtM4+wDJmOmaBCsxa37DBhcEuv7RhVL3QhFlPNHeNlxPMhLNW1D386BCpKnAEwOxgX9u6vB0BdigHOF6T9G0iMXZYccADSBKOnsPxlxNmeq8XZmSX17ZpCERlaEyhNAVu2Kvzofruq6j07k+PyCtRNLb5f6pBmeWd9LctPs1UEMP2362KpQW9W1uWKmI4r2Mn1Cu/BVV2+LWPgam/ba9gySPVOh2R68BvDtWmnXRYV1poc3jdx7UCZnUsnRDek0ekhCW76lbHEaMpfshNGLPHldvs9TJrYzjL6/ZEM/J4GtMo5ZIsEycRYssCBjFLzn9ga1EaTTISiAbKbJeVyowPxir8R6a+8/8AnGQOxSwXZzA76EbpbfpMDlgr+lKwHmBfsKgqzkrOTxComsTq8L8KMezgMvcxMdwXd/cCfjif+4HpHhJyzN3t6vGGbJGZ7PfUpYZvbiu7qgIqzcQJ/KUplzgoLSERgW4Hb5ba2CFpQYMkczCt856VfaBCCYUh30J9a4gz5jlz1U1m0dFeUDu21JjZZOSHf8L6nmU9Cj5sCiTSPxvMttuZBMGEUkc6TH1hRVBHsHZ/Chm/0yRwF0hFtyv/JbwTLJeuizTfHajNItjDXlNedBI4/Ojyj+s2/tEn8F0iloIEjs/Fh2/3Fw2EEssWfJSaMBaGxbcVzoHqFntsAVuUkpHozAaje2WbFgk1bVe+1q3TL+jP7+qzrMGo/9tmlY6LldS3R7pWy//XDfowoZ7iSthKvGZp/pp/OK1Y9CG4p5wanNXUFEnItCuZj/pRGQMV8++iJEB7C0PxMBBIBQQd5BiXZ0CMXa2oo3/nqyJonypBqx4oUt9Vl2UlSuNl63RLKvFC/U4Cm46b73FTQFJ07KN3+FyZYEaHYgGV2i2YfnNrY5sUJeD1VXG8Ax/Jgx9Aii8piZZaJEMIXYvBsS8THfZMkrBOqr0nVEVtnkhrS97FmOOXO8NMEkzu6ej4cdxxOlnu9qqfAJ9uZGi6sJrW4CFTDUOmPeQYFPn4y4BOfevR5yNBgDL+DJM9zT8lr2BhKL/7nLdUFwkttO3hdgd9vUfR7LUZoE8+qWY8Hs3f370a/g82dbX4hE6XBYqf83S7M2QXLDQ99XlT3xMTUPkbLiilj33HhPOLS+Hok0FhOOj3H6D7eu8+sRPgn/nHjo7QqJvQ0j1Taazvb4McLXbtzbsvjOniiptZzLBPPsVHUprW2KuY7FsWdLQYg2eh+Yq4ZXfxYE4y/b8C+90NxC6ZYrpU3TSGc8Wgxxx+cQtjArImBYmM/5v/l1q7iN4JUwkAQ+dXjPA5UMuW496FNHXROk15Vh9nXejZq819j7fbTOvGhScJgjRyWyvf7AWxeNkbb7B5fXMpcxXJ8XCiKlwDe48kW56TPvGWsv3Z6JgVD9YCrrS/cxhgWHNuz0nAlqaLmZcD4Y7vJZVKFnGA2a2eTIoWwSWA/hJ/fYmIGTifDHrqgYTcJugQPd6YMZZNOBLLt6zaIjt5wi0PGDxd+ZqBmqM4gN80DfNeIYU+VocPoHjdKXS91RCXSnOAkjRm/9hVj+WRJean/GQBBXXqFUBHFYy/Naf0VkDgPDBeIrxq0DcMRFbJ9ilNEqMajVq9SpLEqyH/J+3InWBrSuBUBTyxzYdZ7RNmWDnX2aS7wSVkZsRt6a6PboG1bk7NcSa7jm6APnZtp1kTENvEYQD4Vhsd8Gpz1UY4LFmRICP3cC8dhpWOX+bGTei2W0hWHuf+qfznttvAkTcSbaIE4UVnkL+BUTJDrURj2cyC6UZzlpMmeKrN9OGbQSVhqagIgGsw+CNvUhwwtNnImgn6NXaZz3gOgvvpMRt2IshMm6MkWTawObdpfZzvWRsfJWNozZUIqLCHxlC6OVkrTxu1U6y/We2TcnZCDKc4hjNGyu//mriTyPPHDiP8/1LpbvD6/FtuikK+52NQObvZTr32eH3NLOoX+1UWzBHACB7E509VYDUxrVEMucahx2EH77IIXVkcOUto/3UMvMF3h65yQgmbNRblqncTpU+lK6o6YkhC5NSAUmYfx3fY/MrkCpfFfFeQlbyvjHPb6qwvln8O61ofjvdtkVNTjDETLYy+BV9mcbo5NmkSJdQlziqMsaraPFVWfz2cLeODOgMr4KPDh3qvhOEhUGTIq2AnyyeApD2SXVTTE5RFrHqaoLCvfcfx5cO4oYHC+4vtQJX3yXUoCIDaOJ51pPQ1/phcQUdjHiT3IYm5Uvrn+SjZ1wQfKgRJ/XVrNCBQuwcbYNCazulzJDDdRijviqX/qHnqinCY452OGXbY1OEO+2mo5DDGob6i6uotp+R94sRxrTXuK56AjNOaYf3OMWdo69dg4V5YIwgNh/4TFIwyQXFF048mFQyVD++WLkq2dRDswt+9S0CeWt/JEl/QZZ3qRHqnIha0sU/fEORmXrgmLpYT67VEXtGKmtK4Lb7N0EqS/17cuDwOI+6iuwN6Lf7Up4TKWc2Y+daMnhUbcE6wkhezT9QvDpEQFM3T9m7UjhXZyVXB0KEny/8rnjiWjvE3v29jkfChTZ2tjYxOR13yNziYo5CKR9rIKX1tunrKa/jyGrYbYo+AG3cProChr61prjIMzIcAgMc87kUiD708U11Q7umoaqx1r9A97ebJEcIYWfkNR7Bphd/v1vmsNJVa3/GYsRlfivH465tMKqFvv/g/H5XzU62jI9inH5W1hqbHF1QHrcD4NfnjUfmcNsDJLc8RuP9r6mNoygwGUgqJtSwQ0psgR4Ne+HgXcFHEV897IkYZb/pS1cfk9c28ie8Z7enZ2Ehmr36fpPwHwl2POOHOPO0C3b9mD8xCoSQWGnHFgdufcTzErYGmH6fqZcZfAwvRKwWOwxrhq1MS+0+jnXysytjegyJrqRFlsb8t6tHwX/Jz09jlmn8qfFb8eVzbz2jGvZ+TaFS4Bh505kG0iuSPU5frZj5UsmQevoVAeQWvUQPejS7+dTforMYPHztnylbxPrLbRwo6ybTdkJ+6ohT8ynjNLTuxWOG7mN01whYBZNildEn8ARAxPMd9vsglx0qd1QTurmYOg3zVCBPEPRnZGYN1qMosVNzMf9QUI7dfRW88glClTb+sggBZmTqhGScBcRph0cAyRS8M9VvkWA0Nibc5bPWxw+xocMx9zJUo+gqSS2t0OnsIJUyJ/oI1L7ueqRt42pvUGdXeR7/5oiL1pIFAAfzqlZjhd5/6vzER+3HWaAp+mGqpxQCdV45Yyk1/HatiCNwbfXyxTY7PGdLXYgkppTSAa5BYUGFh8kbrYOzcGiPgn7H05Gy4TJGjweBW8HUfgVPK9BLOb2s4GXeJ81B2j8gqU7SBkpcPCbGGPn87cjND7GW475DAxjiT3jkyE358Q5HCdmImaApUnwA8tZgfvR6mX8xv87NoNpY+c5H3e0yFJA2QBY71ftT8szF4NWoeKyHe+CEsc9yzg0Oc2wFkzRJuzucptJPmfOfpStdXoi/pnCSI9OaUmFdqM7tjH7+ZR/Wj1WEeX/KeNRU1cWcgAt0DwkX1RsHvQB76LxfcdZLI7iamw/O1dfZ0wgYrKmpRzCEDJY2BHloUbIDn/R6ZpkGNFok45ByvB/RRGC8+980GInXS5sFDwsV4EdetksEcKXiTO5S0rk1cFUpcFX86AH7cMxrMzKM76etiRksqpmZEtlDVYzQ6kPPQXmOZHi1R0mX+L4o/sdw2iVK/wHJwjPrpyvEM7QOQjDvbJu9yuIoRrnuLy5eyja1CSa5cuGopEmw9GIERW0Papz5GjbeLmhU3Nw+liCZfqmVEI/A6kldbPsIWehZR4g9JAsJiR/oW2WpIyS05FDn5iqibvp/need5EIZ8GLIPTgNNffS/ntgxXpaKhmySSKFH5Mp6rUqyHcJPsUDvGHzhN4iVIZ9vnQd3og3w0i+59AwaE7Ub/IWkHrH74pi5XuruFqvemqy4rOG8vM2SRFGgZaQbl49ukVlj1bKo+HMVFm/OGG+hn7GLwhD+ubF8hFoWKsyZmPiNsiL3sPsF3opjtGpW1iQ+d+xHb5G9RxgSd9DBV3/yXYnmwZX+2nzoqdWx8F6FnxjFrITtLFKz6HxA9ahh/La2dssI7U33FN+xZ+b41+imG5W9/uTskCnARjtfgM1Dl5QAPzA/J1Qx5dOlAP8R5T/2olypUKxbZ2V9t05a0QxdYThg/5UyExAcUhzk/GdDMliBr4angrS8IyC7RD7BNLwmepQ45a0xSdOtXTLxcVpEmrCOm4kEjqbU87Sh755YEFLseY4K9HzIBxOvbghrl4KuNQxV2D9BP00ADzMOUzMmbNJkeKGP051shjvC1agrPRakLbfr/Ng4/0/auZjL8pYXpkl1XuC29xOh/rwTBrXRjOq/xk7cEtL1wJJ3q9hxR9iJK8obPHmUpqBI3Z/iCMupi/O30vnbSm67OVSyzAEedDMjZx08q7Il7bSxssZiZ3kqROueZennWrgR/AQdW/J8AF24YCUfhEfoIEoW/CcrxC3HLLVNM6VnHx7FWHYORM+BddlivABnS+BWZVhYsM0pBLyimk0RJjmCh6RMreL2q7+37qS4Ym1oRkt18Cgj1h28Ei3D1kBpE0vNpBF0DNTKCHFrqo7j9c1k/L0MoYGakUz2tUOHfupJ90pnCVvtRWc8yfmLv+eX0I9BbXp+n4UIIfRcU+ADBpSFu7ezrJxt4h76IUFxJeAlKk1/gBTl8/BBlNeLiYthpL2erXsEBdo6R/wez1FTaVpx4U50MbMiivEwaqi+HXL1I5OpqdAqER8nbJVEPLBo7VTBdfpUC61DmD9gqur4Bh2o3g5VadbswwYJYkn+XTnD+HBOTNlzf+iSWxMi3hcBR3IEOF/oVlp9ze34KbRJXD5Vh9Vq2mPLCLBGFsAE3KDn3clUpHUnqlkFY13vgQZuKeLNz2QfN6PVo/Yg7TAfY2CeT3hu1bNTPiyvvbofKZtrGEdJ/p0WEMrq6LIBe1O/DHpgFemvjO+A6T0phJcTfJL/BaZcKM7NMnYEl/GhSFNBYCLRIZvuhiCN0dXvqotxA0YiEL4CyhbhSOzUWuJ7hJJVYzJmcEDR/N8L12vSr5JYh1KHuPApjtyd6gDdFrbJndsoO3h7xPoPYgPC8i77wzDDL+9Pp/fOh3utsCuzN4wfYwCRp+L4j7DVoTZZE9f0mjNGfi+QFNWus6txziSaM9XAW9ENpDDkhnM5b0fiYJN8ymlqeaxI+33J7Ibm0F8RU9zgYX+JanT5NjnAQXwt05jzi5tLC9HWYlTRHChd/tUX3PZapazGNEXol+nSw+aF8YUG3ROFCf6ycVnBtnxQtUWR8x4IIIwoK3sfbKzUaJSySVvJ6zftb90l7N4lEhPI6XK18zoBWlnsC8PXbxVN6TQHwY+DdgQpmQ7qMYleFQ6TR/GHrGw4Zvitxj78MncOX+BF+sJ4disvQujfSRk5g6GlXCFLU/YrncOtGoIDocF2vefP3BlpCF5HPnub1K2x6e5kTL5Q3vvuflQs9MHiqid9w+0tm4QBDydJn91YOlD38UwfqLc1q/tBPWPVlc4JB3Dv9pCml5WLflIUBQgOXeXsTkT8ejk9O8T05m3rCYbkg/hvOFUMG68pffHlwfabjeZBkGSR9LikYX/rcKUuAsd1Xkytxy1Gf/+gSKQHdr6+B6OHmjK8dT5BfbMx7qrureWDrOl7KsDq7mQSD13zSvGbTqt12i/JNhwkRNOevxNjFDbpjeX6Ej2iyx2mKJ5WuhzzsrJ6FNEx5oANTeGU3rKCu66B3AXIcynnDZvtdC3xtEJtHXUcgD5xUhUvoBXRrJ8cdZZ7mnY1rAeBK3Saggd/dXB/t1UiEjSYLSdJHUS0bmHxgptctZMY9qvw9ycDqS5R3GKRuuDJtP/dihe6DNJogjWpBrNpPtYoI5jNRy6jUpEyvioD1puk2yrEF+iYY8TbFV74vvp/QSPtWa9TkoEkFkyXvYko2yab5919i+R9SAP0PkBpXVBdByc4yH1IotCAI2bGt3FV6+npUT/IYJzbVK93Qg60s8jJ1lsGvIYQcVjjV5pMS1nWy24NuGDwNGBKeE/YyalwbGQs4h4OxdK/CM5MyX5EoHvhHKwhZMAIhsSroLpzgeqgwnwewnFaOblxW+kJv+YBXi8yipJ05n73JjpEfhHsB2q1zVka+4PeNfedSrBIYhauZCzBjRs74tERGANTk7mg9DT2aF3iiFE7az2YwQ3VEaAaNU35nWt44ohcfMiyg93mW/F4406CRzP1VazG633MOr0af8ypN7UlRKI4u0PKZewZl9C5gLlJCUKdhV2/fnLG+lt7CQ28nmlxH4eW4rJMABrepHOU7/1W+lLsZt0PR9gnX6iMIMn/DY6ztpnyq1sbrv7TQwnM9NdFhKhwPrkzNIy2CRQkO6jirFrcSVLAsMsSYvKP8+tGNTrnHY/mIJ6+zsnQu9oUYI8U4z30oOi30Wsy/aK+mPSqqodpKmd96/pyo9rTyKE9NpLr7a/ye1xH9fnCmXhMYNZcm1DzAdEM0O8MkamaZE6Nod7EKwE5uIIwcBNRc6MXu2ou84pAQxmpEo+RLsQYpx4LDfIhDEvxGSsLh0Ha9w4xq1+6tKzbQH+2DM5qhzAxKUrgPXe2wFQ9NeJX0BRCN9hd1VuQOKBCYxH1MlpPXOmZqT5EGMFaGtaFaSCvMJVCKeeRbLIGdWENaAc/fJUj5OI8fKlGauKB/fHinFku6n9AY9IL90Socse+/XbDwY0+00K9EOEdZ6IY1QU57Udk+KCARIsShe5RHzfByf3uTwhKs0mFQqN3Uveb+IlrNvd/tkPuMlTyU3pslls9dAYl+gDpAITe6qkp4R78MDjvc1C3MTWeFBIVwRoYTl579DwPprup5O4G0np9TCoEStUJ7Ipo6874EN/267rUgunkI4vIY8dPZ6Bh0rWKSvdPylQM25Bnt7GhAW8eAaFiI8Dbr1T8dLwIu7Q/NvsTF8rRFXH1eWfC15BKSElEodAtrl9uYKH+NUU/nrjLtSVgNqsqhI2pLCv3al/d8Xld/vptI+d1DLOrXxyfyBVqtXR2GtutAKbve/096XeYtT0E4nCyQMlAi1jYaAirJCx5WSC5kOriIpFHxzBel/EEFWn5gBH0gOsQxkmdXFlHTyZjxFqq6N2r9Dtg1MU4W9+2xP+RBBv8CuRLjiaOCuTybqvB9xXVVz113sVzYjPQZ9+GwrseKnFABAi9pufaUY370tfmQ7h7PezgZvoiYRXwvDiF6siL6/DFxUHsZlK48oe5quR1QSxRv1R57Z6VCjOUGvJl9uCY6j7Ch5fs6/kXumXA7KxFn203DifembQ/2uXmUTVZGJBlpIh2Letn48sw9969sdC2lN3Ca1TkAnzq7+OSMn+kvBPCzdeMdIp42REMkXDxK6BC/PVE9DAAKGVB1fbkkOck7y5PQT93HTOEiOxEV+8SHlSD4tfqmC3Xi5AwjgLsAwfZnTMalhB2rtEVpDCmtcBYeU7LeXL14e9jj0Cf3bYK0tIMmO4trf0+f0VNRQSG9xl5TLQvs7fNs7gZzjd5MQQ2ri64WaCi2xcy6AG4IhxGu4NxWkvuWB/IagVRD+vdrG1ac4U2rhHAk/ZV9wu+4BjdxC8+URB8MISJ4bgvl5AhWWhkbGb5qzDtsEOu2qseyWmhhRu+XSnJ3rt14cQuyYvrVsXAPpUeJna+k0pgu4KMJ7OVU+SY70qRcTonu1li3XTNT18vyWo/4I/ghPKzZZOeNWTiJsp0ajv+NrWzJR7AJyXMUBjKAXcJuLXlbbWaiIstjQtKbZ8uNylGXfMFdFR1aTHq4EbrQAIwBiFEgF2qK79647hRWSXzloBCXtuDmvd5/jO1O61bAuiSc3yS2ZzpZSkqFLJ3JsmLIToSCXt0/V2v5KW9o3Y8jHRcnt6ANq79FVwE7SWzobsXAnv8yzmKEToq2hqkBlIJ4LNvKZihhUL6BuOOoi8lJ5EzOa+3Jnuht9pFL4ka7GMgU4fDXRPoWX68ef2eRF3k5Rtl+Ymop3pVnXAwn1Iwb5JyynlRf7dyyT6ijbiTMQUbCItutx8h2GTuwPukRX5IOJC3OBEMshckNsBDGJDEmgFcfI3/gDy2dR3MTT5xfJedFIICxxSH4SIOD2CURI1UmSiZBqWcyeeuoxS9RFrhZ1yWd7pmi3kESaB1XGiTESgxlpPD4XYpwmWGU6VGerC8p+r29FiDSKNofBtrqAUJPCJzrmOjBBa2N+ZPLMpzA1xbDxRCdvFOU9siSlJniGhJyYjCYjTr+Qj3lArlJ+NY0Yx5eZkr4Z403LQ+r+WXn8hhjsUCpW7aq6ewSVgIuLWuiSBMkWlPck8VtebWgk1pzl4EvlOLW1sV2TUTLMrg1KJUX5VqQCbV3XWMWhfA2EiPkZEvguqmg0VDD/FRNXhnfBUD/VrI4/HKUc6t8u/6F731VFqc2E9IbOyQHph4sqlzzXNcrEnmeMUpQknZlX3+DkEI4cOImyRWlVBmW9VULjAueljL5dF+uDqnwj8EPNAI9K2pd6k0LLmK+n+fZnNSWAysqBEzBtmkSGDDEoShDdcSAyOjdBKtg0dGle0yCiF15T4eunU+ZkmUbjdYYPJrPPWXw0YQ1AYmkBjMWkT8hOTDyrV80FtOXsH4wVTpKrRnGLlby4JYzBYY38exNi+6kI4dLtxitMtONNbbuVrdG9k8fPR4ivsSR9e2npmOcFjw/g9336Nsg5HX/gvTbfVDQeXHGW/3usCxwjXZ8OH6h7jXLviutKIyLATB0Et/brrpWrdUGEJIxa1l33yr1JGaAKIR1kge6v775ALvWj/YBZjjbayMnDF5LN5hVh4w1M4BssORU3alv+GUlg80dhJYtzzsulU8P3kzyRVJ5ByuD4INhxeOMwi2vwm6iPmYN0HV560QCVQLntYGswznKCdXERW3dCx4ymQ3yD/PRvQsQ11AeA24r0H/pXtgGJfyLMckQZMV8VfxCiX9tV1yKCq/5hObttrSb911BXQFPh3MGGKjNe6OsNDjQLMcOmmSsN4rnFIPgqKdrvhDLF0MSBAPfCanwEfkAOb+e8XezKVdemmSMLG0EipKuukt0VNaRFhrIKszDseCgGxBkJmchaikwMQRbXzc1kvAkpjeRDpN+V+W075GbNlTDGb0b5vC2XNJ++bcryVKRZvy4lDVa2sWjzopSAXo1AGfIkFjOWEE3wJ4mMUHHD9rPWD8714EqoAdV6qS0g2QQwHYVShN6EtoCEO7vSntKPLRPtD4Eyh6DppS8FBBTtI3buMDqyvtu0MYgw3wukcc53Gm5W1/sFRgt6ldWZ57iWfKfaADba5Pis6wlKSDw4yPUei4V5H8D9VBiRqStzG0BE1vx/sLJfCLd0PXXCgzpY4qLjZJLUvECu5v51oSokyNFJK2j3wmMBdzMAeAXiMn7bHTF8hfRxg8CAl4eQ1iunzsku3vX+U0qCgFyWqXb0K7pUrhx5d3YatNWFK8FrggMIjRONGcuHAKL3V1CjsEXNDZ2M8nHD3RBN/ehU+pSh+/ug23Wwzyj2zCyJ4Iq6tKC0jy9zhtIwi9oB+ND32yUvwSKf9sqrLWmv52nP94aL79qSTWZd2XProVmH4paZPGBrCHfct4vd6/BTmK0ameoX9ZDzPsK/4CYnADvlstrmepQyYPXg9xFlO/3yWo4YX9u8cYR/LmQqhoDQwdHAPjjDQInIHu3pEeNm6Z2nCKyaT6dYOTAbOfLsv8Iy5mXQJYy/bsuwkqqmDVzCgJslSfLJJCV4bfHfu20PUkXrEPuhFEWSECFBvD2SDWO+MT4iw62IM74OzLNieHMpFJIeA8/Cxllvq5lY4eoGobiFieSdJPNQLI7wy0HWryBaE248eJFUMP/Yx/oS06cLomV0bypB7LVveQtX2mhO1DeuaWg2SzyeiSaDnOYq0rdIBY48Avox5HyLaxv7SWuSx1YDdpfCeOK6Xw4Kx9y+4Ag2hMQPjekKVHL3baF0zoFZfcjH8Rb4MV1+pg6R7otsnhquzVRqTUt9liWSnLwAiOBfV55XR/IW6SptJT1C7VwFBUO87xp3AZqL66omv62xKl0GOQykhXsA1L7/K8gXjoAmpY5O5V6w6h9j8ZXAg8ETFTbbOmPZt8vXYIcEU1K3/NOhvAt5FzQO+tWPkh/Ma643I8M8QYoqF84Wqph/FruJuTsGwfkmp94lEVKI6Op5hq9QxO7KIaIId1AtXTPChBYZ1C6/zeSamg1wtDgRxAUKZtxKdSVdN5A3POqfSLnnifq/sDlEm6CO3jmhjbBsl7Hwt5G86SxBhjZ4Tb9ASHxKn0eDtMzbnxAYH/41A7WLPw2kZWCFq3snxExB1rncIMyIqsXz42bDYLGHD4xUnrH7aiPUkQJ3uBJc32jE1gnYUzFyLN+9/mN2yQEnEaUCQy0j8jUqMoMtjIon/ibDPBy2p3ioc2x3EILQYcVtheDDX8FBvQUZ3NJAQUTcqQPns0KEH+uPIl/N6cfuu8UyYt0mu+T67GmdqAO3UBMuldRh5sznsEJzD5ZM6v9lDNdIU373y3aNES2kVs3hDx05aR4+kCcWs3Uif+aQ06eLObKvd90TarOBoi5Wfzr5IvrH84iswFsSmmhvgf5pGiHU0i5LFwHHawbL22UM355lu40mP4oemyB2cFUrCfA5IrHUiGEziiNdxmwf4Q5LhUuD5H8IARXGhKIBd8o27FytyrPakAu3OxenLm58y5ISBZMehYOIfN7LzQ7Z8WcbSKu9GMCwqJcy2pT4aN94IP334kdioOg7JVEUVFzmu4xF3trUOPVC6ezOH87cOopuRB4nijcSo99EUFTLwYrJwDy4uJaUAt84V+8TVwklfUUVti4YvKM/FP5TRMwycs7ihLQ8L8duVTyHZfcXSC48lVs/uk0Lo37cmqDH4/LP7pC78ZqLzRAdJvkZ8VshP81Vupop7dfIZHPPPGIpCfGqTw+ZXta+DosK0ylr+5s2PSDe4XAwwCCXOIzlhKxe+KzOYwbHJllQ3IIoxeyc5IDmtOL40PEZFfrYk4DdDC79PG6nxek/sJuUjf7x4LcbuyRM+LPIoqQrYs2JWLBhWytsbvKHFa5XpiV69uD5K7l2lhdjKdAhBNv6GdSmSg1LfSE4YVtsn1iQwvnfs5ts+qSv4dzEeHpKrl0MljQZi04C3zKO9PHHS7EDhsRQIaYjSna/+i6k3fxfkIkX/qsyT5o7hQa4vf+f1kkDhU9L1aoPjsMcqCuIAURTgT4os1P6H8a2wgfLQ1BG91v8iQV5SG42RMbtXG84LDJUgwqC5xGnnyPIbJZiFy0fG7WU5CEuHqiVo6m90koT67HBbzzeWrupBCFDuH8XdDp5D+3jtzpQwAiWaPeAwtIyC/os1KZZ/Ek124AAHaZqea/PYA9HmPSPQrZFk7D6CE8hwC1xvatsZsgqZy4pVhfaTVcDx8Vp0rFAUI8rfP529vUlqV8Dc5KM0rm/hSqN28Ny8GtrVa2x2dqkPDpakM0ulQ8xm+swkwm6rkI6jTbtmxnrnfrqoB1uRZkKT0fU3rXRM4uAsR7+aBHAIr/7l2j9hhArrkI2n1596RGeLqVy6IlS3adPAqnS76otXrZtskLaGahAYI/GhNT0h3zhMXs0+5N5erwyrGHyxh7NCF50I5XNLSaCJR5/U9NFEZhCf+yrebRqksBDhGnUrfg7Ea6hwHF4AiSrCSHMmVMeypJBQxwrSLprA7/Y9n1AQFi6gZakTdk+1QJTt5hBpEx1E07UNDyQLt1Rz1OSIEER5rW+kDjRiIxQaodRt/mDaCPBUwUX2pWh6GOVe03X8RXvYIvrIPQV048eBU5TWtYI08W9bVwGB9qSdOjPSjduJgvfFmrKAnIeVFBfRzXzUc5vVXnl2uTTajia6Eapl/MLKy8g2KwQO1/2cKmHf7NQgh/xobVdkR6rsdDDY5hjNsbYEmql+G9hplGDhUBL4KqBE84EnjMZPEU+uaZegfWvlxww4eztuReqN4zmKKyNsliGV1rTn8OpuI0pvq9wFq5Ijm81ooQnkVEOn3wh9E5JiiBND0HKd14YKPtOE2fLDU2QQ3PdSqfJPJps65AZggLRH6pE7//GwGMGUP4PYfDJ+k4LdaJQxNpHM5aVYIAYOJmLD7NdKshg8Ua2k6RZFsDil+Co+rlDyUk5zOtIzIu9Hn59TGwbeUEASgKo2PfZazYQu15ICd4oct7ifxvQc7NTt75IAyMFkDcZgU9rkO79N/jj8WSfnWBJFpnkvyDDFMI6j5AhfQhzrjASoO8JChAhoFHYoUwlAE5aiOWBPNk9QJ9qVKE/4RO6hkDsGr3WdvgrdCMGrDVIRqsVY2qSB+QGwhtQ6SMZSq9LDuRJVwT1JH2lnvmiIfIUnRV43FfET0d908/jojFKvj9I42jfRRoif0ZSrCadwmHfLviKGbiDShvFXSztY9kWswwsvG/hIaunoZRv4Qd3zlcVKZo58RSMEZEC8kQLnRDhNBgeUVoyzMWZuuhGFRp/Gf3ZZP3W/gEfsn19Taul2/H61/wyRVgMDnZLQcNMlo6YGHvcg/lH8ww8BQCoPLZLA3uhs3Kjk2uZFwt0fIsxVWJtS3P1tUzoqycNc881dB8073p5ymuZ2pXPrOyUwUnUfp1YfEGDyfEsA9SmGQtSOddq5UaqgGvOQQR0C0quaB274HhuD3Aq8vj3KqcuxpkjnJ+2Ww8iFAemsZs589zcR+wDIbR0vxHdTEHHD/HfC3ne8BjqXCcKhanVQizveAG0m3DLokhSAxZesBVx3G4AWudA4RvzYm5n7CBKq49W9/AsGsp4Xfulr7lu6gaZ2eab3VYkNOx7QIoxYPzPT9VZb8f7lWuSGI2OB60mVFwNh59l/uxn74wweEv8sPCUjbB2/kQZKdx+WHgPUnoiGwLeWpF25BHazusZYSfLmrETHijXQC0rhVCondRXv4/LXZEh08Dos3kBVv31oPW3RUIs9osT/jDMZUnRW80n40PwqsPpbxcCxMWYJ2wGSGbZZZq+kfqAU5qPn8fZkj7ge+jWZ4fpeFuYs/3dwY0spVhgqT9dcUBe31H166KJoG/eN/1SV0DUEuspi31VLg5hV29LaBNMHg2WNyRdeNCjNcmPNkoBDCBETVjNp/yHnY+w4MEXgOebEJQpe7gaKsGvM9FTYvjtfgQipXGqno0vh0VgeQlt8Ix5GPOOYj4IncAJskepkpJQhmJrixP2x9rwg9qIQQ/csqzdn8gs8vzyp2l0B5EJRgZ1SjJJ8/KgmZond7YDGHDWdJOfRWo9lwRBN5lHW+e9DAPHmgcI3yHAVJYjlu/1c8SENwTClkByz80FQ8C7ze43wkWN++624fd2s7zNQpZg0CmhLsyN46Wc7NMq9hFi4eVcwFELTgSUilkicf9kDOo509vWpxZtUYELZQMJHH82ellkkK7DBg9cKua6lJd4pdATGWNGWRuVt2CDdJoY3QAlXLZGL0pqVlOqHGBXqGdb06Wdb3rwm0gPAWA2sos3HVGxXF4PXdMUmnmz6qggHsBr4+x2/w4v1+7CVtsD4FtcdmUCMMT99u70pAcqXboE1qjh5LrukFn8CHyesWB6w8OwlWw4ovPnwF+PuyU54F1uwJw2kCCUOqqt+MTlY3jbw+ExnnAYsd0YsMq1i/2AE7tB/SDaoV1ZCxny6kW9x6TULp7n81qnv1qr8DC2LjQqsDCcr7zd3JLrsYhPWFf50vW9uK1g55sNgqhz6IolgTIfOApH+Xt1jxJfQOkCcqQlSVhueiM/FjiR0TFxeGlBpsDmXGzc78CM38kDW1UC5Oyf1WMUHGXiGY/UvcJJSx25meQfU7/x4yjP6vyAbEt+jOBokWt5JktVWI22qSDcFa+HfX9LgcwsCihruUjWtQ+RHVLN50PcEFIV/IEKW50czIhLTn0hy157wJ0YPqRrcHieNDeszQQUSNW/AsBtCfLZ1vKGuTo6F9ABPMSfg9Car1AbXOR+FQePpJlvLYw+m480u+guhTUEu0xOW6huBvF3bEOKxHUnNftOovYLOHgk7mp6UyC9S39RSfFbgY2ecgaX/+EStgeVp5b3kw7oMHcXgVlGa5ITQC9S+br0Uz4RD0/IBuZ07E2+7B/UVEPJPJOgJcI1YMvJrzf3XMuovexwB1rxm/fSL+d0mVSW4Dj9SXyHzA90F6MH/S3Lxywd4INzBqiuCNyXk+cljaLr+3o53CjKnGtCN+KisoaaLQptmKgyzkPiAur/E9Kdeh+hK+ctT9Hdo+3kM1fhW81HEheLHl03y8DxqW/Jgsssvr7GYM3zyCNEGM1tDcjVvQs5uIWzcXU3qO30mT/E/xGxKGKD3Iz5jcKl+r93vG0H8g8gPxuDf5WKlqn9jsffnBI33AER3O/Pb6lhWaHphyYXpVoOIgovRcuRYTyOEc1Oe1J8+Q6L5PleKSOJUPKv/0FBhjdUqi3rSdKmHkYUaAxO93kDHtQRMHXpu/lz+w9On9C1HfVI26YPuZBy6R487GyIBkyEZmZBC1j2SxWxhC6mf1ftuPHwV3hfE/t1uh943W6pWZ48Up06f0wu8O39E8XsMRnzXv3+BHOKafVUqhqlEhE/CXs3gCgRuZD9yyIenPSSX4xA7szr5oTsWMM0XTTZwuONMMhocz+gR+yl4v2ZeXZmQwPAuzycXnp7cicsgXs9B6Q+Lh+UTI7dJmnsrM/VyfQ6ZacSVQ1vcjX1u3p7wVt1h6MbkFpClj1IEk2bLAfgaN8WZpSXs1xTOFxZpY1feXkLGY5MIxDWQJWBdkm35z1ZE4TaW2n7+MUAucovbKWdn7KckglsWSgOAkK6QOYmPqY4KQus+RFIhF95wj7Y+dwdfw9pFSHtVVl1Q2dW1yi8xhtbiGFtdtB5aH13L6a+urof0VN/mSjx2zfHteGZRSv0ygm2T/hmITjymrDgHAoXTrQl3XByX6v0F5nq+rq6PJDIJpmxRMU5OJQZmlkExO1k1rhdhkmjADPU90w3a8ZQsgeLeSq2G8SFeO0CNpwqEpovjw8jNFdcXglQRNTLaIch2HPtKN71wE0qb+tCbUZKWwQmt7rV8lhez0A/RXFyHJrVapfEKDEQJ8+mASx7acpoevWLQ6diiVYXphQTNS1AETH1Dehvyrj3ZIKJCueNKquRedeekuTRX7iDnea0bbqQW0CosRD1i+iUapTzvUswYlv/ppsUEnhhvbyOyrB2lyA/2cPOXidbv9gR9FVvUD9OmJetHy+hChgWsLYrurePAVDRQo4CMvn/b14z8b3odthU0LqRonhdt1NgUpR7PLaOzidW02xag1OdXaRb2iDhHPAuT/biXfeH5freF1TRcXlmMJeim6oEFtnbXm4UzyJjVFalRoCEGXqK4g1mVbvsPvPfArwPwe32eMSZMbrRYK99ZjzXGqLvVLOZifiSmhDO6XInzD+OFqr//V1BPQLOpum08e179WcTonjCHLFBqlidKoSK92RjE4nueGu6NdTuTg4aZ1Bj16eM20Kw2p9tEtyWXcn/nScGHBzSmGtKmfI/cX6igO8u7YnesWqvXk5+ipnD5zCQuTXL/RS3E0jFpx/PmzBJGYLuZjvcWpjxB5kWlxsUChznHaDxTlLTkXKD9p45cOqVNDMAszjPDuh7nM/kjL40nhlZKir7ygJH75+mbTMJ1YLZG3AOSZ9qjyxrjXP8pKZK9Lmlgu/baxy8d7RrvXsfa42uEI2BK6UFGzUyH7j/uP80FhXuvwLgk0Uzh+pR6yuS+1Owy+vIx1//D1lTVM6+XMrdM8CURRkA/4C8puHIq1RgN70gGCtERzpdhHNg5S5jHIxzsDmvmkIvhgBdaWHjFyAK+OzugmyHqmukQ+w7vQwNaGvRdY4aJLwgjWRa6gIV+ynu0mzb5UKmNkEF/Q1CE+LcDtgbdBCf0AUB5Mv/yn5aoTdEK4g7+Oe7PLQUieQzHdiSMRLrbERsZ1T4crB6Hx0GY3SmyMy7VMEjvoZRBs9FyJ0bgzYIJDwAck0p36av5WVbv3bdXyV+Q47UI7f4SNtBslfuMGzK5G2aVyNPtPwvy1MfMaUNUDtGuPO7QAdEPkuKBG9IoZYVRz3AvzEqOqdviW7yA+IJQMP4y2f6CiNVMv76cqNLrfAg8X4HKubI5IqJ4xiSQUWrwEoNkw2r3Bn1UsJU+rkqDQFBZsGFoz+2Z6dp8/nMSqeZTZryqEo/Bl9C8Gvm2yKohW42syOdztAQ8gHeRToTQ7zXaCdaY8wIFwIlPAAnFN+CTFMJlLWeg3WazJROINkJT4UoctaOHMQu77/KDm1lDmC92pqWECRXbE031KBNwwybSFPwspJO9kjAR6NzHdY1bpfPNvowgovAK64AZAa8nYC+qlwZb/ny+R2D4PO/CKXQa7lDP7uKIQrbzfzCEeD4Gts+bKw3sQ7P/ZegtyZgyU3B5Zae1z5wxXy6t/yqF0/UGtWp4PVflmsrxQepZQA+9L4Itnb2BFyLtM3WQ524dlsfYlkK/L98Z6OecRGb0QFVz/IjTVEXkaSc096LTLL7mubfkz8JJHAsRXpIStpf85mltUq9NtL44XYRkU3URZ8dwlaHPqO0bHleowyNUKn6sEnK6D+bY/bJTIUelJS2MHnbGKRhrZOxgrs6zpiLeuWV10Z7IqAiPwY4vaVWY+o5T0CAXz95hnXsZaMBstIQF2DOGISVtZPKKgI8Sv9kCQ27c8ZdRSY9XzXS43pJfSAtDdZC56beaMUMUxIQPlodOWcz9bPU6uLYpaoi9e+DhL/VVKSaQmtyBqt9m5KCkGKWG7X6ndm2ml8hX5gRAZPl5PPUMS9ARCoqTAo7P2MV3NfNUZjL4+cfyB3gk9lF0TzW3drJ7bH499JcDflvgrs74i/wCzBBxJ+TaBlomW6qncfo55SKE1gX1ZQjp8fQASFtbx/PWsEkwHY8ev+t8NyoQt2AtVtEgbWeahWar2k/ASTKMLzUNF8960Y5Od86z80HTZmlHi+4Qz0c/5tCwEtFHeyYEbf9ylkeS+ajpxbqfhlzqDKVVGryFAzShezCyjpdmeKOlh4t+P1hFwDhx3rNLRCq0g6ojU3VaxYEISa1xSWEVxv/ElDX156JDQTT1aMwOsWyMNkA5J+hpGIIEPna6LkpSn+v5wKx+GHpl8e/rs5ruc9auRLZ4u9c7SUioX0bURi3x4Fy+jgMe7A7lZDqizUXxMR/db7494bDg3rLARzkw6xIW4eRiROsoFdVrFlfmyP8RqO/RBq1YtwZkAWm4FHrfrjv/YAFxP+r0mIWUCz1/jB7rFCVHX/PnPGPO2h5MgT3U/+L6hYAxGP3BU0acyH3+QkOnO5c2c+5aeL19e0ZVREW4gwP9AsQXTqDQpSS9J/ngVM607LobGuZkJN3ijUC+g1el7MaOXkG68nbH/5nnYX9gw2IVmfWkLXyB5ryShf8/iI6PshB2vpo8KFwdcGIZ0tNhfbbXQoZD4HGxT1NRuOwhzEHkRo3UD2puYqR/oOPChgTBaH4x/TRlZixlZFssHhsKDsqJBUaeyJo9cbBmCxaDBv553KCTRwixP5URdmXuVmZeOX22Wpk3k2Vu2BOkj245Nha9BmRMY6fm1/QXMF9I6g7NoFblFgJzzn4o9VYCzki4F9AqLsfyZwr2HZkCVhOAfbWCM9GvBKKZswT1t5tLa7kwbaZfw89GrS7Q16bab7V0HrVjvsRGzMTPwwBQa29omeLNCf6LG19RFikJV1m4JPNIPq9xWmOZnM2CH15jU+jLbIls4fDgqciXfITriyhbqxv0syoWBUsC1AGzy1ybBttnKaRkMuWQkPgPBkfefb5lnTRH5jR739A6dz/99b01ZOLn8UqkTGkVN8UQ53dScibejfU7Tz8NjuSVqrSP7c+fZV+8RsDxk/wc3bfFSr9iSAHWgxPJb5jTeUUL1d2wji5hvma8QORedQhorDFY25a04e6LiHl4XmIZqphkQIZkyH4BJ0iGf4f3tjc62c0/oyo3LnUMthU4WJ3h75uTrIPydSi/x9yeJ058HV8LDFA2elA5Mxi9M2NbFFO1cXZltyNe9yS//LxQHCjvAmNu+GrUTiuLw0norhsf1xqbZ4pR5oOSqB4yVrykINyHWQ5d+0UjfnFyZLagEINxs3vpOgBXQgeERA7LSUlFri+KP++zUm/40goPzHesKmNRfhH9Xt/8TsYwDzurRs6D1r1WGw4U59ULW9GQ8tAB8ezJb71GibFEoY226q2dnS9NhQy24gDclxMll5OvM5WqR7bLJcAGRPIbbqs64goHcy5mY1JBbi7wNi+uB+w8Ee137yN6wAFTRluhEPfy/sgeBBAkoI/LXrYAodu+WGcMI8VGjJqz8SXIrtL6oa36IECqtZBMmxp5Paxbnj77JuG3yG3LyuthV9CrPY0fvubfpQ38on6hCLu7qbPHDsKcjGl2rYlTyf8YFWvsJX3sHWd1hUU7C0EZhiRw+9wELmoHfjDHSA+QZNDzeJBvrgN2WZ6jJ2ghA+ddFlIcf72HGXHDup7hNrJLkGqbXLyWgCC/GaMo+ja8Mr0VgIPCm9hXJ6AmokS/uW5CW7Iw0Wewj3l+U5mGlKPvAdzv1ge6MgLe91zfR29Ho1JKKXigz3ZUIcTFFRxZ9XpYTK2u91XKJXvIOCjZmOgOAye8gCzd3PqyKKms/nlqcd4cSca2hZ32fic3nyE/zEfBsF2QNAQwVd4cAKBA1zZ94Rbu5aWjBHHijpC1Ksk8mA2EWhiEd9W7H5u1jjXqr3woGdTlzGDW7se+/MUBxpvocTTCoRMtJQYCOpxGh8Lycnj2Ea5Rz1qGqf3++Upm7m2lo7kBOhKOCU36xdG6dTek0GI9S63paIFkTcdlgPfVWNzexVj1RP+f0sx41vsY1dd76BYu8U7a4FP5NNwodkBMDCqgkJaGNjCxR1DRMQTqN1nyeBUgQmTOedqTHmqu+XCTGBkPgBx6+wigL2aw3aUQrOzLSTUOiYwpE09otNKjUm9FYwTx36O3KMps8fgoDZD+qJSL1MTAR9XBhkH+ohNguIPIQG3zI2FlutGvZhjNKXlU+1oLXNdEvTNwWfgzppU6RmyTpfjuJp/cFBxJNcWFSQWrW1QU8uXF+iOdIYKsDjlYn+PBQy0V5uPglJVEJXbkw67HriCA84y/RiFHa8KOS9c6/auhO46MpLpVy3acAuFyY5ebMn/wM6O0xSDSucLp1ICMcaqfO3+rbc4IF0kkkQoKkWHNJKvwTCTN5DIeT0CunT1NLgpQbaQSn5lo+UcrSQvkvhP+Ms5nnxf4AF2KyJZQMe02VDL21J9/SBtTJHLcWxHEHDU16gICU/Xa5nNK67NW7IVZ974JQOZVAGhGPB70mt71jhk4BQfbepTk9MHgwV4fNY+jngolvvsjoBSCpuNjxa33CEt2mrzIcgWySoYpFpIyzXNc2RhvZIm3PBgRH1s4p9mLBjIbmIlcO4lLzdUfvGdRzo0O1xAyqY5hr+NZYgRkrVgo5Zo4Sa2YtJLD6AiO9+D2bTfy57fhpyVbPy0rExXlp5xE4YBjcE7mmOvBC5Vz+nShpxhM2fUQ7XhnhwH7PRVt84WMDABmEpUZeAeD1vvsohYfhjzFXSO238V6oAsGIlDwUnlMHTIG4GT0Ex/C7rPM2eQKSq/pU9ZCKk/9p997YCAER1GKm17baTlxvP1uQNbyCLIoVMvMmLJn8fkAlVQ4Dr80MT7WjHphbdfKMnA7m32reWUfob5XnBCNPeUjq68UD+MzK1WUFpIHAc9QyGYCyjH6ceFj2JiG//1k6vHWBgH3QBLZ6QaSi4sgdWDnKFjmjYWCglqwjLzFDYH4SFJAGjMOBNRylq+PspEW/LMXS9/7mkNFyiuIu0NB85ES8dmmYbs3bAwdFJuimrJCFQyr0WbkHxUXnqQjB4i8FGaTKB4zCAZl7flpDrV5k+OoyfCYSzVvycg+eN1Fqetxy2/FanojMzLiyjC4W1aKFgT4GtPFiyINzZMnk1mQ6kQ/TL5QIxdeaECEl+eBOOQ4k9/W79nSFf3LNM/WiN9IWI5PJy1Trn2CDgC7sK96/XIO7ZajDX6SoXBcmO3WbCW5iXm9BWzFP1Nb7jQPPdYMGu3HUNsimw6yD4aFcD/XbJsR64F//z52OgtykuvwOTIFvcnUIpdXzzY94xs0Et559QspxCATQB0m9KAkboy5lRTAwmYronhldjdLozDSlFY+rNrpnZR3F9MVQDT3uvAVt+U7SEN1CBn/S0ZW2u5EaCpG2zaR8zCIrNSN67RDLqsRdTH86sCM92LKayt6tZZHXfBaFyNwf5RxvJZrFeuGrupFlCtYii2fx7BrUpVpYx2LBs6g4HbvqAGiBZ6I9bgC4ss5le3+sVua/tNmg3e4TXyO98cj5K9pgPQksSfHMUnCI+ypWk8Su0HAVpjxFoxQwQ8Osf/j8EzapDvIpmqB68qsho3+gnm86yKsVVkCIXOFxiXnlrJzVRDrjvgr8ZFLYRe3bbxzRGVjelueKeDiOIxoobdCAe9pK1TqOzKsKalHGSrbDsAQ/P32ednVa0bmNMuX8uoavrQ9Ty9ZZupLoDr0aqGvha1ZCBxFhf5IefDXgs0VixvFP50HOpPgTKxOm4Ys1//Fw9lxPcGwpja/WjsitbBQxCzjKojCPSnFCcjLOhYx7otiDGHzBERuLMNZd9imU3KM25+uQ1XVRcKJNj6OS4MVSqeQj+nP2eGi7yGps1hOM9psy7+kCj7NkuevZdb6/YPH7FY4x/NePIcwxpWc+rjxKiXD9lf2/PR9Zve+bz1CvJtnwouBrLYCzp3ivylpoTUvuP/FJesPlZqZvjJs12hAUPPB3LVzvBcRjXATBEXNd4uc8TjP8yhm+bzCREiZx1xhQEVhkTqWtSK5dOoyrpZSyQLCainPb7/90qN9sxpB14T3T4B4e8QN3u+uEOGUtXXMGn7FPVGI+1fiu7sAluPKKO4mXjhKKqvFG4mbbxELa8P3f1cuRQh4qkG2zbbJWcAN6jIYsYYtvOIKLMG5fsh2y7k0T1i13EG3DVdRVKa2IKiZ9gqSFH9lLTtR0N1+MB39GDZIMx1zMi7qWJnWNOvngbj9y0gLyyFW6gp492VXuD6m24Q3LO7QQ9U255MQnHC+QZVyEN9PHLXpOBq88lr385hxjcdIWHhNF+k1EJpmy14IZsdTT0rAW8jDzo2o+9Gy1c7blXGt0ojMeEoLwAe0m9tVH1llfIyLXjr2D9ssIvMF+v4SzNky8N98HHB+A3rhuxSoIG/v9qpUbUbu2qmboPcThfm+m5Q5GXl6vCJeVQt5+Zpc+wIA7q88s1aLs0J5cokCYCk5oTgS38nLzJsgz5jYJXmh/eIqh67DIK9FZ/+wzGUXH5JnNBoRvgKVCDH8JqW3BbXeFlAAoZws06FC4IOPiouzALvJUEPiAN+vKoCFxwlgxKZx+Jng5X6+I9JtWr4/QFEkZS4U2yY0Ym4B88YcEOki9YR3t7VGE1vsdulMb8kn2VDqZVxA5sC3jDxBNgaoRxC5spSBRKXcYFSSNe1IxRExhYIrDEu72XevLiJsBImMyZVrXxlFuldsSM4KBOKWtZlyCMQcSIu71HSIrtCoFpjR8nFAwe5dRnaTQnYoD23t2EAU1TcF6bA8NVmcAmxlQC7UtYn0P5sXDMN5NNDeFdOSNnkZmkv/e1KglkFpdWUM4qkUYiNnws6/Fi0B+GRAuwoZLnFylyfJSHRCMU1A4iiYcvtSvJ+Whn5xtUkGbQYCRAezi7+XU15YSylzg19ziELvjAKx1Y85bqe8d+PeWIwo/DkpWksk5jRyoVXiJQUVLcioE8IhGMBaKeKCurmE4qX5RhQvTeG5egjoCQDragrkas4SP0uRBrDhHPmcND6gXwJeyBVKt3cvOanTdjcCfdD+nDAa4gSrZWhN/yzE9togPBRZXZnxOmyI8jpRM4Zw/8LgE7QMJ3giwFKc9CHnTTCrtzg8feyGIYDsJUnZ8MlvRKGK9JP+jDpcu6/p/iNGHKMtmm7ZB/6JJFwC00jbSjmlQ7qBLv2lFRyBqqiQg0Y8yL5rOywW6os4MKTqHsZ3i50OdZ9yRpgVe3JfjSQptRnHAqNif8vDX6kp7xU43kqzjgwSjMptkCHbvVyhZ3XIYobx+JWz4DdcgFCeb9xL4nypXM7CjTVkn18GMCDYmFPHZkKpWmYcI6JPiBOp2/4KM3hSIRDFG1hbFcagEIwKoyD6Mgg7eUDGgOU8WBGgm5vM+u9GtAGPKA6eFNqPigzLdpbLE6/YXj9IY/apLhrkBUjuyebJvolgAbAopK8tCCMTirZf/q/1zUTougb4qafZGElZomYZjfWgzeq5Riz+UIDy1sLXJr5s4zNNWDklX2j+YV2f/jSxwkVFjPspgwA2VvNDbR/SYpXwiQhf3P20im92yxnsdERvqN/YdgMTFALywg0XPzaIZTDnRIvaD1T++VYW3LQ8imkzFl3YWnXpSh1cffqswa5/6L1KlbfBLgwuNYf6NqImG/uLdvs4AG1JXP8DXUTkO4b0HI8Mg1Bv+1MKkSsI7yoBUzQ8ltd06njFCtQOlMlLRKoFrfKshcf4TWcBSiy15FJx/nyYyDUYJ9Zd7MeVib7oSfAP5/GxeFCofLoMyhUjEPUQDXDHQrrHsnRvM6vXHsQ01swxwEAwPfw++Jp6d1G2AOqJwkAgUJ6vRC5PT2J1CvKkgSYiGhhCmhLpdnfFvWJrc3jMBib5SBiPOtDIBb+rQo5LOkh7fbNsskQzO3nBX6J4xwREDvFzyUFBziMCOHK6RMyZfIEJvwkZ1aQw7BLE3Z59VzWQaAuDZmMqKphcIuEqHkF6a01ikLo1y7tTU1qVKg3LjsN/IOmCuzxQww7kiwzdYsUpHosFwgGDTakdj/H2zG5S6CWJrMcAEyNzOOMXd3h/hoolOBZoklxE1tx9FaQvZdQE4EY57E+DGmVjlZZ9+Tf97KrV6QbwIbF+rn/mWjpv+HaugKJ8IYxMlXYT3rYVARsPE7TlFBx1zMHY/EGPdUv0BbJDos6KoeiXFPWJHayjsq/UihgOLxBV6Su2LCTYwrAiJ/lSFHdCSC44AMdWwDsEuJRh/9G200A2SFcF6RTBbIYLJnzTUub1bFXbxA6CJpD+crL8IgEecWKU7tORVPH29R1AW4WFj7kF5UUcE14EYwuRrnkDJWvFBym71EbEFY1DPOJteD3Uq95wNnIGP22dOZhDAI1Dk2aiWGaAZyDjV1xgZCGLqwrLy0vzr/9ZGB+MZjgHt1lPMQcpW20p2lBPYOQxFMPV+JytW0cYy042yOAwby2I33p8bUySsKbE85kAyyFQUMR9jnkHQzsrM2fRD9uiHwast4K4NP6WzBE+o/lk+fhKHdAait7ABoG4ySDTCmHWyta4nNcPjUQRz0GYRFjNp9Dq+vF2DzOZbkG8lVIGRyBrZma4B3fLnvppoYdDMJb7xgTi8GuwA06x293XU9PPTm3IF+6CBIzTChpp76SZU2y7gkwqFq9CFhHnAWYhEAXpuFa+6JiUTqSTaPKcpqjqu3MlLAS15ig73TZJbtK/egJmCIxgtS8Mjb+rT8tPb6qJEvBWjnXyc5SKWKlIhvy39BHYoOhS2JO7DRiYTZUA/AIIRgJz/TYx1ep/EShkzOvA+z5luII6JRMQbhjfM+oatsC2EpH6uoBMfxmRRg6b4SWL9cjBMqHkmDU/k8awnele7XOufbk1JQOgLfCSEmOA+8+t5txjX0slE1m0BlLLo2KwF9Tfo9gmOxBh8MdSo37siJinYXSM485l6eGi4/FgvjfRpj7JdD4NDXNrkMb3pqWXht13zei2Lew1VRf30sjgWm0kQQCC4KjkkUAuxohNH+iFXTFcbgAaqVM7+QEwUqFUQYr4VaQ9tBftSM5mMBHg6ipo/vFQlKeY0zieJwbmf2MNZSylrfXH7mwYMaiUnD3HGMujABPgfeDzJUux9CL2g1T7jnFwXhD3myy2o8KzXp5cs4dqI0ML3XUchiDpMF/wLiuuY1Urp3F1VrhyrjrpNgjg1rec96maMs4nZVH1Khb/DLT4+3IRyrXPbIojiCXeQ0GOpQlqxZb5/yQgObcpZlnS4qDSi+HpNAcUYSyyJM6+YT9rQMnOan1mn6qhRYdTp2myNu0otsBaS0cXGmOv0eL6+/abbtzffLjoB/FUpzuOTbiV04tcyRKah/UUgLQijC7q+Dxp803QrCdwlG7bGCVLGwDqH2absKwnuwyHD5ru5BDrhOjRpZKceqllRmJpDPY0BdKa210+SO6ZMOOXIU79nGBvp+uK7Ag8dkazOxkz+AU+iWXpUIdOSNiPaaRXvCH0NT5k1oIVu6aeO48bVTiXDISJ3YBDXgGDKsnXfdtO3QLX7oyHtowX5f5RgmYfdhGm+ZWnpOP8nna8zWNvSrEO2esUB0SZRA3pEch7hIj/uVLrBWe4LQjs/rgPbi1MDArp28VjYJgucnd9vGPIVnUkBCfzIAgL0lScmmAUv7uMvE6beFshAUsptYSjVqyIe264QIP+KZXIjVX4k0EX5D5s20fF0j2XyQq1jOO/N/L0qA/Sei7owgBeyRE2Zvk3QfzoT6Ql39vRrcsgvVHV8pbVIyQLyaWQZgZtcXgEPi+qEyLlYn2c1myMPnJCpzDKEAdCbckfWxjP1XJywVp2s6UlsRDwXteRItCVPHtylK+2ze+O5ks2t4F+9GS+X4P4k24XlLt3LTJuDQtiE2wQc1lkd6eIDeS3sg14LJVEM9n21YW979VlZ7EqQ8HlVU3cPznucwrcqV3PnxOe6mZLKTN/licotWhrv6EFaIXlWBDLzpm5vvNbcVBcEBsX7rZ5qbekp7aZO35JL4IsZ/8PrG2O+/bLiBMWrZFxqeVQmzOukuJYQCyI+lZiYfoyEimQ/Hn4MPhF66hTLm4ykNcY1Fo8+ARmm1qTihZJ8V1NTkqNV3GtJBHDCDj2D/Yk5U9A97igZBvWZf5ojPMVQ877r1ViTm9bFwkk4qLAHNMwunbnUAg4QJFS3T/Lgo4mNuqVbFz5OBI+RBaf+i4j+3gH3i3BO/8SW27WWtROKewJNpGTbijAX+IereoLQGlYP7Hz2Fv1Mj3zd4KQL96t/e8B/24oJj1rddcKBpJH0vClN83Heh46omIFMACK7LyS0UxSCIX/ZMhDRTTgYZSiNzbd0MGRCe5gOON8lRqkFq0shj42rINbsrA+edLn6RNMa4aaI+Jzfyr7PvTRHQF4F+fmLShVhRxoYNon1Hvd/z4lVeKoM4essZ4qW8Sn86cUy9O42nlTTIisCdoIsd9WdgLpR4dzgrMHJoQmm8Cu5c9H9lk8ws2N2LkYsc+VC3J4x4+nGz/oN/6adx1YiPALkkFgnGQURk3qWJjkTQ8ivNLTWuvkPAJIOTAkJ/tWUIktpZL2hkTr763t+WvaWXjxJJlEzMe5yrkkA93EUOi3b8phJkuHU427+PxyQi650Glxmja0oxHgKOWp4i1esa/Fr5AXbXYDkHsmkewl+5lo1GSuV7m+BgG9EekE/+lLxomwZPVSdfs8C0/FwQ0IyUHZk+3oEBRuOkrhA254azwd6t2RIXcb5XFMnD2rGGEbV1B0yKl+MXI83M5ZRdxPwbhS/CyfbsTrzlj4IrfLP16BfHEKwtlSaz6lCc5odUPogr3XRXf7HaLnLP8sIX2x2mNjPVKo/iQwiL8dJKuq6/s1tTbsf7qzcciy8CK/L16AOMpEB/FjIQ9OJA5UBmLrwRDrgKQ0T2MSo4YnC/LwywrYaRIK8jF0mxkwEWGeQarGnSgZA9vTKrXjdx+vaGfTbhjVuFo6yYfuD2xMZohexpwrgpQrh7rlTg/AnzvFEu9MJLN5nSP5NudeW6ED6p0IWpAlYgiJ6pZF76zvKVgAdLKr5eKxW1+XWIHPSDGe+PqlTiLt8NDnnXJb3P6gkthGS3fsBLBRCxoC9dKHKh4jVoxcB867SBJkHdp5VjYEM7b81WUDctZdYJHGeHIjWwtEPrfd5ODmV3N/EZczNJYGO2Dd9ORmNNdOhuXOWEAKZnnnWxUNS41NF6amaGmyKjuO2VFxD9Xpk41erdGb73OP4shWH0Fi4oA70oK0k2GUybNTqn2UqC0vwWz/MT/DZC8kVnRALPdi0SdWPOYNUCs199HX/ypK6dDadcJTIva6pLvT1z+FboQO4m2xmaX+Q8e4gfHKw+p17zKPWpFoJvgYyfgZGiUcoz9+EJiLgYfRlgvfIetfGOBioQIWdVXX9ZDR7YXWxTHbmmDpdxhHDlKxUMMTlp7MQ0CMh7sU6Y/LhedGeuJ2ymsVjA7LGaMfnjn53dSFtYIEWkB2hhxxhq2xEXUarPZ0IFGQSC/atp6Mnw4pcfu46byqDUtOKNxYttRd3+FmwPEZwuQbSRUel9VThSj9HveYeRcbKDY0L6zCdP5j2QfyUMmMbXAKehSthszm+wwsjGoUzNcb3e/CDlVEWF3VmwPEM2gt/w1loduPgTARm+So3LEEsSwoTQ/8fhex6xwqvfhayrY5CznS1SIOaNfQmbfV5uM5eVjm0z5FF81Dtq1jIofFfjVEtOw0whwUTaMmZMb9KUsYZl+Dk58ryIKdf2zhjhr/49rK0laX4KGanNYGH84+yTwe1t+aqT9H9+u2Ow2VCN7ow1r5xs8UgvcakOEjzBxQy2Uj5NdPqMMFWaDjkAxJeiLO3wTyQZzh+uW8MGjY3HxDmKUvQdU9iAWc4z3wby7j5HSUVuAM/rPfh195+X+VCR5aadlxzRX4NoQzOi9o4nqlG2Rr9+rsfMnDFWYFov1X14zjgceIyKjv8vT6sU/t8lN+7c2e00qnEWZ8CVqZZyK/ykz7YD8AOyafIUMMF09nO9P8E/X6FTZFty6TqWNBuWYgAPYuNrRuwo2SW77QJsHICnWkJcXkKWU/HXFQdCBEC5We8rgyXIGBGNUwppgvCf0TZyzx604udsyP6Pp3BfZMUbkMzp8qWvRHqBKPJ+xoxPttXmGpbJhVDF4bDMbSELpS4aeEJQb6RbeetYc0W/+C6wrLaRNsjVbyXbmRgmGkWtfMIXv3kb6qxWFnbLvFNl4X60nQe+3Pqw+VMcm1mrSu/OsdIMYUTX8E0HPigxgvWacHSVFuNbTwTfR//ZnS248Fb6D4r+OV+/Z+XnksfAWMZAEwjqJOyKxnonpNw44ZCN3JHvavnisCsb9Sxe9Tqqmxr2CeSz/ZdwsOEYknxpeS+QEEcS/FEryPoKMWQrLYJq5eMjHlsH0oKTm3uw4FL8uCftPQcapJZukrBWffe1ZQ3MuDrE9Q+fgm2pfiuB46Rq8QwZ3ix/YEawAFOju+ezI8JBv7mBMNI0CqR2xvwOmCeJuuOjuAe5aoUdmwtcVmU942MJqlu1wldSh6Dl5egoVpVq85ijWEizsXEfAHW8qFJ6jkRoj6TxoK7PpQ/t1XGxACoaYKaG2JQzHpt2QkuQl9/2LRszX2mGXd642GZqARQkUgpEkSjMu50FnkskQlEyGsyF80qNordtse6debF0IDvgn7nIzwr4injkzF5GvxPhZExe71IcSGBcyXOkSkS8zU+66U5PgGXmmDM0sBcxh8G7J+w5ayqfMdxwJzm3T526qtswQyvFGzw1c1DUTvknL5A4myc0tbPwge8+AYHx0jIVk1j9sn+yAE8WAWwhZUG9gvmJ20QOfDiiE0eukscTye5Lfdm/0cOgeu5RmPgEJOzvvObaxlZjwGq9MgaPOy7gfZKZKIAfOIGqQyh5k7ch/MPqgmuogfTNPHOWz5Q2d3GgFO9atlbcK2wc3XQnYQytisKI8Kg6lCFFC8jwZpFd1tY7x8xquAHEQBPTUTo2za4/bcPfVgqwK5qXqMD1wJOXBTepHKxF8vWJCcV+oeejAM8rBomlXYXfWELk5XBtmYLGqHEzslpcC+bs/McMxObl1GtbjHyvpVbgtPER2/0yaNRaP+AusnpF9ivFJ/U4mdeZ+wTmFbjYUGi6ZHnF+8iIovvdzWgj0/zFHFWTgHLpQWvlyd0O+ag2E3nDr5aPnwIrgbXZqigs9DSiw48NhGMs7y6NhqJu+/GJEUIqVRXI/3HHwlyLxIQfSnsGmcm4PWwKVrBdYbAmnikNGQllS2C0htjClloyln/NpDE2gznB51LnpBOp+JCz4M7IGFhWCjeByFpsUo2bNHAcez/18xHOXHsgiokQID3xkutGcfVThkMPX2RG43L8icJsRgqV82wYNT+zHyZKeP+slwEGIsViB8KwvY3m7N9Y+c0PEGMJdWlBWZjpO2rpqaD86UawKhKDbNv+eiut4DXWsR0IkLEcIOssX1MG4W/Dk7a0qprV3NB8ct5FJ8ULXRyDjRjSMxa+jw5DE42Q3zcX6cZ3nBHHgc/zAXkqAX6dlGAIUqik7A1J+qwwuLUKJ0VhtbZy1vOoIOgNEoDIvoAWTatVoODCrYlxacGTZVO2ZVN2ET1iByth3iZtQWVSl2BqaHMfCRyNwFFQZHyL25TwRgWSWdjDsitpvV43XMYtU83iEFzGgbJcCI14bNH5vnuwF9BJPxE6VYXYyacLjf225IFXvffpY6J8M5KrB5FS4neTi1mt4cOAZu0VA9J7G3mRiJfWYmYWUEMWEhYFho55X7NFQ2SzjoiqCUOLERkwMmYUkLJ6TqeOoj/7cAic5bhNdxCZsZ8eQA3DUuwqFHxf6GUZEjbFxqdys7p6XgYztsUSdLaexGD6uzlc/MJHvIElGgiJx0MUWFr1/m6kTZjRmAzamo6dr+Cz9QPxFbcQ2eCvqeg6r9cPIKODdgkebtaQLlr/o3oZTqTKH3SqtnZaakWtsmRhSSqi0yO/Lk9Ax419qloIsdnrxbt0Zu8+Ho/wQfvptqs2rB8fSXXcMOYRbXjdrEZ3kvoYy7dCS4RVxMWPea4CL4HX+qd+SodaxAY84qf7OtSB+S5WxoGrYOvLrPHsOEe+rCXchvdSYhxFfYGL+w7U6JV+MMOTPrvo8G5tbtGVICK3jYSmk89KnQeRxQZ+N9b7vLh/H97X/6irftos2AGLBbuKwdXt0H2pw44bhk2JWqcFMKCdwUET1gtqX1qeIuBmQ9AJmDGdViEzBNAw6QGdJTw2sw+NSRfiyqpUXY93oN3r+an6hzITz4WWOixPBkbf/kS1rghnbgcOKNxFz8TIRG0mnc0qXRuknQXvg1Lbflr7nMGdIWPtZBP/EgD3/Tj8A9/Hm6tb4mZIC9fRs+/yky4KRKVeVo+nrpLdNXajDLnqjj0YMSoj03r4Vp3mTdViAcOpR892aPCDcdhnTY76RFA0TOWoBcGoO6nG6ka4hym9RTBM5BEaEuq8ajRMnDAQI9EZNzGPfHKPBDlhx+BXXjb97I+RivLwVhrcXv/hO0Ftx12Tgn7hMXtPNFJ7Rw83hyxepCy48cpDXVIYKUI5qIhLavatP6kSSw2cg0k86NGAQYPEusYVjJdLQs3FbS7bERwh295vBcn+VPYCpmc94sBiAeBXdGx25LlLdW0aRiiWjH4mg3ZXZW3goos43kp/pM0MHp4ybURVPPIdtnbax6uigV/bHbmFfbZunMOqDj8pa/1Qrc6k+OFT4daaEaa6kSQj1UpbMZX3V9j02cKbqDV/AckT/8iaeBJX1XNrTpafyn1HhdRctlSjlnir+fAcTnMnznOhSxHVmjJZ/DaEN4NlDNtIsks/ABx3DH2UqCpIHc2QKPi5msv3wD4vsyS4wegWfk2npoJJVViJtLMLrtF4pwNK3Xw56ej9XWVUsaZN80Bf2f/QDeULZ7fKO9v2Tib4gOaGeonAmcR9+lHmWi4MOnPLHF1bX4Xm8F/yyKVPK8ZZjS39QsD6/rq0YJ0CrFFbUChcksn/qMIqe08UTgFwczif7QPVsVpnwAYIXFx2lHL5HSWn+FT1bW50tl6eWHSlPf4NyruTqupfClbSzv7ueq517vRVH3hLG2Y8intAgMM48gNvuqMn6yH02g/lxfcC28pU6jOyveoL82Vzhjpm+tXD2cJJaapfmQost4wj1GC9NZ5j5bKZbMwjvMcY89artyFJXLDlvVQFmyvoqS1TBv64zxilp/Ca5Uu30JkKuIG3hEvXWsaqhf5a5Cg49qSMKop8xUyq9r9NN5SYAgnrkr0Bc7vvDezUJb7Wtsqq+7cZ4/AYMImIvcwnZNz87KSx8Nlg/KqCUQ9VSMhQJSDIyUA7ZEwUEaWn0OOMLuYyBuSSkh1jNJxnQNW8BJo9FmvGhffzwkIVv4Cm8qIpJyKlMSqI6KOqzrhb1/Xbw1B63jBAkz0xYXX8o4XiIFjDJ2Cqycp/i2JxHRcHprMZLe00I+g4nffgUbbLw5YZUmEnLmToxMPTJgEI3cRVm17n2xsrLeDLFI856mD2unu7s1ML2kR+XvehvMUQPMJtqLY4XKnd7dMeMBVksEurssP9aCscnE1r3brI8CmeRodIaC2jFpYx9br5CAdmQv+I6rcmxWs6xh5dVyLAkv8AfrKWjcK+fRA0hWqmYLti9SKBDz2TY11vCT6AvN5fg4itupeFT+Se/WGOVNR4V0bkwwGaO65XIG5AzohNZzoWwIPupcleU7GgOR3qEyHYlbQQfOuhlU8MgOJERqbnd2BSuZ4Q6Tlj1yXgIm7RxWGwAcY2MVRswUiJYPr/7R+lXzebK5SkDLsmhLGSfSwWjRUenB+3ciQw9cFfxM4vF9V80oqRFv03+Z+t/PFgFw1uAgaA0BWC6UNKyQZn5fAt0MCzR3NXBw6t24SXJz2TtJOek2SrZrKzBJtKFbga9qiUHd03fRQn6s+bXBF7n4eYxxD10JJOrktKlbZdWGoeyvfQToPTzqYoHU6U5p0kcSbOiQQl5fUsxIJcf0FqEFOt97mGAi8Lc51A8qkA/PEqK/tl4sYZowUa1kprpsJtRKBVlogx39ygneVnnB/VCNpZ8Gc2c50K1gmL8a71KSl24F9M80zXuUtic8MJtbUXganQQwEQaaB7uqRWgnNtcsqV/8xIWZnydCNs6D/zu+dPVIgYrNuKBKfPyWOsqY5FeHf6YvV5llCMfLczMGHz4sfV6oOZgHz5QOZakVfqA3K9mlMq9f05f3osAREYIrZgAm8FBHuc3bCi6Fk3nPGp45xm85IVbO/nSJfefz1T49ZaIzzPtVJL04OzlSgC4HLgKxR0QQBGJcV8X80UEiRjav7+XJIwI2Y3M+HhnST2AOgAwdPvhVmdjlzvHkFIsMnF8lUq+55fKfRURoWLfqIeisHq9nFEPIPJoaHy+kURB4kWQydj0aKQrd23OPnsY4jNXoGD/z09G70kDtpxoXZAQ6ycrdnnECAkY9l6i48+8F19rphiiEbKOKeYQ1bKZkbYp+L+rs0CdkbcHuE7gxt+T7ahfyZZ1RN5MHweunrN4CEmAtd5hg6JE0u8yYCv+yJd1dYh3PO5XILH/kU5lwK/JWplRY0J8R5MccrvEU/TUgfsgiUcrhmSYPuJaG5fQw1Zj1aiTlkapj+yrtAzoR2GyM0p0J3ETiolKzn5gFfP35ls8n2HtDYgR9H/MAOy7K5Je4CAzOKQV2RWTM7RYkmQKkYMq0nuS2aRzO0gXlYWw3iI8k64tGWy92cTMsWd631rUgqPyM3pZeNbS4WcCcavN/NufSnkTNozND1K85keXA+IMw6Ac0sjt2uR5OAMVw41OOpku8lKs6fDFPUm22EcvHNXTeL3a6NGekOfi3ulfkB4zuV9XtyJbku4FrQIa9kpddOD9Qo9c1RXJICSh3UYgp6dx8IReHPC6q8LQlSVFyGQ7MEMWc1W2PgNKoB2FbU09mrlirfMrAztB+GuaYbKJhSglOLqi8mOMTBdcYmm/MmMWJxU/39NEZJ8TYW8QoVYtGhfTyKtw/2h2a16AeAGqzwrnH5s2iNoCopTqAitqD/6YKjGEKs0MO6EqyaERqpxnvv6Y36LjmuXUXRP9pXiYDmwtccLmH9AS65KlG6ctbzTweahmoRS0WiWaxH5tVGrySYf+s2NF1SxJ38NDIaN2CyxuEz8P2RPRzNuVXCAMrdX8bNLm2Po9wDHJyRHN6hlsMdd8GKlazQ6BOMwVJUB9OVUlOXD+yetQjQQAB0LUayvga+8j22U7IWMwuv7/m7b7q5FFujhdhg+YYvpsNvlzoKDBXO5dmLfEzAo5XJqvXtDgI/8sFGYrJtn/E5CzaJAR3bStUrQJfUlZpXQ1mmqmzZu6+XpXx41Up/K2wovqChQjQkelfbMbyi+B+sDa0UV8o/VUNNwp4yurVIpNkdXBF6ewRDN0HZ+HnJyUwPCdI3F9LjsvC0amYp+SBM++XnHr+/1P8hCKhhGQds1uRivqd6pTZyNG3jfNmoyPZIwpKYJDrADBgckAujZS+YmjxIUaZboIQh/JCRdwevhFfrTlQvYA0UjN3lZoJWkeHqzYrnW+WYwDfd0VZ/5XK9wdu51RMjOLju1Ks2ZTkzeZV7/PQfKqu3jVZ5SdnmOL6uq/VviwRTHI1m1t9LK9yMESRjGwR9k4XaMwn661Rj58pXsfAKXy2EhOikV1iKGKAUAqGMr6fFRBEttFaVb8EB9fyKUxjD/AYc43GUUlrd4HlSuqnIbps9ZFtdG7YgwFzLEAGzmJiI9VDC/vS9dxQr0+GySIzGi8n0P5N6V+gt7wdgaN4WaqOlhD+qi8x/D6pq09gmP9l4jqGdd7oR39k7ZI3UdsqhSEOtvWdi/EmvAS4Gbc0HXhcMiLls5cqzY1HP7dZaX9SwvI2s+JG2sf4KRTT11Fs3OY199yYoQbV3p7/Q+7d7WHFoPmR0N+zm1BcLOKT4v7PfPhiSa15GRFJ0g0Uc9CmuKebZR85nkfozmXMchPGM4wHXgDfbgTkwc6WmOJNoqH+ahVhYucPyHs22ouHznaqpFIZKt8VpkypBc2ld2AiMgmqPxQebmPVFk7Kgrmpi/1xM1cf5Tg0MYQ0PwLoaY500rE2x/Y9aJ7ou6V3N7jiZPw/vK1eruXAgyEiu/tTXFav8to0ahl+LIpU6UaTu5MDhj5h1zEUh0hn6ORYDrlS0FIBIWDBbzEo26CnqlydHRYE36dhEjEGiZpHkE3q/7wzXbxg/iVxRKRAdVWcADFu1wlGs4OttizRqSjXS9VX/np8uqgs1jAOG4oU4o7DskSDn8zqIeqxyOYDUIdcxw/Qf0Ig/0on7mdM91Q7oU8M3rITZs48zMp2Hg+0SEfHIlPu85GNwPkeeV1wrQf5YfC3rV6NJAH6wjsAlnTI5olDdfnAYttxlqEXCKTSI67iMD81eQ+9Gkfh6/SYYHo1O353KB6S2w0XJSBtJi3ZJW2DE/5XVawEzi4J5iEkxVWD/a2guVGWstqoSjoHEBlhxel6fNrXuVFKnOkFYtC1PJv5TFGrFCJ30obNBkcSthVseiE1k6Kdbs/E0zyI2zDdblpTxiBNF9aSyec+DvCwgVOz8Y/mZnk1nGQRICiD33fU/smfFHvnm9gBLNOLIGdy4oVTUK2Ps3bOj1l5c6zyZi5mYSH5LPKc2nVPPr8hADUI5S3Vvff+Ecw3FVpOavkZl3f8JR/GkD1MCfMwD3pTlnbyLOItCyW5lZ+L0gxguEKUP6w7wOSO8j1XKlbn2AIk5kjEkSj9h8Ujxuguzid9T2wgBBkboZHN6iMWDx2bNeIemqoLwLx+l/GA1tUsxY9lL6l/m76f3s7RpINQmauj172ubt2SO7qOEb8zJtW0UHACVBPWLh9mksy3zLKP9cmYrZ023txfkjaJRzGAd5/WOCeQX2FPeAw7TN6d/FTTJjXq5AcIvzQ5o0HGD/1MvzQsMYx2HT/SBOuHVfJ3KuJDd1AfSNYDKphjHCoOB7DkmYrE+afPgqdPMBq2B7W0lz5m9aUZcgNExltDN2W6TQfvAR1tmkJRkXVscA7yZanz3KEuzeZCKiDUSGH5zXWCwXx9kpfiv67y+7jAbfNSlxP0QdSGIKJlTTFPQdDp9CCcGOiaR3O3B7oaZYhSjZqwinQhiPRRQbEixAQ8J7EPA6lZ9iZXLJlGP7SuT23N0Ru7Ti8XOchhPbKVWcGMaWbVHSXTJsxUnU2SJFjp/CUP8sHi64XRxvn9yVSE81wudpxcDIhubrfgNkjJOTz0pE2x/3LuqBh4V5i3icoZntqA2Jfe6KtUIMFVbIYu9PKjNazKS4X6ng6mN2mF61z3gZ7B0CQjMtdcAxQa3a3GNsPelp+cnmF6EJjWccf0za7c6qCKvcP7ssvJtdLQIaUhNq9W5djkr7iBubkL6rwp/pQhLuqvFXBTwK8iF1Yjsr2PS7oj+ARAlMFmRaZy9b2rcaDt8HV38t2zMuHP4oDsW1X8PhP6diuPH/ivDdbdsAE4qW3hvkd50x3RQIjGS2C0zmPnDM8XKjuu+XVnv3qjWCilfTqCEJFPJymEvTBt+HLhAc5/KnjoPXVinvL67F+C3gUAKiGGQquvwmmDzCgA83MpojboLcZJ72T0wIngHEBRVsO4EzVgWiuu4XoGboYOl3V3j32KApQsHkwXvIAmEl2/XWit8dJk7W+EdtnU/NVxy1D/5wx6S0dP/s6GKuMjkC0XwQZYGFd8dv+wr6BzZkPLIqu4KTg7udKfwTbUNJUCszgdbxZqFQZhHOkSGocVSF6/tPxI5xD4suiEh1RGG3reD7wCAiGnJWzpOFGrVUv/iKdZrEMIZCHnln1F/pVXzb+QDWqypdQJ63xSkzQZcv9LrZZe6AwrwQ07vGsROUs1twIv0aqudLD+DBm6/WvmLEIH4tDffWHRuX47LZn66mJJ+mdsqjcK+MMOtsZ/J8dUdR59tTGXG5OEgNKASJTJEofmAfCAyR/oxviM4MiZ3YaKFBdVG9VGbIsdHDiMJQt8oXdlsHc3TifNFkFhl0H6azG4D0jZPLV3eD+b3mB9l5deqBH1J1P7vLt2Wgk8eoaLftUVO43CfqzUnEq1Q0Au+C2F2yC8dan6wk+L1qgfNyMBzjdHa58wX+cIbzohfiUKcCWNYhDsLLtcIEfPgtfwapmF+UEb1+9KUEsW26BPOF57j0Zs7+ZyHstUpQXN6UYZ4KwHGxDqgEgVDipTdRfwwjfCjh/yx28EEd8jePDY1SBm6wrTlPTUtohIB9ns1pCMp91mYxOglHTMttDs9aaCRVcG/A6zeLl8tfr7+Wp7P/hi6JpFxgikOCRQ12FlIi2/Wj9TqS/P8n0w4tHLdLeEP3ie7u+kE0Ld/XAyxUY+yyCbJexCSkmj3efhm2vtsoeZgZw+Mp4MbkvygoHdbhhzGOVl6ltyCqrS0tqxrB2J4lk+Pzj4drolVDqP8D6JvC0laVG0lkU12e5wOCQYCTYxTNb5+/jBwz2PJgsGalnfs4LoHhlLdZkhuqmZD3119bp4GeQMVRvDlMB7sLCtV4u/MwydYwBetDy/ZaZrgbRZTFY1yhnpiUoIIEAWFOz4uaqu0WgQ5BH2aESDnNLlmSD6KZYLa+g+PzxgQ/isJhrUMJ/9v8QG8XfLVAIFczLfh7h4V3iLbCLWIZtauVXXrxFuYqhjFA+mUUPvqiMSIeCqYbdcFH5egQ2JPx2i+Zc7YYotaeP5t52IhkQqo7ENvsXAqFrsyXFjDnYfxWheXelzOF7mOMWbduPsbQuBbICbrsrcO4kxr2Es501Z0MwbPg6cjmZLLQaPSBR2pRyeNYcajP06vpjCUwdcfKg5vrpTor+NehaN2JWsCOD9c5nrRQrr4x2tdMurVQcEG26xL/I4FRwDoI90Ng84PzkiS7VnpXW1oDslQBcVz5zFNvZCka2yymlsvfQZPDwTGpLYWXmTbZkSoVKU0BaCViHWLZMNuRWUdtSpE5a97bN1giPfzgm0Hnk9NEBpRylITukUeBTWQpUUlkozCmqwSE+wOEG2592RenDmJ+fa+Noc4x7iU53Zt+GRJAFUZbM9H2NFHMeI97XfKg85Q9iHobWtSaa44urikErTt/wNRRbN1Vp3Jf9tV4MPM0VGFWjh9IfjSqKxYO7i42f1/MHCEb7oijqenCxrDVpKGP32zNwbEc+dl2DBMwkLZULMCJ6KQjP3PtxSCSl2C5KfwcysjAKTpN5zLZty7pVwtJLkrTQiLWx3bfm3uUD0bu8LU4VV9lOGwaX+MPMjmWYPdJ9OXZ4cDOiFrEVd5uX8zk0K/49HMTdX7UH0nFPQbqbRKRRT5NUI9viTmUCnrqL6jDoE6rNnrq0uLjfqkyCN3wFIqEOXXtDPemlhkQbIzyP0gubPGW8DIh3W/6g9CLoVF+CyY17qCK45IIbYrfxr9snzfQyVzAkg+MusjBqH1h+m+oVZU+gNB5aou/iMzSSzRTWDRbbLGpkvtX0QgJbLDUoUBG0MHpO+Eh+nTQ8swmFgf5bqotfgIhgTt5UltqvlY6wgHiCyUUyBM634nJeDyBj6MnXzjv1PLbkLOrMt4yco+WApPlVL1ZPCpeQrLnLBWI7O6S+/8aThWzLzWbKKISRXnOSvZIKGjzIiM4BD98wdPaT74oyPfzcS0fReYu3Sl/FuIPKhZ9DbMh7vQyCvEwpn2mRkxPlZZeB+h5deHvIoB2fqWWt6EGiCjjwCj7XofXneuozLqslYCQphwyFMjHlywZBhIm1ubnOa4RBUXrSMDeKGVpNgkVDl0Sza9eP8tFy4jWHF4k5lv3JTDvOvtzp9OoVYrfnlxLPf4eoDP1kiBQfTovNIiQey6ka9D1UsTyaMIwQ+UszBNxEmOy8q2S4Nu6i35+y6uP6gcaD6VenSXIH7JMgQPZFb0IuypH8kiZchP7rSGkbzzqLfOQ4X/zLNREtlDSObdrsptbi+mq21bHr3VQJ20QtlkYJQWDxQb/HsOfa2dMD4ZlCzGcnzgNxCPZMcz567wRfQUJHEs9tqjhozPBvQqgtZrbycqXX/X1O9mpOP7DMfCw1fsppnUMJP9TGFNK9+S5ojBHfyxd2KWGVZ03sC8bewaZmrKNZT1aqxS7AwWpg9dDOEOVohB2TI/8oe+djupNQ/3poZOOQ1MYj0V+lLebr7+f4utmr4ZGUfq/k7wK5cM3/+hlecBwHs+d7fCQQ8IAvyKSuB46UNAHxEAcSqlQ72BsR1G4J/idy7kUZDtelXFhAqUqQuvTTKq2zLuW+ltD50zbpdtL/9P5N/Hl2WLmxo0K2C/cQYEJWbWLWql+q9bPsSD5AmEfMoGYKSOrtOi9dSCXchOsNdifYsRRk9EnzWKmmeUmHoxiSPHWz79cw06bQHgFNMPMuKtsE3Sf3wxf6+EhNAqoFEQ/bRAePb5HZp4kNozluy4fp2gB2tCidRwjCTM/tZxPIwoPRKrqpsmu6EwF+ES6gIB544zOzQOy7A/LDw8WbQ76cFCT2ZGm0nO8Yw0ygjbMGX1xbZORUApLyqs5nWn3hq/wjt26Lou6/k+HVHNs6ghh2IlLUBn4uXkVC86YOQ7CrnkOga2U3gN+jeryThF9Hw30Vjb6x/APdOUFda1hOBzR4tBh0kn83tbqEs6iPumkqw1q6lMCVquCMoY6CBD26NXIHvzj1yvtzlHGWEa47G1yw+SXR4h0pBZCVxqo8IQJZv90s05wzLapI+nHbgkVBXXEkCoHuzE2TWv3nOnnCvHoIlYjzgRJ+VntZgWe6H6CVDzaR9hc1yHrQSCONYLgFgNMdxcQmm3+iJwsHMgPVT4JizaX3LLI/+WeFr/gydhWvmNtOk22Pnc5kJZnTEBgNIEkX6yr+ZMRw5JNtBi6OD6ZOgQj91A1QkQW1dXlb9SHMimwrTWNDWH07FNxCQzwdkiDJnSbaNPKOwOLzXd7Ww4LHEFJpFDXTaLKirHaAROUQ4rTSCmKv6WnzP0bab/2Isnqlf8b6zF/DKHQUxZXHa0c2VJH3L5L5zXenODpKpIU11YZptK3O+JltclHGkXmLEm34z9EPlBJbtcvG2kB7wQrJ3Ijojb2bHVWGHCtt2nAC1ID2thTC3asPMCXeOGm5biYDb/Ze4eH6G6ptjSaK4fAnblqmmskRlwUg31z+yB2/OMs1DULvg/D3pkro+97r2fstsLcB4cH0+gu1vcx8XrhUhiXo/55sG4uTi18V8L3lYeCvKMEhu9WUY+787amG0UbD02KA43IQxXJ9YEiEgWXnu5xoaxycX9rbTwqdqY+BQ35sn+QZ54x2cdSh3I1UG37I31C7CzHef2aoXCRznO+wPHD3bkuLlTSMBkps7KT8SlQ5XvbhrNlW7ayWhc41U5grt6RvhGM9X2gJJjn2Mx5bfJ30bYTtWvMxuTLsikcxqyn1P4nh/G0BIn+mcFjgl93YU48ngcX+aO0k4W5Xv3f9CLeIyhuytweBjWBQE9bj7xC7CE6ETtwlPtXSykyY4OIlve8fM1Bn4Wzc2iT0A94wmekCvGqWVerTNKMn0sdA5eMhT7T+lKfGXRKfOFUECflliB8VVqcjc0j5Ly2cT5gccUAjNc0Utz+VAR0J8iMb7CIeiAcZr0V04OIKfZhWkyPMD9sT+TrHiIQ7VXiUJvDUkK54KELReHRfLkmbuxioykW/9sKIHsS4T+ICCL+CvDJbqxin3snaRLQBZ0nTnsI8iKRUQs120m+fNIAbDf4pfluOqyuQayQ2nhAXtfvhJfT8+C/kxhG0E5u9OyzNA9UP4DhwunivGx8dycshEqQ8bAapMIQYImKqYmaBXjY3zq8A1BmlmPbDiMrCkxJccNHnEZoT5cvuIm1buwRfN3zv1gqpKV8iiVZTSOHzwK4eYHLafFBuBYGpwAk8PQ6J1KH5b7w7Ev1sfwoB8EJ+hOvmTlTebqj8VEQ7yReflopq5JqawXb7aHT1VhiOB63RHXXO2FJwseRXAf/i1jaYS0oYv2QflZXgQcfCRPXexJdwc4RG4a95vWBPjV9nAF/Ke4OQAWShfOKd0CC+V3s7yCZPpi+3f0W3d+/FD8nM4O9MSlQmF5IHCoWFeaQT13BTkwb37831AwIbs3xq3Veu9SnCtf9PCRO38qhKT4gdF2Uc0XJhMZ1p0mLLzIUCn44swiFccQil0DgOYf7tT0fjI5BxjyBvRyF7gLEXQU5GIMW06a/OPr81zgioGDhbkRvNCvR5mn6bQZ2+QbTTrj7pUyC2P4jssRZWz0P3mmpNj7zKgc2dGX/m7XhCCiSQtfMjADCi8nhBB0QeY+OcvhmjSs4ptmFqwiYugx/9a+4pynYOjxlGNOUo0izQnysI8CWxGXsbYVN05jtzbSRIiDCNhn6RN852SSY/HA9VEN7xtoLUFvZUXYc5PlFjFGdEAlZvEf5NTJnYyo8g9psupkZxYRkPp/FgkZGOajKZIkvLDlgsDL0Uh+RMiZVoF1WFuXWii6bocasXXmyVaLBKiVEHoimeQu7k1qXCGZcomWxei6d2xqZHbvmF3/PVd8871o2ahb4QlVqAwP1mP4V7pF79nb/orkRdhUPS0diRZeXXOQYKcuSscoIjsAN8XMdBh1yEL/eeV8Nwb6lt1NBhV9xj6pBvr6yOxkvbj1A2y+I2nHcBFSiEJI8P9y7j3G2wSZ4x81Fhuyb+3iXXrsgITyGLuNQXMHdz1C9vbe5qZu2XVa0OogyIPsTHjaVgF5bH89r9Zm0K3LemAsY8xCK+nAZQpN+4RJlnrCkqBd5Y6R5tdZQhZV/Ypw6xTAb91F1/uV8/lyIgiH95PZTEvpTRH82grynWRRjCUzjClIOl/eHQc1ZL+we2CfRRa8XVeV7zf8ezidlstSJbm3ykEWDYuQySLiwhj38xFOt8K4SHNGJuZ2y7z1gOAXifNrH7aNw1PG9ae8lBBkwoMt6okiYhvDPOl9fII8VZhyr0J+BCsGuqcpv2rxt5h4OhWhtwuhKn1t7FF9+j6tFVzf34Utzj5HRroB5JxbCXP1veVZYm3bt9ZAXFYcUshPLET5Jpo/MFQ3PYpBNnDk0gNzNjlDgO/8T9oE3EVPYSsOnhFWO1JHObDlRXBaMWOM3vVvMY0Y+UEulB37CPMWr0Iz2tgJmvZdFG9DgBKX5V2jSMmEZqk+Cj4bqnQf6Ty+8xRppULs+E69cPgqV1/6Ve5OS3gIvFkG8o/QtUst/SA67iwr33iaj8edEeClkDBMWhd5j6jeblYuT6oPIaEbaGYMl58x5pwgyNOQ/Yyg//QCv7JDY26PGnvIEeDbqHQtvRpubNsMyUmmJTbuVNOO3xSiB4ACYuKy4gCfie6U3ZLY078x5OGBekp3PJk6Itvd0zpn7fXWRz4BSXttk3vcbqYiRAPUtozmmREfTRzOToNhuUIdc8TDf6UmVyhgZ6Qsse7NDIe6Kao/gJ/USNra3vAPUhQsGdFDY8W+YHViY3D9KapgjqWeZlxU5nKBDbxOzDqECUZLOozzCGKauroMhqiHxr9IjE9KiqMiaVWkMprrTyQIeQqYtPC0S5rL6LcudFGJ32bozLCk3vppQbWYSz15GFDS0aadJVyzAf1MM4jhLTjvTNY172GxN0oguASk1yb3ytjdgJUHmUab09183q5TN2ZFWi95/uUr9HWS0u6DVjQsd8otOeniSax90w6HPPOri9kfUoslJztRK/QcPQr/6O8JDVaAVsy+mPhTvlvlSScWfP61QNEyOPCNLMKvuLhAKkSNDtQs3v6CjUo01jPKJzkTelN9eKVkho5aWGPq+0eCYR71cDIYsxYIB7C6NPRprcsd6AsMcWgDEy9sREW8aBr3fY0lQgGfR9TEXcOoOLZIhUBNvddnyW+DblD47dYb1EWe6Lxd27f1GolCC2jznxWVJa63EZUlbtAzEJ0CcBwoUadmoKtLEZ3xD5u9e4QWc+gJnOZBgXsnBIPueLbkIEXB/yzvfu7RLNfr5NM1rNSvjoHRdFFX9//ryZYiN4w60OiV+fHYaILaVNsugOS3RiqzzBrRbRLT4VtUs/bSsvE4PnqvuiLqxe7+C2WzHLIZ3uz1QfphOOClbJSva5bh1c3cgSs9f2O7WHCtIXEq6NI/hLhNuKokBpZtUU2Nkk5ofTqBX0sh5u0k98IOd4b6/ybdDUbwES5ASl4d7DtYZTTovTVA6fOsleuR1W1CwZM0G3h3XobRLXOG7VBmSMVtegSNwZFoM08DwHBzg9U6t+cfQTcztEf3v2nK7g11jjKEAH8hXEXbbZbSTcKmqmL5ZlYCsuvc16csm/cIKlrhGBuThYQYZd0L4I9LrAVcmmHkx1HQJjPPSZiCJrUcWkpwAdQPpZOf74ToSc+PfL8dxwQCpQYb+m9e04lfEnHh7uDKMzwAccJsK3lxLjXqmM5DehHD+jNmxJo3QwnwiEoJWhMxMhTyw4prtsEGQmkCIRH+Ti4CjZ79hjkFfRBMaX5khxlJ78fc/wiq3PyXUf7Mpy6LLWfYsRbt/0J/X5kXcHTC2KX9V8p0AvIq6TKKoQIrxGiyatvqz6IgkLMf1vIFuY/KaYLdUq0wWc4h2Glkcv/NzY8bY1Yxu4wS0Iq7WTI6EpZjuu64GfYuKv0FyF/e1VCWpIgaJW1NSEuz3WzEBSSqOQgGNxzbxeYVDQJoeWnyGis1mlHKIjs3ohBy9ZUuJT5NIftURel1bSrE74Ty4c7CVcDdKW0eC7y+mcalnB9MCwTa0uK1nDrhsWinbBX08DtzteY71gC1rPToAN/PcjyiMtl7j4g/gaUVUFz6" title="Mekko Graphics Chart">
            <a:extLst>
              <a:ext uri="{FF2B5EF4-FFF2-40B4-BE49-F238E27FC236}">
                <a16:creationId xmlns:a16="http://schemas.microsoft.com/office/drawing/2014/main" id="{A14EE606-B7F7-4B33-1EC2-FFC20B6ED6CC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4358133" y="1563971"/>
            <a:ext cx="3479621" cy="4615635"/>
          </a:xfrm>
          <a:prstGeom prst="rect">
            <a:avLst/>
          </a:prstGeom>
          <a:blipFill>
            <a:blip r:embed="rId17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8" name="KPIDesktopBounceRate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z2dD7pS103gZfJ6l4USC3jqtWOPR/ue0umjYEY9KlLthURXCUyUuZbmGDPUXB2idlVQc+R1c0j6vNnMaKvr/AnBHPFsgePkL0/XTpsFrxRwwYvjcyvyChgSTkA0WrA8dwG0GmwlBBpsIJyB1sZP9d7xAp2ey1gpzW0jRb65HVkmH31wU0CUfz6Wsa3d1WVhhm8nLUzZd35IJort9u7v0aOS6xXWeGseyTUT93qRMlwCGAgJ0MTKWrvhdCAhS33lj/WBjpWoOveYj3wIs0uqpiLwu66QD/FKmmF3KnLAGEUHPCFZNIeZG+VemSHwWaq3ngADKCST4iC1+L7zxKxU0QXupoYlGQMVLrkA0coQiBp2c+6mlfdFGNG6STcGhk+zwixQM5Lo1hOsn1rd3QYewNFZpxOafqG3QOabCeTW/8bNH4XIud6KEmcH/fjDDcg9aMa5ME35j0Le5w0gAs1Haw7muQngjD086amTwfww0Xj4MA3gOyb25j5m10JL6IswmjgP5SbDo1KLt/f7zoYMsxYSEsjWtefafvc1hxUw2aCd0/hmot7D1TZCN/aRhYWNJYDrKrrMKctDa9jyRQbRl1HsHK+V+Va5DVpq07p3TkhhJRkNh2Io2tL8cKg1eVRKbrb9Qipk7L/oIMd3348kx6iAor034nDzG+VWrqeHQ0GkqZoJ1X5+ZX38at5YhCyFE+07BCxRiIivvvOgRhLVAxISHlnPvE0gwStwuS7qj7JznWT/SaRvh0bIZhb6tobO9oI9vLQvoEmvb3pujBEX1BsVzh+5xXqw5GxXI+d/GFWIxM6pm7bJBqrwQSa6GAvlwMQIpqQRRhvXuVnGLgi+xL4GByOi0j6JrAQ/Fw6amufD3KPgfmL3MGzwm7mUT9B8k/PBDKzmUkWfUF7h5kALHoanzpCWj5yyiM8krDqNaDUJeX2aOwHdU7G4cbQ9DyU7FbSTyv4+SpkfjB4VexOZVxGf2h1ntYlZZTlyYzr9BwPney0JA8bwFqfy1O35ZQSh7mOUhP5eZhY5SXUtSuHtb11B7IXcNwIQPhBQnBuRsgu0GZd5qdmwZ9iL6vPMHp5PoNV6itr3BSVamytnyJnSijHDPpIEQreqNNXnIsFzXJ1tiZhLRXQVgfDx4A5/p44llDsQuCabiGfv1rfQNu1/dPZj8pS7MSJuxNHiMe8it/q37L1vQ4v/nYxVFCBMKPbOoqd5QOL+l47ODtJjSZUaQZNzpXUokxlZWM4GNlnrwk8bxiVfPpai0E0RR2wAsrwyawgt0aJQS8LqgoW3shGFeiTgXsVwXvHms8diu0nbGY3bSHjqvwQhHbuOhYJziansDrBLkfQSCJAxdiIMIgbI1zgme942/g7dfYzI++xGiLLMvOp3Kf/S6moWTZvLSjoVMmcUFxvVNZtxRAdHf5uA+sQZNzSWbDqTDBJDVolEu7lH2pIBdgUihJ4lxgxWoNBLwwj+15JaYqC/RUMRfTlvlNVxlEkxmeqFZGgVpXLnWjrjq9hcKtk7cWTAss5HRlq/k5TXQMUmERaFS7HYMaeR3RWtFTIbTdtIzA6nKwWTDye9JFPtzVazlb9/3IJ5NiniFbrLsoOScjVGSkJC3w39N1er4+v9+wZhA5G/nmNg1HzlZvP7cTEJ51sqUeFWdfJNATcsIDG8ms59UzC130xzgzSTwOSsQG/ad8FATs4Qw43xCcW3Lud+IpKb1VSp/6F99FNMQU0YO6W/X4vD57meD6oE01PHMCCZYydaJQcl8LAS6REK/x7Zv28SntvfhYaRM7UqUUjL4r0mp9/COKSbVF+04CFxxdVCJb9bK5TnWvmCZ+Wdz8dux/BSymBJmok99Cy9b1YRbKnyNm0vkAfjWdhO1UIv1UXzlkqxUPaaE09JCE+QzrHuK8lq/jAUm/SvdaSq8JaPzSRTdunOkT1GIGo7oQNU3QAk9weuMo41S8eOlQlfI9d1sI5xcMt3gvigHwPtrqkYbMyybjjMVt+AxOPpal6eeXwUlPQMqmQ3YrgBY5IXuAppUj1ZPXuqeyU1FBWt28JaLUT8led33jDzw1a3GCajFRMq8DFtbZQViQ0p/ZpnPwaEpdIHcvOlhaJEqkLO+LSfL/CHFTNIXktm7w04rGR5yU7tuBJTtRA3VWKG80nEG3PMP7gs/0+9RwgLm+pXZblcndUdiMJfQsBlQ2dsyL5O4dwoosTBsYK2Op0TY4dXhW7FjVOqDkK4eEOnuaxmtGzTtp2JAMOvPTgN9gGkcUgi1ANcnIugAzmftj6iakd0hbpczWMyMqx7uv45FT4eCQd6Hk54HPYc/1LdBHsSzIeSdDpV2L6fhazKWaVUVijrr4lVSlwrYLWm+jyDlxZYtiuAlVZXlgbUg26/3g0Frx7CtNRaJ+bd8H4NS7XKGjwK3I69HQ7UnTOtBSOs0ZRmd/86cOaFdUxoJKG2TcOaGywpN/FSi+ccyc4HFzEPn5cqfMGwLbxkem4wEwEObEh/j+JfwN7tt86Z3PB8TE+2dn3olrgI4O72cu6WrlsjdzK9ZvlyjV8hvcRrhNtz0YyV0cWHHnbCsQMKpNIpgboGcCjAT5oLBpQ1VPL70iqaM36J66hDS76BLGUIWj/hzEDpPskACJe1HUQUnJAsQBKEaUAPTy81J0K2oPm2dToTFcpZUlWuNdYLB193XpPP1zeEw7SXeHSUYO4ZPGX58rQ39Z7Im9V40xFIZCIatjF3n+qjkHSMz68FDgTwT6d4wfgqwzjh46LP+caI3GO2rSl7tahblVvTMvJgdBbAFCrpu382Fm9je7MmBl4FBvMjjpM03bZMD7UkJqytdquD4ASqfGYkJX+K6OlS9Ba8G1fCZjW9iLMSGFYiW98ZMNYesFPWCRJH9ulybrQQE1m5kDnoGsaUYB8R6nW6El9mXbs+8jAG4+JshgNnBA/xqBQBgUGPC3cpa9mrP0gm7dXwtliglv4l3xdD12vfJCIdr5+7s7Maf+DrziBJeahnwfn7Cxl2lHX4b3PPBsVBeLCS42sWIdJ5WGgwWmHrOwSy/qClFHYqaKRz50dx8Uvj5N3YM7uqQznApwXU6JLQSTewkm3mG4UABmqHOxjt38Wj5OIcLxktaQkK5c/6RRJVkK3C36NLHMDBwGiOP0JY0Ja48d8qV0v9G2aASPpZymn7R1MG5dRnAXxk8afVBA4q3vd5LMIFD9JRZgyyeB6EJeZuxe57QNX+x8cYfhSa/6HoTcawD2gaLmaXVx47LhdHbzTLPdI1xWI5k0wgVCT9621/tW6sQQTK7yYInr7uMAGcs7aswq4YmQ2x+5B2f4q1j/a3M5I40QMOBSM4zWcDAthhMuhJi8hRUpM1iZWZ1l/rOOzrsMXFPnKhwbcII9rIvP45ao3+8lwFh7uXAwQ9UW9tJ+OM46jC73C2IBis2b79ARYdybKXXbqbjn++wfWwEO89NxJwdk4M9D476ooFgkw7nd7FzodfuP/4MCj2oySfj//HX+1jWpICb3nj/Red//OUkFSkfwmni95NvCMzkAGEQvhydj7QODu+oPS4EXkTInnrZYonwZp1GHIFtLxyat53nQT8cHN4AA/aKOcWxOSzR9csyb7D0VoJOCncUgtjeXPaMGdY+4smzlfI2l11RJ/RABzvr9gQtI0g7ieMXKGTF06EEtqpYhc85RAjGvwIk/IsgFS77JYl6Ab26z9AHA25vu6wGg6INET2WnkMYzYuKOCl9B1obxaG7qeYHK6qDbHeCIeegOMZeM+Ywq74SaEqY4Oz6YbuPo/+jh6v7ce5TfIvsNkWdlh73dFtgNCI7qUMLyK7LLIFKMnq+tiMqoSpAUPx0avs47n/sbI69px6nCQSxgl9bPjvNCzXs9gncPU/UZuOMar+FiHSo5m1Ypy1YroUZXncNjorleAVqxxK9hzjw/qGW/Q3dX6q3Nskj6OU+tPxGumN/SGp0F6g2julkr3sEjKpWgMVxpJTmBwoAjP1lro7jrYRTACbDbYCAgsPu5UO2WRCGNRgiLgIIV4xxp93oq7/uYr37xKtCzErDzQIUeCp6ujnW757xbquNJwms0Fjyl+SJL6sy9lkF4SlFBz6p3qv9ET098c1DlI5lHEXoGQ9LT/3CIInCUwfGWCQMIoU/pMbb4VxDtJIYa6AogkizYs7OQkmhpThTXDBLzRenqvHM/TZhLkxJ8VQxfll70dXZ3c24emxP7lSnpFoMNXwJDJaTr31rjG5XslP0EQIxTyfD1iSbKSknRIjaqacDF+OJgafMp4L9I075VrY9UB8Wieyd+DgiYOPGzgtlBTpyEzBfKHiB/D/V+7IbWm+lbJqXsETVvYrwC0G4vI6gglC5Tb8Cmbz/gi64kXExBuRUsvoSfIxB8Ej+k6WIsyGlxuAZw2jbHPfrImYRgCl+jylz/80VH6DZMYmVbzqgszany/Gevx7JPxKzVeRd8KTXV9iL0OFgvIIWirna/XhWznMg3njnDuh/GhXt9VUlFV8Th5ou13Ct1J8kvUKI+rHBnVQqIbVNCP6xIP7a8Ex9Q45H9BpGuUz315iJG+t8QE45roqk7DnGPh6XVmdR9K3GepbTrDhnnzzuJcv3dnFxQepxZN46SIloh4MpGmGODP6UrMZ34fqcQUr8MfxpJRUtLxWFeYrjOgvqeeJ3+XmoND3ToxyFwKBKoyOEo9XkACJqEPvLFgUgdY5pc0YtEM12n6jkwjDB68m71QhEnhqk9oJx278FPfyaGDfT5N2KqGZfkM6V6AeeH2t1bpqhGC1QAHdtQLk8+Du4BJQFKGYDpTB7D8PlsVp9iB+oltKDAxYzzhKGf1ro4ruuIgkNj2HbDlReEcVgs2zM//8v/RB+1UEhuziOSmv/zrc6bOZhG+dVzXQjxjbSG8/sAepZhfDX4jJvij1pK3W5Ly1J/wUnWC09ez2O3kGZH2oJcR11GYEMOdNqgEqLcjGDFij9ZEq0MJk7D0DKAtjj6LWpqY6drXbte8z8Oxa4Z+udVz2v9NszObWP5GrQ9deIvZ2MEK7AB9KcjDYYwtSfkfx4QEbRc4Ye9BnrYgQDL9dpJVB+OkBbyILWL4nUDRZ2/iOMVsafh9r5FXx3KYAn1cjhnoeE3MM6KT1ScQsrLkFxg500LU9CP9YmuZAXmMXcqkMuCc3ttcxVb3NC7eYBqdU4WGk9jdwhj4H/dqxIMT9DMyGe/bUdPiH+DW0/rEeCLrZ+bW3QDEvC8AflKYFaudWy7SeRqDvXEiJXg4bCIDlUt8pDWriakvWKcUljA7J/NSyB3Y2t1wrt+/PZdGH07X9OW9RYkINAEVnrvBz3HYye6jQKUN/5HehcadARTsDJXqrHBGE9is0d7oecYVxSrQIZhHUPzl8ipXlZLrHKnMnZawGdn5sfMPkGKJuWy4LdLi2VIJsWJHXeUE5VeYOZq3eQo/hwoNjDYORxMxtAuJ4KS1rqClOPaBjaEMcN8dPQNsBj321crEe7OvjICLxV4+N6Wh3wfCzadzQah0lIBJfDAduBaBNXSsv2v3Vs5vcpKyEm9Y1EHIUv6QMKBZKbxSro4Fk3SAnRIrew1Rjwmu2cl0wlHwI7CD/K0Kw/pDXe5w8C+juWpaZ4Go8aHycB/nFS32gVPU+IyWRdjZ9DxFlRe/c5YtX71FGvfdjbeAXmeU2Z7QnvJILAyK9saceX8lFxanYP9wTK1wVy/69xMnRP6LT7zEZOIXaoJUOybv/j0RF01AZCGYRWabSyFI7p7kAHrbL8k5G0Bmp7JGAXBFyB/Xo7g3DshRp5sNbohuGs1VJ9ksRcHhwTGIfAaY1nQNVa5GokePWv58lOtHc9aW1P8WwClen3LZDKFRbB8av8Gx/kOTjNhX4GG9JNclJnBlMivGUbsBX+PZKIWmglR5Mmalt5xIVW/o1ahcF44P+Tk51gpw61WogkoXy1HiEI7vje6JXBYVZSXwdaxyuyih+CBFqQZ+PNYTOtDiqQ6JYKLJwVKnJS+Cc4E4vB+DHEH3zJwSxakaVel8p+1XvR7uiQl5wp7LoaxjgmBbdf+PcdMNmI6cXPiTnUyRNNEVKYLQ9UkV0dRehOJynt1foz0mOm6GgqCgGL6e7tVfUOVoP2E3GIKu0ujovS8MX9yiaw2AVrbvAbbmR0muS+xpOpxpqR6SvkYFtw8EHvLwIhohxfvMDHWne+YQpcohKevN4l5GxFWLHIQUAfDnXW2vCZhtr1oHhJ9t2JetBnN6F1ifgTQkhU0PFJQB8fg50t2fSUvhLti0YdwkWkYuLE6KpeO7o9h7LbMWOl7+BSJ6qAciviFEUVAUV4Hn/7UVM6j7YzndkAoBj3WCaGgufqxH8WbgTqnVvDzyEi/1PJD+3LYOpqvxoAxW8kscHsbzt2C/Dk4IRoDpejowH7K9Vx5UDbDJ4OgjZUNOLpCgMoXpb7KowTS4jsTWfJXQYADQQns1hDC0Y0BSwoIKywMm38Ykd1GlmxFd4uIoqmFas1VrLnjLro4RWM/R68K2lBflS4uvgkCnS11B/WrTp3xYedwHexR/Sr2cRk7B4kkw9Ji0N4/IyLpmPaZQMZCNpWhYAipD7fq/jSKXOFTYrK4lPsV+CEVhRPT2vBh5DahB+zPUxoaO1JdJ9jdhoD18q8LBTizprpwaRjDrkDE4JuyH5a8WqggIuhCo7IPmMyFIoC6YD2ZD63At4CTBH3FHHQpY+9/ZJY0RCR/SizwwHxhSQpBE2hagIqzyjbflAT6BaPMqKqt/6HnKzg89xVwLQitIaRbIzgc1i4k+8o6zAUht7ZI0KSEmL4/k+k3169SgzfrQDGAm6L6O3X2vnQFKAQ0mONOeAECGWIJFFDXIz1kxX9P7kN7TSeckC+0B7YOv7+AUa0GiCobz0BVc4aOGQOshdR9Yvup1E+wC+bGjawM9LFtS9oENXQXXz7PZpF96VsKpxS1MpTISistdwIOKE192X98i7zNevV9u0T3mumx4GlT195jrzrfdGLYCzSVE5qTftvfz7xUqdLrZcAI5i+3Y3W5mbGNTYcdZLkS36sMfFUzqClillY1XYCC0S0MMrTT4caoFHfLhwpsAtGpbVKl7SvSZv6vUlt0b1EDUuUX2ZsBc+nNJuePamIJzemgZpewUaTvvgF1um7a5M2g8ffeTMH360UPOe5drlvdJbSHsIHzn5vHvPrQzOaAXWNWm5hUkf7S9T3orAftiwZj1I8iNi/BNwwywE+e219gaOLqg+kkx4gQLtcfWKQUQqg08oXB/Rk2ttWkiiSOpmdAjZxHxs00bBLEPEajwffBAV3VR8PTZbDyxJZr8dwxW3IrgPjMMdbTUXULMOYrTZXUzaAWjUfK8OXKZi/YqvUh0W8mE3AKq8cQloal0Gixy3SXoJxO8j3b6k6LvB57DyNAZffRIGTIfY7OHbyHFIABiJpyqK+gJeztGlu3/G3h7Kaa0JgqmpGnUKz4A9KQ6YTXqnvkdfwB2nnocCr/e+m50cIfqG8oH9bVzUXQ/8e3thUATuv6ClSPD+RDymEm5LR0HnWz0CVE8ZGd+8LwMVbxmlSYCgKm1zDryZR7VFgQ+05+wFQlR3YtyziOHwDoSpFZ5Fhx75DPsHiSfs8pCsmEhlIl1hUEbfxxdH4BoSG1lrhYNJWZk5U7cOVRrBwpaK4gFnWQNJnm0+7bapU54p12WgUsvDFvZSNjSkxEhI2YIIIGTI8uDPEmPkusVdLd5scHcEyKdrbA2G/dS6QKdmvE+sOfbhtX2rOcwF9CjbVMQVdMqcOmnxBWwoBxiLR7K05aUkPFNIaMCYfFsjZD5xaYtVicqZGSEAY/XdkDs0n9hedpZFb7tuVj4iVyv+g7Z8gbJTJ8rp8VTo8dR/dP3KdZgmMWXkSqecYd30si0j+crnWWpo328ZIVI6cyQjlx7ZXbvlEwykTo0ZEGjZjMR/Zdpw+pCGzE4TvVxipV4Csnie6nx9ZREBZpk9xZopPeu+PyFfO/MDXR40Bqt1cAXntL9yYFQCaaOllLMwYrZSM8WRpT1ZcYPRx6+030h3gEzK512B73PB/9x0tr5NYn1If3GMn4gqlWMmp0t31mHf9f9JcD4QdmCAr8/0spq80fv1oWaVz4y2BVpcTFPEgrui3ZrjYCgYu/6YD4+uJOZ4Y5RVu88kTMeJWpyf05ctjE1N9rHlLMwWooN77KcXaBAkxt5QajEP6oM87Qyc+KKkX4PQlVrChdPmw4PD5y4bmuo/cmdR+k5NafEFG3XiWYk1vnQOkfqjc4FJgpd/A4jnQknfilNGI7t/9vq6K2FGauV3g0Ifcc7T5GapXTUDGa+GTtftF8eEC4v7CkSBNnWTmrByjD5HsfRX3kJAiFBenFaAGupBGd0SBkFuBQPYef/UwBfO2lHKm/AVC4KYzZ2XOR2FRID6+mWq9mhzk0abxEEqMSpattEpJW/FygOcKxg17JNhxO6GhRSuRBtXzQ92/BU0h0HPxVw0jio+GNovP2CAIzUjHkk4YjZBrSdx/ryOk1Ya+YyQ1FWwZoy2aBfBa0yRpJFZJYsroStWs4voDcOFop3YFJ3ZArnXB2eDH0VphLW8+hfCHeOviIJ0oFBC9ZdNrtEcRRKRCHx/Mn15RpEpiT5QnKvV5Xj6wbiPTt411mbPdHl7EK40JoLVzD62ZC4ClgqigMRHmkQXGETIz+57NZOqZh71BUyqSctOTjbj6w92fGQ3fHe8IsLr4PEUl3Xe7IunUW0fA2poKWfds8IGrPyy7JdKa4+hIIXXNel4rV4DEXTjNLNoqc6NgbiIPOML45QOXy3stAR2ut0TT0YfTYIIDU8NIJg+64hHuFuzyqiIe6S8Jv2bHtt9mjf+0lvXOwpYMSbmzHayFRi7wX7y6Jz5Jc8yeqoR2MoX6fFL41kisB1+DNg4MzMm76OvErweet9PrkgupytADd/RqKx0E+kvFRzXVo2PXvsR7yLBTZVcX0TlGQ7s9GV+wUQHx8NGaXXqzGL83/tAQ0+L8BXwI6eZmZm6MIevssMwHjGxtNVpfoeH1y3bNDJTABEh/iJ0BoYDvmhYHPVUsdcw4AUxczc4rwhSP4YKnIXpR6Sp4jN/p55k0tpfiQjPaydg5QSfGkelsyeIYUowLnf6IlU5DTSSjaPQ1yPjaSTDLSSvgLAeHRBO8H4AJYTNFnyko3mNf+P8d/g5Vbk5ZzxHJ0KZPiDI4MxsUQiuYW9cc/rBx78/It7rxk3yuPLPUjkvwrvQxawr9gYnPtk010zBnTT/TrmFMiaHzd3uOLRXV1OOwNDjQK9fzTQwW9rL30fyTXLA/25llul/blxjpVgyCnFag/7Q+TVKuCjNh2SsnHBuZsM0rhi/25CU0ImbQBgVWnqA2ecmlAUUwf5lQ+8nymTMEJoTKrWqkHVr4Oi6y5yRHXAcs4eSP5r0lQVlWLBTnegAdTrBxsoCRHNeDR94zjAkegOUPw5xQsz5014EpZWAYuK5gQ0I6vrJwCo++9GpI1+LBNW1LkKYgJ+6dzAlVeynxYfqfjnB3S4O0E+JyFd5Q01/Spf3byJb8xAEI7IyPxft2lpAyOEoqmQ1a7a31ntRsg7bUv2eOD/I5iGkce7uMe03+3IAYSRpIHQOdIIP8Wc4oyhx8tQbTn+J3klUNp8GkSYeetRJNCWI52KCFnKjY7O208Kiwoa4m0R6KsgvrXjK5rwdal/BQv3jEc+fhT7eJc1RurlCRT0Rdl6lW4G8/LBFZ/IleY5SvwMNs64UFXPmIDoY8Xq2tzBGtnjo1KPT2FxqiC8BDZDsE2kgcZVYMlOaWKkZg8MyaXdMJ/sPKn4lZWY+kR4pKS9ypsGfii1pZqCxtex7frsRSUKryQ5iSxYzx3VY/cGPlsCzRhyUwlcsUN9MEU8tW6HYstxFvZqFutjPiTbjdpVtFRqpJIBTMqH4oqUeZH2Crv7pztTjppqNBamxgdw3uYimfjFLoX0bt3bwozwDs0J0oZwcMh4oluQGHbUY16od/5qUCSIIfUyYvwRW/nyM5VWnel5uvY4DqRGWNLUv7FTZDWkBrqGKTjZ2DzY5geJkjo37DnOwzmVpBr+IR0NwsducT9OG/4SfbUPigSgY6hg2UDokJHcuA12j5jgenQO95gUuuDWrgnReiXPCypMQnmOubnCqzuFPFpGu8bHPq4iT9O1cLeNgOFeN8sfvv4wbaoVABqpAmzMHv/NcyrmyC2jSbD/gt8JtM9IjXwfzryH/y/lvZD/n7CWZ/lqrxu+PZBrrQdXsP9m6xVajFH/tT3iUrwKIFFQCfWBC2L4fLT2CFIfphYLqL6HVYJHmQ2snDnIzYO/x0+QmHOHoyT82pVdgLNvU51nksyLLr1oZJMKSF+Lj5RpEpO4OZtN0RSzRnzwfTUFWdm5dQkIqVuMQHdk9sLNSfEXR0g8tl/au3QOaAtjU4wJa/DiK1RWcaHXjHZOpiHI+Z2fWKnlcltZK1mrRs+T3srgwbLPPSZhJXiqBvpTc88oMO+3Yk6ISvzO5NFwRsPxMnb+2/NOzTgOF9s1weL4DC6NUOTEsZ9b19GofOuTWEbTbtxevromp/8LJxtI2oh4WLPNtOjfRIjtFBoYkfJ919xoIS26mKnS6gP9F13KDDxRdThIYvFRe1nUVv9lQQD054BE7WdYvcFUiktOCZfEg3Cg7M8t/dBtsYCbTcfDeB0xiBN7GpwYmXLJaciBh1Q502mhSw1PH9WGTZF4PrtfJAyU0ZJ/5aTrOZEg2MHvSOmF7x8Zr1ZWay7+B+if5TtPajDW48EoB5ajfLrEjtkWuE81WitY8kjnHjTEPuxNdRwYbEIrZjbNVxzJdQg4kmiScV45OCwifzkVkfu4Xk8J6SvdesOJtLdA3xxhBEtH8sbCkdm3DeC80nEXXzRhn2dbDZ7T2IF9oYfHYAyywLHdCMq3+OZ1c3d04PCAXziX+xnh/i5f8c0PjNIPhbNKiqArNDPe9Go+A9B8weJ0UqkEkWKISVNfwSGS/+yOd/BEg1+KHb6nho/hQ1gNYUSbETMj0JAm2IcYRodnVMt6PytMQDlnRn7sHGdSwIRCobwjzd+z6FnUlM+T2EXLBhFEmZ6ggBcWgCfTkLzRYcpWK/2y0IQZWyab93eqhBU6QgHHooTms7K3/rk8WQKzJCELlcVdX3+AqTBapyn0NPfbwknOFHvqftILojKWDWF1SNekw+QP1u13/kNfuOFJTQwJ+QYkOJrUzfUpRHH7/TXKX8kecVBktDUqzW0BuvSyq19nnE4vLGP5NAE09lo5ZAZwZL8PWN2GBamxARcKBO5AnyM4QNucpOkmVMuY4us/U6OxiUff72xJaK00pHucWW2Ac4xlh+mANQ0MoPbqIiS6C3i305dlBeiiCVmIQS9EgvVt0aUz9uvNYWejt0d5CGhfFj6ISIwT/vx/M9prfbnHLHEi3ruUlR00j5k8Wx2SHl2L52rpdINca6fGU34gLyO2TyxCBEkwryRXOY1hR0FwNl1Y5DDo73zQFLfq+jzZZBUadhi/0fXMaomNT4pxL0CqzeLqJ9y2FvJOHYu1eEuB1dJNVwDi/lM3SOjZtdF0++GLB8mQ1PO2uydMB0J29ivXjtK2ZpxIcdyiUlD9NekTGn61h02ETp0hhmD3XS9GH4q7BZRoIcwj848f8miN7sHGKpf44AQX3zktaREoBf7C1Jp0flzcf69h+C2vGLvEyMWRY8KB1I3BTvGRV4Ajb305R2jPNxhxGFfsRSMs4M+B0n1iD9QwdKlOz2bIpi1QenJ6trdDYZDJ/H5DIipQp3iKgKui/W+zOyb12ZRzN/3ZZJJSOwxJ47E/Gkzgtaiu6m7bTTAlYq2obGceI4+zS22qpqS6vBDlWtJQW+J86DbpRf/RTgvWaEkM794/OIvYoqoH4DR+l/ohIrJYbRplXVk+KsjqxdVfVqGEV6PaDB+hm2wl7/BTmSDLOs1gclJVDhtc/dTGqfkpqdmXNiXjGqm1LvnZPkN99u1kFLb4Uwp8erqfbACttf0hCLRJSpxlxLKE3nzqEt0VXVnddRzRae3/GyewHOc3YrV+0N2zwArAf0hZFsuaBNu/eCwtVJFduXrTfaGQXfdhpT/VXABkpgAbsQTaJuAu6AO5vucr7HSueogSLtXa5cnb2mPX7UMFyImfH0SWz+81pdOEmRcE4shdD0m1U60vn7X0B90hZ4I1hcDgHV27AS5WOG76PUozI1tD00zKfOEioNfD7UFCRGZVleYisNymHxcg7wLPsl0+1lLqUgBO55RlbRHAjc9trcipoIJ1Fkiir/uQa1+b7P9gGYT3MWFEtGdISP41dtRZgp4FQ6oSY61Jjo6AEqHtRGTAqgGpnfuwvk+ObXuIVIt7NLVCa7MSiP2Fe+RuVK8Rw1DyhDHipZ50LPhFceD5CV5jsnfbeyFBc4/++uiXatgpaAqUDe4lFbdsIMtGPTK28EdUhWXSSHgsGbsG5fhfall0OObrenqL/Qg7eb3fMLld7ei1NeoaYchz/4gtAEnifjRBumLef9HI85Fcu54LpBX2oEgfOOBT1p2hLbiqA5lrA5iXjxu7Ncvuj8w8VIUuUeUmyRyk6Omx6HoLG2xtxrlgQ72IFX/+bG7/jhV2Al+W9ArxuThOKmV3tdeGlMyrgbytE2ZbZS61PBPobgDUVWEKNpQ9IapHGYUctX4xv/EjB8UP+Hbzwest0QGo+Nhl3RjtI958Ct5k3NgqRetWIXk7SEtIM5qpAA/cNJkHx6FprHEruBgD55/bI1SBejfEH+R2ImrVitYR2CBoulS9n1fru8FBAd2a9R2mYNc35BKMsB8H1gg80mHfhpAOEMASha22+czBaMjKoDnY3PLhrnWwAX3gIfPS4RLbDq9fN/0MRD0t88zFBKLT3f/3MyxO8ssU6EQlg/8WTDiSi4xJFXMpZWsihHdD8546b6ujDG06n+GaB8NFoUX0idJ5FcJ/49lVe00g+QMeD75Lyc+DbxOuU7/7JUZGNzmml/NxIqs/+vDgc0JYSzTJZ0IADHh0sFHKsvlra+JZON8k2LhaBwrp8bkFMdPCzMgJHFpIBoJMgr20+5oELINlMIaot32+MWaIo1EcSHsWuidiANwD6qKfd7V4qEJHBXbd8nU8GKQB8AATAw6iHLHGAdTXlC/GuQmuOeV+OjN7OkqUBIRG5dkraAg0FyqSwvLEc7nLfYGMmPOgTEAh8eqk44Mz5ZOz4I4m3mveKcqZV6yLwzI14PERY1qsV/mcA1raawaTr31IWoF8kXpoqm0N/ZFvegVf+b4DZGSRX/QJUccLwB09Zjqy/A1dFTurVhpM9+QZ563sOJ/gt4QsC8vKpWzNljVLqQgsXUyu2EC6iiTMN8G2RYvsKm3Pos/Zir0sfu2kLL8Bm6CxcrYfLbXTV3NDLZK66IAnBjYJKG1m8++ybhlO4q97tIPvHY9LdMtN9yelbEy5S8Y5T1HKm5B+me8tGbEs8jasTBhZ5lOi/K1INAH2KVXWQyKUbBax1x1aeAKxRzdGzV1PQMv/NsY20ZBQRD+dne3uJY7OV++29Okv5qAjlfJIdd6glXif7wF0UxIDvt3+ztvFDflbkPqn93+7wpT765gsx4x5N2sNrAygyUL44rtR+2twjLRvcC/uHScuUSNkxHdccTpxMN/UN0XFuT+8mMCrpFgQ4hi80C7PTGCCqKOgNXQ77ShGJt5tURfVAh2zw+sJYGwsHS3SXiDCBtynTVcgTF2nKVfZb4bwqGIPVNT8nytuHfHk7FwVro/H5fTAyM4w/LupLgJfCUO2zh4B5gzZwpNmcSaA6UDUWobwbt1YXOL/XRMQ8qVBd97IgvfYB9j7irMPNMmWjmp7yueKhjcECFhs7Cotiwny/e9vCC+7h5TiHhOTwSOKds8E2qABdcC2HU7kuLABfB+kQNAlIDA36Tq+SCQvgDPXjLmNH+wLA0oFKi2T8y30IkF6YTkms1PD7OL33YSkoaJdJZ+f4mpASI8uk1eAGvehJpdIcCvrbbeiCSZ+EbSJaMVnUIlIqbg02i2EAK7HyWeciRjV3XoGGdPLW5mgZAlMLSZkYHjWi9I93rozONY9Kw6IehXDQT/QFftdOWwppjAJbSOL58IR1HY7WCNNuhuOBlvvt966jx/RhnFUjTUvUwIiv/51pkQOzWzbLgaw4AV41H9roEdy+7pllWZtoiHsESsE+QuMHKgT3RISPeZygLnq0NFvvE2c2ro0HQvaQf77QrnUql/lMq2lWbKcRUOYBK3ycgxKOd5pxSPaYI4xPG9s0lcxI5tOJbd2QhJW9geuYcdyYiIsXNCYWRi7uvPxSfIZ/PzDoQCKOuo0VJxIG3UyqNQ8wFl0N+n4io2VqFxJ9nvonFDULPDEoqpnJBLvP2zVm1YtWf1GP8zkJu5gfXy8+yohAGQ7JLyBiASN8dYMTO3h3KhV+kegjKUE3NjFvhmicAAJMtpuuiERmDXNNIWPoYqAwdyL+9Uo3/lgfmvxVeBGYQmw2yGmW7MdbyCerTamrNu4rGDCJ5nJuae9x4YZXrVyov+VHZ5Bokw7cQcE2W/NJL9JBNXd+YiooMMWAg/chm7DEXlTEohDpWybGG5CYV5sh3Jbbh3YTeiSuisimpxvNmFpp77DEfmzHCGAstqo2R4o6MGD1eNzPGBAoSzokxHvyzLaYM4OXsvu9AdACm6JsUTbuvJ9P/yOKJFNuh1JhhXYjdW0rwyy1bMt1X7sTKBIoWbSVH4wiStPLRTGG6/J+705bAroPjzZ6wKdjpw2LrZxA/MI0LeweFjWsH9bB/xlJ2qaM3Hqo+r07JqLHHLnZByyu+1uljieDWiLI6tcjG866lzb3Vr5YBTb74F9JvReDSGQw/VAOwic6WsiBogniS/ZAMS2OyadbLotxmQz8JfHG2evJv8GSAPgOJtRDkWPq/Aze745KLkuk5Iz4kvb2DalLDRRuZ4RQ3TO82vZhCpfJ5II8cL4y1HTsK+b0l93r87XMwX1NDL2KoOF2HDRq2ziqJHqOPLU972uTlqH4b+7/s96As5ryJvdKuP+LD1yOchkKose7ogBc87DM7fzDrhH6NbhmgCMBtVPlWCIwrqXv52WOz2gQLZJN1gpbNVxP8EkUlFbuNW7yxv12S3uFnGpYbk9zwA2xjsblYG4Qw3QuBbzlLUe2nhfvQZoiMx4aPV3l+71WSGhrJOpUua3sG5q4lxq+O162XKvAuUdvu3wG0CLK9FAC9mhpqB4ieYSDV60iMhKbiMEdmonPhV7C19F1yt2VaiKNt1HWCZbLyd22mx7EiGBEtAatIIp6UNwzb5ngUwsscmP2ryKEE1uNEs5Wfz+fKOF958UN1D7c3ttt+pArum9KgSNWcdOcXzwzSlRNPfU9qTXZA+T+3uLYMwwO7+85BLBo2w5k8j1cocJdg0Z8Ll+erq9udMSaEYXtaRFDxQuo5/3yrxsqjwGdWPiu1dL2cGb4Z/4bHDuyizGEhYES6sznxdM1FVascobVhoU11uGybuJ5DPyF9SCQ8lWbKbzHCRlsXyNSstxYnusZ+YjwedeEZpNnraSCWQ/OK1zKduOR2j6Uh/KQHkO6nAk9VVJ6oBcW8EVykaMEutAa8WsWcVpQ0A7gIUaGStIKHDLXlaitF/udBJqIzs9jt+QxJbLsFEk8FR2SIo2IsepjeCgYcJrnanMnpj6wjeg4x45aZWkP9X7CjyD9qbuQ252Elmy4ZU9aFBu3vrYfHaJHONR2cdz47jiMYkw7PzRPuECpmXX6aLht3s+WdL0mBbLWLw6EmENEdI+lsVBjIjrfcKbrBSP4PExJfdSecjMuPNAIKXY56dM4Oe88qS2SyrBxXVB8QNFPLsCF9dH4W4KayxuC9CAACfvjHsIw8aNsd9Ecvs7exSNf1B1ZNCkOZCWvXYiW/9A0wpRYob9JQ3eSlMvLnK397mNQs2nIA6ZcUoMCvFXQtedLtWPmpxKmQnOs5rPS1XMeD2RlK8VzxRE4rt4502kTpE4pLn5gI1tkTeAX6OYxRTyojN3MllyoWMOc9VtARym8oZJg+zRe8xhQ1iunO/0WjUgZ4a1fvMhobwllSCz9V05k1tFmsxqJRbnWOVzEHjsnw8cmjGoRYzYjO1ntB1wHCA4nvyM1tjmApYkqDn6zPNJ+wQGlg4dv6C4i7NFO4cQvWMSKRC6UIXyPHG0l1n17OHwp7vxg/+huftdDX54VVc3Cp40cx25DTEWe6Jm5gr2xFwxoUGC5VoZcwYlbUqNMCZghQee0rFnoIq55jrx8r+mtQDZ3Pi44ZI/lVip8EkGlNlct210pFIbjJhBub87QDCUvXl3Eg3T31pgLvUrNIyttnp+FAfeiZhDryITJNY4Mq3PQ60SIabURhtb4I3sRcsSCpaoDkWFp1F8SDhssWb/N5YQ/vkfqYTNAY3fMNj4JbcnqpiPhZOl2hy8Go4cgK57zs8XDiA7hmUkHJM0oMAPhE602g04RKNxWzXoI3KRHE2Q7tMmhz/LK/z09oNXEYaoz6tJS7v1jAHcpHgs0kyeijPUte90ah2/X6e5jWwrFiZUSlgSXzHpEoIsTTFha+floaWXK4rITaz8DHpTvO5U3UbvFGhafgEiGAIYFKCRBu0KxiC7pltXROppf/SbBIQ0OMrsJ220zr0mZDnwOeLku4tWlKoVgLS+GkcB4vOWL5d/AjWVMOMM3IFagh8SP5l4clsysdBY9Y97P4GxErl0+ie3L+JdBR0pbz29JmitSu9W08JzeeOZCrrl6VYbXMyoC2i7tENGYcRmWTiwKGLaky1szKbxZ0Uchcr6alUtmn3rczAZ3LPchuvoJes6b7k6N4J7loZCLr1FBcSGppb+/tfrNEGleGL4cySgrHHwNCzdxhB3YX+YUfOJOx/twzZ0ldRnuyGBAuIk6Gn6OHOX5KB/Gyill12DPfMlcwnu5oviwUbKG7Acj8yrTN5jCz+2Hhp97RAajEHX9PoTzh6aRAyPFhQaOd/F0vd/x5+QC0sCb5NMBlNMzGLbPVysXxEoTXxqTUTqreEN/7awL33QcpGRvEuJCzwcC/j1Ld6C2EaIPhv16sz2O5MFhSBD78zdQG3bvnFUU2awhQWg86No5J7lw1PsLcHK+k/e+mPOOaOpWQb6wRoir3INYI0S6qWsDWZPXRV3KpVYZvGRTdnALl0B6uvcHu5Uu3RMpWKBCXcxNYj/sm1jLPw+fwcyh2k6MNUaK0ytxMHnMQwaZ1cJy0didNiT9rJIpaYBfYOOLcbZx9YT3hC8ugHkTL1CpVD+e4n3pDU7NwPkJsW/6kfplOh+lBrNJ2Y6y2jOak7fclBHUNjga7b/OKd27lu8c0QXx8C+MqyembO5MjWlv3x0JfwJEWZe8X5A7mEgBoHJR67CtxjIOsEJZ7D/o9eeEGgTpSm43JJiZ9aQ7TkZkn5y/9h/Sc6qTnQE6rOuxWj26N+XjM+J3sjWJW8BqHEkr6AorDHINjDAZl8Z5DRME8AyMrN/r0ZOFOvZkVQbm2qli5b2BCBAwIUvwq/YfXNQ1wAT0OvDKYj49ACP6OYvTh1RKkUnMo/xSzl+BZU0uk3k+qz59LrMRSs7LN4XJyjFd4NsomfcMaKgBWpNK4kVl/F9DU0mktPXELDV6jEmjEeCh8JSXXcI5Y/wfgd8oiidTO0VSy7dgI2p9+LJ2NMCxoWn/C1dv3LbSsbzy/Vvt6LOpJcdJA8Jl8+9Ve+E0UO5AlYS38OGGxbUqTFPm8PE8f5+w8VPpFzblpzs6fOEhdzAA2YB+snqQEh+FB7pAVbe/8QgrYTr+G2a7rwI27SZc8aDAwyk9EsmyDsTKKYm7WSbafTYXW9XyXhgxs4uGibzuopK+tkZUK1nK8gmNk6ABgLz5iVV7l21DIrkoXz1SHmnM0ibYKcX8hbm5H36YkCZ/zm3MTfR666fqtd4Lhf5ppCNeYzzXsf5p/5o0nlmCUYwhMWXGuMKCiWzdrbW97P77w6LdW92cZt9JxgCpSsCljP5KuCYUq9C1lnYz2R9agCtoWtS70zKDBlLbgB/22rhCRK8hvXITWrNVXj5JjZt6lECeUfFlkUYMfVr/g/qNdHpfBiTtAb6E+rc2hX1Z2kdXEKgxENCibeksQIFePByiWoGfjO9GxPH0bnbRNmbGEcJRnkAvVZ4G0FOznaddhHkmRXu/4mmQtDuWJBLGW2JMp3JkFUjcy3zLzVvwY6msyAkwgRdo3LBM5mahRVYkr1C2tmMPs1GnoFNus7e2Inpsw7n7DS253yGxDR+5buyAekRjloLcsY9+Ara52d0IRMpQVcCFB/vhv3pU3U82f2lPT8B/Y7/icj6QYU71bcgBaw2EIDnkE06zaOOiC7QMTGjPnYk9koXHlYemQfmu2co9rl+c/UM/yBqTvipkR7t1JvBKOguPbHTN7ouE01jQSyUjh83YKaa/Q//ifGw5oZ0CJfwfBflhXS1JMvVjSGN3IXZwNnJH7t8m+kJTfNOWi81bC6BdNgmsDqoCemJ1TAOZlfHg0O1cW8v16h0/ncA6KjzkRBrh8nSoha3Z+Us4B7BulW3vF2XKB0IKtBp46xtOiUmMtwWFwMRgtFVJveIGmlqnOwQeqGYfsyiYODuiQvEM4KzyXRg7vlPgGNmJPVciQdzt2VdTc6vI+ZNLMiUxO6heIMgoCufa5Gsf+8lbyUz4K4I8BCgKdHFOiY17H4ZLZRXqu4YG/WsLfdeOp6TL4Ar9gE/GfmCwKMAzxbGIsjtItoSJglsUc0IEjqWwrBU/eOpAo0+f5gOZQJWR2o0sHC2b0BdzUQAgCsuIrzG+SeDbacFz/PpT+WM9T53m8loicGUXFBlTvLidaVnJo/osqXYr8xapKn5jri5lU/35bn0Iyc/VOgU2XKHhT/nn4zWCyUYLC+CSw337MgbV8TwoFNPL54gqha9hSppAJHfwhcrLKljHkCcec03nLSckBnDAngpa9sj1P4Yetn77KNMLOa5/jpmNxXU/XaB1vy6zddZieEPloCwChBJoTUMN6zHzEQ+eRp9CP5Owfek0vVyr7nxSQn6Nl2rllO2CiSPcsf+oNxZxoYvPfrg15PS8E8aisAjnZ+MeBMSevHHEdbS6UcCa1WUZTT4k+oHntNZ9qQ1w1HA124OpYptSWaW8iid4bQ+FT9TfkRfMkgM0qVI017eAnqoQszwl0NK92Thk1b8KQs7zDQfBqnBTcxOncyNaHfkYbR9Ca/S/V5UdAcbenrj7EpqdCSch5XSxGJG7mWeSy41eaCSjnA/WAb2XdQbeHNUjrzc3r74QRiz1NCzCGdphtzjOWMgNtXiNZkXIE98ZPwLNkVQ5Q8cDHQhwx5Rtp6Nk99RQb2Km00SSUgn7L8wQ/B0SoTktJCgciadOIDPnUR6zuTZtgAdAoatmEdOLkjjIbdRksAXBr9zmOfTliO1zgu8NiLrAAO6X29YMQZ9qy1z4efLtwEf1OwIh1hd9bkBgNWDZkIOqkfD3ih4Op/yByrVKwNxYPs7eVcJ1tVIjmU3hOmqZI1w/I/OWuCJlE516hJCfqFzutYL0BXzPThkITg/vYaig94pE3zouivUU6GSUMCRx9DjDcLr+uV3Q3EzbaXg9eE6z+rm0PI+g37e4pX7dX5KMYuE//wSgemmvLxNQUuC+SU35fyZ62L7Wcm0REj69upsSDQ6E7W9VMwE1HXYbqgrtqMRsQoVFP/hq7uCExirJP5UJyiFNkwI2VCW4Eyfn2UqUir9/WR6GbDZ8Rq/fZWzZn0eA4f7GiSQedlv4FGLgZ3ATnf8sv1+IzGZ49SJbJ9F2Uf2tN1J2Z9VXDe3V+ukfOBziCHab1lQlx5zleuI8W+9lhIocDqf04+xwPD76+v1C8aSXlOn8r/vYbSlli5LVyedT7lOPZ2D5xlBtPqoUi0SmS5Mjlky1YqhLs6ZO4xUn8GCPpBvKo8oOwLOaJR7sb1xtAtElMjpggj0dEC80P2Vvizu3B250l/rhXlMD4ogBzTvDKTHLFgM4XPbgK+pZ/6KRPPyJJtxxTQht/oFlDO3G7w/I3RqvxWA7gWpM2cjebBCBNtNfkpllAoxfaP9VC7X8GiHJ/JOVv+CtCYENJQ3Q19fCN27f+V6bo0dkWqvmjkVUoJbxoWnsNUaMadc+lPCZhGHbAEPR86StfetwNPQF8KbftWs+5DGWJwObhlIMVGaneAeEAomZ97lUJkYD7ry2I8L1MGYdHuhbTYyAoPF/oEf7z27Ge4M5Ph/8OPvJ3S+4Sl9UzrpjPrX0WltA68N+BT2C+lllG5nfje30K1LJwcLtSOsLOo7BMZ8TM/x6OnLtbQf1WjonQMHo3A0cXhv1h5M98RQxlxgQhcsxu3if/6SpgySAGORuRFo4rqOR1SRTyez5OzuBqZt8MyLL/OeHY7VUctERGnVoMctNikZTiD7t8xmkG5O8CUsoI1JEt4bmvKiNKBH6oS9h+pr6W5mo5GISrTkOf2o2XR/OmoWGpxKFHGT8AKo4oYCgzxJb0geNs3dWkQyb4j3g+ALq0/P+Qsk2AeZ+F4aprmvJjvYZRSKuhlaQUbs7w2DYRawBxV8wEd9qK3PVea+k+d8etJTlQMCuM68nrjAvahNNm5RBQqox+F1ng2X1tarIZKdSlldPcsQsleYmlyLOk6mDYqKnylpLAGWtnqP+RvPe4Gshe3bwEpzeCYHIA4H3PJm5WoZfvKBpALGpSW6ULkGW4373fGuF4A7qPW09AovgAXiZgD9X34+SLKd3dvUUKUKdebdlPQC6TGiUetWTkWl2aQz3YCUIGK9quhJC4NQzETQeZRHavi/WL1aJubQC6RTk1d7q791xAMqZTyaqA2sklgUYXK37GjOuuoBHvROKw0mdQiJ6I5mpjhV2PhpnMTmkt6tE1kYtkMZfXBfgytBPf7rmTY124XZhEh2jqwcqVskikjns2iPKu1dzk4BNp5HijbH+1Tqq4gHm6+dm6Y/UHCvoXuwWyYsqR5P4Qo56BJt8jWaQwD3wdoN8YjuEfs5asx0j36Qgzvrb0F2N7RwvGXM0J3XPXAWcNiiPJY+hlEzXN58fK58GYf6HXdEFoqEm11QLTWN4/0KpMclVMmObzFMl5synM+EMeO4ACMoklvJoz+PVJl2PQ/anHgW47RoEmHIOLGOmBag5QCFG8bAA6dlWUR/VjBQS6XUES0ZdAtY82ILIBOiGYX4SV/Zur/gMJAXYvDx7VYb27MejwiDwl2VYUIBOBXXMc07/tsHqRQ8+Mc9Yg90aso42ooneLI90l9f00AyFIlbJCUUZVATtCg5y/hIs1pufWzdevT6WM7TMHD9DHzM8mRnMSUTU3BEZ7849hcuAbtR4eSHpK/S5GtuZThF5meFKGFoDMu9QGFFRBBzjduRfvWpkhMIy5Il5/FR+SFpiFi0HE374U90NhuMUVQeVP19KuiXEi504feez+sEV/aJF1+wvsnKk/G531mFd6TJI3g3J/pzD1M4GTL84AqFDd2cC9RGLZF/R0CBslIlGZ5fGO8YLnt6N0Gnk+fW8nJMPdFa+seP9zl8v4/dpoFpRXa5uAJ3H1IxLkm6SiRMpH7occ/rzHbUQEeiJAaUK9dCoRyqYdlQ7kGYHJxqC82m0cDwBLrPSOj7Ahi3Ey+e3TJ54g/hpZdOMhw1zs6b23fENr7cnaaoctCw5aYR1/JrKgfVVzWV0UyNslm07Xau3HMM+0eOz9HoQ23pEQCVJ2Ep63DwzMvjCl1Yfzox/s6yOqd/RN5wZXly90jQJuvDyEcQpZtMDivoAvM2rLAzfO2YnNPeo8cOW3A8u6+ST9q88aIr3RjrneiVuaveOyeL1DS9kkhEpnlq2PniWbtTBKnyheBiDl2WY3Swenqd/qQctLDYymBdL36pVV4HkZ0SCjLf/YF+ZZV48a5//OiBQ/2sWyYjBylQ+BsGAmc8G6SL7j/Sha0L2IKWqBmLj0eHfruEEstDnMcbomSXIblCE7mSzAOc0tGko5lN3/1pY2OmEyHOiqfXHNCOUliF8P+QtBvTwcm1PlhJk17rWsLlrTSBGUTxG9C83vqMABhMYa9/PvGR40jmCHrVGjMMcHC+4SV3ZaOk/N8acoHGeR1Eq85r2YP9rrlguIqNhy2zdoIBHA3frDQH7ynCXOQgQR053+7RIxOAHwzNsvThjwjMSEphecNOmYAY+wJUCj+VHNTS4bWRqaowh7EbvFEMSqua71miRG0Dox9ROMKvC/h/SaYMF/gwPoPKvpm/aMGlgFNDCisCRZNtVXLVkD+8UOBdyGQO8beDUXQpTHIHW46K3pbNDSSDAZrqZUDCXSt1ymuN5Dxh+RXi3GWFXeVmnI2JB5YUCPpqIv4omzzVkniLLVIdK2hjDpPucRrOaAfrN5taEEvmy0PRQ4aKrENAtqXPfM83yN3J3Hk2lNO1FI2e9L6K4mBLVHSCEQoCbs1KOlxAuiXsdl/2sU6bcViRmgRwWpJVzIAYZ1W16zUsUwsuIOaEGxNtmGbjoWE6gZYXBJGMRki4ZCv7V4TuNuum98RGHAcQWPjtRwN9QAYi0Uays237V8tL9yDxSSm9qkE1R1h5TN1BBnzlh1kNWVfcgKwXHiRCSKi2EGVT67izPkcCsjgVfOwXvRCRjyvdmVmg0qQh3gPYYQLiC0kbiu5Kayzm8ML4K73EbEUhZxrWkcN+2HNIlEklfi4rIOrVAAyRA447AGgXzMlf5+TQLW4Ca42lrsvmDZyIhQPrxbSsEhjDAkXDulvX0xKlNkYjb5SwvZbPxvv/ECmOi0B3TYH5On97TPetYRcmT+DNgIX5QWr4Votwr/6c7JOoqZExK4N26VDoOtTW1vqY0hV7kOqNZczlRM4DEDxCKGhoXzKeI8C94gR2lR65Bp5HJcz9sM1897QVyXHs/AA6bLXQub05U4o8uQ9lT8dsVtoNWpCGrBANw5TlDu/ChCoIyjFSk1ZD+gKJgm/PDpYd3NL2uRkuQxu7LGcPITuq6sUDA+DFZB+WyCxT6ZtQxeQne4Cm3q6UnIEhPIIJ1gQ/tcPCyfHuNgvu+Nlg443k1zfNoMSk6svN1e++X1ARISSOHvXFgpP8fDqjgFJygKevnCa37OoImPINldjgJ4NwcuoGv6RLDMl4NQnehHq+lefvTmvmOXOZC5UXjSnKtjCSv5s5J28UyFb9b59KU8P5wS8fLkbfwF93z5h7kgbu4ab1K3C2p6s4qcxBzaCvJp/Z/xay9oc7f3XYl9zG6Hw+6y5O6NKSYWQrhu91CN81UO0pQXKaKVebnqiTQowFDMc8Lc7un/OBfNG5pnLgf3L4UoqkYuo3LzBmnFTPEpCePgy5FhnD24fWeeMN4aJg2o9bHdFKVrUqSkxGdkbeFQMsFTp722NIjgrnHpMxagoM8j3Sy7DVD2rEvopZclrnrhRO1BJcL8Zji8gRYU7QkNUO+1s1MyOJbvEOciKNkcKuPLV59t88ZHFy/T/cIcpkbcObK92kgwOe8SzgI/k9HhxfiSuMCWnJvIbyvNwwJzpIf/3la1PWq978qrc2kwJSyBZeyQQMs1Z0myzRtSiW8L/5OJFZB+RfgscxKtU+l+jqQEzZHKJWHq5lQn/XxeNw7v7HCBGgSQJbkwwcluqI7lOi0hvsA/VzUeQ9V73OZKVUiR5bKg3uxXL/M6S3dOH5FPl/oRjZojNdifTTdk7B7qVzXL2rHfoYCFgj2vQFDKtX6DSn0chIO6FyTjlDT6wB5Jfxtz4i5WH5Yp4dAWcML/WswbFO5/4boiOkDHSNjnZimIn9wRe9mBaTtz05gj8C0U3Zr9lWfxkKnQ/Wn3xrQx+0cy/53q/VO0F1CSy34AdMTL7Hs/5VrVIVl0Y9qCHy/mBKyUMJmKLSNoNSm3k+y1MG7Sd7Yg7hcrL+1Tco7azElVzGHDRx6jBd7xEKrGiJCtJX8GQmS42xBTqvXYOZfPMzofvXOfuPAvJ505NuNA9FJfBqdJHyq7Oo5JCRy7qmNa2QVHf5vA/OYhx9z1j94ZvTDd8oXDz0zRzthYEjr+ozbzKFlLIsHrhcscI9WZ5i/bLRDs4w7zvigkrlMpE2ON3TSSllRoDe60fW6piIgWYAzb5xQnt4Lxv9k3UkKaoIBA4Xoj7W/S0+0EKEMyfc88ZnFvIAhmiPKL91+f0dfqdbXiGIHK1sYt4KDHhdFU4L51kRF87AEJOkiKoFGtuhP03pzqc+QR879jAMONwIbUILA7GeqeMAMdKd5jQgKK6lK1hXkfucVs21Jpj70ZhK9hqCLysmvlMrQsFnKfRoezo+Ga2uR/3OSsc0F3Xdo5oH+5bS+/84KXdQBaYLLWUxA9IEt8MqrctYLhrs5FpXhCyrf+q2JlppLgtqAd5s/NnRFmaTIMhG3Qbs1MG2HGSg5dsYdof8LM7frZGR4r80TFZjHYSTkQWg6bTZIaqSDSwZO2TVmrCUtuX7819xlfZsXTpRtNjMtdlT91jXIOmF/hW4Acmgi/p2/xdR0hCZkmgEHCwtIMTGPmCyhR121MszCNiL3ihoafX5z0KLDeKb+/KybtLto5sgiubPjqd/WOf7fhUpTp8tzzhfvzwmRtboiFgwnT6nYcxV4+708P29lI2IxWVGF/gXkSJcXfn1XOasduJ0LB1tvPaGN2wbiBiD23czBSCHCI9wnhCsCYlcfG7SxL+bw34pItsZi9zsSg1ryIUHzUBjy97wE3XFCHgX6Ki8Bev+dSz5SgYdmxMFLwXoJkzYUpf8hm/QA1AjzeAOLsa0y7ix+Rm+HFuiTx1urnvL/LqUphpl1nFK9MbVvW2NC/lWLBxujdmSLQG1NQdS544XpWDYBjEfhSV8tFB0aRc4LAbGezjvKlA87uFmncQ66cDhynBVtUSXwjbhD4oiI0bO+DzU9k9dipPZmFFgmRNSb4S9MPWWBZsjgRpqj97crmjWBHnNFtlwODXQJnbRYmDugRp6Yh6mATbgeTHXJLfMNP6XUnJyStojgTRjxLwe14zW0AXOtevWQBzAPLnhnojHujle7SlReI/YJwUWs0aL9MsTjAvjJ0LF+Z8VFEFyksoFTSDQ1869oq6fMzLaAemT07XedPHv62nxmQzat6E8kzJXbsCidlvr+Om4ommbXp/gCTA8VRo4FvcjUOJUo0499U151a+jIKDSAPHlEIavN6/12/le2Kwmtgll5fC4c4n8UIMkkHo/N50ol5LN5X+Gc8T4GI6GIbQFH2TGZ9VdD5IQgjkDElr2eAAegNkCNGXeoG9aftScVL1RJZ3m+smgLQvI9Vk2JwC+OaI8SItslxBFX/PyjEcYa1AY5uOH98WgAkvfAFTITnPND0aRKXesay9oxY2mwOCmGOsVg3YSVvel9NpO3euDlQzdpsGaNd1TTsZX6c0AAcGznrgt7PVK5yin0dJamcAtAcKVOWt6xyPdCDKPuXUZF+lGYoiLVmIHD+VM+sfWmzYxNO6tTylEV1FNAsUqoZZgg7DZWvEGHkjECuHXyvqIm2RE8SLsg/5whXPxBaArSZVIVF4WzRfLhz40GXMbrCPERBiIBM20ehHNJzwOT1sfoX8wqJtt/R5CHA+axQgvcEZxy/HGMzyqv492mvftux3wENoex0Of9CahZ1Sy0M8NIVgSuLWbdswpbvJblcra7H55hyriiwqt6GnDTXrP9UQWYZXfQactqSMp95VNWVlkLTpJsKZ33pCH3b70qSQMXlTWXjspY8ErNHaDi7u7A6tj2dQUjHBcbeL/79foiiAkHZWyX0+7CeWaebvrP1LiyRPr9dbZdySp2ka2jUYXCCe9BObuY289h+b8jgW7T3lITQRzEUF30mMdy2mb+u+k1uoxUim3ozsp+w/vo0uLBSn+BunjWGSiYpgeVBx2EUl2jua81zFDuFMXXMUySdeksv5zKZ8yfS9Yia34KNo7cEGNhBasbVWcjmFfMuc2KkQ+YEx7ixe4J9Ln9Qodwhq/VSXmNA1dnatY0INK9RV0lTHEBPlziH+M+WoQCJaJ3DPB/E2R22j/HFed6U1IQCNLYTp6o/9FJQEzQIFvd2pv0W2TfJXTIpNi/XyVhvs7tCi7GNspvnVGHdIJRy/3D4O82PIE27chiywRPEhgKq/PkuEAy1xD46mYSAIp3VJlm+XVtKcOaAfbfcrLJ68pdMYHZgDsZe1urid3snh1Uup/5rILo8dwKvqh3gBeV3t23trIxsjYBaRP68L/lqnJbC3C2eQq433RjAuhMff8APd3jIxytW4ylqUQPav/0i2fi41w91RYNcn36PqhgnM7Vm3yNZ7SVdd+9U1pV2pBhrmQXdmqDxi3TBqcBLsSpHmHUlDrTSKcPbkyAyCQF1MJKUIMed0zNZXcW70dE7qUI7k9dW54ULUIesLCeYi4/O0vtuA1ZMUwKNeBBiBqd/230XkLEqzW/hJZBvIqEnNhV3tqd16yrOuZRpDsD9kJsfhe5X8xMcEpRwYMXBpbABNHyNxJXQ9DA82M82D0UY1FAbBd5oeV3gIn9LT9fCsyUsdg924U8kykk4fiUguf6saFuJ1JW7WZU2+6OXOzuYX4c4oV9NI8ojEG0nTwen2P5Xt2c1RKtwUXFZ2nNRR7TZpbyA14gcFyX3i/xvkcfqPLG6zM1IRYxllMSzv3SOoseN1O9sXKFH9FJJgZtnWa6kHJV9SvPYHC1DKFTlMa8B/7RLa1N4zsnAe0pTNo2M5M52Nfo5DCcsPt5lXNxl85bcnQpEzApGGBg3GNzUyYWMuvVZ2sfuqaThsrmSdoZ14u5zHbBIQdutMGkimB+h5Rxwup6IuINydTkJNy/y1upKyhApGzggFZ+Ee8ERuahUPt2uWBO9F178o00dWTznfbda2TvG1gTLOEfeiwLhCFacTOVik02Zmn7PUeSTMkMYCPVSTO2U1Ih0YgnizbMnhEWu6UyXZeTUmOBTDlk+NSwf0n+b816NmeESXPBwJsqpYolofJIY31084YsVD8H4luR0Wso5e/fQRraVMx59APaVDSM7aiPYvicSiUgGTpXR1OBB1Zf/QOibpacKs20VJGwkhDo77p6GGLSpblMtp12zKC2162cGHl2F1AeuwdMV7ORVvUEn7CQuTJJVpgEjMpqo4hHM3g6RQT6HoNU9a39dTyEEyciP/Mj8QSwBDhAu0x+nJGfoAkJE58uEjt2ZcoHgeGaK41lU6Vnyy36ke8GuNoiWaljx8ubVT5zvyyrbLQ/mVF/Xbs4MUmdh+Ti8DnIcVXiILbic35ns6G3hqLB8yK2Chk/vQIgo7YQGqLLofmh71YanP4mzVb2sEpWYovIccokAS6MDXed3BNB8MxHEc2WWF2NU+DL3ETeTl6hxQlpFcs1Oz3dSoi8OpQwQePXsGOa7SisQZ22fJ4dg3QsdVXVARpRzTyuo1l2h3I98kFyiq6DhylyUGSSmvrQO7F2p2ULJkvvVgmt8pPmEZi6DgO+jte1f5o1VD5azr+JZd8lFwPUO11zrN8XEW80zu/dVD7zSyfKqoHLSJGFKz/VPEGvOQzL1PFg+DE2YN1xOEM7vGGb2FbqM4m6Y2RWTWOgXp0kCJENYGrLCS+Ou0ufPRVtcvTfpL3t9PT2FZZwhDp38grqDImUw3+J6rLdreOXNeXX5z9gjEvj0N330VGMaVrmTdUUMtzsvTEH7/e4d6pyppx+qxglk5yi6XQgCqPKuMqItR9rVMl74rAXuSeFstr5F7KkR5YVx3I0YpQ2rkQfgqKjzzyfBtinqWJZ9dAZJi/95hEh5gtQwxnrxjdIBrFLxHdhWA/1kR27snzeVlkuOgmbiqgGka3C7MkoMJfUZa9NACwbEwj92gBByRVyrtzqi7zlWEfw7bsGmret5s4gZLUL5S8uvh4PUNaW1lq+q7jOEif4otZr/QXYkwikSMV4ydrnDkblornjbM/X5ZkTLvQbzpelErMDC2s85DUWXH1FWrK2ZX6vNBhd0KbGU4KBXoAsSYCGBo/KhgLlZymjSZ23nF4D5GyRPY2hk3pycSFAMqWWRJWjSKFQythAKdLpu9mTXg1UL+fSkrvQrY/vNkijIZIPwZmtl2EKmExdp3mG1vil/bkBV9BJ/tQeTn5zNIa5n/bpoUzs04/L5EEbl0JJVqmluZ/0fQeNO+Ez8XfaZOrVp0G8pdeZO+BNFrpCx1BKUKjyvrgJBLXOxRjd4ZwpV65uJgnhVgPaxoRU7wF2vgyWIGZHEe4ELRvt/CvEASf/FQ+oH6jX3eeQlgdfDefuje/8MYD2/DEYLvx6D2Ur4cq1HgC4sC2NZ4SaHtbJaRLI5Hmql2s40o4kmCIj66/KCAM4WGwKXO2naEHvRLRF4QVT6USas9DbZ4fgLCvDK4oNy2oMigMur9ln+Wd/cpG8h6LiqEfTBBijLwpKMuGGVbyfXx0LzM14Ln+FolDGNmhEEm+N3Tb5TKopj5mCXO3PBbpe3gZ/VwXFdwX8E2D3YiGW9EuWgW3S1+jU/h9KQ2v/BYRiEBU3giBwK4h0I5vcYqmSwRhzlCiu//UYgVCThIsNf/BkNRygWSBnYN9i6z2s51FLfM504OvoIokAqnHTGAmQj7TuaBSqPxSAmIQnY8NZ8aDbDAxDUd+OTYZrkP+VEB+5FZmvT9M/pfPF2ENTHWwYNCEiqrN1pWSlZqE7gIF7w3feG4oykj4qPHlaGK092B5GQWSvaNvy/G1IQUrJs7uEcsxlM9RdGExD5q4tXUA8/H9tCoIoh0Q3NwLT4cmdu5DbgBPOkdlTsqPywDeXKnYwXmX0LgdzxRldN5FHQIPiSlITyJNyM2gvoazjak++u91ijX4Fg7HfWobpzkOP1RYbSwGzh2sgrH0j1EaJ5bsp47YptE1gno1IeA6btBMccgyHbvulevXdvt9Ew6z7ABELLM+Uo+65MbPkAzuUxhAhRamLcMmYNNlwg8hNUHyMV9eMV7TAEAFZnA1eSzGtkjI55u0uvQZRbFXvDjPyBuhBrpJMccRCdhsSMh+9BemAvakzZsRLwgIdU+RY/pYIAf/NvbHMHKTiZS+rjIkUNvzEZEci6GRmTGtqRMvnGdUofXnJvxmxn2yfSHXW19qY2xD7jqY0zID4o9btoYi2oyG7ymkJc1JjbhPcJG4f7GDDDlVGean3bkEEQjTpUXU+IzMYBnoEVw21Ugr3gIi4uXIdGrLE075myVUmPjQszJJrDrotoOnQQ6nk35r9SEhp1xNNOm1bytphnJqcBMjPnXjnqOGowM45NgLYnGPWEW3smiaacrANUGMbnXDIppPvn+BjW026kyB/WexNUR9X+oOrrCMcpKBz2hdojgE/xxDqx8rmVdCXRPb6V8zlYVoGSD2slBqfvAfDte+fSqkyAXfiJVizMJo4GQ+tLdr/Ve1c5QHCzKkvo8N8ExO1+bX7GX8eeYFUdmufjwGzjSnACKqyl7hTAojiVDQVAzay5V9/uvT/19txPuwmyFDBR6hnlMU8mEZCg5xPP6ivvjtrbi8DXV5yuDFsBxVrV2RKXvyq6AKj+aEaevu8/tJmbcB2Sda2F04gfTamt9f9AZva+1aCWj2lQ4d3TNTiew/UpITYjKhSLL+W43f8KawE/AR6oKNEc8dc21b7yNbYqIAtEXEWgrc2y5B1DmGw4VRA+2G6CxUNG9NSFpFCO3dFSXI3tBXOnUiB/PeM9WEJlWtCB875JL60Lj3KVGQIdy+JtbeYbg62N2JzeE24pBwOxj7/qsBDpMQd6nGNDm9xy8/mR8cxXIT4F7quOR0ld7S1XzGeVlxdWCmT0hkcrQ3sQy/mxgxc9kfdv9V7xMVqFoTvfqh/vxyrtsCU/eDIjfq/ktq3oedoKf0A842fCuZUf9RFhWI+fMsgATJlLO/Df12DTBXPoES47u5rcz/9gE/OKbFPOa/NO12aVYLpnLQ8QfhlmzqJjaOwRhHzWeW+FDjrOf6JIY+y0HuSTKqtm8LHGVfGkt2hD89+6eo4c1t0B8BPBwevi1xNT/Y15y0wdCi3Y6nOsIL5l9Y/iEqSvjrgexOKXuJpZ+WkULU7wJfveeYIlAuzUUIt6sbO4XpsPbSkmSJAAldpgEV1gxAWQdFXUzkhCTeYhOzLKrn31c2v5Yyvp2owM0C2yDEC0qHNWPlXI9bixFckC17Ryq1JCdJUdLGzYHdgGsrpwEFcNGvv2okfDj/j8kb8qLTkYVYB6p+yk4WLuBDKv1kjhKJhiguQTDUTvEu4SOpAMSbH8glGGrYrF5gpSYjxXj5M+H98cRRalURcQETI0utUFqIbpmbqjFOUyQUb68mvU9BhExuO6dY1vYMHqV+233PUB+M0bGgZ/1v0rjZPSVzpI/KChOhRVT+Sh4aLAiW0Fch8HkN3IyRWERgJEJIrHiHNdny1uShlQ/8en772lWyLU2Zdt5BKBa6eXM4RWQczpibXUug0d9JA7tuVgBXoUi6bcsUmJRj8NwA+XRmY9Wg1q5URpatakUXp0tlfPXb+J6+iisC7CtmVc5wNgDCrxbTT0yr5DZ5od5KmqwSysbzUtO5FyOeshlmSv29IqwCFC6aRUF3SXietlfXD/LsWOLNwgpKo0lnAt1w2q5uC1HVeTDhdj4wgU0wCeC+ZNLjoUn5h5ABTHrxpMnqcLwG4HUihdT/Fo6e2W4nF8WoEFhWJ0ORTqCKdThDak6AFtgJ7NKGkoHg0rtODWqgS1vwUw+2v5e6E2ZwEDIoGRRvt5ut45xKCf5kyPG5YN+ys4ltxj7CeELm3csadDGttzuFWvkX2IKJdF9YMDTaxqLV5E2hhh8Xr7ukxV/WD3vP5l75mhI95otJAuOz91BabG5bUrYWTYfXPeZ4aFymXDf64gulU2slOT3k+ngYb84h9ksMIe1pTP/PyxDY154uz4T/rGgHdmw3cbcuiCbK2ysOiVpl3JO9ryc2vQhXX5kxQzaUUa3RfPr35qWoqVuWHXuVA50palCQwYgC5giQaRcuatM1CewlTlKaPCda3St4MznFjqUZgTTFzjRJNQ4xrwznSMV1/XEWaQgg4RkZYUR1K0kmRZHMdrUZVM+7xKqfpKx4bVohHT3U6Exj9wqf9JM4kpLaScJRhpoXCeFNd4Ykv95UoYy6LmisCf959MpwV6C9Y84SYWucfgz8nM/sT+KjX5q5CwzB9mIK/Ku6pUApPJiE+qu2y15hC15TzSbhmURFN5LtjV5DXzECeqQxZWdwLPrpK3H/FEnhFfN05kSC6K4x456rddiclljMrZzOw3Oie+KYSBRR6hSAcSwLB0RYNtSPTaIgCQ+Ek5CNLp6CwyTQ0c/9M+4/JTlUUQz7qkzUrwVD5Qys43V+z5die4XxgekhOkNSbpHm//Rd1PxXkjMIUxT1XQsko7Xg0jsLsYxyI4uSW56m1R4XX1/2n4sFMquTI44UTHyoXBzQSYb1+oL+8JefrDK7mN2GqzGvB9/b3EYI+ebWtDHNKK5prwjPXBE5y9MIwyFmnJ4bGqPxUR8exT5zUreY2qsoqJDPdsaYH9mFXFQHtAx77Zr1zotE8Z4s36vVD7wtO3CpqDsd9TTpruQq+KMHzLpl6SXQMk/8x8UmnSdJsffSYw8qvpKs9WvQyAfyJodghch/LDIZM5GXip9ux38192L2HDazN6oSJ+rGOT14smlMFBfIH2R2IgtTTtpx5fq6b7MUHntk2S5TJd8bH8w2QRx6W5l64IZ5iC9G/RiECWxyiCsDBUXLfisw1k10oM77LhhKQL6scbLqXifLksIg03Z+o6d/Ynej8Zx/uncdC1u43fUcpvaXeUIXWhCI11qFByoNpXgBtzjkWekhJMxYAi7oXIQUhSRYgJzi//no7Z4OZuj5vqYIuCWDrdwv+WG7ZQ8oUNOw/NERjW+8WPee8nbcGdUmkkI16ubvsjdMI6KoiBBCWvxCMemrufugVi/luw8/yYebaXE3n6Ke2to4EiTIm1dNpJlLgeoBITlB6zKTHQKGtzki472vRqyKLGlwhAxc8szyHA0QLJu7M3vcR2TEyZPjMWVWBbD2yVaDJpPJz4gF3hHQKtJgJlZK1odATHP23HPdxGEU5eGn6O5Isy2CQMQ8a2FeKPnZXcUFpcZFmBqY2flHQIYcaUmfGLpYe3pXyl69jMl0PvmtfxqmrDBn25efar5B4ih6+pItD5X0XdX+h4aDRvX44x4fpwxC5DHOnbRnWYYGshg9qXyy0OFDTwJU9KkRxYPyjCe+cgve374u5/XdhQKzeE6mUITxVcpVD6vEDFA8CERusz+3eUmDz+LuYcb2hJ7UieWTigJmkyESp89WAoSmkfT8RP+3zLS9g94rrTKgVSM+ag3vT17ifHWUHwE2tugfQ41mnngOU5zkYS+0pB751j9HVhiCy0hpGa0xQ7CIAFxa25rxssyTQEKwdJuY8aYBXmKzaZkUzqKOSGQjpLPzTwxi1MCrrSnCHUiKL44BaKoA5vnZCCoOukITV51sVdCd3CK6G9MjgyMW7slYZgXWIXakdEScCvaMR9JFqeA0OUGsTut7dWdTH6KKwO8EqDjOKwyxMpAbJCX1SmV7jaJ/8e2r5HXoGrNIkBhkmCNiMtTqZA1eJVMUrap9zGtvxCJd5gjVjTuC92IQmMm0Q8GJDl2jUDiDX0Y18yHC3MRV1DZMuTCK+J9Op8bZDxci1B+vHtHZLK76sUs2lCS8+qag0PH3v8fe4aQvDBqiTwuDa0DL3WRwPrTw6X+IRbEHSFxOLfZC41gAq7dHhzzehdC4oiCw5r7fytgaZVe5dgn9RGjXsTco9kS39l3VqwxfqFHa9g14KTqSL/hTI57UFOgxn2WLlhScNA8aC1jkPYCeaDa0Yg/XeNph5SlRxg19tiNMoxAg+GB+gU8ldnswCgh2VO/DrQsiE39ECSue3GiC27nDm27M7HUrsFDjxX6l+K4D1IhF8GN5pYRUTp63lIz0U3rgFHutqVCP7ckrKlLp3CUHniEuKhr2r98UzR9jt9eyaitThes/vfPrxKBgfH1zAD03DdMF4jDjXr2V/8y53EPbnkyYwRWDw3ai8+yFriu7PFj9iF622MFy9cfWl6FXYCossN4136j5RQYGpZ+Y38VnczUNrJMmvX73V4cA5qWlE4Jur8Z1YyWzGRyaBTCaXeJ41yuRVRn86O0YJR+z+5bUeuVi6+4rvxhC3ZJoruy1Y2YDFu8gUukUwPMNVauEUBPY0+qfflMb5L4fxQnCv5c9oP83gOhz0w0EdSH/3zURNolIw9H7Gj0prEsdTAsRdpOLdIG+DAyzexBUqkvvRxypWVSouTAim2RFPyuOA7Ekn/i4ZKZN4PUsthKeDCqIo6HiHtmpfoHJ2E099EDOnE7lcJBS0Mc4JnCtAvdyFEGQwuHxI1fvaNs+u8kAHqAvWNu4nFBu2zSviEAIqzPGE0HbWimb8kZHTQtS76aP3Y6ASljmssnENRMtwTe/Pr26l/0eh4jkeZqSlYvq40HJvrOCUKvHfM2SLuP2mGTPa+q6oVvWfkFelRfbLXXRo+WR1UKQKV0Y2vuxi9lJVKTAZAgGeOp7EKbdQO79/IhXJe++pRdfalqa7DJiRNxFboIMA5VJzMjV5q3mWOXBITbKr3TnJhIrQtm3HX4QGSKtBu1ymueCGZLCMLmSU3+/RIbbYKxgMVZben9HPJ2GBDdQG2GO3DRFb8pI+toWUFlLlA7yrMutd07HMuEq4pbvZFAZNPEe5GycHsvhEd9g8ECTDSR6zH6CKnbS9KxjXA5uzLYRgHJMqN5PtFE3Eji8g6YRsQ3oqkx1JvXsP3GiA9zb68/TAMkciot/dprr1viNOY6RjiZ0w1tTB/g9+7sSz7jtt4qJFwuE9HgBuyAH60iapoCseZD1bVO1nS0IxWw7lMR5g+bdyYwo0NqEIeOF3E9aurTq6pHXKWbIXI1EbBXpI3guFZQPW2+gqa7ux9VAanmT2GyTql+5txJGMIIOpq5jKPPUSTVvoCzOQWRdJWPqB7xz5lEq8RFmgcnKLlEHx0YDEi6HaknDXT+5Q4PDUtnCjfZ2TrA/H7tg0xfCfh+FqAK9BqBczHwJ+vmw+tO/dAQIKzitPAzgeZzFMbWj69ouXvVszJM7khXc0q5uJWo2txBLpNFtb+keGG/aw8XWnmGzxcODqR5gbYY+8+P/dcNc1K9uyS9+aIr5xCfCK6qAiTyMcO0ZMD2JYYfgA3BnCxonX2x0w0AP2ouGZ9kDI1Cp/OTAbgSuEoQ0lz1Q98yl1oB8c8NaupUg3q2Imozlq9hb0IZnda8EzO2fYBJ0FBCDU6NVT7kP7aJjVr+oZ+5G5nkBQqKxbTFyZp1jVU8DSnCEZxM/IOdKmmqQeXIK6g7JI507A3ooLfBl6n4eKjboC22UdbWtETUmUSR2uAoSz74+PoUEHEpWbs8TBuXwePWqTuKV5a6JQ7F1tyZcXhUQ7zPBQxo9r2SYp4R0LCEvYkwgmGlgspq1lnH4cUYQehr3mhXSFdHc5wIq7Bzi0lPMHRdkG4Il587IxfsIi28d4g2e0YhU7TOHSNe187rXdnz9bPnwcK0PfovqlDIpeBllDCBtGVJYOCwLi14uplBt6TmsRiNhBZH5xbe8xuh2dw0+8aYQ0U0FTGReX5Z/4hJaeWEtQyrJWgdrmVqpt5AUi9iGF0vP34+RydXPPCt+efSflH/a93cwHMdlRKP7RAxsJc0Pvm2Kh7XeisgBfYc3zCxhnMXLATP613JIKRFaHY86n4TtuB7EMdvtGXRmvbEplqflYOngz75PJM7y40+OpGeQUgf0PeDKYAL+jjBKOT05DBz/JLjmdF9CkO+skLu6dsiuA0pQXyiJMPmu9r8XRSXaGLAox3tFhlJ4j2cAGfSVyZTkIX6uGLEY9jyO4fecwpNFqk9aB6h72JX2pBWFV4uLetAQatR62JU1xM3yBbAAEZEh7/tIHHDYDmJIpiZOn5wn/SKxjeInIj4GVN/FELFi6qc/t8gOR6vDSHyNBlyY/PUSB2UNTzTGkhByo1lgejscVMGHLkjrdJAMx3ccdSwLSA2/n4/mDa2RI67Y7skDgmh2WcaM8hWCW/Kp13IQAFfczPjtRWc5W16XDWUHfqALQ4akw/n0C30TANElO1+DsqH89V3xztr0rRFjZ3NGyq7GikfGUcH/JjQ0Max/N9VqgdJrsXF6MED5jGG3KAX17lLuNjY/X8fwFIE4IbyxSpZmdEf4a7D5Jtx+HFJzHkd+V/GgZpJZm0e9Z3nNzgVeJZsYRiDzb4gMPDNb3qzFWoI0KVShZTEMEmDbazyrb19WmJMBIVweQ5DofKAMX12lo0ICgxsPIiuJ0CIDJxC+ZqXHaLGZ/JnYKYg+sEknRWTbbrmg+mGTn1pf/lWXTUY2wgATNaqB7bkK4Ws5AK6cCQOtBIHSAVGrQ6ab8vT9b6SvdrbgRsukAH19K+8nB0h/1w1kHkxnQdDOiGgmTlfGEQKgy6IxqhNRkTutqkSi6VguWkjw1IuCM3ZpYDbTn1/y8f72onEnPjIxbp4ZRN0PktD3coAgInM2n1vkCPe0BG/1lCUdc9feUONQV66WiiDmn91FZn4Ha5Jm7zJk6Ydovo05ZM7jBz6QCawBF9KIWt9F3R9UQUGv4R5rkZvfU83sr42wViyQtY1JfqjzBMMMCek8PwFPxjyuUKFwjl3BwGGy3mSa23iaESfO714Rf+gNYvS1X7clq957KhXBwd8vwEjOVbwYzoHJqH7ayYa9DCKCjjrPzv1gciJjWuaSDbkWlepz6uvdV4uNydY14aCBcdH+kdTDm/XVN359LnFna8m3aUDsbuw2eSCTeU3B1OYRv/YYYgseQkUz30CWJdcgRApSwANGVrZE2Wo2PWbi9f/YlD54pUsMRPyzjl16OjnT2tBbYxVVIJYGnGE1v9DsIiN3nB10Wn6yjFevQvp+YCZjOkso45uIU3ncIPpxFL+qfCmF7T2adtAPtP0P5H+En3ugWVxvj5zW4fYZBK9HBlAMtPV6cfx5STK7DG6GdEAHwhPUo93A6V4e2Ty1D0aAyqizeCscKmbkHPa3FhGm1/Z4GZHdoceswlCAZLVg3UoL4DNwsOaXSm60xEzammF6/tA4tSH/sCm48r7llODDssJ6ovuHWAXbKgdiGt+vbZf9vNAG80hmnPx2CfDBv4sryvrUJnILVSZDh1mnVBpQUp2OXHlQpnzd/hZaHV1WOWNq2Ts6cv0wlAZuxDoOOPY5ncCyNSFm/cPa305jbjY/3aHZe1e+fWVO5QiJTVhR/vaIx3JIWHLGTxsOgNqPxgxS3DanUiOQqzxrQvjmp7pMffbIzjw93y3QJdy50ZHAd9gmQ7wTqzP+d63obd7bBOxs0c7/sop/3pDbYOXa2TU7JA53Y4BvYP7Ewj0e/AwyrmNc/8QUjnjfoPXLJCHuPGKJVwGJdNDa5lDVTCpSeT6R0MMqe6DnOG0YhqQdFUsEcHzp69BE/JRIc5Y3vg65MuNUFuZTw9QdsZVnUpu9jFofuxZis97kGHCmn2N+SwxpRS79XrnV1KoV85sRQOH5GFR7buccohs0ieU9TgkW9bfoQTUMM11fDtEUY2M/USLRPoE5Sa8SkWkRZBfSC4XoHqx07nohbly10aDIDix6+jpiI5YcanwXOwmnnMGKksdbXYec43sZfmuAUd80C6DJCIfQhbEX5ObQmpl6zaJBDjEVRmXpOZtIghJfagrUvC0oTgR/urfTHiiKvc6p14JMLkHTvdco9xBLujI5/pesCMrsz8Aruzj1McEW3cMR6fRIlgiJb21d+GGuLPnZvnDS22ElKnQdiStsLuZUP0MdJ08U1CJayKpl3L+w96St4tTajf3WrRKkstlwx7zUAbhtfQDy9/TMKJpg9Yyi9uZO+Pg18660oDti2we3nTkWy9xGHtPKTM6rCRx5rBXjtGjvjdpu50n9f5RUjG4Z1CKmBiZh/a6ypGQnsp2490emUQyf0xA4bDCDjD9kryihmm6GmuUWAbtwP7oBfg39O+FHU5jAz14ewS0+ctzDvLPErmD0rGQ4FhqBEPR6d2oL9uGguPAFUbMSAtICmwbISVQ47BcB0ARz/AUuWYXQ+efgqouw8D9WUSQtk3aFDmE37VwF/J+YUredubw/XcGtuVrLED/AKGbCccTlUEktGGs+R/2awuU/UTyxuEI53Cdb9mNBjr+aNFw345XFt+NwSYBJ1fcIXbgLcR8hGoNq3HaDULBmoIoHghFYVWYjhFDBo6/KUynaoFu5EEXBFaDI8k6Fl1Ex2hzLcbltrgVBfznmnxfSCAHJ9ivHnVBQJykN4qjR7zj/d/mXrHyxqB/7o1ob1dntmae249AKAEVikTcZCJVRTbvyldi+4tlirehIolnz8dlzexamJUyONQ0Yg5TD1n4uvaAjYmHR3FvsVIikYfQNtRKjdJoz3czvTL9wComCUYUlaTYElC3LYmVS/Mr/yVi2rLr9j7XNOhjS2taWY8Y9t+75x953sMoCGYmbfhdxWBeGRh0FXn52aPP5k4Zw6Y/UIrOv8sTIp3L169cAZEErY1GBLIE0vrhSa+2+aQHrNAQoCGk/ZGUQcyz73d72B1up3vKOuiQ1kpmZcr/3xMPwUXmFVtenb8Icesu9t6juhseaRaiElRjIRPMNEje32UlUXvMp4h/Vk+QGCmMLjqTRyUSwa6hTb4Yp6KzI4xmnPrvswB6QBSHS8Bnibe7EUIAlmqfNo6CfuBRzO5UKhTKV/JqGPdalPqoOk/rN/bJ4FnBniBqA4DVMMLuK3jEeF/W4mrGWl/ZGbR52K6U51ibRZoFx+q8qYptK8C8klGmLCGJKHCG3qc2V7vh9QGqXqLzsFpH+r3OQzMv9x58vTvZjsZUiC8FLmyQCYdjST30wNlfCOzn8ttQhqawu6CeQHpcLxKcb1YclXKAAu6Ih3JFmfkJ8W7ZGmzAOMnpbuNH8T5Y5VdzCdbqCeimNWK35lcdjDgjRvltAGtpOBVEi+n2u6s12LJSwJIqKbMjI0NFU80h5ijARQafMG2Lq1HQz8t+u2/YbFq7MnZeKWz+wB3qDmFG6tcYIDxZm969OZgDTHQ2aH4fV5LDmZPqfIQzz5SkUei/dWjZAYjImhvaedebJGm9AeYV3JJyOmr4F4gS7Ek3xR08CFugVPkO532iOKZJQsZCjccEYR34AYVoaOTb/nG8LlN97UPramb9oW8eecgFRiH0P2NXmjpHCNkCgQn7Wh9rrC6/7eCZ5KFZ5g9cwKolAVP96vmsHE7GS4HV0sgVMrEP0x0nRGOeqg51oAcyCWb2htLsc3OWS8aNz1ov/0htmFLy9GNKZpGaRLQ38uJjwub99fXjR+6wzfNEdfYOTPA+IpahsX/pYh1bAuLDY+W8J9Q4y6WosTuq1PEqc285nDwSskx+KrWhWILIikmxIwmGVNYRBDE01PpiozmurvLlvwgo6xJWigZ+nCh+UyFyL7ihhGdpolB9tvxnEN9ml+oYuk8N3+3jOOiXjDQE8AEG/HLybbxkXAYcPTqYaxeZXNJ/HieoMrh22FecLrZUjHYuubZbggBPBtIN7SIepCYfRAmeiOe7RgHaY1PAIgtDr0OqY88QllUpkATTVXOKa8eWKZ2Xwl5nbBmjnaFw1Ve2nnRuqhjArudEGKjhGQFqTtK6GJkYPOu7XeukXiU1KwR8P0GUTkOAuUbiONSx1jvUz77QjX+i9zafSoIa1aKBfW8mdSRGfBH08pBLXeHr1MihyPowo0x76mbZR1Q25Iy9lpqEtj2fn+rTCs4ITHxx64t7H7vGFxov1wiBuc8KoeGjEGg7V6iCldm6DwIYQpSkGhdqXL1YyuhHzLnixBaHkX6LNTeDwreQ1ASAz8HpM96vyNPJgj7w7R2d5VjdNex5wLxSf1C1pr8da0kIvljYK3gt+8oBSIv5I3rm6WYjlev8X7wypsHkGJnHxaYy9qiBbyo4tvPUUA0NXPLMI7IWiORjLvIDs59DBPz3K+GNKqSmhifzaMHwM1QtUqc52l1VkysEzOSznfmSWEu0NswLm+s4KL2MHoF0p64fp3LGdYBhE8bUtA/ojyTVcysFQadVlNCsYcOlrjvNlxHXBhxyWSDRvSpGHxDbfCC11QVoO6J9elf66D6vmNp4AzoC5/B7qe3U19/asiAzkQW7QpvKoqDt2PVKAfSa92SIHVe1eS02Lx3V1K8N8gtN+0CV/tsvPGFrN6fb5mf6Y3xs/Po0pqSYqSUvBxE3zh3BuVaIopegB8KQYzBXvkIJVkVF+2ocK3r0acRsq8s3dILVJ95lh4iQoGwveQLlJiT/4C8C+c3TPlHDzYJ8DeUrCm3GQM2k2nItAucDU6hpvvhg4sxA5hFazCWqkPKg7sKk1LLrAVuxaqu11hWv9N9RYh/bEB7HMz9czWF+CYNPXTUvqoC0pbc2p39PdYtVu1LTfF44IMsOlhyMYs0a7VViR2b6T6/lXg4nT8NMbEoqXmJ9/20nHXyEfmHECjMdMpplfXfjOeB9XOv8FDi++QVTK5sGMdZ2rvkHSGFgTqoDgbML5083/JW/wvvv7vgprT9/YhPMKy3UrTiMtmmSFzPXTrzJSZeCLVw5/8r4Jk61uvNLAn3RNz6oCzZ8ZG2E5IKA1oRwa5IN+M/jr5F2EXWRS8+EG+A8PypelJUoGCa0pU5DkKGyp/uYu8wzbwwaTBLDZixj57t4vuG+aZP/An9RqDWNFHK/38JLkpp4USHemtPCZO/oXt2oS6M47pF65SnACfG915bcd7hzCQu6h8gjEpmsGJyoILXsr+w+WE5BnxAXmfEqxf7fNUWYoBzurympZKemaduSuPEaq18xN7JVPRmXvUxAB5iFzEFSLDH43HlhIhc9mM95L2kFaTP6aXKPukFacD/pkZkR6gAEpZ7khlpbtVf6XYiD/diiiDFFGdHcsM6StIVk/tJTeFy1zt414aYGtXZruBsP36Sfu47wyb+73vWiLiwF4k17P86p/P+PHJFS/rSnbtgyZr7+tqCBw1WdQBQXsg2INAPy+zi3smijjRUvk6CQfbYt+1mFq1t9tZ8oEO5n/v55u9aOayE/JNqz1FA72szlSBgR07SiQqqEFTUVS9Jp6Prhl59aY3nKifyzB8cg+zfpFqdlrpqu+7XZ+0cNMlMCjqJTvhqnj9iNIsdCFntH6g1U7ABFa8hWnG1zbMO5MJCNip2v/DwjMV7hp8ISsfdE19IIhT21qtMQIrrWiRUjTSmODLRAduU7bTv8hgI2cdeCPpIGQ+kq4KI9G1l+wt9Ai7i7P+kL5VzCtxq/ZFhKtcoN7zTUVZ5wxxhLLqSFaiFZgo9G75RGsxqYmvtVeGDoiO9LO5m/OEpzWB/3WyVtw5UNmWKAIHB0UE4/dFMl0PfgkA22tDxz6b4u7JOXdXWnKoPGM98AJBB8s2TmvFGE+Vr8ZGQakU+8rMc5grgpPiKle8ZJcXgfim75Eb+lbta1G95wvJ2S9w38lhA3L4hKKae9MOZCr2Tx5iWoEWQgyW9Z+f6Dgy3MTwX1VDZ76w3ueJsgWwKdMNQCozfJz6LRlUGz9PInkWjmdnKvOB2jHrE4gfYgFw8wZIQVYgr1q3smGCQpXej9RKWUgczqAPwh7LqECx6i6oFZErxN4He1CYxXs7YmeCXeN3oI89XTcCFFtf2WRqEVma+1d0P8Tisie1ByIZ0ivF2hrSSZx8inn7Lx6otNQRUTVjLdHUr/TLQJKTIOwttToLA0feAtsa2lzkCjpJJdk6B10znnbwWZEEShIw6Rm26IZWcVSMTLBXM0mlrf4MHm6m6EMjluogyIvN1U5eLHIgC0fsadlzi8qRDH0cmUsGEjkeKLyfOiH3xWw3ui0bDzF22i+yUvpIdMgS7mbiPys2Pl7JqNUWNfh+3SEjyZdBij7vAnPxZGQB39COS/NdiNbny3FnM+RC8If1YGOD8OR77vTigoxvv5IVuj3JZG+LlMQ9LPEvfEvjEgQPdIEiGdBMk2dPlmcOcg9UlG5z2XRaogd3qPUBQ+cVoveXX4j/8KX/BDK6nG7ZNPOhX9WaLim2cCUNZLKdfZBFJIj8zQZUtaD3Wzb/gR8oD1loSbat5jxC3i1n8vBt3aeORNdYiXjWv7A1wirn2KU0V9JvEME0+E/cIIbyQtlonodpD+ebEtcMe2mrkkO8A+z4aQLEwKznPwn9vPZ2xj2M3+xVIkneQ+Gr4KRm/IMxxz9I5YNPmZ94uHLFyMs3CIVloH80YLDDHrP2dLR8foy1SLAuQ67KmJ3vF9lhqBQdnjhf+ehRK0Dr+mx8GMg7//KicQu697145xj6fJJaH7m0weuqxZBKsF6rGp6VsfvQspISFDvcQLxBSEeQgOK72oz3uG4gX1vBAX4KM/lGFZIUWONoKccgei8R+pRNfqCBYzR2yn7xv4mDD4aaGh5Jo7MhEZvy9pfag35HV50MwP9FVIC0RqX9evAEkNJci6v0P3jV5haZ7zmP/FuB++Nbxh08pRVa819NxZIan10eH+/0hKtVA1VyT5FV9eHWq43J8Tpe+QOak/V4Sdsx3QZS/gyLlVPhixpOWRGaWAg2ZQrV6AqPUDa1T/q5/NcrxaBxtMxCMhl2hwOuArFK9y7sVSfMvw4C0etBmvviFh7Ew3DIqJkI4RbNybo0o8yWA3SbCAK7d7FEor10Z1V1IRbgVjOCa5cV8MYRodjmh/1eqGAua9WTREDkDaEnHezbWaOLdXlhT16v//iVy07f5dkM+fQW5J3UUvMR3GO3cNbqmRHS7FqLOdEMMNoqblmEzMgOBlV+Ls73wdjfLKnMM6CSFURdshGIayNThZwASLVRdb8W2MDxsMNDu0FcufUwQDvPEh5UVhSp52eTaGAOVckmYp6h1JM9zhp4thyvTxbgSWOZxHjLAz3LAeDGFidCQwbpkCaREsDltNpka0SLD9DPwtr0L7gA5InWO31aD7ATBNWsoZk6+zmSxTq/9keZxGsRVXm82WFcaGIz0jyI0lyo4Wuhi0QPt5Q6VzIK3vAjMnJVatGMMR1o2uZ63VIg6Em+zhAB/oMBXgOLrrgsmzoV2Re+UcFuXWadlUl+C4JDsEdoI1j0m2A8J1sewvpJKTkvn547nST5yDgnlwwoOR1P4KLBZvSQ/kLSiehH0mWpUg1FQkm+nhpKi0NHleclF4V+ggp8WeqXJPN/hO3liBOszk6juZEtPxnuM5aMNq62e7hGSOnc09gmFnFeWdZNdMb9iXLjf63Y2BdF1uTLAfHtdi0hDSneCMjx6fjVhQ70wmz7F8ZyiMd+ONb6e35O7IESB+HAOIcmsU4YFlnZBckYT3M9iAzI9CRSulqG/zSntVInfzTEcliaoIRV89aLWORELsaKZK6zmfzSanMfHpRcwjaczByDLACbfeieGClhNKwBXWvAArM11IptrdvLtm2ZapHFEid2TA4C3OnXSrXupCwpet+vlzeqQ5ClLJzPOL513NvZDX14vFZ+/NbXDEMkr0Dji2FR3j2PiZYeRRL6xRFUiufoj+FrH6oT4dP15//N/lOaC4Yk4V1ZksIgHSxxmqyLta82LvwZYei2W7/xNxrGkSD+bVJIzJdj7k+WwPLDALu428LoRikXv9NpUZQlJ0agXporVmv9HPLM1+udvfrO2IrKBdKe4QXCdIlqmhLEeH/RoKCJZPx67uyt73a1DDULu5Se3MTdIOY86J5NmqXOQRu+LlN436xksNAPc9ryLYCu0uF1tQlM9Ndn8DfCZ3gAL9dPkLroN6K5qzPDLmJoBMecW8gytlp977LXhOU1EfFNsWFA+v94qIS7Y4iB8uBBcW/SOzKYRZRxZHJBswJKvnvXaDj8hXwWhgVO+meGzuL2wnwempLwn311tg4dhis4xNOFu3Vv/KtQjhu9kzax49zmT85s0uGz2tUImxE4Xn50rc5ObuOgf0MlL2u7ESqYv/TZrN8VSBNGCstHLiGOzsD8i68sr+K3ZjgDrEdzpefM0Ee1jyUQ6n1L4kkLE5ymMzcQm9gpoba+PvHMrvsKfYNpc1HnH3GehOkhFl7D6SMOq6tOAvcyzlOSHaLHGFtRLxfI5yuyeVT9GOCAIpymsiMndFk2OWj25UE0oFof8yKBEmXkpeUmcPcWXneDpVNE5TdaitO8tkztkGE5rIf68vaS5nctK6c2k7+ofs/CJRd8+XP08SioHj8fQwCLHXHHmP5tE7F+Sl5w/Ljui+I34K1jAvRUC9N813Xbm/d0sAueGTvWAEW3LFjjvyrjKV0zRahEFx4g69wsXtkTnL3Q1UOGFfu3692V9uvyWzJ5fgC28vhKVIfwkDM1BhJidN8tbAp0EZNTRo62CqFoPt/mKKt2xRjJxxXzq8D/0PTTLoJK0vomAh9lVRa7dAMmXXwwyb6ULn3ejKHOL0I5Fa3BQqOtiicddnpTwSSoYh4RrCchh9KVXrlVbuWPsE1QJZdMSEdp6QKR4+ZvdF4lGg+z7LnndQZ/anSCYac3b5w+bZXPnSAieZyBi2VRMGUszmsKeL9Rshqt8dBPTTKCbUPLzYPE3E5q+pqB5XXNaSh/24m6OAUUK4BA1DdIjCPHnOydc4n5IXuAP+pMIy3Yeh6f4sgDHDoLLarGBhPuv3U/+j3ORA5C3z3EN09bnc0Fu+Ht1T911Y69hDURzJghjIOEavyEvJQ/m/LbiNXbQ+mHaTCblEdr3cMUAxDo+QKk1iz0o7AodzgzXF1OoZTB4Exibqi/q5vVe1wnLnuqJ+cp7qb3OWBwhJBsNoRrIVRoDERC45lV7GmSUGfXGODzhsCbuwxAJVHNm/fk/FYkCbnL4sYY3+hXJE+WjRvyI9sV3voUF7xYtpn/UN5ET01IE5AP5c/Dky5XRtqTLzKLW2TXBlDV18DUBVVVZ40S6RfwWVvMudMEVPjoKo4/4tXpX+coGEaLgeK9lmIz5nYaGigUVEJJ4e/HUmAqY6CEdOS/0iWDAIq7iVSh+nDQVhyeo2zR1lz4pgg12nm5p125xGX2pfN9RfZo1J2WtvNvZaxVoi7RBWGaAcPZSrKu9IN9llGUvCDfKFbqF9lUqZY7NYfz5LEdSwA0wiSQkFvkc8IE0b6+1Gio0gcDtV4NpQ9lfDKSI0oFakt6RWpr+ap8gyVoj7kYTOPPq69J7baAkJh7us3AGhspRGhwz21ikGA5EMS+hUe1ETrqFLnWNoxUUvRsggsjqvQxWSqyvR0LOgcoyNz82yXaHfl6ChXaRVGUCe7iZ19pHjZjnJbQ775Mk5Av5P7SI4xVoXbL1LYHnByjKH/FAGiMCASlKn79l0rO4p56h14CVDDYDFT9g79pmWyPxup1kgwFnbTVZ8couynukGXxVfgQTyDnOqoj4nPjJxdWuSxC3hNRvfm3CC0Wezjb84s3em/zmwRWF37+LBhKDfmUOkvdOx0JQAexiCzgMxrWoKOmFFMF2ZVc6nF8CYyY0BH1FMYCGKp/RKGHeqHL2sRdyl8CW07HIa3uI1NzsIF0dO/3M+fzy06Ael72Gqtqh0wQH0R/ab/caB3igAU4XjbmGjO/O2CnX94Cme8kh9ZBftJj7reqMcGIUOKxdZ1MBimxmdGP9zwFh5Z+74CI7Prj9BXu1r6DkKF8SZtxd86u/pdJJrRpwcjdfvwwjd06olIXwFha0oKRL+dmVaIqI8jiW7HyyL6cE2SMPfSulJg/bz0rMCh21rVRQdaXjIpz4Xu7n/FY3WTfMM2FvRnANM64VqrMTGcDq98zmf/VE7WlE9xbvTHapkAQtKFYoJjgsRaj8vGBf5OTGRwziQesj5wFLWfVNd+NOhIDowmQtRVxgv8JG92zQlvdyatLZAINpJ8ANZsiaUJxUUhoN3ndW3IV6iS9EN0/M+McCcaGTD3o/6EhqgnNEd6QYso5DkXWanFFU4QidU/q+W50Nh4eTNxGinstO5zL9nCxXqS9DZEo82u0hd6gRt87X58fXEy5Z6c6AqXdQRU3fWHXDam0tJIKEV3xwLhLg60XcB2sawLHhq6XZuIlUjlvVKmGPpwgsIhOlMrnbTbs1ePuI9nSJ/7HWZ7wCF2sdPCVA/mL36L2psNNm9oRimAyrZPg6/ncKcNjkfUXG9RzcA2JTzw4Ijs3pz+F8yKoIQQ6+I+OOyCdDYTKYHgu8obbzLWnwYUbYZB+FiyrcfPb81NT1EQ5hFqFC7i2QYJ80j4rFYBLOzxGMM7BqANNg5BdQ7Qho/frPjEGzUvxQHyoFc5EH0IQlKkMs9jPp4LF1TkCunIyzlLD/u/SchEpMbJi2TJCY4B3KWbOk226fJ5GQ4mUJOcMSYXJht2aaC2ms9tyVwV6rrEECGh1RtF842VP9ZE1rbIDUWMuGJzvihkEXNgsJnwSn8nJWPYhoJhsLtQtmXbaMCZ7VdMMpxOexDa6Tvh6Wf+BTZVMNc6sHCrLSwG622OcETvf+YS9cERsPfQZ6n9X9tDHZhdgupwR3HJNxI6/6GgjoksW//I4vI4+4IgFb60HrzIuAHs3Uv0Slk+VummYHzJothZ5dOHlfplCGWENhPb8Fsj0Ti72pylPoo2p+22RM0p1gNWFdDZTfOtmZCub9FwLLwp2erXRkhuuCDrmcHg620xu8qWt8FH8lfgMS7kMQ2X+0S9WWNwB7rnPnBBMFOpnPrUucUcCMBfSTzzpfpuqFdOvYE9Gqf4ik3udka280BlLm02D5aVIftqtNqqBCdW95Vh0pQgq2Wz71z4+loHzsYgpXgf1XLsr108yugdht6rBc0yDaOkkZ/ZBWQgXhcktUPP1PRxhayJmIpCb8oKK/SJH5eVLH9zA7n8Ky7lCLZmQa7MmwdxJ5dhSQ1rAVGF4yLkutX6QaMkkBANYgpkWLvQjSsjLWAbykepsPkD1bIUjZnzO3i6LIsvaD6oefmd3GuqXDhfTrdAk76bLrloR47mMrbPXm42ywH1TAkbLaOgBJrbls1NzAB+UF9SGjE/+L+S7RSbIxLB8H/asGCL3wuQh7Y9LbvCgg3I5+7FSbJVYIFijwlOSdvKPsDivjwSDkuPo2z9l4wkuM7aKScqqtMu1mj6dfytWbeYJzHMb8L+ZBKB/tUyEyr1YnmH+6Fsy84WbnnrnVgjFl/1g6voji39876o3A9NR+G9Jc1fXvCg2ZlIzKuGltpVIBFpMqfdj+H2uYFIs9XVpKOrbxnfhM3shVjNV5ANASayfFw/f5JJ8zol351ui41HdE0+IxoZ992JKBgU4R7WjEmywW9vzQKCLsS8wf6T8Uw1pR+kVYcrLfl0MGHevr+yLEk1lKO0gAolb8RP0/5JKPVwAiIK4a6QeEFVip/QnXHn+NuWpOSnc+cGIWxxDrOzm996OofeGPtQKxb3ehvys9n4NT/VPU5/31gkEkluNyF2ejwTVcA+Cv9TplbbFA0Q==" title="Mekko Graphics Chart">
            <a:extLst>
              <a:ext uri="{FF2B5EF4-FFF2-40B4-BE49-F238E27FC236}">
                <a16:creationId xmlns:a16="http://schemas.microsoft.com/office/drawing/2014/main" id="{3D32D2AC-C19E-C626-7A5F-71282E7AE3F3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>
          <a:xfrm>
            <a:off x="8378295" y="1563971"/>
            <a:ext cx="3488268" cy="4615635"/>
          </a:xfrm>
          <a:prstGeom prst="rect">
            <a:avLst/>
          </a:prstGeom>
          <a:blipFill>
            <a:blip r:embed="rId18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grpSp>
        <p:nvGrpSpPr>
          <p:cNvPr id="12" name="btfpRunningAgenda2Level462810">
            <a:extLst>
              <a:ext uri="{FF2B5EF4-FFF2-40B4-BE49-F238E27FC236}">
                <a16:creationId xmlns:a16="http://schemas.microsoft.com/office/drawing/2014/main" id="{CD239FA5-AD22-74C9-FBDD-D964FFCC2485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0" y="944429"/>
            <a:ext cx="4759348" cy="257442"/>
            <a:chOff x="-1" y="876300"/>
            <a:chExt cx="4759348" cy="257442"/>
          </a:xfrm>
        </p:grpSpPr>
        <p:sp>
          <p:nvSpPr>
            <p:cNvPr id="13" name="btfpRunningAgenda2LevelBarLeft462810">
              <a:extLst>
                <a:ext uri="{FF2B5EF4-FFF2-40B4-BE49-F238E27FC236}">
                  <a16:creationId xmlns:a16="http://schemas.microsoft.com/office/drawing/2014/main" id="{17168CC4-8BF2-4EAA-CE3F-D6AE225C4E3F}"/>
                </a:ext>
              </a:extLst>
            </p:cNvPr>
            <p:cNvSpPr/>
            <p:nvPr/>
          </p:nvSpPr>
          <p:spPr bwMode="gray">
            <a:xfrm>
              <a:off x="-1" y="876300"/>
              <a:ext cx="2486479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28734 w 1128734"/>
                <a:gd name="connsiteY0" fmla="*/ 0 h 257442"/>
                <a:gd name="connsiteX1" fmla="*/ 896080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2093550 w 2093550"/>
                <a:gd name="connsiteY0" fmla="*/ 0 h 257442"/>
                <a:gd name="connsiteX1" fmla="*/ 1402629 w 2093550"/>
                <a:gd name="connsiteY1" fmla="*/ 257442 h 257442"/>
                <a:gd name="connsiteX2" fmla="*/ 0 w 2093550"/>
                <a:gd name="connsiteY2" fmla="*/ 257442 h 257442"/>
                <a:gd name="connsiteX3" fmla="*/ 0 w 2093550"/>
                <a:gd name="connsiteY3" fmla="*/ 0 h 257442"/>
                <a:gd name="connsiteX0" fmla="*/ 2093550 w 2093550"/>
                <a:gd name="connsiteY0" fmla="*/ 0 h 257442"/>
                <a:gd name="connsiteX1" fmla="*/ 2038829 w 2093550"/>
                <a:gd name="connsiteY1" fmla="*/ 257442 h 257442"/>
                <a:gd name="connsiteX2" fmla="*/ 0 w 2093550"/>
                <a:gd name="connsiteY2" fmla="*/ 257442 h 257442"/>
                <a:gd name="connsiteX3" fmla="*/ 0 w 2093550"/>
                <a:gd name="connsiteY3" fmla="*/ 0 h 257442"/>
                <a:gd name="connsiteX0" fmla="*/ 2093550 w 2093550"/>
                <a:gd name="connsiteY0" fmla="*/ 0 h 257442"/>
                <a:gd name="connsiteX1" fmla="*/ 2038829 w 2093550"/>
                <a:gd name="connsiteY1" fmla="*/ 257442 h 257442"/>
                <a:gd name="connsiteX2" fmla="*/ 0 w 2093550"/>
                <a:gd name="connsiteY2" fmla="*/ 257442 h 257442"/>
                <a:gd name="connsiteX3" fmla="*/ 0 w 2093550"/>
                <a:gd name="connsiteY3" fmla="*/ 0 h 257442"/>
                <a:gd name="connsiteX0" fmla="*/ 2093550 w 2093550"/>
                <a:gd name="connsiteY0" fmla="*/ 0 h 257442"/>
                <a:gd name="connsiteX1" fmla="*/ 2038829 w 2093550"/>
                <a:gd name="connsiteY1" fmla="*/ 257442 h 257442"/>
                <a:gd name="connsiteX2" fmla="*/ 0 w 2093550"/>
                <a:gd name="connsiteY2" fmla="*/ 257442 h 257442"/>
                <a:gd name="connsiteX3" fmla="*/ 0 w 2093550"/>
                <a:gd name="connsiteY3" fmla="*/ 0 h 257442"/>
                <a:gd name="connsiteX0" fmla="*/ 2233203 w 2233203"/>
                <a:gd name="connsiteY0" fmla="*/ 0 h 257442"/>
                <a:gd name="connsiteX1" fmla="*/ 2038829 w 2233203"/>
                <a:gd name="connsiteY1" fmla="*/ 257442 h 257442"/>
                <a:gd name="connsiteX2" fmla="*/ 0 w 2233203"/>
                <a:gd name="connsiteY2" fmla="*/ 257442 h 257442"/>
                <a:gd name="connsiteX3" fmla="*/ 0 w 2233203"/>
                <a:gd name="connsiteY3" fmla="*/ 0 h 257442"/>
                <a:gd name="connsiteX0" fmla="*/ 2233203 w 2233203"/>
                <a:gd name="connsiteY0" fmla="*/ 0 h 257442"/>
                <a:gd name="connsiteX1" fmla="*/ 2178482 w 2233203"/>
                <a:gd name="connsiteY1" fmla="*/ 257442 h 257442"/>
                <a:gd name="connsiteX2" fmla="*/ 0 w 2233203"/>
                <a:gd name="connsiteY2" fmla="*/ 257442 h 257442"/>
                <a:gd name="connsiteX3" fmla="*/ 0 w 2233203"/>
                <a:gd name="connsiteY3" fmla="*/ 0 h 257442"/>
                <a:gd name="connsiteX0" fmla="*/ 2233203 w 2233203"/>
                <a:gd name="connsiteY0" fmla="*/ 0 h 257442"/>
                <a:gd name="connsiteX1" fmla="*/ 2178482 w 2233203"/>
                <a:gd name="connsiteY1" fmla="*/ 257442 h 257442"/>
                <a:gd name="connsiteX2" fmla="*/ 0 w 2233203"/>
                <a:gd name="connsiteY2" fmla="*/ 257442 h 257442"/>
                <a:gd name="connsiteX3" fmla="*/ 0 w 2233203"/>
                <a:gd name="connsiteY3" fmla="*/ 0 h 257442"/>
                <a:gd name="connsiteX0" fmla="*/ 2233203 w 2233203"/>
                <a:gd name="connsiteY0" fmla="*/ 0 h 257442"/>
                <a:gd name="connsiteX1" fmla="*/ 2178482 w 2233203"/>
                <a:gd name="connsiteY1" fmla="*/ 257442 h 257442"/>
                <a:gd name="connsiteX2" fmla="*/ 0 w 2233203"/>
                <a:gd name="connsiteY2" fmla="*/ 257442 h 257442"/>
                <a:gd name="connsiteX3" fmla="*/ 0 w 2233203"/>
                <a:gd name="connsiteY3" fmla="*/ 0 h 257442"/>
                <a:gd name="connsiteX0" fmla="*/ 3548692 w 3548692"/>
                <a:gd name="connsiteY0" fmla="*/ 0 h 257442"/>
                <a:gd name="connsiteX1" fmla="*/ 2178482 w 3548692"/>
                <a:gd name="connsiteY1" fmla="*/ 257442 h 257442"/>
                <a:gd name="connsiteX2" fmla="*/ 0 w 3548692"/>
                <a:gd name="connsiteY2" fmla="*/ 257442 h 257442"/>
                <a:gd name="connsiteX3" fmla="*/ 0 w 3548692"/>
                <a:gd name="connsiteY3" fmla="*/ 0 h 257442"/>
                <a:gd name="connsiteX0" fmla="*/ 3548692 w 3548692"/>
                <a:gd name="connsiteY0" fmla="*/ 0 h 257442"/>
                <a:gd name="connsiteX1" fmla="*/ 3493970 w 3548692"/>
                <a:gd name="connsiteY1" fmla="*/ 257442 h 257442"/>
                <a:gd name="connsiteX2" fmla="*/ 0 w 3548692"/>
                <a:gd name="connsiteY2" fmla="*/ 257442 h 257442"/>
                <a:gd name="connsiteX3" fmla="*/ 0 w 3548692"/>
                <a:gd name="connsiteY3" fmla="*/ 0 h 257442"/>
                <a:gd name="connsiteX0" fmla="*/ 3548693 w 3548693"/>
                <a:gd name="connsiteY0" fmla="*/ 0 h 257442"/>
                <a:gd name="connsiteX1" fmla="*/ 3493971 w 3548693"/>
                <a:gd name="connsiteY1" fmla="*/ 257442 h 257442"/>
                <a:gd name="connsiteX2" fmla="*/ 0 w 3548693"/>
                <a:gd name="connsiteY2" fmla="*/ 257442 h 257442"/>
                <a:gd name="connsiteX3" fmla="*/ 1 w 3548693"/>
                <a:gd name="connsiteY3" fmla="*/ 0 h 257442"/>
                <a:gd name="connsiteX0" fmla="*/ 3548693 w 3548693"/>
                <a:gd name="connsiteY0" fmla="*/ 0 h 257442"/>
                <a:gd name="connsiteX1" fmla="*/ 3493971 w 3548693"/>
                <a:gd name="connsiteY1" fmla="*/ 257442 h 257442"/>
                <a:gd name="connsiteX2" fmla="*/ 0 w 3548693"/>
                <a:gd name="connsiteY2" fmla="*/ 257442 h 257442"/>
                <a:gd name="connsiteX3" fmla="*/ 1 w 3548693"/>
                <a:gd name="connsiteY3" fmla="*/ 0 h 257442"/>
                <a:gd name="connsiteX0" fmla="*/ 968435 w 3493971"/>
                <a:gd name="connsiteY0" fmla="*/ 0 h 257442"/>
                <a:gd name="connsiteX1" fmla="*/ 3493971 w 3493971"/>
                <a:gd name="connsiteY1" fmla="*/ 257442 h 257442"/>
                <a:gd name="connsiteX2" fmla="*/ 0 w 3493971"/>
                <a:gd name="connsiteY2" fmla="*/ 257442 h 257442"/>
                <a:gd name="connsiteX3" fmla="*/ 1 w 3493971"/>
                <a:gd name="connsiteY3" fmla="*/ 0 h 257442"/>
                <a:gd name="connsiteX0" fmla="*/ 968435 w 968435"/>
                <a:gd name="connsiteY0" fmla="*/ 0 h 257442"/>
                <a:gd name="connsiteX1" fmla="*/ 913714 w 968435"/>
                <a:gd name="connsiteY1" fmla="*/ 257442 h 257442"/>
                <a:gd name="connsiteX2" fmla="*/ 0 w 968435"/>
                <a:gd name="connsiteY2" fmla="*/ 257442 h 257442"/>
                <a:gd name="connsiteX3" fmla="*/ 1 w 968435"/>
                <a:gd name="connsiteY3" fmla="*/ 0 h 257442"/>
                <a:gd name="connsiteX0" fmla="*/ 968434 w 968434"/>
                <a:gd name="connsiteY0" fmla="*/ 0 h 257442"/>
                <a:gd name="connsiteX1" fmla="*/ 913713 w 968434"/>
                <a:gd name="connsiteY1" fmla="*/ 257442 h 257442"/>
                <a:gd name="connsiteX2" fmla="*/ 0 w 968434"/>
                <a:gd name="connsiteY2" fmla="*/ 257442 h 257442"/>
                <a:gd name="connsiteX3" fmla="*/ 0 w 968434"/>
                <a:gd name="connsiteY3" fmla="*/ 0 h 257442"/>
                <a:gd name="connsiteX0" fmla="*/ 968435 w 968435"/>
                <a:gd name="connsiteY0" fmla="*/ 0 h 257442"/>
                <a:gd name="connsiteX1" fmla="*/ 913714 w 968435"/>
                <a:gd name="connsiteY1" fmla="*/ 257442 h 257442"/>
                <a:gd name="connsiteX2" fmla="*/ 1 w 968435"/>
                <a:gd name="connsiteY2" fmla="*/ 257442 h 257442"/>
                <a:gd name="connsiteX3" fmla="*/ 0 w 968435"/>
                <a:gd name="connsiteY3" fmla="*/ 0 h 257442"/>
                <a:gd name="connsiteX0" fmla="*/ 1136750 w 1136750"/>
                <a:gd name="connsiteY0" fmla="*/ 0 h 257442"/>
                <a:gd name="connsiteX1" fmla="*/ 913714 w 1136750"/>
                <a:gd name="connsiteY1" fmla="*/ 257442 h 257442"/>
                <a:gd name="connsiteX2" fmla="*/ 1 w 1136750"/>
                <a:gd name="connsiteY2" fmla="*/ 257442 h 257442"/>
                <a:gd name="connsiteX3" fmla="*/ 0 w 1136750"/>
                <a:gd name="connsiteY3" fmla="*/ 0 h 257442"/>
                <a:gd name="connsiteX0" fmla="*/ 1136750 w 1136750"/>
                <a:gd name="connsiteY0" fmla="*/ 0 h 257442"/>
                <a:gd name="connsiteX1" fmla="*/ 1082028 w 1136750"/>
                <a:gd name="connsiteY1" fmla="*/ 257442 h 257442"/>
                <a:gd name="connsiteX2" fmla="*/ 1 w 1136750"/>
                <a:gd name="connsiteY2" fmla="*/ 257442 h 257442"/>
                <a:gd name="connsiteX3" fmla="*/ 0 w 1136750"/>
                <a:gd name="connsiteY3" fmla="*/ 0 h 257442"/>
                <a:gd name="connsiteX0" fmla="*/ 1136750 w 1136750"/>
                <a:gd name="connsiteY0" fmla="*/ 0 h 257442"/>
                <a:gd name="connsiteX1" fmla="*/ 1082028 w 1136750"/>
                <a:gd name="connsiteY1" fmla="*/ 257442 h 257442"/>
                <a:gd name="connsiteX2" fmla="*/ 0 w 1136750"/>
                <a:gd name="connsiteY2" fmla="*/ 257442 h 257442"/>
                <a:gd name="connsiteX3" fmla="*/ 0 w 1136750"/>
                <a:gd name="connsiteY3" fmla="*/ 0 h 257442"/>
                <a:gd name="connsiteX0" fmla="*/ 1136750 w 1136750"/>
                <a:gd name="connsiteY0" fmla="*/ 0 h 257442"/>
                <a:gd name="connsiteX1" fmla="*/ 1082028 w 1136750"/>
                <a:gd name="connsiteY1" fmla="*/ 257442 h 257442"/>
                <a:gd name="connsiteX2" fmla="*/ 0 w 1136750"/>
                <a:gd name="connsiteY2" fmla="*/ 257442 h 257442"/>
                <a:gd name="connsiteX3" fmla="*/ 0 w 1136750"/>
                <a:gd name="connsiteY3" fmla="*/ 0 h 257442"/>
                <a:gd name="connsiteX0" fmla="*/ 1305064 w 1305064"/>
                <a:gd name="connsiteY0" fmla="*/ 0 h 257442"/>
                <a:gd name="connsiteX1" fmla="*/ 1082028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305064 w 1305064"/>
                <a:gd name="connsiteY0" fmla="*/ 0 h 257442"/>
                <a:gd name="connsiteX1" fmla="*/ 1250343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305064 w 1305064"/>
                <a:gd name="connsiteY0" fmla="*/ 0 h 257442"/>
                <a:gd name="connsiteX1" fmla="*/ 1250343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305064 w 1305064"/>
                <a:gd name="connsiteY0" fmla="*/ 0 h 257442"/>
                <a:gd name="connsiteX1" fmla="*/ 1250343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473380 w 1473380"/>
                <a:gd name="connsiteY0" fmla="*/ 0 h 257442"/>
                <a:gd name="connsiteX1" fmla="*/ 1250343 w 1473380"/>
                <a:gd name="connsiteY1" fmla="*/ 257442 h 257442"/>
                <a:gd name="connsiteX2" fmla="*/ 0 w 1473380"/>
                <a:gd name="connsiteY2" fmla="*/ 257442 h 257442"/>
                <a:gd name="connsiteX3" fmla="*/ 0 w 1473380"/>
                <a:gd name="connsiteY3" fmla="*/ 0 h 257442"/>
                <a:gd name="connsiteX0" fmla="*/ 1473380 w 1473380"/>
                <a:gd name="connsiteY0" fmla="*/ 0 h 257442"/>
                <a:gd name="connsiteX1" fmla="*/ 1418659 w 1473380"/>
                <a:gd name="connsiteY1" fmla="*/ 257442 h 257442"/>
                <a:gd name="connsiteX2" fmla="*/ 0 w 1473380"/>
                <a:gd name="connsiteY2" fmla="*/ 257442 h 257442"/>
                <a:gd name="connsiteX3" fmla="*/ 0 w 1473380"/>
                <a:gd name="connsiteY3" fmla="*/ 0 h 257442"/>
                <a:gd name="connsiteX0" fmla="*/ 1473380 w 1473380"/>
                <a:gd name="connsiteY0" fmla="*/ 0 h 257442"/>
                <a:gd name="connsiteX1" fmla="*/ 1418659 w 1473380"/>
                <a:gd name="connsiteY1" fmla="*/ 257442 h 257442"/>
                <a:gd name="connsiteX2" fmla="*/ 0 w 1473380"/>
                <a:gd name="connsiteY2" fmla="*/ 257442 h 257442"/>
                <a:gd name="connsiteX3" fmla="*/ 0 w 1473380"/>
                <a:gd name="connsiteY3" fmla="*/ 0 h 257442"/>
                <a:gd name="connsiteX0" fmla="*/ 1473380 w 1473380"/>
                <a:gd name="connsiteY0" fmla="*/ 0 h 257442"/>
                <a:gd name="connsiteX1" fmla="*/ 1418659 w 1473380"/>
                <a:gd name="connsiteY1" fmla="*/ 257442 h 257442"/>
                <a:gd name="connsiteX2" fmla="*/ 0 w 1473380"/>
                <a:gd name="connsiteY2" fmla="*/ 257442 h 257442"/>
                <a:gd name="connsiteX3" fmla="*/ 0 w 1473380"/>
                <a:gd name="connsiteY3" fmla="*/ 0 h 257442"/>
                <a:gd name="connsiteX0" fmla="*/ 1633680 w 1633680"/>
                <a:gd name="connsiteY0" fmla="*/ 0 h 257442"/>
                <a:gd name="connsiteX1" fmla="*/ 1418659 w 1633680"/>
                <a:gd name="connsiteY1" fmla="*/ 257442 h 257442"/>
                <a:gd name="connsiteX2" fmla="*/ 0 w 1633680"/>
                <a:gd name="connsiteY2" fmla="*/ 257442 h 257442"/>
                <a:gd name="connsiteX3" fmla="*/ 0 w 1633680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0 w 1633680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0 w 1633680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0 w 1633680"/>
                <a:gd name="connsiteY3" fmla="*/ 0 h 257442"/>
                <a:gd name="connsiteX0" fmla="*/ 1785965 w 1785965"/>
                <a:gd name="connsiteY0" fmla="*/ 0 h 257442"/>
                <a:gd name="connsiteX1" fmla="*/ 1578959 w 1785965"/>
                <a:gd name="connsiteY1" fmla="*/ 257442 h 257442"/>
                <a:gd name="connsiteX2" fmla="*/ 0 w 1785965"/>
                <a:gd name="connsiteY2" fmla="*/ 257442 h 257442"/>
                <a:gd name="connsiteX3" fmla="*/ 0 w 1785965"/>
                <a:gd name="connsiteY3" fmla="*/ 0 h 257442"/>
                <a:gd name="connsiteX0" fmla="*/ 1785965 w 1785965"/>
                <a:gd name="connsiteY0" fmla="*/ 0 h 257442"/>
                <a:gd name="connsiteX1" fmla="*/ 1731244 w 1785965"/>
                <a:gd name="connsiteY1" fmla="*/ 257442 h 257442"/>
                <a:gd name="connsiteX2" fmla="*/ 0 w 1785965"/>
                <a:gd name="connsiteY2" fmla="*/ 257442 h 257442"/>
                <a:gd name="connsiteX3" fmla="*/ 0 w 1785965"/>
                <a:gd name="connsiteY3" fmla="*/ 0 h 257442"/>
                <a:gd name="connsiteX0" fmla="*/ 1785965 w 1785965"/>
                <a:gd name="connsiteY0" fmla="*/ 0 h 257442"/>
                <a:gd name="connsiteX1" fmla="*/ 1731244 w 1785965"/>
                <a:gd name="connsiteY1" fmla="*/ 257442 h 257442"/>
                <a:gd name="connsiteX2" fmla="*/ 0 w 1785965"/>
                <a:gd name="connsiteY2" fmla="*/ 257442 h 257442"/>
                <a:gd name="connsiteX3" fmla="*/ 0 w 1785965"/>
                <a:gd name="connsiteY3" fmla="*/ 0 h 257442"/>
                <a:gd name="connsiteX0" fmla="*/ 1785965 w 1785965"/>
                <a:gd name="connsiteY0" fmla="*/ 0 h 257442"/>
                <a:gd name="connsiteX1" fmla="*/ 1731244 w 1785965"/>
                <a:gd name="connsiteY1" fmla="*/ 257442 h 257442"/>
                <a:gd name="connsiteX2" fmla="*/ 0 w 1785965"/>
                <a:gd name="connsiteY2" fmla="*/ 257442 h 257442"/>
                <a:gd name="connsiteX3" fmla="*/ 0 w 1785965"/>
                <a:gd name="connsiteY3" fmla="*/ 0 h 257442"/>
                <a:gd name="connsiteX0" fmla="*/ 1886955 w 1886955"/>
                <a:gd name="connsiteY0" fmla="*/ 0 h 257442"/>
                <a:gd name="connsiteX1" fmla="*/ 173124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2055270 w 2055270"/>
                <a:gd name="connsiteY0" fmla="*/ 0 h 257442"/>
                <a:gd name="connsiteX1" fmla="*/ 1832234 w 2055270"/>
                <a:gd name="connsiteY1" fmla="*/ 257442 h 257442"/>
                <a:gd name="connsiteX2" fmla="*/ 0 w 2055270"/>
                <a:gd name="connsiteY2" fmla="*/ 257442 h 257442"/>
                <a:gd name="connsiteX3" fmla="*/ 0 w 2055270"/>
                <a:gd name="connsiteY3" fmla="*/ 0 h 257442"/>
                <a:gd name="connsiteX0" fmla="*/ 2055270 w 2055270"/>
                <a:gd name="connsiteY0" fmla="*/ 0 h 257442"/>
                <a:gd name="connsiteX1" fmla="*/ 2000548 w 2055270"/>
                <a:gd name="connsiteY1" fmla="*/ 257442 h 257442"/>
                <a:gd name="connsiteX2" fmla="*/ 0 w 2055270"/>
                <a:gd name="connsiteY2" fmla="*/ 257442 h 257442"/>
                <a:gd name="connsiteX3" fmla="*/ 0 w 2055270"/>
                <a:gd name="connsiteY3" fmla="*/ 0 h 257442"/>
                <a:gd name="connsiteX0" fmla="*/ 2055271 w 2055271"/>
                <a:gd name="connsiteY0" fmla="*/ 0 h 257442"/>
                <a:gd name="connsiteX1" fmla="*/ 2000549 w 2055271"/>
                <a:gd name="connsiteY1" fmla="*/ 257442 h 257442"/>
                <a:gd name="connsiteX2" fmla="*/ 0 w 2055271"/>
                <a:gd name="connsiteY2" fmla="*/ 257442 h 257442"/>
                <a:gd name="connsiteX3" fmla="*/ 1 w 2055271"/>
                <a:gd name="connsiteY3" fmla="*/ 0 h 257442"/>
                <a:gd name="connsiteX0" fmla="*/ 2055271 w 2055271"/>
                <a:gd name="connsiteY0" fmla="*/ 0 h 257442"/>
                <a:gd name="connsiteX1" fmla="*/ 2000549 w 2055271"/>
                <a:gd name="connsiteY1" fmla="*/ 257442 h 257442"/>
                <a:gd name="connsiteX2" fmla="*/ 0 w 2055271"/>
                <a:gd name="connsiteY2" fmla="*/ 257442 h 257442"/>
                <a:gd name="connsiteX3" fmla="*/ 1 w 2055271"/>
                <a:gd name="connsiteY3" fmla="*/ 0 h 257442"/>
                <a:gd name="connsiteX0" fmla="*/ 2233204 w 2233204"/>
                <a:gd name="connsiteY0" fmla="*/ 0 h 257442"/>
                <a:gd name="connsiteX1" fmla="*/ 2000549 w 2233204"/>
                <a:gd name="connsiteY1" fmla="*/ 257442 h 257442"/>
                <a:gd name="connsiteX2" fmla="*/ 0 w 2233204"/>
                <a:gd name="connsiteY2" fmla="*/ 257442 h 257442"/>
                <a:gd name="connsiteX3" fmla="*/ 1 w 2233204"/>
                <a:gd name="connsiteY3" fmla="*/ 0 h 257442"/>
                <a:gd name="connsiteX0" fmla="*/ 2233204 w 2233204"/>
                <a:gd name="connsiteY0" fmla="*/ 0 h 257442"/>
                <a:gd name="connsiteX1" fmla="*/ 2178482 w 2233204"/>
                <a:gd name="connsiteY1" fmla="*/ 257442 h 257442"/>
                <a:gd name="connsiteX2" fmla="*/ 0 w 2233204"/>
                <a:gd name="connsiteY2" fmla="*/ 257442 h 257442"/>
                <a:gd name="connsiteX3" fmla="*/ 1 w 2233204"/>
                <a:gd name="connsiteY3" fmla="*/ 0 h 257442"/>
                <a:gd name="connsiteX0" fmla="*/ 2233204 w 2233204"/>
                <a:gd name="connsiteY0" fmla="*/ 0 h 257442"/>
                <a:gd name="connsiteX1" fmla="*/ 2178482 w 2233204"/>
                <a:gd name="connsiteY1" fmla="*/ 257442 h 257442"/>
                <a:gd name="connsiteX2" fmla="*/ 0 w 2233204"/>
                <a:gd name="connsiteY2" fmla="*/ 257442 h 257442"/>
                <a:gd name="connsiteX3" fmla="*/ 1 w 2233204"/>
                <a:gd name="connsiteY3" fmla="*/ 0 h 257442"/>
                <a:gd name="connsiteX0" fmla="*/ 2233204 w 2233204"/>
                <a:gd name="connsiteY0" fmla="*/ 0 h 257442"/>
                <a:gd name="connsiteX1" fmla="*/ 2178482 w 2233204"/>
                <a:gd name="connsiteY1" fmla="*/ 257442 h 257442"/>
                <a:gd name="connsiteX2" fmla="*/ 0 w 2233204"/>
                <a:gd name="connsiteY2" fmla="*/ 257442 h 257442"/>
                <a:gd name="connsiteX3" fmla="*/ 0 w 2233204"/>
                <a:gd name="connsiteY3" fmla="*/ 0 h 257442"/>
                <a:gd name="connsiteX0" fmla="*/ 950801 w 2178482"/>
                <a:gd name="connsiteY0" fmla="*/ 0 h 257442"/>
                <a:gd name="connsiteX1" fmla="*/ 2178482 w 2178482"/>
                <a:gd name="connsiteY1" fmla="*/ 257442 h 257442"/>
                <a:gd name="connsiteX2" fmla="*/ 0 w 2178482"/>
                <a:gd name="connsiteY2" fmla="*/ 257442 h 257442"/>
                <a:gd name="connsiteX3" fmla="*/ 0 w 217848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19115 w 1119115"/>
                <a:gd name="connsiteY0" fmla="*/ 0 h 257442"/>
                <a:gd name="connsiteX1" fmla="*/ 896079 w 1119115"/>
                <a:gd name="connsiteY1" fmla="*/ 257442 h 257442"/>
                <a:gd name="connsiteX2" fmla="*/ 0 w 1119115"/>
                <a:gd name="connsiteY2" fmla="*/ 257442 h 257442"/>
                <a:gd name="connsiteX3" fmla="*/ 0 w 1119115"/>
                <a:gd name="connsiteY3" fmla="*/ 0 h 257442"/>
                <a:gd name="connsiteX0" fmla="*/ 1119115 w 1119115"/>
                <a:gd name="connsiteY0" fmla="*/ 0 h 257442"/>
                <a:gd name="connsiteX1" fmla="*/ 1064394 w 1119115"/>
                <a:gd name="connsiteY1" fmla="*/ 257442 h 257442"/>
                <a:gd name="connsiteX2" fmla="*/ 0 w 1119115"/>
                <a:gd name="connsiteY2" fmla="*/ 257442 h 257442"/>
                <a:gd name="connsiteX3" fmla="*/ 0 w 1119115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287432 w 1287432"/>
                <a:gd name="connsiteY0" fmla="*/ 0 h 257442"/>
                <a:gd name="connsiteX1" fmla="*/ 1064395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455747 w 1455747"/>
                <a:gd name="connsiteY0" fmla="*/ 0 h 257442"/>
                <a:gd name="connsiteX1" fmla="*/ 1232711 w 1455747"/>
                <a:gd name="connsiteY1" fmla="*/ 257442 h 257442"/>
                <a:gd name="connsiteX2" fmla="*/ 0 w 1455747"/>
                <a:gd name="connsiteY2" fmla="*/ 257442 h 257442"/>
                <a:gd name="connsiteX3" fmla="*/ 0 w 1455747"/>
                <a:gd name="connsiteY3" fmla="*/ 0 h 257442"/>
                <a:gd name="connsiteX0" fmla="*/ 1455747 w 1455747"/>
                <a:gd name="connsiteY0" fmla="*/ 0 h 257442"/>
                <a:gd name="connsiteX1" fmla="*/ 1401026 w 1455747"/>
                <a:gd name="connsiteY1" fmla="*/ 257442 h 257442"/>
                <a:gd name="connsiteX2" fmla="*/ 0 w 1455747"/>
                <a:gd name="connsiteY2" fmla="*/ 257442 h 257442"/>
                <a:gd name="connsiteX3" fmla="*/ 0 w 1455747"/>
                <a:gd name="connsiteY3" fmla="*/ 0 h 257442"/>
                <a:gd name="connsiteX0" fmla="*/ 1455747 w 1455747"/>
                <a:gd name="connsiteY0" fmla="*/ 0 h 257442"/>
                <a:gd name="connsiteX1" fmla="*/ 1401026 w 1455747"/>
                <a:gd name="connsiteY1" fmla="*/ 257442 h 257442"/>
                <a:gd name="connsiteX2" fmla="*/ 0 w 1455747"/>
                <a:gd name="connsiteY2" fmla="*/ 257442 h 257442"/>
                <a:gd name="connsiteX3" fmla="*/ 0 w 1455747"/>
                <a:gd name="connsiteY3" fmla="*/ 0 h 257442"/>
                <a:gd name="connsiteX0" fmla="*/ 1455747 w 1455747"/>
                <a:gd name="connsiteY0" fmla="*/ 0 h 257442"/>
                <a:gd name="connsiteX1" fmla="*/ 1401026 w 1455747"/>
                <a:gd name="connsiteY1" fmla="*/ 257442 h 257442"/>
                <a:gd name="connsiteX2" fmla="*/ 0 w 1455747"/>
                <a:gd name="connsiteY2" fmla="*/ 257442 h 257442"/>
                <a:gd name="connsiteX3" fmla="*/ 0 w 1455747"/>
                <a:gd name="connsiteY3" fmla="*/ 0 h 257442"/>
                <a:gd name="connsiteX0" fmla="*/ 1624062 w 1624062"/>
                <a:gd name="connsiteY0" fmla="*/ 0 h 257442"/>
                <a:gd name="connsiteX1" fmla="*/ 1401026 w 1624062"/>
                <a:gd name="connsiteY1" fmla="*/ 257442 h 257442"/>
                <a:gd name="connsiteX2" fmla="*/ 0 w 1624062"/>
                <a:gd name="connsiteY2" fmla="*/ 257442 h 257442"/>
                <a:gd name="connsiteX3" fmla="*/ 0 w 1624062"/>
                <a:gd name="connsiteY3" fmla="*/ 0 h 257442"/>
                <a:gd name="connsiteX0" fmla="*/ 1624062 w 1624062"/>
                <a:gd name="connsiteY0" fmla="*/ 0 h 257442"/>
                <a:gd name="connsiteX1" fmla="*/ 1569340 w 1624062"/>
                <a:gd name="connsiteY1" fmla="*/ 257442 h 257442"/>
                <a:gd name="connsiteX2" fmla="*/ 0 w 1624062"/>
                <a:gd name="connsiteY2" fmla="*/ 257442 h 257442"/>
                <a:gd name="connsiteX3" fmla="*/ 0 w 1624062"/>
                <a:gd name="connsiteY3" fmla="*/ 0 h 257442"/>
                <a:gd name="connsiteX0" fmla="*/ 1624063 w 1624063"/>
                <a:gd name="connsiteY0" fmla="*/ 0 h 257442"/>
                <a:gd name="connsiteX1" fmla="*/ 1569341 w 1624063"/>
                <a:gd name="connsiteY1" fmla="*/ 257442 h 257442"/>
                <a:gd name="connsiteX2" fmla="*/ 0 w 1624063"/>
                <a:gd name="connsiteY2" fmla="*/ 257442 h 257442"/>
                <a:gd name="connsiteX3" fmla="*/ 1 w 1624063"/>
                <a:gd name="connsiteY3" fmla="*/ 0 h 257442"/>
                <a:gd name="connsiteX0" fmla="*/ 1624063 w 1624063"/>
                <a:gd name="connsiteY0" fmla="*/ 0 h 257442"/>
                <a:gd name="connsiteX1" fmla="*/ 1569341 w 1624063"/>
                <a:gd name="connsiteY1" fmla="*/ 257442 h 257442"/>
                <a:gd name="connsiteX2" fmla="*/ 0 w 1624063"/>
                <a:gd name="connsiteY2" fmla="*/ 257442 h 257442"/>
                <a:gd name="connsiteX3" fmla="*/ 1 w 1624063"/>
                <a:gd name="connsiteY3" fmla="*/ 0 h 257442"/>
                <a:gd name="connsiteX0" fmla="*/ 986068 w 1569341"/>
                <a:gd name="connsiteY0" fmla="*/ 0 h 257442"/>
                <a:gd name="connsiteX1" fmla="*/ 1569341 w 1569341"/>
                <a:gd name="connsiteY1" fmla="*/ 257442 h 257442"/>
                <a:gd name="connsiteX2" fmla="*/ 0 w 1569341"/>
                <a:gd name="connsiteY2" fmla="*/ 257442 h 257442"/>
                <a:gd name="connsiteX3" fmla="*/ 1 w 1569341"/>
                <a:gd name="connsiteY3" fmla="*/ 0 h 257442"/>
                <a:gd name="connsiteX0" fmla="*/ 986068 w 986068"/>
                <a:gd name="connsiteY0" fmla="*/ 0 h 257442"/>
                <a:gd name="connsiteX1" fmla="*/ 931347 w 986068"/>
                <a:gd name="connsiteY1" fmla="*/ 257442 h 257442"/>
                <a:gd name="connsiteX2" fmla="*/ 0 w 986068"/>
                <a:gd name="connsiteY2" fmla="*/ 257442 h 257442"/>
                <a:gd name="connsiteX3" fmla="*/ 1 w 986068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1146368 w 1146368"/>
                <a:gd name="connsiteY0" fmla="*/ 0 h 257442"/>
                <a:gd name="connsiteX1" fmla="*/ 931346 w 1146368"/>
                <a:gd name="connsiteY1" fmla="*/ 257442 h 257442"/>
                <a:gd name="connsiteX2" fmla="*/ 0 w 1146368"/>
                <a:gd name="connsiteY2" fmla="*/ 257442 h 257442"/>
                <a:gd name="connsiteX3" fmla="*/ 0 w 1146368"/>
                <a:gd name="connsiteY3" fmla="*/ 0 h 257442"/>
                <a:gd name="connsiteX0" fmla="*/ 1146368 w 1146368"/>
                <a:gd name="connsiteY0" fmla="*/ 0 h 257442"/>
                <a:gd name="connsiteX1" fmla="*/ 1091646 w 1146368"/>
                <a:gd name="connsiteY1" fmla="*/ 257442 h 257442"/>
                <a:gd name="connsiteX2" fmla="*/ 0 w 1146368"/>
                <a:gd name="connsiteY2" fmla="*/ 257442 h 257442"/>
                <a:gd name="connsiteX3" fmla="*/ 0 w 1146368"/>
                <a:gd name="connsiteY3" fmla="*/ 0 h 257442"/>
                <a:gd name="connsiteX0" fmla="*/ 1146369 w 1146369"/>
                <a:gd name="connsiteY0" fmla="*/ 0 h 257442"/>
                <a:gd name="connsiteX1" fmla="*/ 1091647 w 1146369"/>
                <a:gd name="connsiteY1" fmla="*/ 257442 h 257442"/>
                <a:gd name="connsiteX2" fmla="*/ 0 w 1146369"/>
                <a:gd name="connsiteY2" fmla="*/ 257442 h 257442"/>
                <a:gd name="connsiteX3" fmla="*/ 1 w 1146369"/>
                <a:gd name="connsiteY3" fmla="*/ 0 h 257442"/>
                <a:gd name="connsiteX0" fmla="*/ 1146369 w 1146369"/>
                <a:gd name="connsiteY0" fmla="*/ 0 h 257442"/>
                <a:gd name="connsiteX1" fmla="*/ 1091647 w 1146369"/>
                <a:gd name="connsiteY1" fmla="*/ 257442 h 257442"/>
                <a:gd name="connsiteX2" fmla="*/ 0 w 1146369"/>
                <a:gd name="connsiteY2" fmla="*/ 257442 h 257442"/>
                <a:gd name="connsiteX3" fmla="*/ 1 w 1146369"/>
                <a:gd name="connsiteY3" fmla="*/ 0 h 257442"/>
                <a:gd name="connsiteX0" fmla="*/ 1314683 w 1314683"/>
                <a:gd name="connsiteY0" fmla="*/ 0 h 257442"/>
                <a:gd name="connsiteX1" fmla="*/ 1091647 w 1314683"/>
                <a:gd name="connsiteY1" fmla="*/ 257442 h 257442"/>
                <a:gd name="connsiteX2" fmla="*/ 0 w 1314683"/>
                <a:gd name="connsiteY2" fmla="*/ 257442 h 257442"/>
                <a:gd name="connsiteX3" fmla="*/ 1 w 1314683"/>
                <a:gd name="connsiteY3" fmla="*/ 0 h 257442"/>
                <a:gd name="connsiteX0" fmla="*/ 1314683 w 1314683"/>
                <a:gd name="connsiteY0" fmla="*/ 0 h 257442"/>
                <a:gd name="connsiteX1" fmla="*/ 1259962 w 1314683"/>
                <a:gd name="connsiteY1" fmla="*/ 257442 h 257442"/>
                <a:gd name="connsiteX2" fmla="*/ 0 w 1314683"/>
                <a:gd name="connsiteY2" fmla="*/ 257442 h 257442"/>
                <a:gd name="connsiteX3" fmla="*/ 1 w 1314683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3 w 1314683"/>
                <a:gd name="connsiteY0" fmla="*/ 0 h 257442"/>
                <a:gd name="connsiteX1" fmla="*/ 1259962 w 1314683"/>
                <a:gd name="connsiteY1" fmla="*/ 257442 h 257442"/>
                <a:gd name="connsiteX2" fmla="*/ 1 w 1314683"/>
                <a:gd name="connsiteY2" fmla="*/ 257442 h 257442"/>
                <a:gd name="connsiteX3" fmla="*/ 0 w 1314683"/>
                <a:gd name="connsiteY3" fmla="*/ 0 h 257442"/>
                <a:gd name="connsiteX0" fmla="*/ 1474984 w 1474984"/>
                <a:gd name="connsiteY0" fmla="*/ 0 h 257442"/>
                <a:gd name="connsiteX1" fmla="*/ 1259962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575972 w 1575972"/>
                <a:gd name="connsiteY0" fmla="*/ 0 h 257442"/>
                <a:gd name="connsiteX1" fmla="*/ 1420262 w 1575972"/>
                <a:gd name="connsiteY1" fmla="*/ 257442 h 257442"/>
                <a:gd name="connsiteX2" fmla="*/ 0 w 1575972"/>
                <a:gd name="connsiteY2" fmla="*/ 257442 h 257442"/>
                <a:gd name="connsiteX3" fmla="*/ 0 w 1575972"/>
                <a:gd name="connsiteY3" fmla="*/ 0 h 257442"/>
                <a:gd name="connsiteX0" fmla="*/ 1575972 w 1575972"/>
                <a:gd name="connsiteY0" fmla="*/ 0 h 257442"/>
                <a:gd name="connsiteX1" fmla="*/ 1521251 w 1575972"/>
                <a:gd name="connsiteY1" fmla="*/ 257442 h 257442"/>
                <a:gd name="connsiteX2" fmla="*/ 0 w 1575972"/>
                <a:gd name="connsiteY2" fmla="*/ 257442 h 257442"/>
                <a:gd name="connsiteX3" fmla="*/ 0 w 1575972"/>
                <a:gd name="connsiteY3" fmla="*/ 0 h 257442"/>
                <a:gd name="connsiteX0" fmla="*/ 1575972 w 1575972"/>
                <a:gd name="connsiteY0" fmla="*/ 0 h 257442"/>
                <a:gd name="connsiteX1" fmla="*/ 1521251 w 1575972"/>
                <a:gd name="connsiteY1" fmla="*/ 257442 h 257442"/>
                <a:gd name="connsiteX2" fmla="*/ 0 w 1575972"/>
                <a:gd name="connsiteY2" fmla="*/ 257442 h 257442"/>
                <a:gd name="connsiteX3" fmla="*/ 0 w 1575972"/>
                <a:gd name="connsiteY3" fmla="*/ 0 h 257442"/>
                <a:gd name="connsiteX0" fmla="*/ 1575972 w 1575972"/>
                <a:gd name="connsiteY0" fmla="*/ 0 h 257442"/>
                <a:gd name="connsiteX1" fmla="*/ 1521251 w 1575972"/>
                <a:gd name="connsiteY1" fmla="*/ 257442 h 257442"/>
                <a:gd name="connsiteX2" fmla="*/ 0 w 1575972"/>
                <a:gd name="connsiteY2" fmla="*/ 257442 h 257442"/>
                <a:gd name="connsiteX3" fmla="*/ 0 w 1575972"/>
                <a:gd name="connsiteY3" fmla="*/ 0 h 257442"/>
                <a:gd name="connsiteX0" fmla="*/ 1728257 w 1728257"/>
                <a:gd name="connsiteY0" fmla="*/ 0 h 257442"/>
                <a:gd name="connsiteX1" fmla="*/ 1521251 w 1728257"/>
                <a:gd name="connsiteY1" fmla="*/ 257442 h 257442"/>
                <a:gd name="connsiteX2" fmla="*/ 0 w 1728257"/>
                <a:gd name="connsiteY2" fmla="*/ 257442 h 257442"/>
                <a:gd name="connsiteX3" fmla="*/ 0 w 1728257"/>
                <a:gd name="connsiteY3" fmla="*/ 0 h 257442"/>
                <a:gd name="connsiteX0" fmla="*/ 1728257 w 1728257"/>
                <a:gd name="connsiteY0" fmla="*/ 0 h 257442"/>
                <a:gd name="connsiteX1" fmla="*/ 1673536 w 1728257"/>
                <a:gd name="connsiteY1" fmla="*/ 257442 h 257442"/>
                <a:gd name="connsiteX2" fmla="*/ 0 w 1728257"/>
                <a:gd name="connsiteY2" fmla="*/ 257442 h 257442"/>
                <a:gd name="connsiteX3" fmla="*/ 0 w 1728257"/>
                <a:gd name="connsiteY3" fmla="*/ 0 h 257442"/>
                <a:gd name="connsiteX0" fmla="*/ 1728257 w 1728257"/>
                <a:gd name="connsiteY0" fmla="*/ 0 h 257442"/>
                <a:gd name="connsiteX1" fmla="*/ 1673536 w 1728257"/>
                <a:gd name="connsiteY1" fmla="*/ 257442 h 257442"/>
                <a:gd name="connsiteX2" fmla="*/ 0 w 1728257"/>
                <a:gd name="connsiteY2" fmla="*/ 257442 h 257442"/>
                <a:gd name="connsiteX3" fmla="*/ 0 w 1728257"/>
                <a:gd name="connsiteY3" fmla="*/ 0 h 257442"/>
                <a:gd name="connsiteX0" fmla="*/ 1728257 w 1728257"/>
                <a:gd name="connsiteY0" fmla="*/ 0 h 257442"/>
                <a:gd name="connsiteX1" fmla="*/ 1673536 w 1728257"/>
                <a:gd name="connsiteY1" fmla="*/ 257442 h 257442"/>
                <a:gd name="connsiteX2" fmla="*/ 0 w 1728257"/>
                <a:gd name="connsiteY2" fmla="*/ 257442 h 257442"/>
                <a:gd name="connsiteX3" fmla="*/ 0 w 1728257"/>
                <a:gd name="connsiteY3" fmla="*/ 0 h 257442"/>
                <a:gd name="connsiteX0" fmla="*/ 1888557 w 1888557"/>
                <a:gd name="connsiteY0" fmla="*/ 0 h 257442"/>
                <a:gd name="connsiteX1" fmla="*/ 16735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989547 w 1989547"/>
                <a:gd name="connsiteY0" fmla="*/ 0 h 257442"/>
                <a:gd name="connsiteX1" fmla="*/ 183383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1989547 w 1989547"/>
                <a:gd name="connsiteY0" fmla="*/ 0 h 257442"/>
                <a:gd name="connsiteX1" fmla="*/ 19348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1989547 w 1989547"/>
                <a:gd name="connsiteY0" fmla="*/ 0 h 257442"/>
                <a:gd name="connsiteX1" fmla="*/ 19348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1989547 w 1989547"/>
                <a:gd name="connsiteY0" fmla="*/ 0 h 257442"/>
                <a:gd name="connsiteX1" fmla="*/ 19348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2141832 w 2141832"/>
                <a:gd name="connsiteY0" fmla="*/ 0 h 257442"/>
                <a:gd name="connsiteX1" fmla="*/ 1934826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2 w 2141832"/>
                <a:gd name="connsiteY0" fmla="*/ 0 h 257442"/>
                <a:gd name="connsiteX1" fmla="*/ 2087110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1 w 2141833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1 w 2141833"/>
                <a:gd name="connsiteY3" fmla="*/ 0 h 257442"/>
                <a:gd name="connsiteX0" fmla="*/ 2310149 w 2310149"/>
                <a:gd name="connsiteY0" fmla="*/ 0 h 257442"/>
                <a:gd name="connsiteX1" fmla="*/ 2087111 w 2310149"/>
                <a:gd name="connsiteY1" fmla="*/ 257442 h 257442"/>
                <a:gd name="connsiteX2" fmla="*/ 0 w 2310149"/>
                <a:gd name="connsiteY2" fmla="*/ 257442 h 257442"/>
                <a:gd name="connsiteX3" fmla="*/ 1 w 2310149"/>
                <a:gd name="connsiteY3" fmla="*/ 0 h 257442"/>
                <a:gd name="connsiteX0" fmla="*/ 2310149 w 2310149"/>
                <a:gd name="connsiteY0" fmla="*/ 0 h 257442"/>
                <a:gd name="connsiteX1" fmla="*/ 2255428 w 2310149"/>
                <a:gd name="connsiteY1" fmla="*/ 257442 h 257442"/>
                <a:gd name="connsiteX2" fmla="*/ 0 w 2310149"/>
                <a:gd name="connsiteY2" fmla="*/ 257442 h 257442"/>
                <a:gd name="connsiteX3" fmla="*/ 1 w 2310149"/>
                <a:gd name="connsiteY3" fmla="*/ 0 h 257442"/>
                <a:gd name="connsiteX0" fmla="*/ 2310148 w 2310148"/>
                <a:gd name="connsiteY0" fmla="*/ 0 h 257442"/>
                <a:gd name="connsiteX1" fmla="*/ 2255427 w 2310148"/>
                <a:gd name="connsiteY1" fmla="*/ 257442 h 257442"/>
                <a:gd name="connsiteX2" fmla="*/ 0 w 2310148"/>
                <a:gd name="connsiteY2" fmla="*/ 257442 h 257442"/>
                <a:gd name="connsiteX3" fmla="*/ 0 w 2310148"/>
                <a:gd name="connsiteY3" fmla="*/ 0 h 257442"/>
                <a:gd name="connsiteX0" fmla="*/ 2310149 w 2310149"/>
                <a:gd name="connsiteY0" fmla="*/ 0 h 257442"/>
                <a:gd name="connsiteX1" fmla="*/ 2255428 w 2310149"/>
                <a:gd name="connsiteY1" fmla="*/ 257442 h 257442"/>
                <a:gd name="connsiteX2" fmla="*/ 1 w 2310149"/>
                <a:gd name="connsiteY2" fmla="*/ 257442 h 257442"/>
                <a:gd name="connsiteX3" fmla="*/ 0 w 2310149"/>
                <a:gd name="connsiteY3" fmla="*/ 0 h 257442"/>
                <a:gd name="connsiteX0" fmla="*/ 2478463 w 2478463"/>
                <a:gd name="connsiteY0" fmla="*/ 0 h 257442"/>
                <a:gd name="connsiteX1" fmla="*/ 2255428 w 2478463"/>
                <a:gd name="connsiteY1" fmla="*/ 257442 h 257442"/>
                <a:gd name="connsiteX2" fmla="*/ 1 w 2478463"/>
                <a:gd name="connsiteY2" fmla="*/ 257442 h 257442"/>
                <a:gd name="connsiteX3" fmla="*/ 0 w 2478463"/>
                <a:gd name="connsiteY3" fmla="*/ 0 h 257442"/>
                <a:gd name="connsiteX0" fmla="*/ 2478463 w 2478463"/>
                <a:gd name="connsiteY0" fmla="*/ 0 h 257442"/>
                <a:gd name="connsiteX1" fmla="*/ 2423742 w 2478463"/>
                <a:gd name="connsiteY1" fmla="*/ 257442 h 257442"/>
                <a:gd name="connsiteX2" fmla="*/ 1 w 2478463"/>
                <a:gd name="connsiteY2" fmla="*/ 257442 h 257442"/>
                <a:gd name="connsiteX3" fmla="*/ 0 w 2478463"/>
                <a:gd name="connsiteY3" fmla="*/ 0 h 257442"/>
                <a:gd name="connsiteX0" fmla="*/ 2478463 w 2478463"/>
                <a:gd name="connsiteY0" fmla="*/ 0 h 257442"/>
                <a:gd name="connsiteX1" fmla="*/ 2423742 w 2478463"/>
                <a:gd name="connsiteY1" fmla="*/ 257442 h 257442"/>
                <a:gd name="connsiteX2" fmla="*/ 1 w 2478463"/>
                <a:gd name="connsiteY2" fmla="*/ 257442 h 257442"/>
                <a:gd name="connsiteX3" fmla="*/ 0 w 2478463"/>
                <a:gd name="connsiteY3" fmla="*/ 0 h 257442"/>
                <a:gd name="connsiteX0" fmla="*/ 2478462 w 2478462"/>
                <a:gd name="connsiteY0" fmla="*/ 0 h 257442"/>
                <a:gd name="connsiteX1" fmla="*/ 2423741 w 2478462"/>
                <a:gd name="connsiteY1" fmla="*/ 257442 h 257442"/>
                <a:gd name="connsiteX2" fmla="*/ 0 w 2478462"/>
                <a:gd name="connsiteY2" fmla="*/ 257442 h 257442"/>
                <a:gd name="connsiteX3" fmla="*/ 0 w 2478462"/>
                <a:gd name="connsiteY3" fmla="*/ 0 h 257442"/>
                <a:gd name="connsiteX0" fmla="*/ 2630747 w 2630747"/>
                <a:gd name="connsiteY0" fmla="*/ 0 h 257442"/>
                <a:gd name="connsiteX1" fmla="*/ 2423741 w 2630747"/>
                <a:gd name="connsiteY1" fmla="*/ 257442 h 257442"/>
                <a:gd name="connsiteX2" fmla="*/ 0 w 2630747"/>
                <a:gd name="connsiteY2" fmla="*/ 257442 h 257442"/>
                <a:gd name="connsiteX3" fmla="*/ 0 w 2630747"/>
                <a:gd name="connsiteY3" fmla="*/ 0 h 257442"/>
                <a:gd name="connsiteX0" fmla="*/ 2630747 w 2630747"/>
                <a:gd name="connsiteY0" fmla="*/ 0 h 257442"/>
                <a:gd name="connsiteX1" fmla="*/ 2576026 w 2630747"/>
                <a:gd name="connsiteY1" fmla="*/ 257442 h 257442"/>
                <a:gd name="connsiteX2" fmla="*/ 0 w 2630747"/>
                <a:gd name="connsiteY2" fmla="*/ 257442 h 257442"/>
                <a:gd name="connsiteX3" fmla="*/ 0 w 2630747"/>
                <a:gd name="connsiteY3" fmla="*/ 0 h 257442"/>
                <a:gd name="connsiteX0" fmla="*/ 2630748 w 2630748"/>
                <a:gd name="connsiteY0" fmla="*/ 0 h 257442"/>
                <a:gd name="connsiteX1" fmla="*/ 2576027 w 2630748"/>
                <a:gd name="connsiteY1" fmla="*/ 257442 h 257442"/>
                <a:gd name="connsiteX2" fmla="*/ 0 w 2630748"/>
                <a:gd name="connsiteY2" fmla="*/ 257442 h 257442"/>
                <a:gd name="connsiteX3" fmla="*/ 1 w 2630748"/>
                <a:gd name="connsiteY3" fmla="*/ 0 h 257442"/>
                <a:gd name="connsiteX0" fmla="*/ 2630748 w 2630748"/>
                <a:gd name="connsiteY0" fmla="*/ 0 h 257442"/>
                <a:gd name="connsiteX1" fmla="*/ 2576027 w 2630748"/>
                <a:gd name="connsiteY1" fmla="*/ 257442 h 257442"/>
                <a:gd name="connsiteX2" fmla="*/ 0 w 2630748"/>
                <a:gd name="connsiteY2" fmla="*/ 257442 h 257442"/>
                <a:gd name="connsiteX3" fmla="*/ 0 w 2630748"/>
                <a:gd name="connsiteY3" fmla="*/ 0 h 257442"/>
                <a:gd name="connsiteX0" fmla="*/ 2783033 w 2783033"/>
                <a:gd name="connsiteY0" fmla="*/ 0 h 257442"/>
                <a:gd name="connsiteX1" fmla="*/ 2576027 w 2783033"/>
                <a:gd name="connsiteY1" fmla="*/ 257442 h 257442"/>
                <a:gd name="connsiteX2" fmla="*/ 0 w 2783033"/>
                <a:gd name="connsiteY2" fmla="*/ 257442 h 257442"/>
                <a:gd name="connsiteX3" fmla="*/ 0 w 2783033"/>
                <a:gd name="connsiteY3" fmla="*/ 0 h 257442"/>
                <a:gd name="connsiteX0" fmla="*/ 2783033 w 2783033"/>
                <a:gd name="connsiteY0" fmla="*/ 0 h 257442"/>
                <a:gd name="connsiteX1" fmla="*/ 2728312 w 2783033"/>
                <a:gd name="connsiteY1" fmla="*/ 257442 h 257442"/>
                <a:gd name="connsiteX2" fmla="*/ 0 w 2783033"/>
                <a:gd name="connsiteY2" fmla="*/ 257442 h 257442"/>
                <a:gd name="connsiteX3" fmla="*/ 0 w 2783033"/>
                <a:gd name="connsiteY3" fmla="*/ 0 h 257442"/>
                <a:gd name="connsiteX0" fmla="*/ 2783033 w 2783033"/>
                <a:gd name="connsiteY0" fmla="*/ 0 h 257442"/>
                <a:gd name="connsiteX1" fmla="*/ 2728312 w 2783033"/>
                <a:gd name="connsiteY1" fmla="*/ 257442 h 257442"/>
                <a:gd name="connsiteX2" fmla="*/ 0 w 2783033"/>
                <a:gd name="connsiteY2" fmla="*/ 257442 h 257442"/>
                <a:gd name="connsiteX3" fmla="*/ 0 w 2783033"/>
                <a:gd name="connsiteY3" fmla="*/ 0 h 257442"/>
                <a:gd name="connsiteX0" fmla="*/ 2783033 w 2783033"/>
                <a:gd name="connsiteY0" fmla="*/ 0 h 257442"/>
                <a:gd name="connsiteX1" fmla="*/ 2728312 w 2783033"/>
                <a:gd name="connsiteY1" fmla="*/ 257442 h 257442"/>
                <a:gd name="connsiteX2" fmla="*/ 0 w 2783033"/>
                <a:gd name="connsiteY2" fmla="*/ 257442 h 257442"/>
                <a:gd name="connsiteX3" fmla="*/ 0 w 2783033"/>
                <a:gd name="connsiteY3" fmla="*/ 0 h 257442"/>
                <a:gd name="connsiteX0" fmla="*/ 2884023 w 2884023"/>
                <a:gd name="connsiteY0" fmla="*/ 0 h 257442"/>
                <a:gd name="connsiteX1" fmla="*/ 2728312 w 2884023"/>
                <a:gd name="connsiteY1" fmla="*/ 257442 h 257442"/>
                <a:gd name="connsiteX2" fmla="*/ 0 w 2884023"/>
                <a:gd name="connsiteY2" fmla="*/ 257442 h 257442"/>
                <a:gd name="connsiteX3" fmla="*/ 0 w 2884023"/>
                <a:gd name="connsiteY3" fmla="*/ 0 h 257442"/>
                <a:gd name="connsiteX0" fmla="*/ 2884023 w 2884023"/>
                <a:gd name="connsiteY0" fmla="*/ 0 h 257442"/>
                <a:gd name="connsiteX1" fmla="*/ 2829302 w 2884023"/>
                <a:gd name="connsiteY1" fmla="*/ 257442 h 257442"/>
                <a:gd name="connsiteX2" fmla="*/ 0 w 2884023"/>
                <a:gd name="connsiteY2" fmla="*/ 257442 h 257442"/>
                <a:gd name="connsiteX3" fmla="*/ 0 w 2884023"/>
                <a:gd name="connsiteY3" fmla="*/ 0 h 257442"/>
                <a:gd name="connsiteX0" fmla="*/ 2884023 w 2884023"/>
                <a:gd name="connsiteY0" fmla="*/ 0 h 257442"/>
                <a:gd name="connsiteX1" fmla="*/ 2829302 w 2884023"/>
                <a:gd name="connsiteY1" fmla="*/ 257442 h 257442"/>
                <a:gd name="connsiteX2" fmla="*/ 0 w 2884023"/>
                <a:gd name="connsiteY2" fmla="*/ 257442 h 257442"/>
                <a:gd name="connsiteX3" fmla="*/ 0 w 2884023"/>
                <a:gd name="connsiteY3" fmla="*/ 0 h 257442"/>
                <a:gd name="connsiteX0" fmla="*/ 2884023 w 2884023"/>
                <a:gd name="connsiteY0" fmla="*/ 0 h 257442"/>
                <a:gd name="connsiteX1" fmla="*/ 2829302 w 2884023"/>
                <a:gd name="connsiteY1" fmla="*/ 257442 h 257442"/>
                <a:gd name="connsiteX2" fmla="*/ 0 w 2884023"/>
                <a:gd name="connsiteY2" fmla="*/ 257442 h 257442"/>
                <a:gd name="connsiteX3" fmla="*/ 0 w 2884023"/>
                <a:gd name="connsiteY3" fmla="*/ 0 h 257442"/>
                <a:gd name="connsiteX0" fmla="*/ 3052337 w 3052337"/>
                <a:gd name="connsiteY0" fmla="*/ 0 h 257442"/>
                <a:gd name="connsiteX1" fmla="*/ 2829302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1888557 w 2997616"/>
                <a:gd name="connsiteY0" fmla="*/ 0 h 257442"/>
                <a:gd name="connsiteX1" fmla="*/ 2997616 w 2997616"/>
                <a:gd name="connsiteY1" fmla="*/ 257442 h 257442"/>
                <a:gd name="connsiteX2" fmla="*/ 0 w 2997616"/>
                <a:gd name="connsiteY2" fmla="*/ 257442 h 257442"/>
                <a:gd name="connsiteX3" fmla="*/ 0 w 2997616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1 w 1888557"/>
                <a:gd name="connsiteY2" fmla="*/ 257442 h 257442"/>
                <a:gd name="connsiteX3" fmla="*/ 0 w 1888557"/>
                <a:gd name="connsiteY3" fmla="*/ 0 h 257442"/>
                <a:gd name="connsiteX0" fmla="*/ 1888556 w 1888556"/>
                <a:gd name="connsiteY0" fmla="*/ 0 h 257442"/>
                <a:gd name="connsiteX1" fmla="*/ 1833835 w 1888556"/>
                <a:gd name="connsiteY1" fmla="*/ 257442 h 257442"/>
                <a:gd name="connsiteX2" fmla="*/ 0 w 1888556"/>
                <a:gd name="connsiteY2" fmla="*/ 257442 h 257442"/>
                <a:gd name="connsiteX3" fmla="*/ 0 w 1888556"/>
                <a:gd name="connsiteY3" fmla="*/ 0 h 257442"/>
                <a:gd name="connsiteX0" fmla="*/ 934770 w 1833835"/>
                <a:gd name="connsiteY0" fmla="*/ 0 h 257442"/>
                <a:gd name="connsiteX1" fmla="*/ 1833835 w 1833835"/>
                <a:gd name="connsiteY1" fmla="*/ 257442 h 257442"/>
                <a:gd name="connsiteX2" fmla="*/ 0 w 1833835"/>
                <a:gd name="connsiteY2" fmla="*/ 257442 h 257442"/>
                <a:gd name="connsiteX3" fmla="*/ 0 w 1833835"/>
                <a:gd name="connsiteY3" fmla="*/ 0 h 257442"/>
                <a:gd name="connsiteX0" fmla="*/ 934770 w 934770"/>
                <a:gd name="connsiteY0" fmla="*/ 0 h 257442"/>
                <a:gd name="connsiteX1" fmla="*/ 880050 w 934770"/>
                <a:gd name="connsiteY1" fmla="*/ 257442 h 257442"/>
                <a:gd name="connsiteX2" fmla="*/ 0 w 934770"/>
                <a:gd name="connsiteY2" fmla="*/ 257442 h 257442"/>
                <a:gd name="connsiteX3" fmla="*/ 0 w 934770"/>
                <a:gd name="connsiteY3" fmla="*/ 0 h 257442"/>
                <a:gd name="connsiteX0" fmla="*/ 934770 w 934770"/>
                <a:gd name="connsiteY0" fmla="*/ 0 h 257442"/>
                <a:gd name="connsiteX1" fmla="*/ 880050 w 934770"/>
                <a:gd name="connsiteY1" fmla="*/ 257442 h 257442"/>
                <a:gd name="connsiteX2" fmla="*/ 0 w 934770"/>
                <a:gd name="connsiteY2" fmla="*/ 257442 h 257442"/>
                <a:gd name="connsiteX3" fmla="*/ 0 w 934770"/>
                <a:gd name="connsiteY3" fmla="*/ 0 h 257442"/>
                <a:gd name="connsiteX0" fmla="*/ 934770 w 934770"/>
                <a:gd name="connsiteY0" fmla="*/ 0 h 257442"/>
                <a:gd name="connsiteX1" fmla="*/ 880050 w 934770"/>
                <a:gd name="connsiteY1" fmla="*/ 257442 h 257442"/>
                <a:gd name="connsiteX2" fmla="*/ 0 w 934770"/>
                <a:gd name="connsiteY2" fmla="*/ 257442 h 257442"/>
                <a:gd name="connsiteX3" fmla="*/ 0 w 934770"/>
                <a:gd name="connsiteY3" fmla="*/ 0 h 257442"/>
                <a:gd name="connsiteX0" fmla="*/ 1103086 w 1103086"/>
                <a:gd name="connsiteY0" fmla="*/ 0 h 257442"/>
                <a:gd name="connsiteX1" fmla="*/ 880050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271402 w 1271402"/>
                <a:gd name="connsiteY0" fmla="*/ 0 h 257442"/>
                <a:gd name="connsiteX1" fmla="*/ 1048365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423687 w 1423687"/>
                <a:gd name="connsiteY0" fmla="*/ 0 h 257442"/>
                <a:gd name="connsiteX1" fmla="*/ 1216681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423687 w 1423687"/>
                <a:gd name="connsiteY0" fmla="*/ 0 h 257442"/>
                <a:gd name="connsiteX1" fmla="*/ 1368966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423687 w 1423687"/>
                <a:gd name="connsiteY0" fmla="*/ 0 h 257442"/>
                <a:gd name="connsiteX1" fmla="*/ 1368966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423687 w 1423687"/>
                <a:gd name="connsiteY0" fmla="*/ 0 h 257442"/>
                <a:gd name="connsiteX1" fmla="*/ 1368966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575972 w 1575972"/>
                <a:gd name="connsiteY0" fmla="*/ 0 h 257442"/>
                <a:gd name="connsiteX1" fmla="*/ 1368966 w 1575972"/>
                <a:gd name="connsiteY1" fmla="*/ 257442 h 257442"/>
                <a:gd name="connsiteX2" fmla="*/ 0 w 1575972"/>
                <a:gd name="connsiteY2" fmla="*/ 257442 h 257442"/>
                <a:gd name="connsiteX3" fmla="*/ 0 w 1575972"/>
                <a:gd name="connsiteY3" fmla="*/ 0 h 257442"/>
                <a:gd name="connsiteX0" fmla="*/ 1575972 w 1575972"/>
                <a:gd name="connsiteY0" fmla="*/ 0 h 257442"/>
                <a:gd name="connsiteX1" fmla="*/ 1521250 w 1575972"/>
                <a:gd name="connsiteY1" fmla="*/ 257442 h 257442"/>
                <a:gd name="connsiteX2" fmla="*/ 0 w 1575972"/>
                <a:gd name="connsiteY2" fmla="*/ 257442 h 257442"/>
                <a:gd name="connsiteX3" fmla="*/ 0 w 1575972"/>
                <a:gd name="connsiteY3" fmla="*/ 0 h 257442"/>
                <a:gd name="connsiteX0" fmla="*/ 1575973 w 1575973"/>
                <a:gd name="connsiteY0" fmla="*/ 0 h 257442"/>
                <a:gd name="connsiteX1" fmla="*/ 1521251 w 1575973"/>
                <a:gd name="connsiteY1" fmla="*/ 257442 h 257442"/>
                <a:gd name="connsiteX2" fmla="*/ 0 w 1575973"/>
                <a:gd name="connsiteY2" fmla="*/ 257442 h 257442"/>
                <a:gd name="connsiteX3" fmla="*/ 1 w 1575973"/>
                <a:gd name="connsiteY3" fmla="*/ 0 h 257442"/>
                <a:gd name="connsiteX0" fmla="*/ 1575973 w 1575973"/>
                <a:gd name="connsiteY0" fmla="*/ 0 h 257442"/>
                <a:gd name="connsiteX1" fmla="*/ 1521251 w 1575973"/>
                <a:gd name="connsiteY1" fmla="*/ 257442 h 257442"/>
                <a:gd name="connsiteX2" fmla="*/ 0 w 1575973"/>
                <a:gd name="connsiteY2" fmla="*/ 257442 h 257442"/>
                <a:gd name="connsiteX3" fmla="*/ 1 w 1575973"/>
                <a:gd name="connsiteY3" fmla="*/ 0 h 257442"/>
                <a:gd name="connsiteX0" fmla="*/ 1676962 w 1676962"/>
                <a:gd name="connsiteY0" fmla="*/ 0 h 257442"/>
                <a:gd name="connsiteX1" fmla="*/ 1521251 w 1676962"/>
                <a:gd name="connsiteY1" fmla="*/ 257442 h 257442"/>
                <a:gd name="connsiteX2" fmla="*/ 0 w 1676962"/>
                <a:gd name="connsiteY2" fmla="*/ 257442 h 257442"/>
                <a:gd name="connsiteX3" fmla="*/ 1 w 1676962"/>
                <a:gd name="connsiteY3" fmla="*/ 0 h 257442"/>
                <a:gd name="connsiteX0" fmla="*/ 1676962 w 1676962"/>
                <a:gd name="connsiteY0" fmla="*/ 0 h 257442"/>
                <a:gd name="connsiteX1" fmla="*/ 1622240 w 1676962"/>
                <a:gd name="connsiteY1" fmla="*/ 257442 h 257442"/>
                <a:gd name="connsiteX2" fmla="*/ 0 w 1676962"/>
                <a:gd name="connsiteY2" fmla="*/ 257442 h 257442"/>
                <a:gd name="connsiteX3" fmla="*/ 1 w 1676962"/>
                <a:gd name="connsiteY3" fmla="*/ 0 h 257442"/>
                <a:gd name="connsiteX0" fmla="*/ 1676962 w 1676962"/>
                <a:gd name="connsiteY0" fmla="*/ 0 h 257442"/>
                <a:gd name="connsiteX1" fmla="*/ 1622240 w 1676962"/>
                <a:gd name="connsiteY1" fmla="*/ 257442 h 257442"/>
                <a:gd name="connsiteX2" fmla="*/ 0 w 1676962"/>
                <a:gd name="connsiteY2" fmla="*/ 257442 h 257442"/>
                <a:gd name="connsiteX3" fmla="*/ 1 w 1676962"/>
                <a:gd name="connsiteY3" fmla="*/ 0 h 257442"/>
                <a:gd name="connsiteX0" fmla="*/ 1676962 w 1676962"/>
                <a:gd name="connsiteY0" fmla="*/ 0 h 257442"/>
                <a:gd name="connsiteX1" fmla="*/ 1622240 w 1676962"/>
                <a:gd name="connsiteY1" fmla="*/ 257442 h 257442"/>
                <a:gd name="connsiteX2" fmla="*/ 0 w 1676962"/>
                <a:gd name="connsiteY2" fmla="*/ 257442 h 257442"/>
                <a:gd name="connsiteX3" fmla="*/ 0 w 1676962"/>
                <a:gd name="connsiteY3" fmla="*/ 0 h 257442"/>
                <a:gd name="connsiteX0" fmla="*/ 1845277 w 1845277"/>
                <a:gd name="connsiteY0" fmla="*/ 0 h 257442"/>
                <a:gd name="connsiteX1" fmla="*/ 1622240 w 1845277"/>
                <a:gd name="connsiteY1" fmla="*/ 257442 h 257442"/>
                <a:gd name="connsiteX2" fmla="*/ 0 w 1845277"/>
                <a:gd name="connsiteY2" fmla="*/ 257442 h 257442"/>
                <a:gd name="connsiteX3" fmla="*/ 0 w 1845277"/>
                <a:gd name="connsiteY3" fmla="*/ 0 h 257442"/>
                <a:gd name="connsiteX0" fmla="*/ 1845277 w 1845277"/>
                <a:gd name="connsiteY0" fmla="*/ 0 h 257442"/>
                <a:gd name="connsiteX1" fmla="*/ 1790556 w 1845277"/>
                <a:gd name="connsiteY1" fmla="*/ 257442 h 257442"/>
                <a:gd name="connsiteX2" fmla="*/ 0 w 1845277"/>
                <a:gd name="connsiteY2" fmla="*/ 257442 h 257442"/>
                <a:gd name="connsiteX3" fmla="*/ 0 w 1845277"/>
                <a:gd name="connsiteY3" fmla="*/ 0 h 257442"/>
                <a:gd name="connsiteX0" fmla="*/ 1845277 w 1845277"/>
                <a:gd name="connsiteY0" fmla="*/ 0 h 257442"/>
                <a:gd name="connsiteX1" fmla="*/ 1790556 w 1845277"/>
                <a:gd name="connsiteY1" fmla="*/ 257442 h 257442"/>
                <a:gd name="connsiteX2" fmla="*/ 0 w 1845277"/>
                <a:gd name="connsiteY2" fmla="*/ 257442 h 257442"/>
                <a:gd name="connsiteX3" fmla="*/ 0 w 1845277"/>
                <a:gd name="connsiteY3" fmla="*/ 0 h 257442"/>
                <a:gd name="connsiteX0" fmla="*/ 1845277 w 1845277"/>
                <a:gd name="connsiteY0" fmla="*/ 0 h 257442"/>
                <a:gd name="connsiteX1" fmla="*/ 1790556 w 1845277"/>
                <a:gd name="connsiteY1" fmla="*/ 257442 h 257442"/>
                <a:gd name="connsiteX2" fmla="*/ 0 w 1845277"/>
                <a:gd name="connsiteY2" fmla="*/ 257442 h 257442"/>
                <a:gd name="connsiteX3" fmla="*/ 0 w 1845277"/>
                <a:gd name="connsiteY3" fmla="*/ 0 h 257442"/>
                <a:gd name="connsiteX0" fmla="*/ 2048858 w 2048858"/>
                <a:gd name="connsiteY0" fmla="*/ 0 h 257442"/>
                <a:gd name="connsiteX1" fmla="*/ 1790556 w 2048858"/>
                <a:gd name="connsiteY1" fmla="*/ 257442 h 257442"/>
                <a:gd name="connsiteX2" fmla="*/ 0 w 2048858"/>
                <a:gd name="connsiteY2" fmla="*/ 257442 h 257442"/>
                <a:gd name="connsiteX3" fmla="*/ 0 w 2048858"/>
                <a:gd name="connsiteY3" fmla="*/ 0 h 257442"/>
                <a:gd name="connsiteX0" fmla="*/ 2048858 w 2048858"/>
                <a:gd name="connsiteY0" fmla="*/ 0 h 257442"/>
                <a:gd name="connsiteX1" fmla="*/ 1994136 w 2048858"/>
                <a:gd name="connsiteY1" fmla="*/ 257442 h 257442"/>
                <a:gd name="connsiteX2" fmla="*/ 0 w 2048858"/>
                <a:gd name="connsiteY2" fmla="*/ 257442 h 257442"/>
                <a:gd name="connsiteX3" fmla="*/ 0 w 2048858"/>
                <a:gd name="connsiteY3" fmla="*/ 0 h 257442"/>
                <a:gd name="connsiteX0" fmla="*/ 2048859 w 2048859"/>
                <a:gd name="connsiteY0" fmla="*/ 0 h 257442"/>
                <a:gd name="connsiteX1" fmla="*/ 1994137 w 2048859"/>
                <a:gd name="connsiteY1" fmla="*/ 257442 h 257442"/>
                <a:gd name="connsiteX2" fmla="*/ 0 w 2048859"/>
                <a:gd name="connsiteY2" fmla="*/ 257442 h 257442"/>
                <a:gd name="connsiteX3" fmla="*/ 1 w 2048859"/>
                <a:gd name="connsiteY3" fmla="*/ 0 h 257442"/>
                <a:gd name="connsiteX0" fmla="*/ 2048859 w 2048859"/>
                <a:gd name="connsiteY0" fmla="*/ 0 h 257442"/>
                <a:gd name="connsiteX1" fmla="*/ 1994137 w 2048859"/>
                <a:gd name="connsiteY1" fmla="*/ 257442 h 257442"/>
                <a:gd name="connsiteX2" fmla="*/ 0 w 2048859"/>
                <a:gd name="connsiteY2" fmla="*/ 257442 h 257442"/>
                <a:gd name="connsiteX3" fmla="*/ 1 w 2048859"/>
                <a:gd name="connsiteY3" fmla="*/ 0 h 257442"/>
                <a:gd name="connsiteX0" fmla="*/ 2209159 w 2209159"/>
                <a:gd name="connsiteY0" fmla="*/ 0 h 257442"/>
                <a:gd name="connsiteX1" fmla="*/ 1994137 w 2209159"/>
                <a:gd name="connsiteY1" fmla="*/ 257442 h 257442"/>
                <a:gd name="connsiteX2" fmla="*/ 0 w 2209159"/>
                <a:gd name="connsiteY2" fmla="*/ 257442 h 257442"/>
                <a:gd name="connsiteX3" fmla="*/ 1 w 2209159"/>
                <a:gd name="connsiteY3" fmla="*/ 0 h 257442"/>
                <a:gd name="connsiteX0" fmla="*/ 2209159 w 2209159"/>
                <a:gd name="connsiteY0" fmla="*/ 0 h 257442"/>
                <a:gd name="connsiteX1" fmla="*/ 2154438 w 2209159"/>
                <a:gd name="connsiteY1" fmla="*/ 257442 h 257442"/>
                <a:gd name="connsiteX2" fmla="*/ 0 w 2209159"/>
                <a:gd name="connsiteY2" fmla="*/ 257442 h 257442"/>
                <a:gd name="connsiteX3" fmla="*/ 1 w 2209159"/>
                <a:gd name="connsiteY3" fmla="*/ 0 h 257442"/>
                <a:gd name="connsiteX0" fmla="*/ 2209158 w 2209158"/>
                <a:gd name="connsiteY0" fmla="*/ 0 h 257442"/>
                <a:gd name="connsiteX1" fmla="*/ 2154437 w 2209158"/>
                <a:gd name="connsiteY1" fmla="*/ 257442 h 257442"/>
                <a:gd name="connsiteX2" fmla="*/ 0 w 2209158"/>
                <a:gd name="connsiteY2" fmla="*/ 257442 h 257442"/>
                <a:gd name="connsiteX3" fmla="*/ 0 w 2209158"/>
                <a:gd name="connsiteY3" fmla="*/ 0 h 257442"/>
                <a:gd name="connsiteX0" fmla="*/ 2209159 w 2209159"/>
                <a:gd name="connsiteY0" fmla="*/ 0 h 257442"/>
                <a:gd name="connsiteX1" fmla="*/ 2154438 w 2209159"/>
                <a:gd name="connsiteY1" fmla="*/ 257442 h 257442"/>
                <a:gd name="connsiteX2" fmla="*/ 1 w 2209159"/>
                <a:gd name="connsiteY2" fmla="*/ 257442 h 257442"/>
                <a:gd name="connsiteX3" fmla="*/ 0 w 2209159"/>
                <a:gd name="connsiteY3" fmla="*/ 0 h 257442"/>
                <a:gd name="connsiteX0" fmla="*/ 2377475 w 2377475"/>
                <a:gd name="connsiteY0" fmla="*/ 0 h 257442"/>
                <a:gd name="connsiteX1" fmla="*/ 2154438 w 2377475"/>
                <a:gd name="connsiteY1" fmla="*/ 257442 h 257442"/>
                <a:gd name="connsiteX2" fmla="*/ 1 w 2377475"/>
                <a:gd name="connsiteY2" fmla="*/ 257442 h 257442"/>
                <a:gd name="connsiteX3" fmla="*/ 0 w 2377475"/>
                <a:gd name="connsiteY3" fmla="*/ 0 h 257442"/>
                <a:gd name="connsiteX0" fmla="*/ 2377475 w 2377475"/>
                <a:gd name="connsiteY0" fmla="*/ 0 h 257442"/>
                <a:gd name="connsiteX1" fmla="*/ 2322754 w 2377475"/>
                <a:gd name="connsiteY1" fmla="*/ 257442 h 257442"/>
                <a:gd name="connsiteX2" fmla="*/ 1 w 2377475"/>
                <a:gd name="connsiteY2" fmla="*/ 257442 h 257442"/>
                <a:gd name="connsiteX3" fmla="*/ 0 w 2377475"/>
                <a:gd name="connsiteY3" fmla="*/ 0 h 257442"/>
                <a:gd name="connsiteX0" fmla="*/ 2377475 w 2377475"/>
                <a:gd name="connsiteY0" fmla="*/ 0 h 257442"/>
                <a:gd name="connsiteX1" fmla="*/ 2322754 w 2377475"/>
                <a:gd name="connsiteY1" fmla="*/ 257442 h 257442"/>
                <a:gd name="connsiteX2" fmla="*/ 1 w 2377475"/>
                <a:gd name="connsiteY2" fmla="*/ 257442 h 257442"/>
                <a:gd name="connsiteX3" fmla="*/ 0 w 2377475"/>
                <a:gd name="connsiteY3" fmla="*/ 0 h 257442"/>
                <a:gd name="connsiteX0" fmla="*/ 2377474 w 2377474"/>
                <a:gd name="connsiteY0" fmla="*/ 0 h 257442"/>
                <a:gd name="connsiteX1" fmla="*/ 2322753 w 2377474"/>
                <a:gd name="connsiteY1" fmla="*/ 257442 h 257442"/>
                <a:gd name="connsiteX2" fmla="*/ 0 w 2377474"/>
                <a:gd name="connsiteY2" fmla="*/ 257442 h 257442"/>
                <a:gd name="connsiteX3" fmla="*/ 0 w 2377474"/>
                <a:gd name="connsiteY3" fmla="*/ 0 h 257442"/>
                <a:gd name="connsiteX0" fmla="*/ 2478461 w 2478461"/>
                <a:gd name="connsiteY0" fmla="*/ 0 h 257442"/>
                <a:gd name="connsiteX1" fmla="*/ 2322753 w 2478461"/>
                <a:gd name="connsiteY1" fmla="*/ 257442 h 257442"/>
                <a:gd name="connsiteX2" fmla="*/ 0 w 2478461"/>
                <a:gd name="connsiteY2" fmla="*/ 257442 h 257442"/>
                <a:gd name="connsiteX3" fmla="*/ 0 w 2478461"/>
                <a:gd name="connsiteY3" fmla="*/ 0 h 257442"/>
                <a:gd name="connsiteX0" fmla="*/ 2478461 w 2478461"/>
                <a:gd name="connsiteY0" fmla="*/ 0 h 257442"/>
                <a:gd name="connsiteX1" fmla="*/ 2423740 w 2478461"/>
                <a:gd name="connsiteY1" fmla="*/ 257442 h 257442"/>
                <a:gd name="connsiteX2" fmla="*/ 0 w 2478461"/>
                <a:gd name="connsiteY2" fmla="*/ 257442 h 257442"/>
                <a:gd name="connsiteX3" fmla="*/ 0 w 2478461"/>
                <a:gd name="connsiteY3" fmla="*/ 0 h 257442"/>
                <a:gd name="connsiteX0" fmla="*/ 2478462 w 2478462"/>
                <a:gd name="connsiteY0" fmla="*/ 0 h 257442"/>
                <a:gd name="connsiteX1" fmla="*/ 2423741 w 2478462"/>
                <a:gd name="connsiteY1" fmla="*/ 257442 h 257442"/>
                <a:gd name="connsiteX2" fmla="*/ 0 w 2478462"/>
                <a:gd name="connsiteY2" fmla="*/ 257442 h 257442"/>
                <a:gd name="connsiteX3" fmla="*/ 1 w 2478462"/>
                <a:gd name="connsiteY3" fmla="*/ 0 h 257442"/>
                <a:gd name="connsiteX0" fmla="*/ 2478462 w 2478462"/>
                <a:gd name="connsiteY0" fmla="*/ 0 h 257442"/>
                <a:gd name="connsiteX1" fmla="*/ 2423741 w 2478462"/>
                <a:gd name="connsiteY1" fmla="*/ 257442 h 257442"/>
                <a:gd name="connsiteX2" fmla="*/ 0 w 2478462"/>
                <a:gd name="connsiteY2" fmla="*/ 257442 h 257442"/>
                <a:gd name="connsiteX3" fmla="*/ 0 w 2478462"/>
                <a:gd name="connsiteY3" fmla="*/ 0 h 257442"/>
                <a:gd name="connsiteX0" fmla="*/ 2377474 w 2423741"/>
                <a:gd name="connsiteY0" fmla="*/ 0 h 257442"/>
                <a:gd name="connsiteX1" fmla="*/ 2423741 w 2423741"/>
                <a:gd name="connsiteY1" fmla="*/ 257442 h 257442"/>
                <a:gd name="connsiteX2" fmla="*/ 0 w 2423741"/>
                <a:gd name="connsiteY2" fmla="*/ 257442 h 257442"/>
                <a:gd name="connsiteX3" fmla="*/ 0 w 2423741"/>
                <a:gd name="connsiteY3" fmla="*/ 0 h 257442"/>
                <a:gd name="connsiteX0" fmla="*/ 2377474 w 2377474"/>
                <a:gd name="connsiteY0" fmla="*/ 0 h 257442"/>
                <a:gd name="connsiteX1" fmla="*/ 2322754 w 2377474"/>
                <a:gd name="connsiteY1" fmla="*/ 257442 h 257442"/>
                <a:gd name="connsiteX2" fmla="*/ 0 w 2377474"/>
                <a:gd name="connsiteY2" fmla="*/ 257442 h 257442"/>
                <a:gd name="connsiteX3" fmla="*/ 0 w 2377474"/>
                <a:gd name="connsiteY3" fmla="*/ 0 h 257442"/>
                <a:gd name="connsiteX0" fmla="*/ 2377474 w 2377474"/>
                <a:gd name="connsiteY0" fmla="*/ 0 h 257442"/>
                <a:gd name="connsiteX1" fmla="*/ 2322754 w 2377474"/>
                <a:gd name="connsiteY1" fmla="*/ 257442 h 257442"/>
                <a:gd name="connsiteX2" fmla="*/ 1 w 2377474"/>
                <a:gd name="connsiteY2" fmla="*/ 257442 h 257442"/>
                <a:gd name="connsiteX3" fmla="*/ 0 w 2377474"/>
                <a:gd name="connsiteY3" fmla="*/ 0 h 257442"/>
                <a:gd name="connsiteX0" fmla="*/ 2377473 w 2377473"/>
                <a:gd name="connsiteY0" fmla="*/ 0 h 257442"/>
                <a:gd name="connsiteX1" fmla="*/ 2322753 w 2377473"/>
                <a:gd name="connsiteY1" fmla="*/ 257442 h 257442"/>
                <a:gd name="connsiteX2" fmla="*/ 0 w 2377473"/>
                <a:gd name="connsiteY2" fmla="*/ 257442 h 257442"/>
                <a:gd name="connsiteX3" fmla="*/ 0 w 2377473"/>
                <a:gd name="connsiteY3" fmla="*/ 0 h 257442"/>
                <a:gd name="connsiteX0" fmla="*/ 2486478 w 2486478"/>
                <a:gd name="connsiteY0" fmla="*/ 0 h 257442"/>
                <a:gd name="connsiteX1" fmla="*/ 2322753 w 2486478"/>
                <a:gd name="connsiteY1" fmla="*/ 257442 h 257442"/>
                <a:gd name="connsiteX2" fmla="*/ 0 w 2486478"/>
                <a:gd name="connsiteY2" fmla="*/ 257442 h 257442"/>
                <a:gd name="connsiteX3" fmla="*/ 0 w 2486478"/>
                <a:gd name="connsiteY3" fmla="*/ 0 h 257442"/>
                <a:gd name="connsiteX0" fmla="*/ 2486478 w 2486478"/>
                <a:gd name="connsiteY0" fmla="*/ 0 h 257442"/>
                <a:gd name="connsiteX1" fmla="*/ 2431756 w 2486478"/>
                <a:gd name="connsiteY1" fmla="*/ 257442 h 257442"/>
                <a:gd name="connsiteX2" fmla="*/ 0 w 2486478"/>
                <a:gd name="connsiteY2" fmla="*/ 257442 h 257442"/>
                <a:gd name="connsiteX3" fmla="*/ 0 w 2486478"/>
                <a:gd name="connsiteY3" fmla="*/ 0 h 257442"/>
                <a:gd name="connsiteX0" fmla="*/ 2486479 w 2486479"/>
                <a:gd name="connsiteY0" fmla="*/ 0 h 257442"/>
                <a:gd name="connsiteX1" fmla="*/ 2431757 w 2486479"/>
                <a:gd name="connsiteY1" fmla="*/ 257442 h 257442"/>
                <a:gd name="connsiteX2" fmla="*/ 0 w 2486479"/>
                <a:gd name="connsiteY2" fmla="*/ 257442 h 257442"/>
                <a:gd name="connsiteX3" fmla="*/ 1 w 2486479"/>
                <a:gd name="connsiteY3" fmla="*/ 0 h 257442"/>
                <a:gd name="connsiteX0" fmla="*/ 2486479 w 2486479"/>
                <a:gd name="connsiteY0" fmla="*/ 0 h 257442"/>
                <a:gd name="connsiteX1" fmla="*/ 2431757 w 2486479"/>
                <a:gd name="connsiteY1" fmla="*/ 257442 h 257442"/>
                <a:gd name="connsiteX2" fmla="*/ 0 w 2486479"/>
                <a:gd name="connsiteY2" fmla="*/ 257442 h 257442"/>
                <a:gd name="connsiteX3" fmla="*/ 1 w 2486479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86479" h="257442">
                  <a:moveTo>
                    <a:pt x="2486479" y="0"/>
                  </a:moveTo>
                  <a:lnTo>
                    <a:pt x="2431757" y="257442"/>
                  </a:lnTo>
                  <a:lnTo>
                    <a:pt x="0" y="25744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24" name="btfpRunningAgenda2LevelTextLeft462810">
              <a:extLst>
                <a:ext uri="{FF2B5EF4-FFF2-40B4-BE49-F238E27FC236}">
                  <a16:creationId xmlns:a16="http://schemas.microsoft.com/office/drawing/2014/main" id="{FE45FD8D-7A76-F924-B8EA-B9E9B0F89E03}"/>
                </a:ext>
              </a:extLst>
            </p:cNvPr>
            <p:cNvSpPr txBox="1"/>
            <p:nvPr/>
          </p:nvSpPr>
          <p:spPr bwMode="gray">
            <a:xfrm>
              <a:off x="0" y="876300"/>
              <a:ext cx="2431757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Web-traffic</a:t>
              </a:r>
            </a:p>
          </p:txBody>
        </p:sp>
        <p:sp>
          <p:nvSpPr>
            <p:cNvPr id="25" name="btfpRunningAgenda2LevelBarRight462810">
              <a:extLst>
                <a:ext uri="{FF2B5EF4-FFF2-40B4-BE49-F238E27FC236}">
                  <a16:creationId xmlns:a16="http://schemas.microsoft.com/office/drawing/2014/main" id="{819AFF50-6D4D-6420-E643-F8B2A4907F01}"/>
                </a:ext>
              </a:extLst>
            </p:cNvPr>
            <p:cNvSpPr/>
            <p:nvPr/>
          </p:nvSpPr>
          <p:spPr bwMode="gray">
            <a:xfrm>
              <a:off x="2351636" y="876300"/>
              <a:ext cx="2310148" cy="257442"/>
            </a:xfrm>
            <a:custGeom>
              <a:avLst/>
              <a:gdLst>
                <a:gd name="connsiteX0" fmla="*/ 942786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42786 w 2313135"/>
                <a:gd name="connsiteY0" fmla="*/ 0 h 257442"/>
                <a:gd name="connsiteX1" fmla="*/ 888065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4 w 942785"/>
                <a:gd name="connsiteY1" fmla="*/ 257442 h 257442"/>
                <a:gd name="connsiteX2" fmla="*/ 0 w 942785"/>
                <a:gd name="connsiteY2" fmla="*/ 257442 h 257442"/>
                <a:gd name="connsiteX3" fmla="*/ 54721 w 942785"/>
                <a:gd name="connsiteY3" fmla="*/ 0 h 257442"/>
                <a:gd name="connsiteX0" fmla="*/ 1103086 w 1103086"/>
                <a:gd name="connsiteY0" fmla="*/ 0 h 257442"/>
                <a:gd name="connsiteX1" fmla="*/ 888064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6 w 1103086"/>
                <a:gd name="connsiteY0" fmla="*/ 0 h 257442"/>
                <a:gd name="connsiteX1" fmla="*/ 1048364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7 w 1103087"/>
                <a:gd name="connsiteY0" fmla="*/ 0 h 257442"/>
                <a:gd name="connsiteX1" fmla="*/ 1048365 w 1103087"/>
                <a:gd name="connsiteY1" fmla="*/ 257442 h 257442"/>
                <a:gd name="connsiteX2" fmla="*/ 0 w 1103087"/>
                <a:gd name="connsiteY2" fmla="*/ 257442 h 257442"/>
                <a:gd name="connsiteX3" fmla="*/ 54722 w 1103087"/>
                <a:gd name="connsiteY3" fmla="*/ 0 h 257442"/>
                <a:gd name="connsiteX0" fmla="*/ 1103087 w 1103087"/>
                <a:gd name="connsiteY0" fmla="*/ 0 h 257442"/>
                <a:gd name="connsiteX1" fmla="*/ 1048365 w 1103087"/>
                <a:gd name="connsiteY1" fmla="*/ 257442 h 257442"/>
                <a:gd name="connsiteX2" fmla="*/ 0 w 1103087"/>
                <a:gd name="connsiteY2" fmla="*/ 257442 h 257442"/>
                <a:gd name="connsiteX3" fmla="*/ 54722 w 1103087"/>
                <a:gd name="connsiteY3" fmla="*/ 0 h 257442"/>
                <a:gd name="connsiteX0" fmla="*/ 1263387 w 1263387"/>
                <a:gd name="connsiteY0" fmla="*/ 0 h 257442"/>
                <a:gd name="connsiteX1" fmla="*/ 1048365 w 1263387"/>
                <a:gd name="connsiteY1" fmla="*/ 257442 h 257442"/>
                <a:gd name="connsiteX2" fmla="*/ 0 w 1263387"/>
                <a:gd name="connsiteY2" fmla="*/ 257442 h 257442"/>
                <a:gd name="connsiteX3" fmla="*/ 54722 w 1263387"/>
                <a:gd name="connsiteY3" fmla="*/ 0 h 257442"/>
                <a:gd name="connsiteX0" fmla="*/ 1263387 w 1263387"/>
                <a:gd name="connsiteY0" fmla="*/ 0 h 257442"/>
                <a:gd name="connsiteX1" fmla="*/ 1208666 w 1263387"/>
                <a:gd name="connsiteY1" fmla="*/ 257442 h 257442"/>
                <a:gd name="connsiteX2" fmla="*/ 0 w 1263387"/>
                <a:gd name="connsiteY2" fmla="*/ 257442 h 257442"/>
                <a:gd name="connsiteX3" fmla="*/ 54722 w 1263387"/>
                <a:gd name="connsiteY3" fmla="*/ 0 h 257442"/>
                <a:gd name="connsiteX0" fmla="*/ 1263386 w 1263386"/>
                <a:gd name="connsiteY0" fmla="*/ 0 h 257442"/>
                <a:gd name="connsiteX1" fmla="*/ 1208665 w 1263386"/>
                <a:gd name="connsiteY1" fmla="*/ 257442 h 257442"/>
                <a:gd name="connsiteX2" fmla="*/ 0 w 1263386"/>
                <a:gd name="connsiteY2" fmla="*/ 257442 h 257442"/>
                <a:gd name="connsiteX3" fmla="*/ 54721 w 1263386"/>
                <a:gd name="connsiteY3" fmla="*/ 0 h 257442"/>
                <a:gd name="connsiteX0" fmla="*/ 1263386 w 1263386"/>
                <a:gd name="connsiteY0" fmla="*/ 0 h 257442"/>
                <a:gd name="connsiteX1" fmla="*/ 1208665 w 1263386"/>
                <a:gd name="connsiteY1" fmla="*/ 257442 h 257442"/>
                <a:gd name="connsiteX2" fmla="*/ 0 w 1263386"/>
                <a:gd name="connsiteY2" fmla="*/ 257442 h 257442"/>
                <a:gd name="connsiteX3" fmla="*/ 54720 w 1263386"/>
                <a:gd name="connsiteY3" fmla="*/ 0 h 257442"/>
                <a:gd name="connsiteX0" fmla="*/ 1431701 w 1431701"/>
                <a:gd name="connsiteY0" fmla="*/ 0 h 257442"/>
                <a:gd name="connsiteX1" fmla="*/ 1208665 w 1431701"/>
                <a:gd name="connsiteY1" fmla="*/ 257442 h 257442"/>
                <a:gd name="connsiteX2" fmla="*/ 0 w 1431701"/>
                <a:gd name="connsiteY2" fmla="*/ 257442 h 257442"/>
                <a:gd name="connsiteX3" fmla="*/ 54720 w 1431701"/>
                <a:gd name="connsiteY3" fmla="*/ 0 h 257442"/>
                <a:gd name="connsiteX0" fmla="*/ 1431701 w 1431701"/>
                <a:gd name="connsiteY0" fmla="*/ 0 h 257442"/>
                <a:gd name="connsiteX1" fmla="*/ 1376980 w 1431701"/>
                <a:gd name="connsiteY1" fmla="*/ 257442 h 257442"/>
                <a:gd name="connsiteX2" fmla="*/ 0 w 1431701"/>
                <a:gd name="connsiteY2" fmla="*/ 257442 h 257442"/>
                <a:gd name="connsiteX3" fmla="*/ 54720 w 1431701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54721 w 1431702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54721 w 1431702"/>
                <a:gd name="connsiteY3" fmla="*/ 0 h 257442"/>
                <a:gd name="connsiteX0" fmla="*/ 1600017 w 1600017"/>
                <a:gd name="connsiteY0" fmla="*/ 0 h 257442"/>
                <a:gd name="connsiteX1" fmla="*/ 1376981 w 1600017"/>
                <a:gd name="connsiteY1" fmla="*/ 257442 h 257442"/>
                <a:gd name="connsiteX2" fmla="*/ 0 w 1600017"/>
                <a:gd name="connsiteY2" fmla="*/ 257442 h 257442"/>
                <a:gd name="connsiteX3" fmla="*/ 54721 w 1600017"/>
                <a:gd name="connsiteY3" fmla="*/ 0 h 257442"/>
                <a:gd name="connsiteX0" fmla="*/ 1600017 w 1600017"/>
                <a:gd name="connsiteY0" fmla="*/ 0 h 257442"/>
                <a:gd name="connsiteX1" fmla="*/ 1545296 w 1600017"/>
                <a:gd name="connsiteY1" fmla="*/ 257442 h 257442"/>
                <a:gd name="connsiteX2" fmla="*/ 0 w 1600017"/>
                <a:gd name="connsiteY2" fmla="*/ 257442 h 257442"/>
                <a:gd name="connsiteX3" fmla="*/ 54721 w 1600017"/>
                <a:gd name="connsiteY3" fmla="*/ 0 h 257442"/>
                <a:gd name="connsiteX0" fmla="*/ 1600017 w 1600017"/>
                <a:gd name="connsiteY0" fmla="*/ 0 h 257442"/>
                <a:gd name="connsiteX1" fmla="*/ 1545296 w 1600017"/>
                <a:gd name="connsiteY1" fmla="*/ 257442 h 257442"/>
                <a:gd name="connsiteX2" fmla="*/ 0 w 1600017"/>
                <a:gd name="connsiteY2" fmla="*/ 257442 h 257442"/>
                <a:gd name="connsiteX3" fmla="*/ 54721 w 1600017"/>
                <a:gd name="connsiteY3" fmla="*/ 0 h 257442"/>
                <a:gd name="connsiteX0" fmla="*/ 1600017 w 1600017"/>
                <a:gd name="connsiteY0" fmla="*/ 0 h 257442"/>
                <a:gd name="connsiteX1" fmla="*/ 1545296 w 1600017"/>
                <a:gd name="connsiteY1" fmla="*/ 257442 h 257442"/>
                <a:gd name="connsiteX2" fmla="*/ 0 w 1600017"/>
                <a:gd name="connsiteY2" fmla="*/ 257442 h 257442"/>
                <a:gd name="connsiteX3" fmla="*/ 54721 w 1600017"/>
                <a:gd name="connsiteY3" fmla="*/ 0 h 257442"/>
                <a:gd name="connsiteX0" fmla="*/ 1853291 w 1853291"/>
                <a:gd name="connsiteY0" fmla="*/ 0 h 257442"/>
                <a:gd name="connsiteX1" fmla="*/ 1545296 w 1853291"/>
                <a:gd name="connsiteY1" fmla="*/ 257442 h 257442"/>
                <a:gd name="connsiteX2" fmla="*/ 0 w 1853291"/>
                <a:gd name="connsiteY2" fmla="*/ 257442 h 257442"/>
                <a:gd name="connsiteX3" fmla="*/ 54721 w 1853291"/>
                <a:gd name="connsiteY3" fmla="*/ 0 h 257442"/>
                <a:gd name="connsiteX0" fmla="*/ 1853291 w 1853291"/>
                <a:gd name="connsiteY0" fmla="*/ 0 h 257442"/>
                <a:gd name="connsiteX1" fmla="*/ 1798570 w 1853291"/>
                <a:gd name="connsiteY1" fmla="*/ 257442 h 257442"/>
                <a:gd name="connsiteX2" fmla="*/ 0 w 1853291"/>
                <a:gd name="connsiteY2" fmla="*/ 257442 h 257442"/>
                <a:gd name="connsiteX3" fmla="*/ 54721 w 1853291"/>
                <a:gd name="connsiteY3" fmla="*/ 0 h 257442"/>
                <a:gd name="connsiteX0" fmla="*/ 1853291 w 1853291"/>
                <a:gd name="connsiteY0" fmla="*/ 0 h 257442"/>
                <a:gd name="connsiteX1" fmla="*/ 1798570 w 1853291"/>
                <a:gd name="connsiteY1" fmla="*/ 257442 h 257442"/>
                <a:gd name="connsiteX2" fmla="*/ 0 w 1853291"/>
                <a:gd name="connsiteY2" fmla="*/ 257442 h 257442"/>
                <a:gd name="connsiteX3" fmla="*/ 54721 w 1853291"/>
                <a:gd name="connsiteY3" fmla="*/ 0 h 257442"/>
                <a:gd name="connsiteX0" fmla="*/ 1853291 w 1853291"/>
                <a:gd name="connsiteY0" fmla="*/ 0 h 257442"/>
                <a:gd name="connsiteX1" fmla="*/ 1798570 w 1853291"/>
                <a:gd name="connsiteY1" fmla="*/ 257442 h 257442"/>
                <a:gd name="connsiteX2" fmla="*/ 0 w 1853291"/>
                <a:gd name="connsiteY2" fmla="*/ 257442 h 257442"/>
                <a:gd name="connsiteX3" fmla="*/ 54721 w 1853291"/>
                <a:gd name="connsiteY3" fmla="*/ 0 h 257442"/>
                <a:gd name="connsiteX0" fmla="*/ 2013592 w 2013592"/>
                <a:gd name="connsiteY0" fmla="*/ 0 h 257442"/>
                <a:gd name="connsiteX1" fmla="*/ 1798570 w 2013592"/>
                <a:gd name="connsiteY1" fmla="*/ 257442 h 257442"/>
                <a:gd name="connsiteX2" fmla="*/ 0 w 2013592"/>
                <a:gd name="connsiteY2" fmla="*/ 257442 h 257442"/>
                <a:gd name="connsiteX3" fmla="*/ 54721 w 2013592"/>
                <a:gd name="connsiteY3" fmla="*/ 0 h 257442"/>
                <a:gd name="connsiteX0" fmla="*/ 2013592 w 2013592"/>
                <a:gd name="connsiteY0" fmla="*/ 0 h 257442"/>
                <a:gd name="connsiteX1" fmla="*/ 1958870 w 2013592"/>
                <a:gd name="connsiteY1" fmla="*/ 257442 h 257442"/>
                <a:gd name="connsiteX2" fmla="*/ 0 w 2013592"/>
                <a:gd name="connsiteY2" fmla="*/ 257442 h 257442"/>
                <a:gd name="connsiteX3" fmla="*/ 54721 w 2013592"/>
                <a:gd name="connsiteY3" fmla="*/ 0 h 257442"/>
                <a:gd name="connsiteX0" fmla="*/ 2013593 w 2013593"/>
                <a:gd name="connsiteY0" fmla="*/ 0 h 257442"/>
                <a:gd name="connsiteX1" fmla="*/ 1958871 w 2013593"/>
                <a:gd name="connsiteY1" fmla="*/ 257442 h 257442"/>
                <a:gd name="connsiteX2" fmla="*/ 0 w 2013593"/>
                <a:gd name="connsiteY2" fmla="*/ 257442 h 257442"/>
                <a:gd name="connsiteX3" fmla="*/ 54722 w 2013593"/>
                <a:gd name="connsiteY3" fmla="*/ 0 h 257442"/>
                <a:gd name="connsiteX0" fmla="*/ 2013593 w 2013593"/>
                <a:gd name="connsiteY0" fmla="*/ 0 h 257442"/>
                <a:gd name="connsiteX1" fmla="*/ 1958871 w 2013593"/>
                <a:gd name="connsiteY1" fmla="*/ 257442 h 257442"/>
                <a:gd name="connsiteX2" fmla="*/ 0 w 2013593"/>
                <a:gd name="connsiteY2" fmla="*/ 257442 h 257442"/>
                <a:gd name="connsiteX3" fmla="*/ 54722 w 2013593"/>
                <a:gd name="connsiteY3" fmla="*/ 0 h 257442"/>
                <a:gd name="connsiteX0" fmla="*/ 2173893 w 2173893"/>
                <a:gd name="connsiteY0" fmla="*/ 0 h 257442"/>
                <a:gd name="connsiteX1" fmla="*/ 1958871 w 2173893"/>
                <a:gd name="connsiteY1" fmla="*/ 257442 h 257442"/>
                <a:gd name="connsiteX2" fmla="*/ 0 w 2173893"/>
                <a:gd name="connsiteY2" fmla="*/ 257442 h 257442"/>
                <a:gd name="connsiteX3" fmla="*/ 54722 w 2173893"/>
                <a:gd name="connsiteY3" fmla="*/ 0 h 257442"/>
                <a:gd name="connsiteX0" fmla="*/ 2173893 w 2173893"/>
                <a:gd name="connsiteY0" fmla="*/ 0 h 257442"/>
                <a:gd name="connsiteX1" fmla="*/ 2119172 w 2173893"/>
                <a:gd name="connsiteY1" fmla="*/ 257442 h 257442"/>
                <a:gd name="connsiteX2" fmla="*/ 0 w 2173893"/>
                <a:gd name="connsiteY2" fmla="*/ 257442 h 257442"/>
                <a:gd name="connsiteX3" fmla="*/ 54722 w 2173893"/>
                <a:gd name="connsiteY3" fmla="*/ 0 h 257442"/>
                <a:gd name="connsiteX0" fmla="*/ 2173892 w 2173892"/>
                <a:gd name="connsiteY0" fmla="*/ 0 h 257442"/>
                <a:gd name="connsiteX1" fmla="*/ 2119171 w 2173892"/>
                <a:gd name="connsiteY1" fmla="*/ 257442 h 257442"/>
                <a:gd name="connsiteX2" fmla="*/ 0 w 2173892"/>
                <a:gd name="connsiteY2" fmla="*/ 257442 h 257442"/>
                <a:gd name="connsiteX3" fmla="*/ 54721 w 2173892"/>
                <a:gd name="connsiteY3" fmla="*/ 0 h 257442"/>
                <a:gd name="connsiteX0" fmla="*/ 2173892 w 2173892"/>
                <a:gd name="connsiteY0" fmla="*/ 0 h 257442"/>
                <a:gd name="connsiteX1" fmla="*/ 2119171 w 2173892"/>
                <a:gd name="connsiteY1" fmla="*/ 257442 h 257442"/>
                <a:gd name="connsiteX2" fmla="*/ 0 w 2173892"/>
                <a:gd name="connsiteY2" fmla="*/ 257442 h 257442"/>
                <a:gd name="connsiteX3" fmla="*/ 54720 w 2173892"/>
                <a:gd name="connsiteY3" fmla="*/ 0 h 257442"/>
                <a:gd name="connsiteX0" fmla="*/ 2435181 w 2435181"/>
                <a:gd name="connsiteY0" fmla="*/ 0 h 257442"/>
                <a:gd name="connsiteX1" fmla="*/ 2119171 w 2435181"/>
                <a:gd name="connsiteY1" fmla="*/ 257442 h 257442"/>
                <a:gd name="connsiteX2" fmla="*/ 0 w 2435181"/>
                <a:gd name="connsiteY2" fmla="*/ 257442 h 257442"/>
                <a:gd name="connsiteX3" fmla="*/ 54720 w 2435181"/>
                <a:gd name="connsiteY3" fmla="*/ 0 h 257442"/>
                <a:gd name="connsiteX0" fmla="*/ 2435181 w 2435181"/>
                <a:gd name="connsiteY0" fmla="*/ 0 h 257442"/>
                <a:gd name="connsiteX1" fmla="*/ 2380460 w 2435181"/>
                <a:gd name="connsiteY1" fmla="*/ 257442 h 257442"/>
                <a:gd name="connsiteX2" fmla="*/ 0 w 2435181"/>
                <a:gd name="connsiteY2" fmla="*/ 257442 h 257442"/>
                <a:gd name="connsiteX3" fmla="*/ 54720 w 2435181"/>
                <a:gd name="connsiteY3" fmla="*/ 0 h 257442"/>
                <a:gd name="connsiteX0" fmla="*/ 2435182 w 2435182"/>
                <a:gd name="connsiteY0" fmla="*/ 0 h 257442"/>
                <a:gd name="connsiteX1" fmla="*/ 2380461 w 2435182"/>
                <a:gd name="connsiteY1" fmla="*/ 257442 h 257442"/>
                <a:gd name="connsiteX2" fmla="*/ 0 w 2435182"/>
                <a:gd name="connsiteY2" fmla="*/ 257442 h 257442"/>
                <a:gd name="connsiteX3" fmla="*/ 54721 w 2435182"/>
                <a:gd name="connsiteY3" fmla="*/ 0 h 257442"/>
                <a:gd name="connsiteX0" fmla="*/ 2435182 w 2435182"/>
                <a:gd name="connsiteY0" fmla="*/ 0 h 257442"/>
                <a:gd name="connsiteX1" fmla="*/ 2380461 w 2435182"/>
                <a:gd name="connsiteY1" fmla="*/ 257442 h 257442"/>
                <a:gd name="connsiteX2" fmla="*/ 0 w 2435182"/>
                <a:gd name="connsiteY2" fmla="*/ 257442 h 257442"/>
                <a:gd name="connsiteX3" fmla="*/ 54721 w 2435182"/>
                <a:gd name="connsiteY3" fmla="*/ 0 h 257442"/>
                <a:gd name="connsiteX0" fmla="*/ 2603497 w 2603497"/>
                <a:gd name="connsiteY0" fmla="*/ 0 h 257442"/>
                <a:gd name="connsiteX1" fmla="*/ 2380461 w 2603497"/>
                <a:gd name="connsiteY1" fmla="*/ 257442 h 257442"/>
                <a:gd name="connsiteX2" fmla="*/ 0 w 2603497"/>
                <a:gd name="connsiteY2" fmla="*/ 257442 h 257442"/>
                <a:gd name="connsiteX3" fmla="*/ 54721 w 2603497"/>
                <a:gd name="connsiteY3" fmla="*/ 0 h 257442"/>
                <a:gd name="connsiteX0" fmla="*/ 2603497 w 2603497"/>
                <a:gd name="connsiteY0" fmla="*/ 0 h 257442"/>
                <a:gd name="connsiteX1" fmla="*/ 2548776 w 2603497"/>
                <a:gd name="connsiteY1" fmla="*/ 257442 h 257442"/>
                <a:gd name="connsiteX2" fmla="*/ 0 w 2603497"/>
                <a:gd name="connsiteY2" fmla="*/ 257442 h 257442"/>
                <a:gd name="connsiteX3" fmla="*/ 54721 w 2603497"/>
                <a:gd name="connsiteY3" fmla="*/ 0 h 257442"/>
                <a:gd name="connsiteX0" fmla="*/ 2603497 w 2603497"/>
                <a:gd name="connsiteY0" fmla="*/ 0 h 257442"/>
                <a:gd name="connsiteX1" fmla="*/ 2548776 w 2603497"/>
                <a:gd name="connsiteY1" fmla="*/ 257442 h 257442"/>
                <a:gd name="connsiteX2" fmla="*/ 0 w 2603497"/>
                <a:gd name="connsiteY2" fmla="*/ 257442 h 257442"/>
                <a:gd name="connsiteX3" fmla="*/ 54721 w 2603497"/>
                <a:gd name="connsiteY3" fmla="*/ 0 h 257442"/>
                <a:gd name="connsiteX0" fmla="*/ 2603497 w 2603497"/>
                <a:gd name="connsiteY0" fmla="*/ 0 h 257442"/>
                <a:gd name="connsiteX1" fmla="*/ 2548776 w 2603497"/>
                <a:gd name="connsiteY1" fmla="*/ 257442 h 257442"/>
                <a:gd name="connsiteX2" fmla="*/ 0 w 2603497"/>
                <a:gd name="connsiteY2" fmla="*/ 257442 h 257442"/>
                <a:gd name="connsiteX3" fmla="*/ 54721 w 2603497"/>
                <a:gd name="connsiteY3" fmla="*/ 0 h 257442"/>
                <a:gd name="connsiteX0" fmla="*/ 2789445 w 2789445"/>
                <a:gd name="connsiteY0" fmla="*/ 0 h 257442"/>
                <a:gd name="connsiteX1" fmla="*/ 2548776 w 2789445"/>
                <a:gd name="connsiteY1" fmla="*/ 257442 h 257442"/>
                <a:gd name="connsiteX2" fmla="*/ 0 w 2789445"/>
                <a:gd name="connsiteY2" fmla="*/ 257442 h 257442"/>
                <a:gd name="connsiteX3" fmla="*/ 54721 w 2789445"/>
                <a:gd name="connsiteY3" fmla="*/ 0 h 257442"/>
                <a:gd name="connsiteX0" fmla="*/ 2789445 w 2789445"/>
                <a:gd name="connsiteY0" fmla="*/ 0 h 257442"/>
                <a:gd name="connsiteX1" fmla="*/ 2734724 w 2789445"/>
                <a:gd name="connsiteY1" fmla="*/ 257442 h 257442"/>
                <a:gd name="connsiteX2" fmla="*/ 0 w 2789445"/>
                <a:gd name="connsiteY2" fmla="*/ 257442 h 257442"/>
                <a:gd name="connsiteX3" fmla="*/ 54721 w 2789445"/>
                <a:gd name="connsiteY3" fmla="*/ 0 h 257442"/>
                <a:gd name="connsiteX0" fmla="*/ 2789445 w 2789445"/>
                <a:gd name="connsiteY0" fmla="*/ 0 h 257442"/>
                <a:gd name="connsiteX1" fmla="*/ 2734724 w 2789445"/>
                <a:gd name="connsiteY1" fmla="*/ 257442 h 257442"/>
                <a:gd name="connsiteX2" fmla="*/ 0 w 2789445"/>
                <a:gd name="connsiteY2" fmla="*/ 257442 h 257442"/>
                <a:gd name="connsiteX3" fmla="*/ 54721 w 2789445"/>
                <a:gd name="connsiteY3" fmla="*/ 0 h 257442"/>
                <a:gd name="connsiteX0" fmla="*/ 2789445 w 2789445"/>
                <a:gd name="connsiteY0" fmla="*/ 0 h 257442"/>
                <a:gd name="connsiteX1" fmla="*/ 2734724 w 2789445"/>
                <a:gd name="connsiteY1" fmla="*/ 257442 h 257442"/>
                <a:gd name="connsiteX2" fmla="*/ 0 w 2789445"/>
                <a:gd name="connsiteY2" fmla="*/ 257442 h 257442"/>
                <a:gd name="connsiteX3" fmla="*/ 54721 w 2789445"/>
                <a:gd name="connsiteY3" fmla="*/ 0 h 257442"/>
                <a:gd name="connsiteX0" fmla="*/ 2975393 w 2975393"/>
                <a:gd name="connsiteY0" fmla="*/ 0 h 257442"/>
                <a:gd name="connsiteX1" fmla="*/ 2734724 w 2975393"/>
                <a:gd name="connsiteY1" fmla="*/ 257442 h 257442"/>
                <a:gd name="connsiteX2" fmla="*/ 0 w 2975393"/>
                <a:gd name="connsiteY2" fmla="*/ 257442 h 257442"/>
                <a:gd name="connsiteX3" fmla="*/ 54721 w 2975393"/>
                <a:gd name="connsiteY3" fmla="*/ 0 h 257442"/>
                <a:gd name="connsiteX0" fmla="*/ 2975393 w 2975393"/>
                <a:gd name="connsiteY0" fmla="*/ 0 h 257442"/>
                <a:gd name="connsiteX1" fmla="*/ 2920672 w 2975393"/>
                <a:gd name="connsiteY1" fmla="*/ 257442 h 257442"/>
                <a:gd name="connsiteX2" fmla="*/ 0 w 2975393"/>
                <a:gd name="connsiteY2" fmla="*/ 257442 h 257442"/>
                <a:gd name="connsiteX3" fmla="*/ 54721 w 2975393"/>
                <a:gd name="connsiteY3" fmla="*/ 0 h 257442"/>
                <a:gd name="connsiteX0" fmla="*/ 2975393 w 2975393"/>
                <a:gd name="connsiteY0" fmla="*/ 0 h 257442"/>
                <a:gd name="connsiteX1" fmla="*/ 2920672 w 2975393"/>
                <a:gd name="connsiteY1" fmla="*/ 257442 h 257442"/>
                <a:gd name="connsiteX2" fmla="*/ 0 w 2975393"/>
                <a:gd name="connsiteY2" fmla="*/ 257442 h 257442"/>
                <a:gd name="connsiteX3" fmla="*/ 54721 w 2975393"/>
                <a:gd name="connsiteY3" fmla="*/ 0 h 257442"/>
                <a:gd name="connsiteX0" fmla="*/ 2975393 w 2975393"/>
                <a:gd name="connsiteY0" fmla="*/ 0 h 257442"/>
                <a:gd name="connsiteX1" fmla="*/ 2920672 w 2975393"/>
                <a:gd name="connsiteY1" fmla="*/ 257442 h 257442"/>
                <a:gd name="connsiteX2" fmla="*/ 0 w 2975393"/>
                <a:gd name="connsiteY2" fmla="*/ 257442 h 257442"/>
                <a:gd name="connsiteX3" fmla="*/ 54721 w 2975393"/>
                <a:gd name="connsiteY3" fmla="*/ 0 h 257442"/>
                <a:gd name="connsiteX0" fmla="*/ 3143709 w 3143709"/>
                <a:gd name="connsiteY0" fmla="*/ 0 h 257442"/>
                <a:gd name="connsiteX1" fmla="*/ 2920672 w 3143709"/>
                <a:gd name="connsiteY1" fmla="*/ 257442 h 257442"/>
                <a:gd name="connsiteX2" fmla="*/ 0 w 3143709"/>
                <a:gd name="connsiteY2" fmla="*/ 257442 h 257442"/>
                <a:gd name="connsiteX3" fmla="*/ 54721 w 3143709"/>
                <a:gd name="connsiteY3" fmla="*/ 0 h 257442"/>
                <a:gd name="connsiteX0" fmla="*/ 3143709 w 3143709"/>
                <a:gd name="connsiteY0" fmla="*/ 0 h 257442"/>
                <a:gd name="connsiteX1" fmla="*/ 3088988 w 3143709"/>
                <a:gd name="connsiteY1" fmla="*/ 257442 h 257442"/>
                <a:gd name="connsiteX2" fmla="*/ 0 w 3143709"/>
                <a:gd name="connsiteY2" fmla="*/ 257442 h 257442"/>
                <a:gd name="connsiteX3" fmla="*/ 54721 w 3143709"/>
                <a:gd name="connsiteY3" fmla="*/ 0 h 257442"/>
                <a:gd name="connsiteX0" fmla="*/ 3143709 w 3143709"/>
                <a:gd name="connsiteY0" fmla="*/ 0 h 257442"/>
                <a:gd name="connsiteX1" fmla="*/ 3088988 w 3143709"/>
                <a:gd name="connsiteY1" fmla="*/ 257442 h 257442"/>
                <a:gd name="connsiteX2" fmla="*/ 0 w 3143709"/>
                <a:gd name="connsiteY2" fmla="*/ 257442 h 257442"/>
                <a:gd name="connsiteX3" fmla="*/ 54721 w 3143709"/>
                <a:gd name="connsiteY3" fmla="*/ 0 h 257442"/>
                <a:gd name="connsiteX0" fmla="*/ 3143709 w 3143709"/>
                <a:gd name="connsiteY0" fmla="*/ 0 h 257442"/>
                <a:gd name="connsiteX1" fmla="*/ 3088988 w 3143709"/>
                <a:gd name="connsiteY1" fmla="*/ 257442 h 257442"/>
                <a:gd name="connsiteX2" fmla="*/ 0 w 3143709"/>
                <a:gd name="connsiteY2" fmla="*/ 257442 h 257442"/>
                <a:gd name="connsiteX3" fmla="*/ 54721 w 3143709"/>
                <a:gd name="connsiteY3" fmla="*/ 0 h 257442"/>
                <a:gd name="connsiteX0" fmla="*/ 3312024 w 3312024"/>
                <a:gd name="connsiteY0" fmla="*/ 0 h 257442"/>
                <a:gd name="connsiteX1" fmla="*/ 3088988 w 3312024"/>
                <a:gd name="connsiteY1" fmla="*/ 257442 h 257442"/>
                <a:gd name="connsiteX2" fmla="*/ 0 w 3312024"/>
                <a:gd name="connsiteY2" fmla="*/ 257442 h 257442"/>
                <a:gd name="connsiteX3" fmla="*/ 54721 w 3312024"/>
                <a:gd name="connsiteY3" fmla="*/ 0 h 257442"/>
                <a:gd name="connsiteX0" fmla="*/ 3312024 w 3312024"/>
                <a:gd name="connsiteY0" fmla="*/ 0 h 257442"/>
                <a:gd name="connsiteX1" fmla="*/ 3257302 w 3312024"/>
                <a:gd name="connsiteY1" fmla="*/ 257442 h 257442"/>
                <a:gd name="connsiteX2" fmla="*/ 0 w 3312024"/>
                <a:gd name="connsiteY2" fmla="*/ 257442 h 257442"/>
                <a:gd name="connsiteX3" fmla="*/ 54721 w 3312024"/>
                <a:gd name="connsiteY3" fmla="*/ 0 h 257442"/>
                <a:gd name="connsiteX0" fmla="*/ 3312025 w 3312025"/>
                <a:gd name="connsiteY0" fmla="*/ 0 h 257442"/>
                <a:gd name="connsiteX1" fmla="*/ 3257303 w 3312025"/>
                <a:gd name="connsiteY1" fmla="*/ 257442 h 257442"/>
                <a:gd name="connsiteX2" fmla="*/ 0 w 3312025"/>
                <a:gd name="connsiteY2" fmla="*/ 257442 h 257442"/>
                <a:gd name="connsiteX3" fmla="*/ 54722 w 3312025"/>
                <a:gd name="connsiteY3" fmla="*/ 0 h 257442"/>
                <a:gd name="connsiteX0" fmla="*/ 3312025 w 3312025"/>
                <a:gd name="connsiteY0" fmla="*/ 0 h 257442"/>
                <a:gd name="connsiteX1" fmla="*/ 3257303 w 3312025"/>
                <a:gd name="connsiteY1" fmla="*/ 257442 h 257442"/>
                <a:gd name="connsiteX2" fmla="*/ 0 w 3312025"/>
                <a:gd name="connsiteY2" fmla="*/ 257442 h 257442"/>
                <a:gd name="connsiteX3" fmla="*/ 54722 w 3312025"/>
                <a:gd name="connsiteY3" fmla="*/ 0 h 257442"/>
                <a:gd name="connsiteX0" fmla="*/ 950802 w 3257303"/>
                <a:gd name="connsiteY0" fmla="*/ 0 h 257442"/>
                <a:gd name="connsiteX1" fmla="*/ 3257303 w 3257303"/>
                <a:gd name="connsiteY1" fmla="*/ 257442 h 257442"/>
                <a:gd name="connsiteX2" fmla="*/ 0 w 3257303"/>
                <a:gd name="connsiteY2" fmla="*/ 257442 h 257442"/>
                <a:gd name="connsiteX3" fmla="*/ 54722 w 3257303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0 w 950802"/>
                <a:gd name="connsiteY2" fmla="*/ 257442 h 257442"/>
                <a:gd name="connsiteX3" fmla="*/ 54722 w 95080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1119116 w 1119116"/>
                <a:gd name="connsiteY0" fmla="*/ 0 h 257442"/>
                <a:gd name="connsiteX1" fmla="*/ 896080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119116 w 1119116"/>
                <a:gd name="connsiteY0" fmla="*/ 0 h 257442"/>
                <a:gd name="connsiteX1" fmla="*/ 1064394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54722 w 1119117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54722 w 1119117"/>
                <a:gd name="connsiteY3" fmla="*/ 0 h 257442"/>
                <a:gd name="connsiteX0" fmla="*/ 1287433 w 1287433"/>
                <a:gd name="connsiteY0" fmla="*/ 0 h 257442"/>
                <a:gd name="connsiteX1" fmla="*/ 1064395 w 1287433"/>
                <a:gd name="connsiteY1" fmla="*/ 257442 h 257442"/>
                <a:gd name="connsiteX2" fmla="*/ 0 w 1287433"/>
                <a:gd name="connsiteY2" fmla="*/ 257442 h 257442"/>
                <a:gd name="connsiteX3" fmla="*/ 54722 w 1287433"/>
                <a:gd name="connsiteY3" fmla="*/ 0 h 257442"/>
                <a:gd name="connsiteX0" fmla="*/ 1287433 w 1287433"/>
                <a:gd name="connsiteY0" fmla="*/ 0 h 257442"/>
                <a:gd name="connsiteX1" fmla="*/ 1232712 w 1287433"/>
                <a:gd name="connsiteY1" fmla="*/ 257442 h 257442"/>
                <a:gd name="connsiteX2" fmla="*/ 0 w 1287433"/>
                <a:gd name="connsiteY2" fmla="*/ 257442 h 257442"/>
                <a:gd name="connsiteX3" fmla="*/ 54722 w 1287433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54721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54720 w 1287432"/>
                <a:gd name="connsiteY3" fmla="*/ 0 h 257442"/>
                <a:gd name="connsiteX0" fmla="*/ 1455746 w 1455746"/>
                <a:gd name="connsiteY0" fmla="*/ 0 h 257442"/>
                <a:gd name="connsiteX1" fmla="*/ 1232711 w 1455746"/>
                <a:gd name="connsiteY1" fmla="*/ 257442 h 257442"/>
                <a:gd name="connsiteX2" fmla="*/ 0 w 1455746"/>
                <a:gd name="connsiteY2" fmla="*/ 257442 h 257442"/>
                <a:gd name="connsiteX3" fmla="*/ 54720 w 1455746"/>
                <a:gd name="connsiteY3" fmla="*/ 0 h 257442"/>
                <a:gd name="connsiteX0" fmla="*/ 1455746 w 1455746"/>
                <a:gd name="connsiteY0" fmla="*/ 0 h 257442"/>
                <a:gd name="connsiteX1" fmla="*/ 1401025 w 1455746"/>
                <a:gd name="connsiteY1" fmla="*/ 257442 h 257442"/>
                <a:gd name="connsiteX2" fmla="*/ 0 w 1455746"/>
                <a:gd name="connsiteY2" fmla="*/ 257442 h 257442"/>
                <a:gd name="connsiteX3" fmla="*/ 54720 w 1455746"/>
                <a:gd name="connsiteY3" fmla="*/ 0 h 257442"/>
                <a:gd name="connsiteX0" fmla="*/ 1455747 w 1455747"/>
                <a:gd name="connsiteY0" fmla="*/ 0 h 257442"/>
                <a:gd name="connsiteX1" fmla="*/ 1401026 w 1455747"/>
                <a:gd name="connsiteY1" fmla="*/ 257442 h 257442"/>
                <a:gd name="connsiteX2" fmla="*/ 0 w 1455747"/>
                <a:gd name="connsiteY2" fmla="*/ 257442 h 257442"/>
                <a:gd name="connsiteX3" fmla="*/ 54721 w 1455747"/>
                <a:gd name="connsiteY3" fmla="*/ 0 h 257442"/>
                <a:gd name="connsiteX0" fmla="*/ 1455747 w 1455747"/>
                <a:gd name="connsiteY0" fmla="*/ 0 h 257442"/>
                <a:gd name="connsiteX1" fmla="*/ 1401026 w 1455747"/>
                <a:gd name="connsiteY1" fmla="*/ 257442 h 257442"/>
                <a:gd name="connsiteX2" fmla="*/ 0 w 1455747"/>
                <a:gd name="connsiteY2" fmla="*/ 257442 h 257442"/>
                <a:gd name="connsiteX3" fmla="*/ 54722 w 1455747"/>
                <a:gd name="connsiteY3" fmla="*/ 0 h 257442"/>
                <a:gd name="connsiteX0" fmla="*/ 1624063 w 1624063"/>
                <a:gd name="connsiteY0" fmla="*/ 0 h 257442"/>
                <a:gd name="connsiteX1" fmla="*/ 1401026 w 1624063"/>
                <a:gd name="connsiteY1" fmla="*/ 257442 h 257442"/>
                <a:gd name="connsiteX2" fmla="*/ 0 w 1624063"/>
                <a:gd name="connsiteY2" fmla="*/ 257442 h 257442"/>
                <a:gd name="connsiteX3" fmla="*/ 54722 w 1624063"/>
                <a:gd name="connsiteY3" fmla="*/ 0 h 257442"/>
                <a:gd name="connsiteX0" fmla="*/ 1624063 w 1624063"/>
                <a:gd name="connsiteY0" fmla="*/ 0 h 257442"/>
                <a:gd name="connsiteX1" fmla="*/ 1569342 w 1624063"/>
                <a:gd name="connsiteY1" fmla="*/ 257442 h 257442"/>
                <a:gd name="connsiteX2" fmla="*/ 0 w 1624063"/>
                <a:gd name="connsiteY2" fmla="*/ 257442 h 257442"/>
                <a:gd name="connsiteX3" fmla="*/ 54722 w 1624063"/>
                <a:gd name="connsiteY3" fmla="*/ 0 h 257442"/>
                <a:gd name="connsiteX0" fmla="*/ 1624062 w 1624062"/>
                <a:gd name="connsiteY0" fmla="*/ 0 h 257442"/>
                <a:gd name="connsiteX1" fmla="*/ 1569341 w 1624062"/>
                <a:gd name="connsiteY1" fmla="*/ 257442 h 257442"/>
                <a:gd name="connsiteX2" fmla="*/ 0 w 1624062"/>
                <a:gd name="connsiteY2" fmla="*/ 257442 h 257442"/>
                <a:gd name="connsiteX3" fmla="*/ 54721 w 1624062"/>
                <a:gd name="connsiteY3" fmla="*/ 0 h 257442"/>
                <a:gd name="connsiteX0" fmla="*/ 1624062 w 1624062"/>
                <a:gd name="connsiteY0" fmla="*/ 0 h 257442"/>
                <a:gd name="connsiteX1" fmla="*/ 1569341 w 1624062"/>
                <a:gd name="connsiteY1" fmla="*/ 257442 h 257442"/>
                <a:gd name="connsiteX2" fmla="*/ 0 w 1624062"/>
                <a:gd name="connsiteY2" fmla="*/ 257442 h 257442"/>
                <a:gd name="connsiteX3" fmla="*/ 54720 w 1624062"/>
                <a:gd name="connsiteY3" fmla="*/ 0 h 257442"/>
                <a:gd name="connsiteX0" fmla="*/ 1885350 w 1885350"/>
                <a:gd name="connsiteY0" fmla="*/ 0 h 257442"/>
                <a:gd name="connsiteX1" fmla="*/ 1569341 w 1885350"/>
                <a:gd name="connsiteY1" fmla="*/ 257442 h 257442"/>
                <a:gd name="connsiteX2" fmla="*/ 0 w 1885350"/>
                <a:gd name="connsiteY2" fmla="*/ 257442 h 257442"/>
                <a:gd name="connsiteX3" fmla="*/ 54720 w 1885350"/>
                <a:gd name="connsiteY3" fmla="*/ 0 h 257442"/>
                <a:gd name="connsiteX0" fmla="*/ 1885350 w 1885350"/>
                <a:gd name="connsiteY0" fmla="*/ 0 h 257442"/>
                <a:gd name="connsiteX1" fmla="*/ 1830629 w 1885350"/>
                <a:gd name="connsiteY1" fmla="*/ 257442 h 257442"/>
                <a:gd name="connsiteX2" fmla="*/ 0 w 1885350"/>
                <a:gd name="connsiteY2" fmla="*/ 257442 h 257442"/>
                <a:gd name="connsiteX3" fmla="*/ 54720 w 1885350"/>
                <a:gd name="connsiteY3" fmla="*/ 0 h 257442"/>
                <a:gd name="connsiteX0" fmla="*/ 1885351 w 1885351"/>
                <a:gd name="connsiteY0" fmla="*/ 0 h 257442"/>
                <a:gd name="connsiteX1" fmla="*/ 1830630 w 1885351"/>
                <a:gd name="connsiteY1" fmla="*/ 257442 h 257442"/>
                <a:gd name="connsiteX2" fmla="*/ 0 w 1885351"/>
                <a:gd name="connsiteY2" fmla="*/ 257442 h 257442"/>
                <a:gd name="connsiteX3" fmla="*/ 54721 w 1885351"/>
                <a:gd name="connsiteY3" fmla="*/ 0 h 257442"/>
                <a:gd name="connsiteX0" fmla="*/ 1885351 w 1885351"/>
                <a:gd name="connsiteY0" fmla="*/ 0 h 257442"/>
                <a:gd name="connsiteX1" fmla="*/ 1830630 w 1885351"/>
                <a:gd name="connsiteY1" fmla="*/ 257442 h 257442"/>
                <a:gd name="connsiteX2" fmla="*/ 0 w 1885351"/>
                <a:gd name="connsiteY2" fmla="*/ 257442 h 257442"/>
                <a:gd name="connsiteX3" fmla="*/ 54722 w 1885351"/>
                <a:gd name="connsiteY3" fmla="*/ 0 h 257442"/>
                <a:gd name="connsiteX0" fmla="*/ 2045653 w 2045653"/>
                <a:gd name="connsiteY0" fmla="*/ 0 h 257442"/>
                <a:gd name="connsiteX1" fmla="*/ 1830630 w 2045653"/>
                <a:gd name="connsiteY1" fmla="*/ 257442 h 257442"/>
                <a:gd name="connsiteX2" fmla="*/ 0 w 2045653"/>
                <a:gd name="connsiteY2" fmla="*/ 257442 h 257442"/>
                <a:gd name="connsiteX3" fmla="*/ 54722 w 2045653"/>
                <a:gd name="connsiteY3" fmla="*/ 0 h 257442"/>
                <a:gd name="connsiteX0" fmla="*/ 2045653 w 2045653"/>
                <a:gd name="connsiteY0" fmla="*/ 0 h 257442"/>
                <a:gd name="connsiteX1" fmla="*/ 1990932 w 2045653"/>
                <a:gd name="connsiteY1" fmla="*/ 257442 h 257442"/>
                <a:gd name="connsiteX2" fmla="*/ 0 w 2045653"/>
                <a:gd name="connsiteY2" fmla="*/ 257442 h 257442"/>
                <a:gd name="connsiteX3" fmla="*/ 54722 w 2045653"/>
                <a:gd name="connsiteY3" fmla="*/ 0 h 257442"/>
                <a:gd name="connsiteX0" fmla="*/ 2045652 w 2045652"/>
                <a:gd name="connsiteY0" fmla="*/ 0 h 257442"/>
                <a:gd name="connsiteX1" fmla="*/ 1990931 w 2045652"/>
                <a:gd name="connsiteY1" fmla="*/ 257442 h 257442"/>
                <a:gd name="connsiteX2" fmla="*/ 0 w 2045652"/>
                <a:gd name="connsiteY2" fmla="*/ 257442 h 257442"/>
                <a:gd name="connsiteX3" fmla="*/ 54721 w 2045652"/>
                <a:gd name="connsiteY3" fmla="*/ 0 h 257442"/>
                <a:gd name="connsiteX0" fmla="*/ 2045652 w 2045652"/>
                <a:gd name="connsiteY0" fmla="*/ 0 h 257442"/>
                <a:gd name="connsiteX1" fmla="*/ 1990931 w 2045652"/>
                <a:gd name="connsiteY1" fmla="*/ 257442 h 257442"/>
                <a:gd name="connsiteX2" fmla="*/ 0 w 2045652"/>
                <a:gd name="connsiteY2" fmla="*/ 257442 h 257442"/>
                <a:gd name="connsiteX3" fmla="*/ 54720 w 2045652"/>
                <a:gd name="connsiteY3" fmla="*/ 0 h 257442"/>
                <a:gd name="connsiteX0" fmla="*/ 1885350 w 1990931"/>
                <a:gd name="connsiteY0" fmla="*/ 0 h 257442"/>
                <a:gd name="connsiteX1" fmla="*/ 1990931 w 1990931"/>
                <a:gd name="connsiteY1" fmla="*/ 257442 h 257442"/>
                <a:gd name="connsiteX2" fmla="*/ 0 w 1990931"/>
                <a:gd name="connsiteY2" fmla="*/ 257442 h 257442"/>
                <a:gd name="connsiteX3" fmla="*/ 54720 w 1990931"/>
                <a:gd name="connsiteY3" fmla="*/ 0 h 257442"/>
                <a:gd name="connsiteX0" fmla="*/ 1885350 w 1885350"/>
                <a:gd name="connsiteY0" fmla="*/ 0 h 257442"/>
                <a:gd name="connsiteX1" fmla="*/ 1830630 w 1885350"/>
                <a:gd name="connsiteY1" fmla="*/ 257442 h 257442"/>
                <a:gd name="connsiteX2" fmla="*/ 0 w 1885350"/>
                <a:gd name="connsiteY2" fmla="*/ 257442 h 257442"/>
                <a:gd name="connsiteX3" fmla="*/ 54720 w 1885350"/>
                <a:gd name="connsiteY3" fmla="*/ 0 h 257442"/>
                <a:gd name="connsiteX0" fmla="*/ 1885350 w 1885350"/>
                <a:gd name="connsiteY0" fmla="*/ 0 h 257442"/>
                <a:gd name="connsiteX1" fmla="*/ 1830630 w 1885350"/>
                <a:gd name="connsiteY1" fmla="*/ 257442 h 257442"/>
                <a:gd name="connsiteX2" fmla="*/ 0 w 1885350"/>
                <a:gd name="connsiteY2" fmla="*/ 257442 h 257442"/>
                <a:gd name="connsiteX3" fmla="*/ 54720 w 1885350"/>
                <a:gd name="connsiteY3" fmla="*/ 0 h 257442"/>
                <a:gd name="connsiteX0" fmla="*/ 1885350 w 1885350"/>
                <a:gd name="connsiteY0" fmla="*/ 0 h 257442"/>
                <a:gd name="connsiteX1" fmla="*/ 1830630 w 1885350"/>
                <a:gd name="connsiteY1" fmla="*/ 257442 h 257442"/>
                <a:gd name="connsiteX2" fmla="*/ 0 w 1885350"/>
                <a:gd name="connsiteY2" fmla="*/ 257442 h 257442"/>
                <a:gd name="connsiteX3" fmla="*/ 54721 w 1885350"/>
                <a:gd name="connsiteY3" fmla="*/ 0 h 257442"/>
                <a:gd name="connsiteX0" fmla="*/ 1725051 w 1830630"/>
                <a:gd name="connsiteY0" fmla="*/ 0 h 257442"/>
                <a:gd name="connsiteX1" fmla="*/ 1830630 w 1830630"/>
                <a:gd name="connsiteY1" fmla="*/ 257442 h 257442"/>
                <a:gd name="connsiteX2" fmla="*/ 0 w 1830630"/>
                <a:gd name="connsiteY2" fmla="*/ 257442 h 257442"/>
                <a:gd name="connsiteX3" fmla="*/ 54721 w 1830630"/>
                <a:gd name="connsiteY3" fmla="*/ 0 h 257442"/>
                <a:gd name="connsiteX0" fmla="*/ 1725051 w 1725051"/>
                <a:gd name="connsiteY0" fmla="*/ 0 h 257442"/>
                <a:gd name="connsiteX1" fmla="*/ 1670330 w 1725051"/>
                <a:gd name="connsiteY1" fmla="*/ 257442 h 257442"/>
                <a:gd name="connsiteX2" fmla="*/ 0 w 1725051"/>
                <a:gd name="connsiteY2" fmla="*/ 257442 h 257442"/>
                <a:gd name="connsiteX3" fmla="*/ 54721 w 1725051"/>
                <a:gd name="connsiteY3" fmla="*/ 0 h 257442"/>
                <a:gd name="connsiteX0" fmla="*/ 1725050 w 1725050"/>
                <a:gd name="connsiteY0" fmla="*/ 0 h 257442"/>
                <a:gd name="connsiteX1" fmla="*/ 1670329 w 1725050"/>
                <a:gd name="connsiteY1" fmla="*/ 257442 h 257442"/>
                <a:gd name="connsiteX2" fmla="*/ 0 w 1725050"/>
                <a:gd name="connsiteY2" fmla="*/ 257442 h 257442"/>
                <a:gd name="connsiteX3" fmla="*/ 54720 w 1725050"/>
                <a:gd name="connsiteY3" fmla="*/ 0 h 257442"/>
                <a:gd name="connsiteX0" fmla="*/ 1725050 w 1725050"/>
                <a:gd name="connsiteY0" fmla="*/ 0 h 257442"/>
                <a:gd name="connsiteX1" fmla="*/ 1670329 w 1725050"/>
                <a:gd name="connsiteY1" fmla="*/ 257442 h 257442"/>
                <a:gd name="connsiteX2" fmla="*/ 0 w 1725050"/>
                <a:gd name="connsiteY2" fmla="*/ 257442 h 257442"/>
                <a:gd name="connsiteX3" fmla="*/ 54720 w 1725050"/>
                <a:gd name="connsiteY3" fmla="*/ 0 h 257442"/>
                <a:gd name="connsiteX0" fmla="*/ 1885350 w 1885350"/>
                <a:gd name="connsiteY0" fmla="*/ 0 h 257442"/>
                <a:gd name="connsiteX1" fmla="*/ 1670329 w 1885350"/>
                <a:gd name="connsiteY1" fmla="*/ 257442 h 257442"/>
                <a:gd name="connsiteX2" fmla="*/ 0 w 1885350"/>
                <a:gd name="connsiteY2" fmla="*/ 257442 h 257442"/>
                <a:gd name="connsiteX3" fmla="*/ 54720 w 1885350"/>
                <a:gd name="connsiteY3" fmla="*/ 0 h 257442"/>
                <a:gd name="connsiteX0" fmla="*/ 1885350 w 1885350"/>
                <a:gd name="connsiteY0" fmla="*/ 0 h 257442"/>
                <a:gd name="connsiteX1" fmla="*/ 1830629 w 1885350"/>
                <a:gd name="connsiteY1" fmla="*/ 257442 h 257442"/>
                <a:gd name="connsiteX2" fmla="*/ 0 w 1885350"/>
                <a:gd name="connsiteY2" fmla="*/ 257442 h 257442"/>
                <a:gd name="connsiteX3" fmla="*/ 54720 w 1885350"/>
                <a:gd name="connsiteY3" fmla="*/ 0 h 257442"/>
                <a:gd name="connsiteX0" fmla="*/ 1885351 w 1885351"/>
                <a:gd name="connsiteY0" fmla="*/ 0 h 257442"/>
                <a:gd name="connsiteX1" fmla="*/ 1830630 w 1885351"/>
                <a:gd name="connsiteY1" fmla="*/ 257442 h 257442"/>
                <a:gd name="connsiteX2" fmla="*/ 0 w 1885351"/>
                <a:gd name="connsiteY2" fmla="*/ 257442 h 257442"/>
                <a:gd name="connsiteX3" fmla="*/ 54721 w 1885351"/>
                <a:gd name="connsiteY3" fmla="*/ 0 h 257442"/>
                <a:gd name="connsiteX0" fmla="*/ 1885351 w 1885351"/>
                <a:gd name="connsiteY0" fmla="*/ 0 h 257442"/>
                <a:gd name="connsiteX1" fmla="*/ 1830630 w 1885351"/>
                <a:gd name="connsiteY1" fmla="*/ 257442 h 257442"/>
                <a:gd name="connsiteX2" fmla="*/ 0 w 1885351"/>
                <a:gd name="connsiteY2" fmla="*/ 257442 h 257442"/>
                <a:gd name="connsiteX3" fmla="*/ 54722 w 1885351"/>
                <a:gd name="connsiteY3" fmla="*/ 0 h 257442"/>
                <a:gd name="connsiteX0" fmla="*/ 2205953 w 2205953"/>
                <a:gd name="connsiteY0" fmla="*/ 0 h 257442"/>
                <a:gd name="connsiteX1" fmla="*/ 1830630 w 2205953"/>
                <a:gd name="connsiteY1" fmla="*/ 257442 h 257442"/>
                <a:gd name="connsiteX2" fmla="*/ 0 w 2205953"/>
                <a:gd name="connsiteY2" fmla="*/ 257442 h 257442"/>
                <a:gd name="connsiteX3" fmla="*/ 54722 w 2205953"/>
                <a:gd name="connsiteY3" fmla="*/ 0 h 257442"/>
                <a:gd name="connsiteX0" fmla="*/ 2205953 w 2205953"/>
                <a:gd name="connsiteY0" fmla="*/ 0 h 257442"/>
                <a:gd name="connsiteX1" fmla="*/ 2151232 w 2205953"/>
                <a:gd name="connsiteY1" fmla="*/ 257442 h 257442"/>
                <a:gd name="connsiteX2" fmla="*/ 0 w 2205953"/>
                <a:gd name="connsiteY2" fmla="*/ 257442 h 257442"/>
                <a:gd name="connsiteX3" fmla="*/ 54722 w 2205953"/>
                <a:gd name="connsiteY3" fmla="*/ 0 h 257442"/>
                <a:gd name="connsiteX0" fmla="*/ 2205952 w 2205952"/>
                <a:gd name="connsiteY0" fmla="*/ 0 h 257442"/>
                <a:gd name="connsiteX1" fmla="*/ 2151231 w 2205952"/>
                <a:gd name="connsiteY1" fmla="*/ 257442 h 257442"/>
                <a:gd name="connsiteX2" fmla="*/ 0 w 2205952"/>
                <a:gd name="connsiteY2" fmla="*/ 257442 h 257442"/>
                <a:gd name="connsiteX3" fmla="*/ 54721 w 2205952"/>
                <a:gd name="connsiteY3" fmla="*/ 0 h 257442"/>
                <a:gd name="connsiteX0" fmla="*/ 2205952 w 2205952"/>
                <a:gd name="connsiteY0" fmla="*/ 0 h 257442"/>
                <a:gd name="connsiteX1" fmla="*/ 2151231 w 2205952"/>
                <a:gd name="connsiteY1" fmla="*/ 257442 h 257442"/>
                <a:gd name="connsiteX2" fmla="*/ 0 w 2205952"/>
                <a:gd name="connsiteY2" fmla="*/ 257442 h 257442"/>
                <a:gd name="connsiteX3" fmla="*/ 54720 w 2205952"/>
                <a:gd name="connsiteY3" fmla="*/ 0 h 257442"/>
                <a:gd name="connsiteX0" fmla="*/ 2366251 w 2366251"/>
                <a:gd name="connsiteY0" fmla="*/ 0 h 257442"/>
                <a:gd name="connsiteX1" fmla="*/ 2151231 w 2366251"/>
                <a:gd name="connsiteY1" fmla="*/ 257442 h 257442"/>
                <a:gd name="connsiteX2" fmla="*/ 0 w 2366251"/>
                <a:gd name="connsiteY2" fmla="*/ 257442 h 257442"/>
                <a:gd name="connsiteX3" fmla="*/ 54720 w 2366251"/>
                <a:gd name="connsiteY3" fmla="*/ 0 h 257442"/>
                <a:gd name="connsiteX0" fmla="*/ 2366251 w 2366251"/>
                <a:gd name="connsiteY0" fmla="*/ 0 h 257442"/>
                <a:gd name="connsiteX1" fmla="*/ 2311530 w 2366251"/>
                <a:gd name="connsiteY1" fmla="*/ 257442 h 257442"/>
                <a:gd name="connsiteX2" fmla="*/ 0 w 2366251"/>
                <a:gd name="connsiteY2" fmla="*/ 257442 h 257442"/>
                <a:gd name="connsiteX3" fmla="*/ 54720 w 2366251"/>
                <a:gd name="connsiteY3" fmla="*/ 0 h 257442"/>
                <a:gd name="connsiteX0" fmla="*/ 2366252 w 2366252"/>
                <a:gd name="connsiteY0" fmla="*/ 0 h 257442"/>
                <a:gd name="connsiteX1" fmla="*/ 2311531 w 2366252"/>
                <a:gd name="connsiteY1" fmla="*/ 257442 h 257442"/>
                <a:gd name="connsiteX2" fmla="*/ 0 w 2366252"/>
                <a:gd name="connsiteY2" fmla="*/ 257442 h 257442"/>
                <a:gd name="connsiteX3" fmla="*/ 54721 w 2366252"/>
                <a:gd name="connsiteY3" fmla="*/ 0 h 257442"/>
                <a:gd name="connsiteX0" fmla="*/ 2366252 w 2366252"/>
                <a:gd name="connsiteY0" fmla="*/ 0 h 257442"/>
                <a:gd name="connsiteX1" fmla="*/ 2311531 w 2366252"/>
                <a:gd name="connsiteY1" fmla="*/ 257442 h 257442"/>
                <a:gd name="connsiteX2" fmla="*/ 0 w 2366252"/>
                <a:gd name="connsiteY2" fmla="*/ 257442 h 257442"/>
                <a:gd name="connsiteX3" fmla="*/ 54721 w 2366252"/>
                <a:gd name="connsiteY3" fmla="*/ 0 h 257442"/>
                <a:gd name="connsiteX0" fmla="*/ 2534568 w 2534568"/>
                <a:gd name="connsiteY0" fmla="*/ 0 h 257442"/>
                <a:gd name="connsiteX1" fmla="*/ 2311531 w 2534568"/>
                <a:gd name="connsiteY1" fmla="*/ 257442 h 257442"/>
                <a:gd name="connsiteX2" fmla="*/ 0 w 2534568"/>
                <a:gd name="connsiteY2" fmla="*/ 257442 h 257442"/>
                <a:gd name="connsiteX3" fmla="*/ 54721 w 2534568"/>
                <a:gd name="connsiteY3" fmla="*/ 0 h 257442"/>
                <a:gd name="connsiteX0" fmla="*/ 2534568 w 2534568"/>
                <a:gd name="connsiteY0" fmla="*/ 0 h 257442"/>
                <a:gd name="connsiteX1" fmla="*/ 2479847 w 2534568"/>
                <a:gd name="connsiteY1" fmla="*/ 257442 h 257442"/>
                <a:gd name="connsiteX2" fmla="*/ 0 w 2534568"/>
                <a:gd name="connsiteY2" fmla="*/ 257442 h 257442"/>
                <a:gd name="connsiteX3" fmla="*/ 54721 w 2534568"/>
                <a:gd name="connsiteY3" fmla="*/ 0 h 257442"/>
                <a:gd name="connsiteX0" fmla="*/ 2534568 w 2534568"/>
                <a:gd name="connsiteY0" fmla="*/ 0 h 257442"/>
                <a:gd name="connsiteX1" fmla="*/ 2479847 w 2534568"/>
                <a:gd name="connsiteY1" fmla="*/ 257442 h 257442"/>
                <a:gd name="connsiteX2" fmla="*/ 0 w 2534568"/>
                <a:gd name="connsiteY2" fmla="*/ 257442 h 257442"/>
                <a:gd name="connsiteX3" fmla="*/ 54721 w 2534568"/>
                <a:gd name="connsiteY3" fmla="*/ 0 h 257442"/>
                <a:gd name="connsiteX0" fmla="*/ 2534568 w 2534568"/>
                <a:gd name="connsiteY0" fmla="*/ 0 h 257442"/>
                <a:gd name="connsiteX1" fmla="*/ 2479847 w 2534568"/>
                <a:gd name="connsiteY1" fmla="*/ 257442 h 257442"/>
                <a:gd name="connsiteX2" fmla="*/ 0 w 2534568"/>
                <a:gd name="connsiteY2" fmla="*/ 257442 h 257442"/>
                <a:gd name="connsiteX3" fmla="*/ 54721 w 2534568"/>
                <a:gd name="connsiteY3" fmla="*/ 0 h 257442"/>
                <a:gd name="connsiteX0" fmla="*/ 2712501 w 2712501"/>
                <a:gd name="connsiteY0" fmla="*/ 0 h 257442"/>
                <a:gd name="connsiteX1" fmla="*/ 2479847 w 2712501"/>
                <a:gd name="connsiteY1" fmla="*/ 257442 h 257442"/>
                <a:gd name="connsiteX2" fmla="*/ 0 w 2712501"/>
                <a:gd name="connsiteY2" fmla="*/ 257442 h 257442"/>
                <a:gd name="connsiteX3" fmla="*/ 54721 w 2712501"/>
                <a:gd name="connsiteY3" fmla="*/ 0 h 257442"/>
                <a:gd name="connsiteX0" fmla="*/ 2712501 w 2712501"/>
                <a:gd name="connsiteY0" fmla="*/ 0 h 257442"/>
                <a:gd name="connsiteX1" fmla="*/ 2657780 w 2712501"/>
                <a:gd name="connsiteY1" fmla="*/ 257442 h 257442"/>
                <a:gd name="connsiteX2" fmla="*/ 0 w 2712501"/>
                <a:gd name="connsiteY2" fmla="*/ 257442 h 257442"/>
                <a:gd name="connsiteX3" fmla="*/ 54721 w 2712501"/>
                <a:gd name="connsiteY3" fmla="*/ 0 h 257442"/>
                <a:gd name="connsiteX0" fmla="*/ 2712501 w 2712501"/>
                <a:gd name="connsiteY0" fmla="*/ 0 h 257442"/>
                <a:gd name="connsiteX1" fmla="*/ 2657780 w 2712501"/>
                <a:gd name="connsiteY1" fmla="*/ 257442 h 257442"/>
                <a:gd name="connsiteX2" fmla="*/ 0 w 2712501"/>
                <a:gd name="connsiteY2" fmla="*/ 257442 h 257442"/>
                <a:gd name="connsiteX3" fmla="*/ 54721 w 2712501"/>
                <a:gd name="connsiteY3" fmla="*/ 0 h 257442"/>
                <a:gd name="connsiteX0" fmla="*/ 2712501 w 2712501"/>
                <a:gd name="connsiteY0" fmla="*/ 0 h 257442"/>
                <a:gd name="connsiteX1" fmla="*/ 2657780 w 2712501"/>
                <a:gd name="connsiteY1" fmla="*/ 257442 h 257442"/>
                <a:gd name="connsiteX2" fmla="*/ 0 w 2712501"/>
                <a:gd name="connsiteY2" fmla="*/ 257442 h 257442"/>
                <a:gd name="connsiteX3" fmla="*/ 54721 w 2712501"/>
                <a:gd name="connsiteY3" fmla="*/ 0 h 257442"/>
                <a:gd name="connsiteX0" fmla="*/ 3033101 w 3033101"/>
                <a:gd name="connsiteY0" fmla="*/ 0 h 257442"/>
                <a:gd name="connsiteX1" fmla="*/ 2657780 w 3033101"/>
                <a:gd name="connsiteY1" fmla="*/ 257442 h 257442"/>
                <a:gd name="connsiteX2" fmla="*/ 0 w 3033101"/>
                <a:gd name="connsiteY2" fmla="*/ 257442 h 257442"/>
                <a:gd name="connsiteX3" fmla="*/ 54721 w 3033101"/>
                <a:gd name="connsiteY3" fmla="*/ 0 h 257442"/>
                <a:gd name="connsiteX0" fmla="*/ 3033101 w 3033101"/>
                <a:gd name="connsiteY0" fmla="*/ 0 h 257442"/>
                <a:gd name="connsiteX1" fmla="*/ 2978380 w 3033101"/>
                <a:gd name="connsiteY1" fmla="*/ 257442 h 257442"/>
                <a:gd name="connsiteX2" fmla="*/ 0 w 3033101"/>
                <a:gd name="connsiteY2" fmla="*/ 257442 h 257442"/>
                <a:gd name="connsiteX3" fmla="*/ 54721 w 3033101"/>
                <a:gd name="connsiteY3" fmla="*/ 0 h 257442"/>
                <a:gd name="connsiteX0" fmla="*/ 3033101 w 3033101"/>
                <a:gd name="connsiteY0" fmla="*/ 0 h 257442"/>
                <a:gd name="connsiteX1" fmla="*/ 2978380 w 3033101"/>
                <a:gd name="connsiteY1" fmla="*/ 257442 h 257442"/>
                <a:gd name="connsiteX2" fmla="*/ 0 w 3033101"/>
                <a:gd name="connsiteY2" fmla="*/ 257442 h 257442"/>
                <a:gd name="connsiteX3" fmla="*/ 54721 w 3033101"/>
                <a:gd name="connsiteY3" fmla="*/ 0 h 257442"/>
                <a:gd name="connsiteX0" fmla="*/ 3033101 w 3033101"/>
                <a:gd name="connsiteY0" fmla="*/ 0 h 257442"/>
                <a:gd name="connsiteX1" fmla="*/ 2978380 w 3033101"/>
                <a:gd name="connsiteY1" fmla="*/ 257442 h 257442"/>
                <a:gd name="connsiteX2" fmla="*/ 0 w 3033101"/>
                <a:gd name="connsiteY2" fmla="*/ 257442 h 257442"/>
                <a:gd name="connsiteX3" fmla="*/ 54721 w 3033101"/>
                <a:gd name="connsiteY3" fmla="*/ 0 h 257442"/>
                <a:gd name="connsiteX0" fmla="*/ 950801 w 2978380"/>
                <a:gd name="connsiteY0" fmla="*/ 0 h 257442"/>
                <a:gd name="connsiteX1" fmla="*/ 2978380 w 2978380"/>
                <a:gd name="connsiteY1" fmla="*/ 257442 h 257442"/>
                <a:gd name="connsiteX2" fmla="*/ 0 w 2978380"/>
                <a:gd name="connsiteY2" fmla="*/ 257442 h 257442"/>
                <a:gd name="connsiteX3" fmla="*/ 54721 w 2978380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1128733 w 1128733"/>
                <a:gd name="connsiteY0" fmla="*/ 0 h 257442"/>
                <a:gd name="connsiteX1" fmla="*/ 896079 w 1128733"/>
                <a:gd name="connsiteY1" fmla="*/ 257442 h 257442"/>
                <a:gd name="connsiteX2" fmla="*/ 0 w 1128733"/>
                <a:gd name="connsiteY2" fmla="*/ 257442 h 257442"/>
                <a:gd name="connsiteX3" fmla="*/ 54720 w 1128733"/>
                <a:gd name="connsiteY3" fmla="*/ 0 h 257442"/>
                <a:gd name="connsiteX0" fmla="*/ 1128733 w 1128733"/>
                <a:gd name="connsiteY0" fmla="*/ 0 h 257442"/>
                <a:gd name="connsiteX1" fmla="*/ 1074012 w 1128733"/>
                <a:gd name="connsiteY1" fmla="*/ 257442 h 257442"/>
                <a:gd name="connsiteX2" fmla="*/ 0 w 1128733"/>
                <a:gd name="connsiteY2" fmla="*/ 257442 h 257442"/>
                <a:gd name="connsiteX3" fmla="*/ 54720 w 1128733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54721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54721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54721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54721 w 1625665"/>
                <a:gd name="connsiteY3" fmla="*/ 0 h 257442"/>
                <a:gd name="connsiteX0" fmla="*/ 1811613 w 1811613"/>
                <a:gd name="connsiteY0" fmla="*/ 0 h 257442"/>
                <a:gd name="connsiteX1" fmla="*/ 1570944 w 1811613"/>
                <a:gd name="connsiteY1" fmla="*/ 257442 h 257442"/>
                <a:gd name="connsiteX2" fmla="*/ 0 w 1811613"/>
                <a:gd name="connsiteY2" fmla="*/ 257442 h 257442"/>
                <a:gd name="connsiteX3" fmla="*/ 54721 w 1811613"/>
                <a:gd name="connsiteY3" fmla="*/ 0 h 257442"/>
                <a:gd name="connsiteX0" fmla="*/ 1811613 w 1811613"/>
                <a:gd name="connsiteY0" fmla="*/ 0 h 257442"/>
                <a:gd name="connsiteX1" fmla="*/ 1756892 w 1811613"/>
                <a:gd name="connsiteY1" fmla="*/ 257442 h 257442"/>
                <a:gd name="connsiteX2" fmla="*/ 0 w 1811613"/>
                <a:gd name="connsiteY2" fmla="*/ 257442 h 257442"/>
                <a:gd name="connsiteX3" fmla="*/ 54721 w 1811613"/>
                <a:gd name="connsiteY3" fmla="*/ 0 h 257442"/>
                <a:gd name="connsiteX0" fmla="*/ 1811613 w 1811613"/>
                <a:gd name="connsiteY0" fmla="*/ 0 h 257442"/>
                <a:gd name="connsiteX1" fmla="*/ 1756892 w 1811613"/>
                <a:gd name="connsiteY1" fmla="*/ 257442 h 257442"/>
                <a:gd name="connsiteX2" fmla="*/ 0 w 1811613"/>
                <a:gd name="connsiteY2" fmla="*/ 257442 h 257442"/>
                <a:gd name="connsiteX3" fmla="*/ 54721 w 1811613"/>
                <a:gd name="connsiteY3" fmla="*/ 0 h 257442"/>
                <a:gd name="connsiteX0" fmla="*/ 1811613 w 1811613"/>
                <a:gd name="connsiteY0" fmla="*/ 0 h 257442"/>
                <a:gd name="connsiteX1" fmla="*/ 1756892 w 1811613"/>
                <a:gd name="connsiteY1" fmla="*/ 257442 h 257442"/>
                <a:gd name="connsiteX2" fmla="*/ 0 w 1811613"/>
                <a:gd name="connsiteY2" fmla="*/ 257442 h 257442"/>
                <a:gd name="connsiteX3" fmla="*/ 54721 w 1811613"/>
                <a:gd name="connsiteY3" fmla="*/ 0 h 257442"/>
                <a:gd name="connsiteX0" fmla="*/ 1971914 w 1971914"/>
                <a:gd name="connsiteY0" fmla="*/ 0 h 257442"/>
                <a:gd name="connsiteX1" fmla="*/ 1756892 w 1971914"/>
                <a:gd name="connsiteY1" fmla="*/ 257442 h 257442"/>
                <a:gd name="connsiteX2" fmla="*/ 0 w 1971914"/>
                <a:gd name="connsiteY2" fmla="*/ 257442 h 257442"/>
                <a:gd name="connsiteX3" fmla="*/ 54721 w 1971914"/>
                <a:gd name="connsiteY3" fmla="*/ 0 h 257442"/>
                <a:gd name="connsiteX0" fmla="*/ 1971914 w 1971914"/>
                <a:gd name="connsiteY0" fmla="*/ 0 h 257442"/>
                <a:gd name="connsiteX1" fmla="*/ 1917192 w 1971914"/>
                <a:gd name="connsiteY1" fmla="*/ 257442 h 257442"/>
                <a:gd name="connsiteX2" fmla="*/ 0 w 1971914"/>
                <a:gd name="connsiteY2" fmla="*/ 257442 h 257442"/>
                <a:gd name="connsiteX3" fmla="*/ 54721 w 1971914"/>
                <a:gd name="connsiteY3" fmla="*/ 0 h 257442"/>
                <a:gd name="connsiteX0" fmla="*/ 1971915 w 1971915"/>
                <a:gd name="connsiteY0" fmla="*/ 0 h 257442"/>
                <a:gd name="connsiteX1" fmla="*/ 1917193 w 1971915"/>
                <a:gd name="connsiteY1" fmla="*/ 257442 h 257442"/>
                <a:gd name="connsiteX2" fmla="*/ 0 w 1971915"/>
                <a:gd name="connsiteY2" fmla="*/ 257442 h 257442"/>
                <a:gd name="connsiteX3" fmla="*/ 54722 w 1971915"/>
                <a:gd name="connsiteY3" fmla="*/ 0 h 257442"/>
                <a:gd name="connsiteX0" fmla="*/ 1971915 w 1971915"/>
                <a:gd name="connsiteY0" fmla="*/ 0 h 257442"/>
                <a:gd name="connsiteX1" fmla="*/ 1917193 w 1971915"/>
                <a:gd name="connsiteY1" fmla="*/ 257442 h 257442"/>
                <a:gd name="connsiteX2" fmla="*/ 0 w 1971915"/>
                <a:gd name="connsiteY2" fmla="*/ 257442 h 257442"/>
                <a:gd name="connsiteX3" fmla="*/ 54722 w 1971915"/>
                <a:gd name="connsiteY3" fmla="*/ 0 h 257442"/>
                <a:gd name="connsiteX0" fmla="*/ 2140230 w 2140230"/>
                <a:gd name="connsiteY0" fmla="*/ 0 h 257442"/>
                <a:gd name="connsiteX1" fmla="*/ 1917193 w 2140230"/>
                <a:gd name="connsiteY1" fmla="*/ 257442 h 257442"/>
                <a:gd name="connsiteX2" fmla="*/ 0 w 2140230"/>
                <a:gd name="connsiteY2" fmla="*/ 257442 h 257442"/>
                <a:gd name="connsiteX3" fmla="*/ 54722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54722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54722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54721 w 2140230"/>
                <a:gd name="connsiteY3" fmla="*/ 0 h 257442"/>
                <a:gd name="connsiteX0" fmla="*/ 2383886 w 2383886"/>
                <a:gd name="connsiteY0" fmla="*/ 0 h 257442"/>
                <a:gd name="connsiteX1" fmla="*/ 2085508 w 2383886"/>
                <a:gd name="connsiteY1" fmla="*/ 257442 h 257442"/>
                <a:gd name="connsiteX2" fmla="*/ 0 w 2383886"/>
                <a:gd name="connsiteY2" fmla="*/ 257442 h 257442"/>
                <a:gd name="connsiteX3" fmla="*/ 54721 w 2383886"/>
                <a:gd name="connsiteY3" fmla="*/ 0 h 257442"/>
                <a:gd name="connsiteX0" fmla="*/ 2383886 w 2383886"/>
                <a:gd name="connsiteY0" fmla="*/ 0 h 257442"/>
                <a:gd name="connsiteX1" fmla="*/ 2329165 w 2383886"/>
                <a:gd name="connsiteY1" fmla="*/ 257442 h 257442"/>
                <a:gd name="connsiteX2" fmla="*/ 0 w 2383886"/>
                <a:gd name="connsiteY2" fmla="*/ 257442 h 257442"/>
                <a:gd name="connsiteX3" fmla="*/ 54721 w 2383886"/>
                <a:gd name="connsiteY3" fmla="*/ 0 h 257442"/>
                <a:gd name="connsiteX0" fmla="*/ 2383886 w 2383886"/>
                <a:gd name="connsiteY0" fmla="*/ 0 h 257442"/>
                <a:gd name="connsiteX1" fmla="*/ 2329165 w 2383886"/>
                <a:gd name="connsiteY1" fmla="*/ 257442 h 257442"/>
                <a:gd name="connsiteX2" fmla="*/ 0 w 2383886"/>
                <a:gd name="connsiteY2" fmla="*/ 257442 h 257442"/>
                <a:gd name="connsiteX3" fmla="*/ 54721 w 2383886"/>
                <a:gd name="connsiteY3" fmla="*/ 0 h 257442"/>
                <a:gd name="connsiteX0" fmla="*/ 2383886 w 2383886"/>
                <a:gd name="connsiteY0" fmla="*/ 0 h 257442"/>
                <a:gd name="connsiteX1" fmla="*/ 2329165 w 2383886"/>
                <a:gd name="connsiteY1" fmla="*/ 257442 h 257442"/>
                <a:gd name="connsiteX2" fmla="*/ 0 w 2383886"/>
                <a:gd name="connsiteY2" fmla="*/ 257442 h 257442"/>
                <a:gd name="connsiteX3" fmla="*/ 54721 w 2383886"/>
                <a:gd name="connsiteY3" fmla="*/ 0 h 257442"/>
                <a:gd name="connsiteX0" fmla="*/ 2561819 w 2561819"/>
                <a:gd name="connsiteY0" fmla="*/ 0 h 257442"/>
                <a:gd name="connsiteX1" fmla="*/ 2329165 w 2561819"/>
                <a:gd name="connsiteY1" fmla="*/ 257442 h 257442"/>
                <a:gd name="connsiteX2" fmla="*/ 0 w 2561819"/>
                <a:gd name="connsiteY2" fmla="*/ 257442 h 257442"/>
                <a:gd name="connsiteX3" fmla="*/ 54721 w 2561819"/>
                <a:gd name="connsiteY3" fmla="*/ 0 h 257442"/>
                <a:gd name="connsiteX0" fmla="*/ 2561819 w 2561819"/>
                <a:gd name="connsiteY0" fmla="*/ 0 h 257442"/>
                <a:gd name="connsiteX1" fmla="*/ 2507098 w 2561819"/>
                <a:gd name="connsiteY1" fmla="*/ 257442 h 257442"/>
                <a:gd name="connsiteX2" fmla="*/ 0 w 2561819"/>
                <a:gd name="connsiteY2" fmla="*/ 257442 h 257442"/>
                <a:gd name="connsiteX3" fmla="*/ 54721 w 2561819"/>
                <a:gd name="connsiteY3" fmla="*/ 0 h 257442"/>
                <a:gd name="connsiteX0" fmla="*/ 2561819 w 2561819"/>
                <a:gd name="connsiteY0" fmla="*/ 0 h 257442"/>
                <a:gd name="connsiteX1" fmla="*/ 2507098 w 2561819"/>
                <a:gd name="connsiteY1" fmla="*/ 257442 h 257442"/>
                <a:gd name="connsiteX2" fmla="*/ 0 w 2561819"/>
                <a:gd name="connsiteY2" fmla="*/ 257442 h 257442"/>
                <a:gd name="connsiteX3" fmla="*/ 54721 w 2561819"/>
                <a:gd name="connsiteY3" fmla="*/ 0 h 257442"/>
                <a:gd name="connsiteX0" fmla="*/ 2561819 w 2561819"/>
                <a:gd name="connsiteY0" fmla="*/ 0 h 257442"/>
                <a:gd name="connsiteX1" fmla="*/ 2507098 w 2561819"/>
                <a:gd name="connsiteY1" fmla="*/ 257442 h 257442"/>
                <a:gd name="connsiteX2" fmla="*/ 0 w 2561819"/>
                <a:gd name="connsiteY2" fmla="*/ 257442 h 257442"/>
                <a:gd name="connsiteX3" fmla="*/ 54721 w 2561819"/>
                <a:gd name="connsiteY3" fmla="*/ 0 h 257442"/>
                <a:gd name="connsiteX0" fmla="*/ 2730134 w 2730134"/>
                <a:gd name="connsiteY0" fmla="*/ 0 h 257442"/>
                <a:gd name="connsiteX1" fmla="*/ 2507098 w 2730134"/>
                <a:gd name="connsiteY1" fmla="*/ 257442 h 257442"/>
                <a:gd name="connsiteX2" fmla="*/ 0 w 2730134"/>
                <a:gd name="connsiteY2" fmla="*/ 257442 h 257442"/>
                <a:gd name="connsiteX3" fmla="*/ 54721 w 2730134"/>
                <a:gd name="connsiteY3" fmla="*/ 0 h 257442"/>
                <a:gd name="connsiteX0" fmla="*/ 2730134 w 2730134"/>
                <a:gd name="connsiteY0" fmla="*/ 0 h 257442"/>
                <a:gd name="connsiteX1" fmla="*/ 2675412 w 2730134"/>
                <a:gd name="connsiteY1" fmla="*/ 257442 h 257442"/>
                <a:gd name="connsiteX2" fmla="*/ 0 w 2730134"/>
                <a:gd name="connsiteY2" fmla="*/ 257442 h 257442"/>
                <a:gd name="connsiteX3" fmla="*/ 54721 w 2730134"/>
                <a:gd name="connsiteY3" fmla="*/ 0 h 257442"/>
                <a:gd name="connsiteX0" fmla="*/ 2730135 w 2730135"/>
                <a:gd name="connsiteY0" fmla="*/ 0 h 257442"/>
                <a:gd name="connsiteX1" fmla="*/ 2675413 w 2730135"/>
                <a:gd name="connsiteY1" fmla="*/ 257442 h 257442"/>
                <a:gd name="connsiteX2" fmla="*/ 0 w 2730135"/>
                <a:gd name="connsiteY2" fmla="*/ 257442 h 257442"/>
                <a:gd name="connsiteX3" fmla="*/ 54722 w 2730135"/>
                <a:gd name="connsiteY3" fmla="*/ 0 h 257442"/>
                <a:gd name="connsiteX0" fmla="*/ 2730135 w 2730135"/>
                <a:gd name="connsiteY0" fmla="*/ 0 h 257442"/>
                <a:gd name="connsiteX1" fmla="*/ 2675413 w 2730135"/>
                <a:gd name="connsiteY1" fmla="*/ 257442 h 257442"/>
                <a:gd name="connsiteX2" fmla="*/ 0 w 2730135"/>
                <a:gd name="connsiteY2" fmla="*/ 257442 h 257442"/>
                <a:gd name="connsiteX3" fmla="*/ 54722 w 2730135"/>
                <a:gd name="connsiteY3" fmla="*/ 0 h 257442"/>
                <a:gd name="connsiteX0" fmla="*/ 2898450 w 2898450"/>
                <a:gd name="connsiteY0" fmla="*/ 0 h 257442"/>
                <a:gd name="connsiteX1" fmla="*/ 2675413 w 2898450"/>
                <a:gd name="connsiteY1" fmla="*/ 257442 h 257442"/>
                <a:gd name="connsiteX2" fmla="*/ 0 w 2898450"/>
                <a:gd name="connsiteY2" fmla="*/ 257442 h 257442"/>
                <a:gd name="connsiteX3" fmla="*/ 54722 w 2898450"/>
                <a:gd name="connsiteY3" fmla="*/ 0 h 257442"/>
                <a:gd name="connsiteX0" fmla="*/ 2898450 w 2898450"/>
                <a:gd name="connsiteY0" fmla="*/ 0 h 257442"/>
                <a:gd name="connsiteX1" fmla="*/ 2843728 w 2898450"/>
                <a:gd name="connsiteY1" fmla="*/ 257442 h 257442"/>
                <a:gd name="connsiteX2" fmla="*/ 0 w 2898450"/>
                <a:gd name="connsiteY2" fmla="*/ 257442 h 257442"/>
                <a:gd name="connsiteX3" fmla="*/ 54722 w 2898450"/>
                <a:gd name="connsiteY3" fmla="*/ 0 h 257442"/>
                <a:gd name="connsiteX0" fmla="*/ 2898450 w 2898450"/>
                <a:gd name="connsiteY0" fmla="*/ 0 h 257442"/>
                <a:gd name="connsiteX1" fmla="*/ 2843728 w 2898450"/>
                <a:gd name="connsiteY1" fmla="*/ 257442 h 257442"/>
                <a:gd name="connsiteX2" fmla="*/ 0 w 2898450"/>
                <a:gd name="connsiteY2" fmla="*/ 257442 h 257442"/>
                <a:gd name="connsiteX3" fmla="*/ 54722 w 2898450"/>
                <a:gd name="connsiteY3" fmla="*/ 0 h 257442"/>
                <a:gd name="connsiteX0" fmla="*/ 2898450 w 2898450"/>
                <a:gd name="connsiteY0" fmla="*/ 0 h 257442"/>
                <a:gd name="connsiteX1" fmla="*/ 2843728 w 2898450"/>
                <a:gd name="connsiteY1" fmla="*/ 257442 h 257442"/>
                <a:gd name="connsiteX2" fmla="*/ 0 w 2898450"/>
                <a:gd name="connsiteY2" fmla="*/ 257442 h 257442"/>
                <a:gd name="connsiteX3" fmla="*/ 54721 w 2898450"/>
                <a:gd name="connsiteY3" fmla="*/ 0 h 257442"/>
                <a:gd name="connsiteX0" fmla="*/ 3066765 w 3066765"/>
                <a:gd name="connsiteY0" fmla="*/ 0 h 257442"/>
                <a:gd name="connsiteX1" fmla="*/ 2843728 w 3066765"/>
                <a:gd name="connsiteY1" fmla="*/ 257442 h 257442"/>
                <a:gd name="connsiteX2" fmla="*/ 0 w 3066765"/>
                <a:gd name="connsiteY2" fmla="*/ 257442 h 257442"/>
                <a:gd name="connsiteX3" fmla="*/ 54721 w 3066765"/>
                <a:gd name="connsiteY3" fmla="*/ 0 h 257442"/>
                <a:gd name="connsiteX0" fmla="*/ 3066765 w 3066765"/>
                <a:gd name="connsiteY0" fmla="*/ 0 h 257442"/>
                <a:gd name="connsiteX1" fmla="*/ 3012044 w 3066765"/>
                <a:gd name="connsiteY1" fmla="*/ 257442 h 257442"/>
                <a:gd name="connsiteX2" fmla="*/ 0 w 3066765"/>
                <a:gd name="connsiteY2" fmla="*/ 257442 h 257442"/>
                <a:gd name="connsiteX3" fmla="*/ 54721 w 3066765"/>
                <a:gd name="connsiteY3" fmla="*/ 0 h 257442"/>
                <a:gd name="connsiteX0" fmla="*/ 3066765 w 3066765"/>
                <a:gd name="connsiteY0" fmla="*/ 0 h 257442"/>
                <a:gd name="connsiteX1" fmla="*/ 3012044 w 3066765"/>
                <a:gd name="connsiteY1" fmla="*/ 257442 h 257442"/>
                <a:gd name="connsiteX2" fmla="*/ 0 w 3066765"/>
                <a:gd name="connsiteY2" fmla="*/ 257442 h 257442"/>
                <a:gd name="connsiteX3" fmla="*/ 54721 w 3066765"/>
                <a:gd name="connsiteY3" fmla="*/ 0 h 257442"/>
                <a:gd name="connsiteX0" fmla="*/ 3066765 w 3066765"/>
                <a:gd name="connsiteY0" fmla="*/ 0 h 257442"/>
                <a:gd name="connsiteX1" fmla="*/ 3012044 w 3066765"/>
                <a:gd name="connsiteY1" fmla="*/ 257442 h 257442"/>
                <a:gd name="connsiteX2" fmla="*/ 0 w 3066765"/>
                <a:gd name="connsiteY2" fmla="*/ 257442 h 257442"/>
                <a:gd name="connsiteX3" fmla="*/ 54721 w 3066765"/>
                <a:gd name="connsiteY3" fmla="*/ 0 h 257442"/>
                <a:gd name="connsiteX0" fmla="*/ 3227065 w 3227065"/>
                <a:gd name="connsiteY0" fmla="*/ 0 h 257442"/>
                <a:gd name="connsiteX1" fmla="*/ 3012044 w 3227065"/>
                <a:gd name="connsiteY1" fmla="*/ 257442 h 257442"/>
                <a:gd name="connsiteX2" fmla="*/ 0 w 3227065"/>
                <a:gd name="connsiteY2" fmla="*/ 257442 h 257442"/>
                <a:gd name="connsiteX3" fmla="*/ 54721 w 3227065"/>
                <a:gd name="connsiteY3" fmla="*/ 0 h 257442"/>
                <a:gd name="connsiteX0" fmla="*/ 3227065 w 3227065"/>
                <a:gd name="connsiteY0" fmla="*/ 0 h 257442"/>
                <a:gd name="connsiteX1" fmla="*/ 3172344 w 3227065"/>
                <a:gd name="connsiteY1" fmla="*/ 257442 h 257442"/>
                <a:gd name="connsiteX2" fmla="*/ 0 w 3227065"/>
                <a:gd name="connsiteY2" fmla="*/ 257442 h 257442"/>
                <a:gd name="connsiteX3" fmla="*/ 54721 w 3227065"/>
                <a:gd name="connsiteY3" fmla="*/ 0 h 257442"/>
                <a:gd name="connsiteX0" fmla="*/ 3227065 w 3227065"/>
                <a:gd name="connsiteY0" fmla="*/ 0 h 257442"/>
                <a:gd name="connsiteX1" fmla="*/ 3172344 w 3227065"/>
                <a:gd name="connsiteY1" fmla="*/ 257442 h 257442"/>
                <a:gd name="connsiteX2" fmla="*/ 0 w 3227065"/>
                <a:gd name="connsiteY2" fmla="*/ 257442 h 257442"/>
                <a:gd name="connsiteX3" fmla="*/ 54721 w 3227065"/>
                <a:gd name="connsiteY3" fmla="*/ 0 h 257442"/>
                <a:gd name="connsiteX0" fmla="*/ 3227065 w 3227065"/>
                <a:gd name="connsiteY0" fmla="*/ 0 h 257442"/>
                <a:gd name="connsiteX1" fmla="*/ 3172344 w 3227065"/>
                <a:gd name="connsiteY1" fmla="*/ 257442 h 257442"/>
                <a:gd name="connsiteX2" fmla="*/ 0 w 3227065"/>
                <a:gd name="connsiteY2" fmla="*/ 257442 h 257442"/>
                <a:gd name="connsiteX3" fmla="*/ 54721 w 3227065"/>
                <a:gd name="connsiteY3" fmla="*/ 0 h 257442"/>
                <a:gd name="connsiteX0" fmla="*/ 3387366 w 3387366"/>
                <a:gd name="connsiteY0" fmla="*/ 0 h 257442"/>
                <a:gd name="connsiteX1" fmla="*/ 3172344 w 3387366"/>
                <a:gd name="connsiteY1" fmla="*/ 257442 h 257442"/>
                <a:gd name="connsiteX2" fmla="*/ 0 w 3387366"/>
                <a:gd name="connsiteY2" fmla="*/ 257442 h 257442"/>
                <a:gd name="connsiteX3" fmla="*/ 54721 w 3387366"/>
                <a:gd name="connsiteY3" fmla="*/ 0 h 257442"/>
                <a:gd name="connsiteX0" fmla="*/ 3387366 w 3387366"/>
                <a:gd name="connsiteY0" fmla="*/ 0 h 257442"/>
                <a:gd name="connsiteX1" fmla="*/ 3332644 w 3387366"/>
                <a:gd name="connsiteY1" fmla="*/ 257442 h 257442"/>
                <a:gd name="connsiteX2" fmla="*/ 0 w 3387366"/>
                <a:gd name="connsiteY2" fmla="*/ 257442 h 257442"/>
                <a:gd name="connsiteX3" fmla="*/ 54721 w 3387366"/>
                <a:gd name="connsiteY3" fmla="*/ 0 h 257442"/>
                <a:gd name="connsiteX0" fmla="*/ 3387367 w 3387367"/>
                <a:gd name="connsiteY0" fmla="*/ 0 h 257442"/>
                <a:gd name="connsiteX1" fmla="*/ 3332645 w 3387367"/>
                <a:gd name="connsiteY1" fmla="*/ 257442 h 257442"/>
                <a:gd name="connsiteX2" fmla="*/ 0 w 3387367"/>
                <a:gd name="connsiteY2" fmla="*/ 257442 h 257442"/>
                <a:gd name="connsiteX3" fmla="*/ 54722 w 3387367"/>
                <a:gd name="connsiteY3" fmla="*/ 0 h 257442"/>
                <a:gd name="connsiteX0" fmla="*/ 3387367 w 3387367"/>
                <a:gd name="connsiteY0" fmla="*/ 0 h 257442"/>
                <a:gd name="connsiteX1" fmla="*/ 3332645 w 3387367"/>
                <a:gd name="connsiteY1" fmla="*/ 257442 h 257442"/>
                <a:gd name="connsiteX2" fmla="*/ 0 w 3387367"/>
                <a:gd name="connsiteY2" fmla="*/ 257442 h 257442"/>
                <a:gd name="connsiteX3" fmla="*/ 54722 w 3387367"/>
                <a:gd name="connsiteY3" fmla="*/ 0 h 257442"/>
                <a:gd name="connsiteX0" fmla="*/ 986068 w 3332645"/>
                <a:gd name="connsiteY0" fmla="*/ 0 h 257442"/>
                <a:gd name="connsiteX1" fmla="*/ 3332645 w 3332645"/>
                <a:gd name="connsiteY1" fmla="*/ 257442 h 257442"/>
                <a:gd name="connsiteX2" fmla="*/ 0 w 3332645"/>
                <a:gd name="connsiteY2" fmla="*/ 257442 h 257442"/>
                <a:gd name="connsiteX3" fmla="*/ 54722 w 3332645"/>
                <a:gd name="connsiteY3" fmla="*/ 0 h 257442"/>
                <a:gd name="connsiteX0" fmla="*/ 986068 w 986068"/>
                <a:gd name="connsiteY0" fmla="*/ 0 h 257442"/>
                <a:gd name="connsiteX1" fmla="*/ 931347 w 986068"/>
                <a:gd name="connsiteY1" fmla="*/ 257442 h 257442"/>
                <a:gd name="connsiteX2" fmla="*/ 0 w 986068"/>
                <a:gd name="connsiteY2" fmla="*/ 257442 h 257442"/>
                <a:gd name="connsiteX3" fmla="*/ 54722 w 986068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54721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54721 w 986067"/>
                <a:gd name="connsiteY3" fmla="*/ 0 h 257442"/>
                <a:gd name="connsiteX0" fmla="*/ 1146368 w 1146368"/>
                <a:gd name="connsiteY0" fmla="*/ 0 h 257442"/>
                <a:gd name="connsiteX1" fmla="*/ 931346 w 1146368"/>
                <a:gd name="connsiteY1" fmla="*/ 257442 h 257442"/>
                <a:gd name="connsiteX2" fmla="*/ 0 w 1146368"/>
                <a:gd name="connsiteY2" fmla="*/ 257442 h 257442"/>
                <a:gd name="connsiteX3" fmla="*/ 54721 w 1146368"/>
                <a:gd name="connsiteY3" fmla="*/ 0 h 257442"/>
                <a:gd name="connsiteX0" fmla="*/ 1146368 w 1146368"/>
                <a:gd name="connsiteY0" fmla="*/ 0 h 257442"/>
                <a:gd name="connsiteX1" fmla="*/ 1091646 w 1146368"/>
                <a:gd name="connsiteY1" fmla="*/ 257442 h 257442"/>
                <a:gd name="connsiteX2" fmla="*/ 0 w 1146368"/>
                <a:gd name="connsiteY2" fmla="*/ 257442 h 257442"/>
                <a:gd name="connsiteX3" fmla="*/ 54721 w 1146368"/>
                <a:gd name="connsiteY3" fmla="*/ 0 h 257442"/>
                <a:gd name="connsiteX0" fmla="*/ 1146369 w 1146369"/>
                <a:gd name="connsiteY0" fmla="*/ 0 h 257442"/>
                <a:gd name="connsiteX1" fmla="*/ 1091647 w 1146369"/>
                <a:gd name="connsiteY1" fmla="*/ 257442 h 257442"/>
                <a:gd name="connsiteX2" fmla="*/ 0 w 1146369"/>
                <a:gd name="connsiteY2" fmla="*/ 257442 h 257442"/>
                <a:gd name="connsiteX3" fmla="*/ 54722 w 1146369"/>
                <a:gd name="connsiteY3" fmla="*/ 0 h 257442"/>
                <a:gd name="connsiteX0" fmla="*/ 1146369 w 1146369"/>
                <a:gd name="connsiteY0" fmla="*/ 0 h 257442"/>
                <a:gd name="connsiteX1" fmla="*/ 1091647 w 1146369"/>
                <a:gd name="connsiteY1" fmla="*/ 257442 h 257442"/>
                <a:gd name="connsiteX2" fmla="*/ 0 w 1146369"/>
                <a:gd name="connsiteY2" fmla="*/ 257442 h 257442"/>
                <a:gd name="connsiteX3" fmla="*/ 54722 w 1146369"/>
                <a:gd name="connsiteY3" fmla="*/ 0 h 257442"/>
                <a:gd name="connsiteX0" fmla="*/ 1314683 w 1314683"/>
                <a:gd name="connsiteY0" fmla="*/ 0 h 257442"/>
                <a:gd name="connsiteX1" fmla="*/ 1091647 w 1314683"/>
                <a:gd name="connsiteY1" fmla="*/ 257442 h 257442"/>
                <a:gd name="connsiteX2" fmla="*/ 0 w 1314683"/>
                <a:gd name="connsiteY2" fmla="*/ 257442 h 257442"/>
                <a:gd name="connsiteX3" fmla="*/ 54722 w 1314683"/>
                <a:gd name="connsiteY3" fmla="*/ 0 h 257442"/>
                <a:gd name="connsiteX0" fmla="*/ 1314683 w 1314683"/>
                <a:gd name="connsiteY0" fmla="*/ 0 h 257442"/>
                <a:gd name="connsiteX1" fmla="*/ 1259962 w 1314683"/>
                <a:gd name="connsiteY1" fmla="*/ 257442 h 257442"/>
                <a:gd name="connsiteX2" fmla="*/ 0 w 1314683"/>
                <a:gd name="connsiteY2" fmla="*/ 257442 h 257442"/>
                <a:gd name="connsiteX3" fmla="*/ 54722 w 1314683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54721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54720 w 1314682"/>
                <a:gd name="connsiteY3" fmla="*/ 0 h 257442"/>
                <a:gd name="connsiteX0" fmla="*/ 1474982 w 1474982"/>
                <a:gd name="connsiteY0" fmla="*/ 0 h 257442"/>
                <a:gd name="connsiteX1" fmla="*/ 1259961 w 1474982"/>
                <a:gd name="connsiteY1" fmla="*/ 257442 h 257442"/>
                <a:gd name="connsiteX2" fmla="*/ 0 w 1474982"/>
                <a:gd name="connsiteY2" fmla="*/ 257442 h 257442"/>
                <a:gd name="connsiteX3" fmla="*/ 54720 w 1474982"/>
                <a:gd name="connsiteY3" fmla="*/ 0 h 257442"/>
                <a:gd name="connsiteX0" fmla="*/ 1474982 w 1474982"/>
                <a:gd name="connsiteY0" fmla="*/ 0 h 257442"/>
                <a:gd name="connsiteX1" fmla="*/ 1420261 w 1474982"/>
                <a:gd name="connsiteY1" fmla="*/ 257442 h 257442"/>
                <a:gd name="connsiteX2" fmla="*/ 0 w 1474982"/>
                <a:gd name="connsiteY2" fmla="*/ 257442 h 257442"/>
                <a:gd name="connsiteX3" fmla="*/ 54720 w 1474982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54721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54722 w 1474983"/>
                <a:gd name="connsiteY3" fmla="*/ 0 h 257442"/>
                <a:gd name="connsiteX0" fmla="*/ 1728258 w 1728258"/>
                <a:gd name="connsiteY0" fmla="*/ 0 h 257442"/>
                <a:gd name="connsiteX1" fmla="*/ 1420262 w 1728258"/>
                <a:gd name="connsiteY1" fmla="*/ 257442 h 257442"/>
                <a:gd name="connsiteX2" fmla="*/ 0 w 1728258"/>
                <a:gd name="connsiteY2" fmla="*/ 257442 h 257442"/>
                <a:gd name="connsiteX3" fmla="*/ 54722 w 1728258"/>
                <a:gd name="connsiteY3" fmla="*/ 0 h 257442"/>
                <a:gd name="connsiteX0" fmla="*/ 1728258 w 1728258"/>
                <a:gd name="connsiteY0" fmla="*/ 0 h 257442"/>
                <a:gd name="connsiteX1" fmla="*/ 1673536 w 1728258"/>
                <a:gd name="connsiteY1" fmla="*/ 257442 h 257442"/>
                <a:gd name="connsiteX2" fmla="*/ 0 w 1728258"/>
                <a:gd name="connsiteY2" fmla="*/ 257442 h 257442"/>
                <a:gd name="connsiteX3" fmla="*/ 54722 w 1728258"/>
                <a:gd name="connsiteY3" fmla="*/ 0 h 257442"/>
                <a:gd name="connsiteX0" fmla="*/ 1728258 w 1728258"/>
                <a:gd name="connsiteY0" fmla="*/ 0 h 257442"/>
                <a:gd name="connsiteX1" fmla="*/ 1673536 w 1728258"/>
                <a:gd name="connsiteY1" fmla="*/ 257442 h 257442"/>
                <a:gd name="connsiteX2" fmla="*/ 0 w 1728258"/>
                <a:gd name="connsiteY2" fmla="*/ 257442 h 257442"/>
                <a:gd name="connsiteX3" fmla="*/ 54722 w 1728258"/>
                <a:gd name="connsiteY3" fmla="*/ 0 h 257442"/>
                <a:gd name="connsiteX0" fmla="*/ 1728258 w 1728258"/>
                <a:gd name="connsiteY0" fmla="*/ 0 h 257442"/>
                <a:gd name="connsiteX1" fmla="*/ 1673536 w 1728258"/>
                <a:gd name="connsiteY1" fmla="*/ 257442 h 257442"/>
                <a:gd name="connsiteX2" fmla="*/ 0 w 1728258"/>
                <a:gd name="connsiteY2" fmla="*/ 257442 h 257442"/>
                <a:gd name="connsiteX3" fmla="*/ 54721 w 1728258"/>
                <a:gd name="connsiteY3" fmla="*/ 0 h 257442"/>
                <a:gd name="connsiteX0" fmla="*/ 1888557 w 1888557"/>
                <a:gd name="connsiteY0" fmla="*/ 0 h 257442"/>
                <a:gd name="connsiteX1" fmla="*/ 1673536 w 1888557"/>
                <a:gd name="connsiteY1" fmla="*/ 257442 h 257442"/>
                <a:gd name="connsiteX2" fmla="*/ 0 w 1888557"/>
                <a:gd name="connsiteY2" fmla="*/ 257442 h 257442"/>
                <a:gd name="connsiteX3" fmla="*/ 54721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54721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54721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54721 w 1888557"/>
                <a:gd name="connsiteY3" fmla="*/ 0 h 257442"/>
                <a:gd name="connsiteX0" fmla="*/ 2141832 w 2141832"/>
                <a:gd name="connsiteY0" fmla="*/ 0 h 257442"/>
                <a:gd name="connsiteX1" fmla="*/ 1833836 w 2141832"/>
                <a:gd name="connsiteY1" fmla="*/ 257442 h 257442"/>
                <a:gd name="connsiteX2" fmla="*/ 0 w 2141832"/>
                <a:gd name="connsiteY2" fmla="*/ 257442 h 257442"/>
                <a:gd name="connsiteX3" fmla="*/ 54721 w 2141832"/>
                <a:gd name="connsiteY3" fmla="*/ 0 h 257442"/>
                <a:gd name="connsiteX0" fmla="*/ 2141832 w 2141832"/>
                <a:gd name="connsiteY0" fmla="*/ 0 h 257442"/>
                <a:gd name="connsiteX1" fmla="*/ 2087110 w 2141832"/>
                <a:gd name="connsiteY1" fmla="*/ 257442 h 257442"/>
                <a:gd name="connsiteX2" fmla="*/ 0 w 2141832"/>
                <a:gd name="connsiteY2" fmla="*/ 257442 h 257442"/>
                <a:gd name="connsiteX3" fmla="*/ 54721 w 2141832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54722 w 2141833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54722 w 2141833"/>
                <a:gd name="connsiteY3" fmla="*/ 0 h 257442"/>
                <a:gd name="connsiteX0" fmla="*/ 2310149 w 2310149"/>
                <a:gd name="connsiteY0" fmla="*/ 0 h 257442"/>
                <a:gd name="connsiteX1" fmla="*/ 2087111 w 2310149"/>
                <a:gd name="connsiteY1" fmla="*/ 257442 h 257442"/>
                <a:gd name="connsiteX2" fmla="*/ 0 w 2310149"/>
                <a:gd name="connsiteY2" fmla="*/ 257442 h 257442"/>
                <a:gd name="connsiteX3" fmla="*/ 54722 w 2310149"/>
                <a:gd name="connsiteY3" fmla="*/ 0 h 257442"/>
                <a:gd name="connsiteX0" fmla="*/ 2310149 w 2310149"/>
                <a:gd name="connsiteY0" fmla="*/ 0 h 257442"/>
                <a:gd name="connsiteX1" fmla="*/ 2255428 w 2310149"/>
                <a:gd name="connsiteY1" fmla="*/ 257442 h 257442"/>
                <a:gd name="connsiteX2" fmla="*/ 0 w 2310149"/>
                <a:gd name="connsiteY2" fmla="*/ 257442 h 257442"/>
                <a:gd name="connsiteX3" fmla="*/ 54722 w 2310149"/>
                <a:gd name="connsiteY3" fmla="*/ 0 h 257442"/>
                <a:gd name="connsiteX0" fmla="*/ 2310148 w 2310148"/>
                <a:gd name="connsiteY0" fmla="*/ 0 h 257442"/>
                <a:gd name="connsiteX1" fmla="*/ 2255427 w 2310148"/>
                <a:gd name="connsiteY1" fmla="*/ 257442 h 257442"/>
                <a:gd name="connsiteX2" fmla="*/ 0 w 2310148"/>
                <a:gd name="connsiteY2" fmla="*/ 257442 h 257442"/>
                <a:gd name="connsiteX3" fmla="*/ 54721 w 2310148"/>
                <a:gd name="connsiteY3" fmla="*/ 0 h 257442"/>
                <a:gd name="connsiteX0" fmla="*/ 2310148 w 2310148"/>
                <a:gd name="connsiteY0" fmla="*/ 0 h 257442"/>
                <a:gd name="connsiteX1" fmla="*/ 2255427 w 2310148"/>
                <a:gd name="connsiteY1" fmla="*/ 257442 h 257442"/>
                <a:gd name="connsiteX2" fmla="*/ 0 w 2310148"/>
                <a:gd name="connsiteY2" fmla="*/ 257442 h 257442"/>
                <a:gd name="connsiteX3" fmla="*/ 54720 w 2310148"/>
                <a:gd name="connsiteY3" fmla="*/ 0 h 257442"/>
                <a:gd name="connsiteX0" fmla="*/ 2478461 w 2478461"/>
                <a:gd name="connsiteY0" fmla="*/ 0 h 257442"/>
                <a:gd name="connsiteX1" fmla="*/ 2255427 w 2478461"/>
                <a:gd name="connsiteY1" fmla="*/ 257442 h 257442"/>
                <a:gd name="connsiteX2" fmla="*/ 0 w 2478461"/>
                <a:gd name="connsiteY2" fmla="*/ 257442 h 257442"/>
                <a:gd name="connsiteX3" fmla="*/ 54720 w 2478461"/>
                <a:gd name="connsiteY3" fmla="*/ 0 h 257442"/>
                <a:gd name="connsiteX0" fmla="*/ 2478461 w 2478461"/>
                <a:gd name="connsiteY0" fmla="*/ 0 h 257442"/>
                <a:gd name="connsiteX1" fmla="*/ 2423740 w 2478461"/>
                <a:gd name="connsiteY1" fmla="*/ 257442 h 257442"/>
                <a:gd name="connsiteX2" fmla="*/ 0 w 2478461"/>
                <a:gd name="connsiteY2" fmla="*/ 257442 h 257442"/>
                <a:gd name="connsiteX3" fmla="*/ 54720 w 2478461"/>
                <a:gd name="connsiteY3" fmla="*/ 0 h 257442"/>
                <a:gd name="connsiteX0" fmla="*/ 2478462 w 2478462"/>
                <a:gd name="connsiteY0" fmla="*/ 0 h 257442"/>
                <a:gd name="connsiteX1" fmla="*/ 2423741 w 2478462"/>
                <a:gd name="connsiteY1" fmla="*/ 257442 h 257442"/>
                <a:gd name="connsiteX2" fmla="*/ 0 w 2478462"/>
                <a:gd name="connsiteY2" fmla="*/ 257442 h 257442"/>
                <a:gd name="connsiteX3" fmla="*/ 54721 w 2478462"/>
                <a:gd name="connsiteY3" fmla="*/ 0 h 257442"/>
                <a:gd name="connsiteX0" fmla="*/ 2478462 w 2478462"/>
                <a:gd name="connsiteY0" fmla="*/ 0 h 257442"/>
                <a:gd name="connsiteX1" fmla="*/ 2423741 w 2478462"/>
                <a:gd name="connsiteY1" fmla="*/ 257442 h 257442"/>
                <a:gd name="connsiteX2" fmla="*/ 0 w 2478462"/>
                <a:gd name="connsiteY2" fmla="*/ 257442 h 257442"/>
                <a:gd name="connsiteX3" fmla="*/ 54721 w 2478462"/>
                <a:gd name="connsiteY3" fmla="*/ 0 h 257442"/>
                <a:gd name="connsiteX0" fmla="*/ 2783033 w 2783033"/>
                <a:gd name="connsiteY0" fmla="*/ 0 h 257442"/>
                <a:gd name="connsiteX1" fmla="*/ 2423741 w 2783033"/>
                <a:gd name="connsiteY1" fmla="*/ 257442 h 257442"/>
                <a:gd name="connsiteX2" fmla="*/ 0 w 2783033"/>
                <a:gd name="connsiteY2" fmla="*/ 257442 h 257442"/>
                <a:gd name="connsiteX3" fmla="*/ 54721 w 2783033"/>
                <a:gd name="connsiteY3" fmla="*/ 0 h 257442"/>
                <a:gd name="connsiteX0" fmla="*/ 2783033 w 2783033"/>
                <a:gd name="connsiteY0" fmla="*/ 0 h 257442"/>
                <a:gd name="connsiteX1" fmla="*/ 2728312 w 2783033"/>
                <a:gd name="connsiteY1" fmla="*/ 257442 h 257442"/>
                <a:gd name="connsiteX2" fmla="*/ 0 w 2783033"/>
                <a:gd name="connsiteY2" fmla="*/ 257442 h 257442"/>
                <a:gd name="connsiteX3" fmla="*/ 54721 w 2783033"/>
                <a:gd name="connsiteY3" fmla="*/ 0 h 257442"/>
                <a:gd name="connsiteX0" fmla="*/ 2783033 w 2783033"/>
                <a:gd name="connsiteY0" fmla="*/ 0 h 257442"/>
                <a:gd name="connsiteX1" fmla="*/ 2728312 w 2783033"/>
                <a:gd name="connsiteY1" fmla="*/ 257442 h 257442"/>
                <a:gd name="connsiteX2" fmla="*/ 0 w 2783033"/>
                <a:gd name="connsiteY2" fmla="*/ 257442 h 257442"/>
                <a:gd name="connsiteX3" fmla="*/ 54721 w 2783033"/>
                <a:gd name="connsiteY3" fmla="*/ 0 h 257442"/>
                <a:gd name="connsiteX0" fmla="*/ 2783033 w 2783033"/>
                <a:gd name="connsiteY0" fmla="*/ 0 h 257442"/>
                <a:gd name="connsiteX1" fmla="*/ 2728312 w 2783033"/>
                <a:gd name="connsiteY1" fmla="*/ 257442 h 257442"/>
                <a:gd name="connsiteX2" fmla="*/ 0 w 2783033"/>
                <a:gd name="connsiteY2" fmla="*/ 257442 h 257442"/>
                <a:gd name="connsiteX3" fmla="*/ 54721 w 2783033"/>
                <a:gd name="connsiteY3" fmla="*/ 0 h 257442"/>
                <a:gd name="connsiteX0" fmla="*/ 3052337 w 3052337"/>
                <a:gd name="connsiteY0" fmla="*/ 0 h 257442"/>
                <a:gd name="connsiteX1" fmla="*/ 2728312 w 3052337"/>
                <a:gd name="connsiteY1" fmla="*/ 257442 h 257442"/>
                <a:gd name="connsiteX2" fmla="*/ 0 w 3052337"/>
                <a:gd name="connsiteY2" fmla="*/ 257442 h 257442"/>
                <a:gd name="connsiteX3" fmla="*/ 54721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54721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54721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54721 w 3052337"/>
                <a:gd name="connsiteY3" fmla="*/ 0 h 257442"/>
                <a:gd name="connsiteX0" fmla="*/ 968434 w 2997616"/>
                <a:gd name="connsiteY0" fmla="*/ 0 h 257442"/>
                <a:gd name="connsiteX1" fmla="*/ 2997616 w 2997616"/>
                <a:gd name="connsiteY1" fmla="*/ 257442 h 257442"/>
                <a:gd name="connsiteX2" fmla="*/ 0 w 2997616"/>
                <a:gd name="connsiteY2" fmla="*/ 257442 h 257442"/>
                <a:gd name="connsiteX3" fmla="*/ 54721 w 2997616"/>
                <a:gd name="connsiteY3" fmla="*/ 0 h 257442"/>
                <a:gd name="connsiteX0" fmla="*/ 968434 w 968434"/>
                <a:gd name="connsiteY0" fmla="*/ 0 h 257442"/>
                <a:gd name="connsiteX1" fmla="*/ 913713 w 968434"/>
                <a:gd name="connsiteY1" fmla="*/ 257442 h 257442"/>
                <a:gd name="connsiteX2" fmla="*/ 0 w 968434"/>
                <a:gd name="connsiteY2" fmla="*/ 257442 h 257442"/>
                <a:gd name="connsiteX3" fmla="*/ 54721 w 968434"/>
                <a:gd name="connsiteY3" fmla="*/ 0 h 257442"/>
                <a:gd name="connsiteX0" fmla="*/ 968434 w 968434"/>
                <a:gd name="connsiteY0" fmla="*/ 0 h 257442"/>
                <a:gd name="connsiteX1" fmla="*/ 913713 w 968434"/>
                <a:gd name="connsiteY1" fmla="*/ 257442 h 257442"/>
                <a:gd name="connsiteX2" fmla="*/ 0 w 968434"/>
                <a:gd name="connsiteY2" fmla="*/ 257442 h 257442"/>
                <a:gd name="connsiteX3" fmla="*/ 54721 w 968434"/>
                <a:gd name="connsiteY3" fmla="*/ 0 h 257442"/>
                <a:gd name="connsiteX0" fmla="*/ 968434 w 968434"/>
                <a:gd name="connsiteY0" fmla="*/ 0 h 257442"/>
                <a:gd name="connsiteX1" fmla="*/ 913713 w 968434"/>
                <a:gd name="connsiteY1" fmla="*/ 257442 h 257442"/>
                <a:gd name="connsiteX2" fmla="*/ 0 w 968434"/>
                <a:gd name="connsiteY2" fmla="*/ 257442 h 257442"/>
                <a:gd name="connsiteX3" fmla="*/ 54721 w 968434"/>
                <a:gd name="connsiteY3" fmla="*/ 0 h 257442"/>
                <a:gd name="connsiteX0" fmla="*/ 1128734 w 1128734"/>
                <a:gd name="connsiteY0" fmla="*/ 0 h 257442"/>
                <a:gd name="connsiteX1" fmla="*/ 9137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566354 w 1566354"/>
                <a:gd name="connsiteY0" fmla="*/ 0 h 257442"/>
                <a:gd name="connsiteX1" fmla="*/ 1242329 w 1566354"/>
                <a:gd name="connsiteY1" fmla="*/ 257442 h 257442"/>
                <a:gd name="connsiteX2" fmla="*/ 0 w 1566354"/>
                <a:gd name="connsiteY2" fmla="*/ 257442 h 257442"/>
                <a:gd name="connsiteX3" fmla="*/ 54721 w 1566354"/>
                <a:gd name="connsiteY3" fmla="*/ 0 h 257442"/>
                <a:gd name="connsiteX0" fmla="*/ 1566354 w 1566354"/>
                <a:gd name="connsiteY0" fmla="*/ 0 h 257442"/>
                <a:gd name="connsiteX1" fmla="*/ 1511633 w 1566354"/>
                <a:gd name="connsiteY1" fmla="*/ 257442 h 257442"/>
                <a:gd name="connsiteX2" fmla="*/ 0 w 1566354"/>
                <a:gd name="connsiteY2" fmla="*/ 257442 h 257442"/>
                <a:gd name="connsiteX3" fmla="*/ 54721 w 1566354"/>
                <a:gd name="connsiteY3" fmla="*/ 0 h 257442"/>
                <a:gd name="connsiteX0" fmla="*/ 1566354 w 1566354"/>
                <a:gd name="connsiteY0" fmla="*/ 0 h 257442"/>
                <a:gd name="connsiteX1" fmla="*/ 1511633 w 1566354"/>
                <a:gd name="connsiteY1" fmla="*/ 257442 h 257442"/>
                <a:gd name="connsiteX2" fmla="*/ 0 w 1566354"/>
                <a:gd name="connsiteY2" fmla="*/ 257442 h 257442"/>
                <a:gd name="connsiteX3" fmla="*/ 54721 w 1566354"/>
                <a:gd name="connsiteY3" fmla="*/ 0 h 257442"/>
                <a:gd name="connsiteX0" fmla="*/ 1566354 w 1566354"/>
                <a:gd name="connsiteY0" fmla="*/ 0 h 257442"/>
                <a:gd name="connsiteX1" fmla="*/ 1511633 w 1566354"/>
                <a:gd name="connsiteY1" fmla="*/ 257442 h 257442"/>
                <a:gd name="connsiteX2" fmla="*/ 0 w 1566354"/>
                <a:gd name="connsiteY2" fmla="*/ 257442 h 257442"/>
                <a:gd name="connsiteX3" fmla="*/ 54721 w 1566354"/>
                <a:gd name="connsiteY3" fmla="*/ 0 h 257442"/>
                <a:gd name="connsiteX0" fmla="*/ 1821937 w 1821937"/>
                <a:gd name="connsiteY0" fmla="*/ 0 h 257442"/>
                <a:gd name="connsiteX1" fmla="*/ 1511633 w 1821937"/>
                <a:gd name="connsiteY1" fmla="*/ 257442 h 257442"/>
                <a:gd name="connsiteX2" fmla="*/ 0 w 1821937"/>
                <a:gd name="connsiteY2" fmla="*/ 257442 h 257442"/>
                <a:gd name="connsiteX3" fmla="*/ 54721 w 1821937"/>
                <a:gd name="connsiteY3" fmla="*/ 0 h 257442"/>
                <a:gd name="connsiteX0" fmla="*/ 1821937 w 1821937"/>
                <a:gd name="connsiteY0" fmla="*/ 0 h 257442"/>
                <a:gd name="connsiteX1" fmla="*/ 1767216 w 1821937"/>
                <a:gd name="connsiteY1" fmla="*/ 257442 h 257442"/>
                <a:gd name="connsiteX2" fmla="*/ 0 w 1821937"/>
                <a:gd name="connsiteY2" fmla="*/ 257442 h 257442"/>
                <a:gd name="connsiteX3" fmla="*/ 54721 w 1821937"/>
                <a:gd name="connsiteY3" fmla="*/ 0 h 257442"/>
                <a:gd name="connsiteX0" fmla="*/ 1821937 w 1821937"/>
                <a:gd name="connsiteY0" fmla="*/ 0 h 257442"/>
                <a:gd name="connsiteX1" fmla="*/ 1767216 w 1821937"/>
                <a:gd name="connsiteY1" fmla="*/ 257442 h 257442"/>
                <a:gd name="connsiteX2" fmla="*/ 0 w 1821937"/>
                <a:gd name="connsiteY2" fmla="*/ 257442 h 257442"/>
                <a:gd name="connsiteX3" fmla="*/ 54721 w 1821937"/>
                <a:gd name="connsiteY3" fmla="*/ 0 h 257442"/>
                <a:gd name="connsiteX0" fmla="*/ 1821937 w 1821937"/>
                <a:gd name="connsiteY0" fmla="*/ 0 h 257442"/>
                <a:gd name="connsiteX1" fmla="*/ 1767216 w 1821937"/>
                <a:gd name="connsiteY1" fmla="*/ 257442 h 257442"/>
                <a:gd name="connsiteX2" fmla="*/ 0 w 1821937"/>
                <a:gd name="connsiteY2" fmla="*/ 257442 h 257442"/>
                <a:gd name="connsiteX3" fmla="*/ 54721 w 1821937"/>
                <a:gd name="connsiteY3" fmla="*/ 0 h 257442"/>
                <a:gd name="connsiteX0" fmla="*/ 1982237 w 1982237"/>
                <a:gd name="connsiteY0" fmla="*/ 0 h 257442"/>
                <a:gd name="connsiteX1" fmla="*/ 1767216 w 1982237"/>
                <a:gd name="connsiteY1" fmla="*/ 257442 h 257442"/>
                <a:gd name="connsiteX2" fmla="*/ 0 w 1982237"/>
                <a:gd name="connsiteY2" fmla="*/ 257442 h 257442"/>
                <a:gd name="connsiteX3" fmla="*/ 54721 w 1982237"/>
                <a:gd name="connsiteY3" fmla="*/ 0 h 257442"/>
                <a:gd name="connsiteX0" fmla="*/ 1982237 w 1982237"/>
                <a:gd name="connsiteY0" fmla="*/ 0 h 257442"/>
                <a:gd name="connsiteX1" fmla="*/ 1927516 w 1982237"/>
                <a:gd name="connsiteY1" fmla="*/ 257442 h 257442"/>
                <a:gd name="connsiteX2" fmla="*/ 0 w 1982237"/>
                <a:gd name="connsiteY2" fmla="*/ 257442 h 257442"/>
                <a:gd name="connsiteX3" fmla="*/ 54721 w 1982237"/>
                <a:gd name="connsiteY3" fmla="*/ 0 h 257442"/>
                <a:gd name="connsiteX0" fmla="*/ 1982237 w 1982237"/>
                <a:gd name="connsiteY0" fmla="*/ 0 h 257442"/>
                <a:gd name="connsiteX1" fmla="*/ 1927516 w 1982237"/>
                <a:gd name="connsiteY1" fmla="*/ 257442 h 257442"/>
                <a:gd name="connsiteX2" fmla="*/ 0 w 1982237"/>
                <a:gd name="connsiteY2" fmla="*/ 257442 h 257442"/>
                <a:gd name="connsiteX3" fmla="*/ 54721 w 1982237"/>
                <a:gd name="connsiteY3" fmla="*/ 0 h 257442"/>
                <a:gd name="connsiteX0" fmla="*/ 1982237 w 1982237"/>
                <a:gd name="connsiteY0" fmla="*/ 0 h 257442"/>
                <a:gd name="connsiteX1" fmla="*/ 1927516 w 1982237"/>
                <a:gd name="connsiteY1" fmla="*/ 257442 h 257442"/>
                <a:gd name="connsiteX2" fmla="*/ 0 w 1982237"/>
                <a:gd name="connsiteY2" fmla="*/ 257442 h 257442"/>
                <a:gd name="connsiteX3" fmla="*/ 54721 w 1982237"/>
                <a:gd name="connsiteY3" fmla="*/ 0 h 257442"/>
                <a:gd name="connsiteX0" fmla="*/ 2142538 w 2142538"/>
                <a:gd name="connsiteY0" fmla="*/ 0 h 257442"/>
                <a:gd name="connsiteX1" fmla="*/ 1927516 w 2142538"/>
                <a:gd name="connsiteY1" fmla="*/ 257442 h 257442"/>
                <a:gd name="connsiteX2" fmla="*/ 0 w 2142538"/>
                <a:gd name="connsiteY2" fmla="*/ 257442 h 257442"/>
                <a:gd name="connsiteX3" fmla="*/ 54721 w 2142538"/>
                <a:gd name="connsiteY3" fmla="*/ 0 h 257442"/>
                <a:gd name="connsiteX0" fmla="*/ 2142538 w 2142538"/>
                <a:gd name="connsiteY0" fmla="*/ 0 h 257442"/>
                <a:gd name="connsiteX1" fmla="*/ 2087816 w 2142538"/>
                <a:gd name="connsiteY1" fmla="*/ 257442 h 257442"/>
                <a:gd name="connsiteX2" fmla="*/ 0 w 2142538"/>
                <a:gd name="connsiteY2" fmla="*/ 257442 h 257442"/>
                <a:gd name="connsiteX3" fmla="*/ 54721 w 2142538"/>
                <a:gd name="connsiteY3" fmla="*/ 0 h 257442"/>
                <a:gd name="connsiteX0" fmla="*/ 2142539 w 2142539"/>
                <a:gd name="connsiteY0" fmla="*/ 0 h 257442"/>
                <a:gd name="connsiteX1" fmla="*/ 2087817 w 2142539"/>
                <a:gd name="connsiteY1" fmla="*/ 257442 h 257442"/>
                <a:gd name="connsiteX2" fmla="*/ 0 w 2142539"/>
                <a:gd name="connsiteY2" fmla="*/ 257442 h 257442"/>
                <a:gd name="connsiteX3" fmla="*/ 54722 w 2142539"/>
                <a:gd name="connsiteY3" fmla="*/ 0 h 257442"/>
                <a:gd name="connsiteX0" fmla="*/ 2142539 w 2142539"/>
                <a:gd name="connsiteY0" fmla="*/ 0 h 257442"/>
                <a:gd name="connsiteX1" fmla="*/ 2087817 w 2142539"/>
                <a:gd name="connsiteY1" fmla="*/ 257442 h 257442"/>
                <a:gd name="connsiteX2" fmla="*/ 0 w 2142539"/>
                <a:gd name="connsiteY2" fmla="*/ 257442 h 257442"/>
                <a:gd name="connsiteX3" fmla="*/ 54722 w 2142539"/>
                <a:gd name="connsiteY3" fmla="*/ 0 h 257442"/>
                <a:gd name="connsiteX0" fmla="*/ 2310853 w 2310853"/>
                <a:gd name="connsiteY0" fmla="*/ 0 h 257442"/>
                <a:gd name="connsiteX1" fmla="*/ 2087817 w 2310853"/>
                <a:gd name="connsiteY1" fmla="*/ 257442 h 257442"/>
                <a:gd name="connsiteX2" fmla="*/ 0 w 2310853"/>
                <a:gd name="connsiteY2" fmla="*/ 257442 h 257442"/>
                <a:gd name="connsiteX3" fmla="*/ 54722 w 2310853"/>
                <a:gd name="connsiteY3" fmla="*/ 0 h 257442"/>
                <a:gd name="connsiteX0" fmla="*/ 2310853 w 2310853"/>
                <a:gd name="connsiteY0" fmla="*/ 0 h 257442"/>
                <a:gd name="connsiteX1" fmla="*/ 2256132 w 2310853"/>
                <a:gd name="connsiteY1" fmla="*/ 257442 h 257442"/>
                <a:gd name="connsiteX2" fmla="*/ 0 w 2310853"/>
                <a:gd name="connsiteY2" fmla="*/ 257442 h 257442"/>
                <a:gd name="connsiteX3" fmla="*/ 54722 w 2310853"/>
                <a:gd name="connsiteY3" fmla="*/ 0 h 257442"/>
                <a:gd name="connsiteX0" fmla="*/ 2310852 w 2310852"/>
                <a:gd name="connsiteY0" fmla="*/ 0 h 257442"/>
                <a:gd name="connsiteX1" fmla="*/ 2256131 w 2310852"/>
                <a:gd name="connsiteY1" fmla="*/ 257442 h 257442"/>
                <a:gd name="connsiteX2" fmla="*/ 0 w 2310852"/>
                <a:gd name="connsiteY2" fmla="*/ 257442 h 257442"/>
                <a:gd name="connsiteX3" fmla="*/ 54721 w 2310852"/>
                <a:gd name="connsiteY3" fmla="*/ 0 h 257442"/>
                <a:gd name="connsiteX0" fmla="*/ 2310852 w 2310852"/>
                <a:gd name="connsiteY0" fmla="*/ 0 h 257442"/>
                <a:gd name="connsiteX1" fmla="*/ 2256131 w 2310852"/>
                <a:gd name="connsiteY1" fmla="*/ 257442 h 257442"/>
                <a:gd name="connsiteX2" fmla="*/ 0 w 2310852"/>
                <a:gd name="connsiteY2" fmla="*/ 257442 h 257442"/>
                <a:gd name="connsiteX3" fmla="*/ 54720 w 2310852"/>
                <a:gd name="connsiteY3" fmla="*/ 0 h 257442"/>
                <a:gd name="connsiteX0" fmla="*/ 2479167 w 2479167"/>
                <a:gd name="connsiteY0" fmla="*/ 0 h 257442"/>
                <a:gd name="connsiteX1" fmla="*/ 2256131 w 2479167"/>
                <a:gd name="connsiteY1" fmla="*/ 257442 h 257442"/>
                <a:gd name="connsiteX2" fmla="*/ 0 w 2479167"/>
                <a:gd name="connsiteY2" fmla="*/ 257442 h 257442"/>
                <a:gd name="connsiteX3" fmla="*/ 54720 w 2479167"/>
                <a:gd name="connsiteY3" fmla="*/ 0 h 257442"/>
                <a:gd name="connsiteX0" fmla="*/ 2479167 w 2479167"/>
                <a:gd name="connsiteY0" fmla="*/ 0 h 257442"/>
                <a:gd name="connsiteX1" fmla="*/ 2424446 w 2479167"/>
                <a:gd name="connsiteY1" fmla="*/ 257442 h 257442"/>
                <a:gd name="connsiteX2" fmla="*/ 0 w 2479167"/>
                <a:gd name="connsiteY2" fmla="*/ 257442 h 257442"/>
                <a:gd name="connsiteX3" fmla="*/ 54720 w 2479167"/>
                <a:gd name="connsiteY3" fmla="*/ 0 h 257442"/>
                <a:gd name="connsiteX0" fmla="*/ 2479168 w 2479168"/>
                <a:gd name="connsiteY0" fmla="*/ 0 h 257442"/>
                <a:gd name="connsiteX1" fmla="*/ 2424447 w 2479168"/>
                <a:gd name="connsiteY1" fmla="*/ 257442 h 257442"/>
                <a:gd name="connsiteX2" fmla="*/ 0 w 2479168"/>
                <a:gd name="connsiteY2" fmla="*/ 257442 h 257442"/>
                <a:gd name="connsiteX3" fmla="*/ 54721 w 2479168"/>
                <a:gd name="connsiteY3" fmla="*/ 0 h 257442"/>
                <a:gd name="connsiteX0" fmla="*/ 2479168 w 2479168"/>
                <a:gd name="connsiteY0" fmla="*/ 0 h 257442"/>
                <a:gd name="connsiteX1" fmla="*/ 2424447 w 2479168"/>
                <a:gd name="connsiteY1" fmla="*/ 257442 h 257442"/>
                <a:gd name="connsiteX2" fmla="*/ 0 w 2479168"/>
                <a:gd name="connsiteY2" fmla="*/ 257442 h 257442"/>
                <a:gd name="connsiteX3" fmla="*/ 54721 w 2479168"/>
                <a:gd name="connsiteY3" fmla="*/ 0 h 257442"/>
                <a:gd name="connsiteX0" fmla="*/ 968434 w 2424447"/>
                <a:gd name="connsiteY0" fmla="*/ 0 h 257442"/>
                <a:gd name="connsiteX1" fmla="*/ 2424447 w 2424447"/>
                <a:gd name="connsiteY1" fmla="*/ 257442 h 257442"/>
                <a:gd name="connsiteX2" fmla="*/ 0 w 2424447"/>
                <a:gd name="connsiteY2" fmla="*/ 257442 h 257442"/>
                <a:gd name="connsiteX3" fmla="*/ 54721 w 2424447"/>
                <a:gd name="connsiteY3" fmla="*/ 0 h 257442"/>
                <a:gd name="connsiteX0" fmla="*/ 968434 w 968434"/>
                <a:gd name="connsiteY0" fmla="*/ 0 h 257442"/>
                <a:gd name="connsiteX1" fmla="*/ 913714 w 968434"/>
                <a:gd name="connsiteY1" fmla="*/ 257442 h 257442"/>
                <a:gd name="connsiteX2" fmla="*/ 0 w 968434"/>
                <a:gd name="connsiteY2" fmla="*/ 257442 h 257442"/>
                <a:gd name="connsiteX3" fmla="*/ 54721 w 968434"/>
                <a:gd name="connsiteY3" fmla="*/ 0 h 257442"/>
                <a:gd name="connsiteX0" fmla="*/ 968433 w 968433"/>
                <a:gd name="connsiteY0" fmla="*/ 0 h 257442"/>
                <a:gd name="connsiteX1" fmla="*/ 913713 w 968433"/>
                <a:gd name="connsiteY1" fmla="*/ 257442 h 257442"/>
                <a:gd name="connsiteX2" fmla="*/ 0 w 968433"/>
                <a:gd name="connsiteY2" fmla="*/ 257442 h 257442"/>
                <a:gd name="connsiteX3" fmla="*/ 54720 w 968433"/>
                <a:gd name="connsiteY3" fmla="*/ 0 h 257442"/>
                <a:gd name="connsiteX0" fmla="*/ 968433 w 968433"/>
                <a:gd name="connsiteY0" fmla="*/ 0 h 257442"/>
                <a:gd name="connsiteX1" fmla="*/ 913713 w 968433"/>
                <a:gd name="connsiteY1" fmla="*/ 257442 h 257442"/>
                <a:gd name="connsiteX2" fmla="*/ 0 w 968433"/>
                <a:gd name="connsiteY2" fmla="*/ 257442 h 257442"/>
                <a:gd name="connsiteX3" fmla="*/ 54721 w 968433"/>
                <a:gd name="connsiteY3" fmla="*/ 0 h 257442"/>
                <a:gd name="connsiteX0" fmla="*/ 1128734 w 1128734"/>
                <a:gd name="connsiteY0" fmla="*/ 0 h 257442"/>
                <a:gd name="connsiteX1" fmla="*/ 9137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128734 w 1128734"/>
                <a:gd name="connsiteY0" fmla="*/ 0 h 257442"/>
                <a:gd name="connsiteX1" fmla="*/ 1074012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54722 w 1128735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54722 w 1128735"/>
                <a:gd name="connsiteY3" fmla="*/ 0 h 257442"/>
                <a:gd name="connsiteX0" fmla="*/ 1297051 w 1297051"/>
                <a:gd name="connsiteY0" fmla="*/ 0 h 257442"/>
                <a:gd name="connsiteX1" fmla="*/ 1074013 w 1297051"/>
                <a:gd name="connsiteY1" fmla="*/ 257442 h 257442"/>
                <a:gd name="connsiteX2" fmla="*/ 0 w 1297051"/>
                <a:gd name="connsiteY2" fmla="*/ 257442 h 257442"/>
                <a:gd name="connsiteX3" fmla="*/ 54722 w 1297051"/>
                <a:gd name="connsiteY3" fmla="*/ 0 h 257442"/>
                <a:gd name="connsiteX0" fmla="*/ 1297051 w 1297051"/>
                <a:gd name="connsiteY0" fmla="*/ 0 h 257442"/>
                <a:gd name="connsiteX1" fmla="*/ 1242330 w 1297051"/>
                <a:gd name="connsiteY1" fmla="*/ 257442 h 257442"/>
                <a:gd name="connsiteX2" fmla="*/ 0 w 1297051"/>
                <a:gd name="connsiteY2" fmla="*/ 257442 h 257442"/>
                <a:gd name="connsiteX3" fmla="*/ 54722 w 1297051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0 w 1297050"/>
                <a:gd name="connsiteY3" fmla="*/ 0 h 257442"/>
                <a:gd name="connsiteX0" fmla="*/ 1566353 w 1566353"/>
                <a:gd name="connsiteY0" fmla="*/ 0 h 257442"/>
                <a:gd name="connsiteX1" fmla="*/ 1242329 w 1566353"/>
                <a:gd name="connsiteY1" fmla="*/ 257442 h 257442"/>
                <a:gd name="connsiteX2" fmla="*/ 0 w 1566353"/>
                <a:gd name="connsiteY2" fmla="*/ 257442 h 257442"/>
                <a:gd name="connsiteX3" fmla="*/ 54720 w 1566353"/>
                <a:gd name="connsiteY3" fmla="*/ 0 h 257442"/>
                <a:gd name="connsiteX0" fmla="*/ 1566353 w 1566353"/>
                <a:gd name="connsiteY0" fmla="*/ 0 h 257442"/>
                <a:gd name="connsiteX1" fmla="*/ 1511632 w 1566353"/>
                <a:gd name="connsiteY1" fmla="*/ 257442 h 257442"/>
                <a:gd name="connsiteX2" fmla="*/ 0 w 1566353"/>
                <a:gd name="connsiteY2" fmla="*/ 257442 h 257442"/>
                <a:gd name="connsiteX3" fmla="*/ 54720 w 1566353"/>
                <a:gd name="connsiteY3" fmla="*/ 0 h 257442"/>
                <a:gd name="connsiteX0" fmla="*/ 1566354 w 1566354"/>
                <a:gd name="connsiteY0" fmla="*/ 0 h 257442"/>
                <a:gd name="connsiteX1" fmla="*/ 1511633 w 1566354"/>
                <a:gd name="connsiteY1" fmla="*/ 257442 h 257442"/>
                <a:gd name="connsiteX2" fmla="*/ 0 w 1566354"/>
                <a:gd name="connsiteY2" fmla="*/ 257442 h 257442"/>
                <a:gd name="connsiteX3" fmla="*/ 54721 w 1566354"/>
                <a:gd name="connsiteY3" fmla="*/ 0 h 257442"/>
                <a:gd name="connsiteX0" fmla="*/ 1566354 w 1566354"/>
                <a:gd name="connsiteY0" fmla="*/ 0 h 257442"/>
                <a:gd name="connsiteX1" fmla="*/ 1511633 w 1566354"/>
                <a:gd name="connsiteY1" fmla="*/ 257442 h 257442"/>
                <a:gd name="connsiteX2" fmla="*/ 0 w 1566354"/>
                <a:gd name="connsiteY2" fmla="*/ 257442 h 257442"/>
                <a:gd name="connsiteX3" fmla="*/ 54721 w 1566354"/>
                <a:gd name="connsiteY3" fmla="*/ 0 h 257442"/>
                <a:gd name="connsiteX0" fmla="*/ 1829952 w 1829952"/>
                <a:gd name="connsiteY0" fmla="*/ 0 h 257442"/>
                <a:gd name="connsiteX1" fmla="*/ 1511633 w 1829952"/>
                <a:gd name="connsiteY1" fmla="*/ 257442 h 257442"/>
                <a:gd name="connsiteX2" fmla="*/ 0 w 1829952"/>
                <a:gd name="connsiteY2" fmla="*/ 257442 h 257442"/>
                <a:gd name="connsiteX3" fmla="*/ 54721 w 1829952"/>
                <a:gd name="connsiteY3" fmla="*/ 0 h 257442"/>
                <a:gd name="connsiteX0" fmla="*/ 1829952 w 1829952"/>
                <a:gd name="connsiteY0" fmla="*/ 0 h 257442"/>
                <a:gd name="connsiteX1" fmla="*/ 1775231 w 1829952"/>
                <a:gd name="connsiteY1" fmla="*/ 257442 h 257442"/>
                <a:gd name="connsiteX2" fmla="*/ 0 w 1829952"/>
                <a:gd name="connsiteY2" fmla="*/ 257442 h 257442"/>
                <a:gd name="connsiteX3" fmla="*/ 54721 w 1829952"/>
                <a:gd name="connsiteY3" fmla="*/ 0 h 257442"/>
                <a:gd name="connsiteX0" fmla="*/ 1829952 w 1829952"/>
                <a:gd name="connsiteY0" fmla="*/ 0 h 257442"/>
                <a:gd name="connsiteX1" fmla="*/ 1775231 w 1829952"/>
                <a:gd name="connsiteY1" fmla="*/ 257442 h 257442"/>
                <a:gd name="connsiteX2" fmla="*/ 0 w 1829952"/>
                <a:gd name="connsiteY2" fmla="*/ 257442 h 257442"/>
                <a:gd name="connsiteX3" fmla="*/ 54721 w 1829952"/>
                <a:gd name="connsiteY3" fmla="*/ 0 h 257442"/>
                <a:gd name="connsiteX0" fmla="*/ 1829952 w 1829952"/>
                <a:gd name="connsiteY0" fmla="*/ 0 h 257442"/>
                <a:gd name="connsiteX1" fmla="*/ 1775231 w 1829952"/>
                <a:gd name="connsiteY1" fmla="*/ 257442 h 257442"/>
                <a:gd name="connsiteX2" fmla="*/ 0 w 1829952"/>
                <a:gd name="connsiteY2" fmla="*/ 257442 h 257442"/>
                <a:gd name="connsiteX3" fmla="*/ 54721 w 1829952"/>
                <a:gd name="connsiteY3" fmla="*/ 0 h 257442"/>
                <a:gd name="connsiteX0" fmla="*/ 1998267 w 1998267"/>
                <a:gd name="connsiteY0" fmla="*/ 0 h 257442"/>
                <a:gd name="connsiteX1" fmla="*/ 1775231 w 1998267"/>
                <a:gd name="connsiteY1" fmla="*/ 257442 h 257442"/>
                <a:gd name="connsiteX2" fmla="*/ 0 w 1998267"/>
                <a:gd name="connsiteY2" fmla="*/ 257442 h 257442"/>
                <a:gd name="connsiteX3" fmla="*/ 54721 w 1998267"/>
                <a:gd name="connsiteY3" fmla="*/ 0 h 257442"/>
                <a:gd name="connsiteX0" fmla="*/ 1998267 w 1998267"/>
                <a:gd name="connsiteY0" fmla="*/ 0 h 257442"/>
                <a:gd name="connsiteX1" fmla="*/ 1943546 w 1998267"/>
                <a:gd name="connsiteY1" fmla="*/ 257442 h 257442"/>
                <a:gd name="connsiteX2" fmla="*/ 0 w 1998267"/>
                <a:gd name="connsiteY2" fmla="*/ 257442 h 257442"/>
                <a:gd name="connsiteX3" fmla="*/ 54721 w 1998267"/>
                <a:gd name="connsiteY3" fmla="*/ 0 h 257442"/>
                <a:gd name="connsiteX0" fmla="*/ 1998267 w 1998267"/>
                <a:gd name="connsiteY0" fmla="*/ 0 h 257442"/>
                <a:gd name="connsiteX1" fmla="*/ 1943546 w 1998267"/>
                <a:gd name="connsiteY1" fmla="*/ 257442 h 257442"/>
                <a:gd name="connsiteX2" fmla="*/ 0 w 1998267"/>
                <a:gd name="connsiteY2" fmla="*/ 257442 h 257442"/>
                <a:gd name="connsiteX3" fmla="*/ 54721 w 1998267"/>
                <a:gd name="connsiteY3" fmla="*/ 0 h 257442"/>
                <a:gd name="connsiteX0" fmla="*/ 1998267 w 1998267"/>
                <a:gd name="connsiteY0" fmla="*/ 0 h 257442"/>
                <a:gd name="connsiteX1" fmla="*/ 1943546 w 1998267"/>
                <a:gd name="connsiteY1" fmla="*/ 257442 h 257442"/>
                <a:gd name="connsiteX2" fmla="*/ 0 w 1998267"/>
                <a:gd name="connsiteY2" fmla="*/ 257442 h 257442"/>
                <a:gd name="connsiteX3" fmla="*/ 54721 w 1998267"/>
                <a:gd name="connsiteY3" fmla="*/ 0 h 257442"/>
                <a:gd name="connsiteX0" fmla="*/ 2166582 w 2166582"/>
                <a:gd name="connsiteY0" fmla="*/ 0 h 257442"/>
                <a:gd name="connsiteX1" fmla="*/ 1943546 w 2166582"/>
                <a:gd name="connsiteY1" fmla="*/ 257442 h 257442"/>
                <a:gd name="connsiteX2" fmla="*/ 0 w 2166582"/>
                <a:gd name="connsiteY2" fmla="*/ 257442 h 257442"/>
                <a:gd name="connsiteX3" fmla="*/ 54721 w 2166582"/>
                <a:gd name="connsiteY3" fmla="*/ 0 h 257442"/>
                <a:gd name="connsiteX0" fmla="*/ 2166582 w 2166582"/>
                <a:gd name="connsiteY0" fmla="*/ 0 h 257442"/>
                <a:gd name="connsiteX1" fmla="*/ 2111860 w 2166582"/>
                <a:gd name="connsiteY1" fmla="*/ 257442 h 257442"/>
                <a:gd name="connsiteX2" fmla="*/ 0 w 2166582"/>
                <a:gd name="connsiteY2" fmla="*/ 257442 h 257442"/>
                <a:gd name="connsiteX3" fmla="*/ 54721 w 2166582"/>
                <a:gd name="connsiteY3" fmla="*/ 0 h 257442"/>
                <a:gd name="connsiteX0" fmla="*/ 2166583 w 2166583"/>
                <a:gd name="connsiteY0" fmla="*/ 0 h 257442"/>
                <a:gd name="connsiteX1" fmla="*/ 2111861 w 2166583"/>
                <a:gd name="connsiteY1" fmla="*/ 257442 h 257442"/>
                <a:gd name="connsiteX2" fmla="*/ 0 w 2166583"/>
                <a:gd name="connsiteY2" fmla="*/ 257442 h 257442"/>
                <a:gd name="connsiteX3" fmla="*/ 54722 w 2166583"/>
                <a:gd name="connsiteY3" fmla="*/ 0 h 257442"/>
                <a:gd name="connsiteX0" fmla="*/ 2166583 w 2166583"/>
                <a:gd name="connsiteY0" fmla="*/ 0 h 257442"/>
                <a:gd name="connsiteX1" fmla="*/ 2111861 w 2166583"/>
                <a:gd name="connsiteY1" fmla="*/ 257442 h 257442"/>
                <a:gd name="connsiteX2" fmla="*/ 0 w 2166583"/>
                <a:gd name="connsiteY2" fmla="*/ 257442 h 257442"/>
                <a:gd name="connsiteX3" fmla="*/ 54722 w 2166583"/>
                <a:gd name="connsiteY3" fmla="*/ 0 h 257442"/>
                <a:gd name="connsiteX0" fmla="*/ 2334899 w 2334899"/>
                <a:gd name="connsiteY0" fmla="*/ 0 h 257442"/>
                <a:gd name="connsiteX1" fmla="*/ 2111861 w 2334899"/>
                <a:gd name="connsiteY1" fmla="*/ 257442 h 257442"/>
                <a:gd name="connsiteX2" fmla="*/ 0 w 2334899"/>
                <a:gd name="connsiteY2" fmla="*/ 257442 h 257442"/>
                <a:gd name="connsiteX3" fmla="*/ 54722 w 2334899"/>
                <a:gd name="connsiteY3" fmla="*/ 0 h 257442"/>
                <a:gd name="connsiteX0" fmla="*/ 2334899 w 2334899"/>
                <a:gd name="connsiteY0" fmla="*/ 0 h 257442"/>
                <a:gd name="connsiteX1" fmla="*/ 2280178 w 2334899"/>
                <a:gd name="connsiteY1" fmla="*/ 257442 h 257442"/>
                <a:gd name="connsiteX2" fmla="*/ 0 w 2334899"/>
                <a:gd name="connsiteY2" fmla="*/ 257442 h 257442"/>
                <a:gd name="connsiteX3" fmla="*/ 54722 w 2334899"/>
                <a:gd name="connsiteY3" fmla="*/ 0 h 257442"/>
                <a:gd name="connsiteX0" fmla="*/ 2334898 w 2334898"/>
                <a:gd name="connsiteY0" fmla="*/ 0 h 257442"/>
                <a:gd name="connsiteX1" fmla="*/ 2280177 w 2334898"/>
                <a:gd name="connsiteY1" fmla="*/ 257442 h 257442"/>
                <a:gd name="connsiteX2" fmla="*/ 0 w 2334898"/>
                <a:gd name="connsiteY2" fmla="*/ 257442 h 257442"/>
                <a:gd name="connsiteX3" fmla="*/ 54721 w 2334898"/>
                <a:gd name="connsiteY3" fmla="*/ 0 h 257442"/>
                <a:gd name="connsiteX0" fmla="*/ 2334898 w 2334898"/>
                <a:gd name="connsiteY0" fmla="*/ 0 h 257442"/>
                <a:gd name="connsiteX1" fmla="*/ 2280177 w 2334898"/>
                <a:gd name="connsiteY1" fmla="*/ 257442 h 257442"/>
                <a:gd name="connsiteX2" fmla="*/ 0 w 2334898"/>
                <a:gd name="connsiteY2" fmla="*/ 257442 h 257442"/>
                <a:gd name="connsiteX3" fmla="*/ 54720 w 2334898"/>
                <a:gd name="connsiteY3" fmla="*/ 0 h 257442"/>
                <a:gd name="connsiteX0" fmla="*/ 2503212 w 2503212"/>
                <a:gd name="connsiteY0" fmla="*/ 0 h 257442"/>
                <a:gd name="connsiteX1" fmla="*/ 2280177 w 2503212"/>
                <a:gd name="connsiteY1" fmla="*/ 257442 h 257442"/>
                <a:gd name="connsiteX2" fmla="*/ 0 w 2503212"/>
                <a:gd name="connsiteY2" fmla="*/ 257442 h 257442"/>
                <a:gd name="connsiteX3" fmla="*/ 54720 w 2503212"/>
                <a:gd name="connsiteY3" fmla="*/ 0 h 257442"/>
                <a:gd name="connsiteX0" fmla="*/ 2503212 w 2503212"/>
                <a:gd name="connsiteY0" fmla="*/ 0 h 257442"/>
                <a:gd name="connsiteX1" fmla="*/ 2448491 w 2503212"/>
                <a:gd name="connsiteY1" fmla="*/ 257442 h 257442"/>
                <a:gd name="connsiteX2" fmla="*/ 0 w 2503212"/>
                <a:gd name="connsiteY2" fmla="*/ 257442 h 257442"/>
                <a:gd name="connsiteX3" fmla="*/ 54720 w 2503212"/>
                <a:gd name="connsiteY3" fmla="*/ 0 h 257442"/>
                <a:gd name="connsiteX0" fmla="*/ 2503213 w 2503213"/>
                <a:gd name="connsiteY0" fmla="*/ 0 h 257442"/>
                <a:gd name="connsiteX1" fmla="*/ 2448492 w 2503213"/>
                <a:gd name="connsiteY1" fmla="*/ 257442 h 257442"/>
                <a:gd name="connsiteX2" fmla="*/ 0 w 2503213"/>
                <a:gd name="connsiteY2" fmla="*/ 257442 h 257442"/>
                <a:gd name="connsiteX3" fmla="*/ 54721 w 2503213"/>
                <a:gd name="connsiteY3" fmla="*/ 0 h 257442"/>
                <a:gd name="connsiteX0" fmla="*/ 2503213 w 2503213"/>
                <a:gd name="connsiteY0" fmla="*/ 0 h 257442"/>
                <a:gd name="connsiteX1" fmla="*/ 2448492 w 2503213"/>
                <a:gd name="connsiteY1" fmla="*/ 257442 h 257442"/>
                <a:gd name="connsiteX2" fmla="*/ 0 w 2503213"/>
                <a:gd name="connsiteY2" fmla="*/ 257442 h 257442"/>
                <a:gd name="connsiteX3" fmla="*/ 54722 w 2503213"/>
                <a:gd name="connsiteY3" fmla="*/ 0 h 257442"/>
                <a:gd name="connsiteX0" fmla="*/ 2663514 w 2663514"/>
                <a:gd name="connsiteY0" fmla="*/ 0 h 257442"/>
                <a:gd name="connsiteX1" fmla="*/ 2448492 w 2663514"/>
                <a:gd name="connsiteY1" fmla="*/ 257442 h 257442"/>
                <a:gd name="connsiteX2" fmla="*/ 0 w 2663514"/>
                <a:gd name="connsiteY2" fmla="*/ 257442 h 257442"/>
                <a:gd name="connsiteX3" fmla="*/ 54722 w 2663514"/>
                <a:gd name="connsiteY3" fmla="*/ 0 h 257442"/>
                <a:gd name="connsiteX0" fmla="*/ 2663514 w 2663514"/>
                <a:gd name="connsiteY0" fmla="*/ 0 h 257442"/>
                <a:gd name="connsiteX1" fmla="*/ 2608792 w 2663514"/>
                <a:gd name="connsiteY1" fmla="*/ 257442 h 257442"/>
                <a:gd name="connsiteX2" fmla="*/ 0 w 2663514"/>
                <a:gd name="connsiteY2" fmla="*/ 257442 h 257442"/>
                <a:gd name="connsiteX3" fmla="*/ 54722 w 2663514"/>
                <a:gd name="connsiteY3" fmla="*/ 0 h 257442"/>
                <a:gd name="connsiteX0" fmla="*/ 2663514 w 2663514"/>
                <a:gd name="connsiteY0" fmla="*/ 0 h 257442"/>
                <a:gd name="connsiteX1" fmla="*/ 2608792 w 2663514"/>
                <a:gd name="connsiteY1" fmla="*/ 257442 h 257442"/>
                <a:gd name="connsiteX2" fmla="*/ 0 w 2663514"/>
                <a:gd name="connsiteY2" fmla="*/ 257442 h 257442"/>
                <a:gd name="connsiteX3" fmla="*/ 54722 w 2663514"/>
                <a:gd name="connsiteY3" fmla="*/ 0 h 257442"/>
                <a:gd name="connsiteX0" fmla="*/ 2663514 w 2663514"/>
                <a:gd name="connsiteY0" fmla="*/ 0 h 257442"/>
                <a:gd name="connsiteX1" fmla="*/ 2608792 w 2663514"/>
                <a:gd name="connsiteY1" fmla="*/ 257442 h 257442"/>
                <a:gd name="connsiteX2" fmla="*/ 0 w 2663514"/>
                <a:gd name="connsiteY2" fmla="*/ 257442 h 257442"/>
                <a:gd name="connsiteX3" fmla="*/ 54721 w 2663514"/>
                <a:gd name="connsiteY3" fmla="*/ 0 h 257442"/>
                <a:gd name="connsiteX0" fmla="*/ 2914031 w 2914031"/>
                <a:gd name="connsiteY0" fmla="*/ 0 h 257442"/>
                <a:gd name="connsiteX1" fmla="*/ 2608792 w 2914031"/>
                <a:gd name="connsiteY1" fmla="*/ 257442 h 257442"/>
                <a:gd name="connsiteX2" fmla="*/ 0 w 2914031"/>
                <a:gd name="connsiteY2" fmla="*/ 257442 h 257442"/>
                <a:gd name="connsiteX3" fmla="*/ 54721 w 2914031"/>
                <a:gd name="connsiteY3" fmla="*/ 0 h 257442"/>
                <a:gd name="connsiteX0" fmla="*/ 2914031 w 2914031"/>
                <a:gd name="connsiteY0" fmla="*/ 0 h 257442"/>
                <a:gd name="connsiteX1" fmla="*/ 2859310 w 2914031"/>
                <a:gd name="connsiteY1" fmla="*/ 257442 h 257442"/>
                <a:gd name="connsiteX2" fmla="*/ 0 w 2914031"/>
                <a:gd name="connsiteY2" fmla="*/ 257442 h 257442"/>
                <a:gd name="connsiteX3" fmla="*/ 54721 w 2914031"/>
                <a:gd name="connsiteY3" fmla="*/ 0 h 257442"/>
                <a:gd name="connsiteX0" fmla="*/ 2914031 w 2914031"/>
                <a:gd name="connsiteY0" fmla="*/ 0 h 257442"/>
                <a:gd name="connsiteX1" fmla="*/ 2859310 w 2914031"/>
                <a:gd name="connsiteY1" fmla="*/ 257442 h 257442"/>
                <a:gd name="connsiteX2" fmla="*/ 0 w 2914031"/>
                <a:gd name="connsiteY2" fmla="*/ 257442 h 257442"/>
                <a:gd name="connsiteX3" fmla="*/ 54721 w 2914031"/>
                <a:gd name="connsiteY3" fmla="*/ 0 h 257442"/>
                <a:gd name="connsiteX0" fmla="*/ 2914031 w 2914031"/>
                <a:gd name="connsiteY0" fmla="*/ 0 h 257442"/>
                <a:gd name="connsiteX1" fmla="*/ 2859310 w 2914031"/>
                <a:gd name="connsiteY1" fmla="*/ 257442 h 257442"/>
                <a:gd name="connsiteX2" fmla="*/ 0 w 2914031"/>
                <a:gd name="connsiteY2" fmla="*/ 257442 h 257442"/>
                <a:gd name="connsiteX3" fmla="*/ 54721 w 2914031"/>
                <a:gd name="connsiteY3" fmla="*/ 0 h 257442"/>
                <a:gd name="connsiteX0" fmla="*/ 3074331 w 3074331"/>
                <a:gd name="connsiteY0" fmla="*/ 0 h 257442"/>
                <a:gd name="connsiteX1" fmla="*/ 2859310 w 3074331"/>
                <a:gd name="connsiteY1" fmla="*/ 257442 h 257442"/>
                <a:gd name="connsiteX2" fmla="*/ 0 w 3074331"/>
                <a:gd name="connsiteY2" fmla="*/ 257442 h 257442"/>
                <a:gd name="connsiteX3" fmla="*/ 54721 w 3074331"/>
                <a:gd name="connsiteY3" fmla="*/ 0 h 257442"/>
                <a:gd name="connsiteX0" fmla="*/ 3074331 w 3074331"/>
                <a:gd name="connsiteY0" fmla="*/ 0 h 257442"/>
                <a:gd name="connsiteX1" fmla="*/ 3019610 w 3074331"/>
                <a:gd name="connsiteY1" fmla="*/ 257442 h 257442"/>
                <a:gd name="connsiteX2" fmla="*/ 0 w 3074331"/>
                <a:gd name="connsiteY2" fmla="*/ 257442 h 257442"/>
                <a:gd name="connsiteX3" fmla="*/ 54721 w 3074331"/>
                <a:gd name="connsiteY3" fmla="*/ 0 h 257442"/>
                <a:gd name="connsiteX0" fmla="*/ 3074331 w 3074331"/>
                <a:gd name="connsiteY0" fmla="*/ 0 h 257442"/>
                <a:gd name="connsiteX1" fmla="*/ 3019610 w 3074331"/>
                <a:gd name="connsiteY1" fmla="*/ 257442 h 257442"/>
                <a:gd name="connsiteX2" fmla="*/ 0 w 3074331"/>
                <a:gd name="connsiteY2" fmla="*/ 257442 h 257442"/>
                <a:gd name="connsiteX3" fmla="*/ 54721 w 3074331"/>
                <a:gd name="connsiteY3" fmla="*/ 0 h 257442"/>
                <a:gd name="connsiteX0" fmla="*/ 3074331 w 3074331"/>
                <a:gd name="connsiteY0" fmla="*/ 0 h 257442"/>
                <a:gd name="connsiteX1" fmla="*/ 3019610 w 3074331"/>
                <a:gd name="connsiteY1" fmla="*/ 257442 h 257442"/>
                <a:gd name="connsiteX2" fmla="*/ 0 w 3074331"/>
                <a:gd name="connsiteY2" fmla="*/ 257442 h 257442"/>
                <a:gd name="connsiteX3" fmla="*/ 54721 w 3074331"/>
                <a:gd name="connsiteY3" fmla="*/ 0 h 257442"/>
                <a:gd name="connsiteX0" fmla="*/ 3234631 w 3234631"/>
                <a:gd name="connsiteY0" fmla="*/ 0 h 257442"/>
                <a:gd name="connsiteX1" fmla="*/ 3019610 w 3234631"/>
                <a:gd name="connsiteY1" fmla="*/ 257442 h 257442"/>
                <a:gd name="connsiteX2" fmla="*/ 0 w 3234631"/>
                <a:gd name="connsiteY2" fmla="*/ 257442 h 257442"/>
                <a:gd name="connsiteX3" fmla="*/ 54721 w 3234631"/>
                <a:gd name="connsiteY3" fmla="*/ 0 h 257442"/>
                <a:gd name="connsiteX0" fmla="*/ 3234631 w 3234631"/>
                <a:gd name="connsiteY0" fmla="*/ 0 h 257442"/>
                <a:gd name="connsiteX1" fmla="*/ 3179910 w 3234631"/>
                <a:gd name="connsiteY1" fmla="*/ 257442 h 257442"/>
                <a:gd name="connsiteX2" fmla="*/ 0 w 3234631"/>
                <a:gd name="connsiteY2" fmla="*/ 257442 h 257442"/>
                <a:gd name="connsiteX3" fmla="*/ 54721 w 3234631"/>
                <a:gd name="connsiteY3" fmla="*/ 0 h 257442"/>
                <a:gd name="connsiteX0" fmla="*/ 3234631 w 3234631"/>
                <a:gd name="connsiteY0" fmla="*/ 0 h 257442"/>
                <a:gd name="connsiteX1" fmla="*/ 3179910 w 3234631"/>
                <a:gd name="connsiteY1" fmla="*/ 257442 h 257442"/>
                <a:gd name="connsiteX2" fmla="*/ 0 w 3234631"/>
                <a:gd name="connsiteY2" fmla="*/ 257442 h 257442"/>
                <a:gd name="connsiteX3" fmla="*/ 54721 w 3234631"/>
                <a:gd name="connsiteY3" fmla="*/ 0 h 257442"/>
                <a:gd name="connsiteX0" fmla="*/ 3234631 w 3234631"/>
                <a:gd name="connsiteY0" fmla="*/ 0 h 257442"/>
                <a:gd name="connsiteX1" fmla="*/ 3179910 w 3234631"/>
                <a:gd name="connsiteY1" fmla="*/ 257442 h 257442"/>
                <a:gd name="connsiteX2" fmla="*/ 0 w 3234631"/>
                <a:gd name="connsiteY2" fmla="*/ 257442 h 257442"/>
                <a:gd name="connsiteX3" fmla="*/ 54721 w 3234631"/>
                <a:gd name="connsiteY3" fmla="*/ 0 h 257442"/>
                <a:gd name="connsiteX0" fmla="*/ 3394932 w 3394932"/>
                <a:gd name="connsiteY0" fmla="*/ 0 h 257442"/>
                <a:gd name="connsiteX1" fmla="*/ 3179910 w 3394932"/>
                <a:gd name="connsiteY1" fmla="*/ 257442 h 257442"/>
                <a:gd name="connsiteX2" fmla="*/ 0 w 3394932"/>
                <a:gd name="connsiteY2" fmla="*/ 257442 h 257442"/>
                <a:gd name="connsiteX3" fmla="*/ 54721 w 3394932"/>
                <a:gd name="connsiteY3" fmla="*/ 0 h 257442"/>
                <a:gd name="connsiteX0" fmla="*/ 3394932 w 3394932"/>
                <a:gd name="connsiteY0" fmla="*/ 0 h 257442"/>
                <a:gd name="connsiteX1" fmla="*/ 3340210 w 3394932"/>
                <a:gd name="connsiteY1" fmla="*/ 257442 h 257442"/>
                <a:gd name="connsiteX2" fmla="*/ 0 w 3394932"/>
                <a:gd name="connsiteY2" fmla="*/ 257442 h 257442"/>
                <a:gd name="connsiteX3" fmla="*/ 54721 w 3394932"/>
                <a:gd name="connsiteY3" fmla="*/ 0 h 257442"/>
                <a:gd name="connsiteX0" fmla="*/ 3394933 w 3394933"/>
                <a:gd name="connsiteY0" fmla="*/ 0 h 257442"/>
                <a:gd name="connsiteX1" fmla="*/ 3340211 w 3394933"/>
                <a:gd name="connsiteY1" fmla="*/ 257442 h 257442"/>
                <a:gd name="connsiteX2" fmla="*/ 0 w 3394933"/>
                <a:gd name="connsiteY2" fmla="*/ 257442 h 257442"/>
                <a:gd name="connsiteX3" fmla="*/ 54722 w 3394933"/>
                <a:gd name="connsiteY3" fmla="*/ 0 h 257442"/>
                <a:gd name="connsiteX0" fmla="*/ 3394933 w 3394933"/>
                <a:gd name="connsiteY0" fmla="*/ 0 h 257442"/>
                <a:gd name="connsiteX1" fmla="*/ 3340211 w 3394933"/>
                <a:gd name="connsiteY1" fmla="*/ 257442 h 257442"/>
                <a:gd name="connsiteX2" fmla="*/ 0 w 3394933"/>
                <a:gd name="connsiteY2" fmla="*/ 257442 h 257442"/>
                <a:gd name="connsiteX3" fmla="*/ 54722 w 3394933"/>
                <a:gd name="connsiteY3" fmla="*/ 0 h 257442"/>
                <a:gd name="connsiteX0" fmla="*/ 3563248 w 3563248"/>
                <a:gd name="connsiteY0" fmla="*/ 0 h 257442"/>
                <a:gd name="connsiteX1" fmla="*/ 3340211 w 3563248"/>
                <a:gd name="connsiteY1" fmla="*/ 257442 h 257442"/>
                <a:gd name="connsiteX2" fmla="*/ 0 w 3563248"/>
                <a:gd name="connsiteY2" fmla="*/ 257442 h 257442"/>
                <a:gd name="connsiteX3" fmla="*/ 54722 w 3563248"/>
                <a:gd name="connsiteY3" fmla="*/ 0 h 257442"/>
                <a:gd name="connsiteX0" fmla="*/ 3563248 w 3563248"/>
                <a:gd name="connsiteY0" fmla="*/ 0 h 257442"/>
                <a:gd name="connsiteX1" fmla="*/ 3508526 w 3563248"/>
                <a:gd name="connsiteY1" fmla="*/ 257442 h 257442"/>
                <a:gd name="connsiteX2" fmla="*/ 0 w 3563248"/>
                <a:gd name="connsiteY2" fmla="*/ 257442 h 257442"/>
                <a:gd name="connsiteX3" fmla="*/ 54722 w 3563248"/>
                <a:gd name="connsiteY3" fmla="*/ 0 h 257442"/>
                <a:gd name="connsiteX0" fmla="*/ 3563248 w 3563248"/>
                <a:gd name="connsiteY0" fmla="*/ 0 h 257442"/>
                <a:gd name="connsiteX1" fmla="*/ 3508526 w 3563248"/>
                <a:gd name="connsiteY1" fmla="*/ 257442 h 257442"/>
                <a:gd name="connsiteX2" fmla="*/ 0 w 3563248"/>
                <a:gd name="connsiteY2" fmla="*/ 257442 h 257442"/>
                <a:gd name="connsiteX3" fmla="*/ 54722 w 3563248"/>
                <a:gd name="connsiteY3" fmla="*/ 0 h 257442"/>
                <a:gd name="connsiteX0" fmla="*/ 3563248 w 3563248"/>
                <a:gd name="connsiteY0" fmla="*/ 0 h 257442"/>
                <a:gd name="connsiteX1" fmla="*/ 3508526 w 3563248"/>
                <a:gd name="connsiteY1" fmla="*/ 257442 h 257442"/>
                <a:gd name="connsiteX2" fmla="*/ 0 w 3563248"/>
                <a:gd name="connsiteY2" fmla="*/ 257442 h 257442"/>
                <a:gd name="connsiteX3" fmla="*/ 54721 w 3563248"/>
                <a:gd name="connsiteY3" fmla="*/ 0 h 257442"/>
                <a:gd name="connsiteX0" fmla="*/ 3731562 w 3731562"/>
                <a:gd name="connsiteY0" fmla="*/ 0 h 257442"/>
                <a:gd name="connsiteX1" fmla="*/ 3508526 w 3731562"/>
                <a:gd name="connsiteY1" fmla="*/ 257442 h 257442"/>
                <a:gd name="connsiteX2" fmla="*/ 0 w 3731562"/>
                <a:gd name="connsiteY2" fmla="*/ 257442 h 257442"/>
                <a:gd name="connsiteX3" fmla="*/ 54721 w 3731562"/>
                <a:gd name="connsiteY3" fmla="*/ 0 h 257442"/>
                <a:gd name="connsiteX0" fmla="*/ 3731562 w 3731562"/>
                <a:gd name="connsiteY0" fmla="*/ 0 h 257442"/>
                <a:gd name="connsiteX1" fmla="*/ 3676841 w 3731562"/>
                <a:gd name="connsiteY1" fmla="*/ 257442 h 257442"/>
                <a:gd name="connsiteX2" fmla="*/ 0 w 3731562"/>
                <a:gd name="connsiteY2" fmla="*/ 257442 h 257442"/>
                <a:gd name="connsiteX3" fmla="*/ 54721 w 3731562"/>
                <a:gd name="connsiteY3" fmla="*/ 0 h 257442"/>
                <a:gd name="connsiteX0" fmla="*/ 3731562 w 3731562"/>
                <a:gd name="connsiteY0" fmla="*/ 0 h 257442"/>
                <a:gd name="connsiteX1" fmla="*/ 3676841 w 3731562"/>
                <a:gd name="connsiteY1" fmla="*/ 257442 h 257442"/>
                <a:gd name="connsiteX2" fmla="*/ 0 w 3731562"/>
                <a:gd name="connsiteY2" fmla="*/ 257442 h 257442"/>
                <a:gd name="connsiteX3" fmla="*/ 54721 w 3731562"/>
                <a:gd name="connsiteY3" fmla="*/ 0 h 257442"/>
                <a:gd name="connsiteX0" fmla="*/ 3731562 w 3731562"/>
                <a:gd name="connsiteY0" fmla="*/ 0 h 257442"/>
                <a:gd name="connsiteX1" fmla="*/ 3676841 w 3731562"/>
                <a:gd name="connsiteY1" fmla="*/ 257442 h 257442"/>
                <a:gd name="connsiteX2" fmla="*/ 0 w 3731562"/>
                <a:gd name="connsiteY2" fmla="*/ 257442 h 257442"/>
                <a:gd name="connsiteX3" fmla="*/ 54721 w 3731562"/>
                <a:gd name="connsiteY3" fmla="*/ 0 h 257442"/>
                <a:gd name="connsiteX0" fmla="*/ 3984837 w 3984837"/>
                <a:gd name="connsiteY0" fmla="*/ 0 h 257442"/>
                <a:gd name="connsiteX1" fmla="*/ 3676841 w 3984837"/>
                <a:gd name="connsiteY1" fmla="*/ 257442 h 257442"/>
                <a:gd name="connsiteX2" fmla="*/ 0 w 3984837"/>
                <a:gd name="connsiteY2" fmla="*/ 257442 h 257442"/>
                <a:gd name="connsiteX3" fmla="*/ 54721 w 3984837"/>
                <a:gd name="connsiteY3" fmla="*/ 0 h 257442"/>
                <a:gd name="connsiteX0" fmla="*/ 3984837 w 3984837"/>
                <a:gd name="connsiteY0" fmla="*/ 0 h 257442"/>
                <a:gd name="connsiteX1" fmla="*/ 3930116 w 3984837"/>
                <a:gd name="connsiteY1" fmla="*/ 257442 h 257442"/>
                <a:gd name="connsiteX2" fmla="*/ 0 w 3984837"/>
                <a:gd name="connsiteY2" fmla="*/ 257442 h 257442"/>
                <a:gd name="connsiteX3" fmla="*/ 54721 w 3984837"/>
                <a:gd name="connsiteY3" fmla="*/ 0 h 257442"/>
                <a:gd name="connsiteX0" fmla="*/ 3984837 w 3984837"/>
                <a:gd name="connsiteY0" fmla="*/ 0 h 257442"/>
                <a:gd name="connsiteX1" fmla="*/ 3930116 w 3984837"/>
                <a:gd name="connsiteY1" fmla="*/ 257442 h 257442"/>
                <a:gd name="connsiteX2" fmla="*/ 0 w 3984837"/>
                <a:gd name="connsiteY2" fmla="*/ 257442 h 257442"/>
                <a:gd name="connsiteX3" fmla="*/ 54721 w 3984837"/>
                <a:gd name="connsiteY3" fmla="*/ 0 h 257442"/>
                <a:gd name="connsiteX0" fmla="*/ 3984837 w 3984837"/>
                <a:gd name="connsiteY0" fmla="*/ 0 h 257442"/>
                <a:gd name="connsiteX1" fmla="*/ 3930116 w 3984837"/>
                <a:gd name="connsiteY1" fmla="*/ 257442 h 257442"/>
                <a:gd name="connsiteX2" fmla="*/ 0 w 3984837"/>
                <a:gd name="connsiteY2" fmla="*/ 257442 h 257442"/>
                <a:gd name="connsiteX3" fmla="*/ 54721 w 3984837"/>
                <a:gd name="connsiteY3" fmla="*/ 0 h 257442"/>
                <a:gd name="connsiteX0" fmla="*/ 4162770 w 4162770"/>
                <a:gd name="connsiteY0" fmla="*/ 0 h 257442"/>
                <a:gd name="connsiteX1" fmla="*/ 3930116 w 4162770"/>
                <a:gd name="connsiteY1" fmla="*/ 257442 h 257442"/>
                <a:gd name="connsiteX2" fmla="*/ 0 w 4162770"/>
                <a:gd name="connsiteY2" fmla="*/ 257442 h 257442"/>
                <a:gd name="connsiteX3" fmla="*/ 54721 w 4162770"/>
                <a:gd name="connsiteY3" fmla="*/ 0 h 257442"/>
                <a:gd name="connsiteX0" fmla="*/ 4162770 w 4162770"/>
                <a:gd name="connsiteY0" fmla="*/ 0 h 257442"/>
                <a:gd name="connsiteX1" fmla="*/ 4108048 w 4162770"/>
                <a:gd name="connsiteY1" fmla="*/ 257442 h 257442"/>
                <a:gd name="connsiteX2" fmla="*/ 0 w 4162770"/>
                <a:gd name="connsiteY2" fmla="*/ 257442 h 257442"/>
                <a:gd name="connsiteX3" fmla="*/ 54721 w 4162770"/>
                <a:gd name="connsiteY3" fmla="*/ 0 h 257442"/>
                <a:gd name="connsiteX0" fmla="*/ 4162771 w 4162771"/>
                <a:gd name="connsiteY0" fmla="*/ 0 h 257442"/>
                <a:gd name="connsiteX1" fmla="*/ 4108049 w 4162771"/>
                <a:gd name="connsiteY1" fmla="*/ 257442 h 257442"/>
                <a:gd name="connsiteX2" fmla="*/ 0 w 4162771"/>
                <a:gd name="connsiteY2" fmla="*/ 257442 h 257442"/>
                <a:gd name="connsiteX3" fmla="*/ 54722 w 4162771"/>
                <a:gd name="connsiteY3" fmla="*/ 0 h 257442"/>
                <a:gd name="connsiteX0" fmla="*/ 4162771 w 4162771"/>
                <a:gd name="connsiteY0" fmla="*/ 0 h 257442"/>
                <a:gd name="connsiteX1" fmla="*/ 4108049 w 4162771"/>
                <a:gd name="connsiteY1" fmla="*/ 257442 h 257442"/>
                <a:gd name="connsiteX2" fmla="*/ 0 w 4162771"/>
                <a:gd name="connsiteY2" fmla="*/ 257442 h 257442"/>
                <a:gd name="connsiteX3" fmla="*/ 54722 w 4162771"/>
                <a:gd name="connsiteY3" fmla="*/ 0 h 257442"/>
                <a:gd name="connsiteX0" fmla="*/ 4331086 w 4331086"/>
                <a:gd name="connsiteY0" fmla="*/ 0 h 257442"/>
                <a:gd name="connsiteX1" fmla="*/ 4108049 w 4331086"/>
                <a:gd name="connsiteY1" fmla="*/ 257442 h 257442"/>
                <a:gd name="connsiteX2" fmla="*/ 0 w 4331086"/>
                <a:gd name="connsiteY2" fmla="*/ 257442 h 257442"/>
                <a:gd name="connsiteX3" fmla="*/ 54722 w 4331086"/>
                <a:gd name="connsiteY3" fmla="*/ 0 h 257442"/>
                <a:gd name="connsiteX0" fmla="*/ 4331086 w 4331086"/>
                <a:gd name="connsiteY0" fmla="*/ 0 h 257442"/>
                <a:gd name="connsiteX1" fmla="*/ 4276364 w 4331086"/>
                <a:gd name="connsiteY1" fmla="*/ 257442 h 257442"/>
                <a:gd name="connsiteX2" fmla="*/ 0 w 4331086"/>
                <a:gd name="connsiteY2" fmla="*/ 257442 h 257442"/>
                <a:gd name="connsiteX3" fmla="*/ 54722 w 4331086"/>
                <a:gd name="connsiteY3" fmla="*/ 0 h 257442"/>
                <a:gd name="connsiteX0" fmla="*/ 4331086 w 4331086"/>
                <a:gd name="connsiteY0" fmla="*/ 0 h 257442"/>
                <a:gd name="connsiteX1" fmla="*/ 4276364 w 4331086"/>
                <a:gd name="connsiteY1" fmla="*/ 257442 h 257442"/>
                <a:gd name="connsiteX2" fmla="*/ 0 w 4331086"/>
                <a:gd name="connsiteY2" fmla="*/ 257442 h 257442"/>
                <a:gd name="connsiteX3" fmla="*/ 54722 w 4331086"/>
                <a:gd name="connsiteY3" fmla="*/ 0 h 257442"/>
                <a:gd name="connsiteX0" fmla="*/ 4331086 w 4331086"/>
                <a:gd name="connsiteY0" fmla="*/ 0 h 257442"/>
                <a:gd name="connsiteX1" fmla="*/ 4276364 w 4331086"/>
                <a:gd name="connsiteY1" fmla="*/ 257442 h 257442"/>
                <a:gd name="connsiteX2" fmla="*/ 0 w 4331086"/>
                <a:gd name="connsiteY2" fmla="*/ 257442 h 257442"/>
                <a:gd name="connsiteX3" fmla="*/ 54721 w 4331086"/>
                <a:gd name="connsiteY3" fmla="*/ 0 h 257442"/>
                <a:gd name="connsiteX0" fmla="*/ 960419 w 4276364"/>
                <a:gd name="connsiteY0" fmla="*/ 0 h 257442"/>
                <a:gd name="connsiteX1" fmla="*/ 4276364 w 4276364"/>
                <a:gd name="connsiteY1" fmla="*/ 257442 h 257442"/>
                <a:gd name="connsiteX2" fmla="*/ 0 w 4276364"/>
                <a:gd name="connsiteY2" fmla="*/ 257442 h 257442"/>
                <a:gd name="connsiteX3" fmla="*/ 54721 w 4276364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54721 w 960419"/>
                <a:gd name="connsiteY3" fmla="*/ 0 h 257442"/>
                <a:gd name="connsiteX0" fmla="*/ 960418 w 960418"/>
                <a:gd name="connsiteY0" fmla="*/ 0 h 257442"/>
                <a:gd name="connsiteX1" fmla="*/ 905697 w 960418"/>
                <a:gd name="connsiteY1" fmla="*/ 257442 h 257442"/>
                <a:gd name="connsiteX2" fmla="*/ 0 w 960418"/>
                <a:gd name="connsiteY2" fmla="*/ 257442 h 257442"/>
                <a:gd name="connsiteX3" fmla="*/ 54720 w 960418"/>
                <a:gd name="connsiteY3" fmla="*/ 0 h 257442"/>
                <a:gd name="connsiteX0" fmla="*/ 960418 w 960418"/>
                <a:gd name="connsiteY0" fmla="*/ 0 h 257442"/>
                <a:gd name="connsiteX1" fmla="*/ 905697 w 960418"/>
                <a:gd name="connsiteY1" fmla="*/ 257442 h 257442"/>
                <a:gd name="connsiteX2" fmla="*/ 0 w 960418"/>
                <a:gd name="connsiteY2" fmla="*/ 257442 h 257442"/>
                <a:gd name="connsiteX3" fmla="*/ 54720 w 960418"/>
                <a:gd name="connsiteY3" fmla="*/ 0 h 257442"/>
                <a:gd name="connsiteX0" fmla="*/ 1128733 w 1128733"/>
                <a:gd name="connsiteY0" fmla="*/ 0 h 257442"/>
                <a:gd name="connsiteX1" fmla="*/ 905697 w 1128733"/>
                <a:gd name="connsiteY1" fmla="*/ 257442 h 257442"/>
                <a:gd name="connsiteX2" fmla="*/ 0 w 1128733"/>
                <a:gd name="connsiteY2" fmla="*/ 257442 h 257442"/>
                <a:gd name="connsiteX3" fmla="*/ 54720 w 1128733"/>
                <a:gd name="connsiteY3" fmla="*/ 0 h 257442"/>
                <a:gd name="connsiteX0" fmla="*/ 1128733 w 1128733"/>
                <a:gd name="connsiteY0" fmla="*/ 0 h 257442"/>
                <a:gd name="connsiteX1" fmla="*/ 1074012 w 1128733"/>
                <a:gd name="connsiteY1" fmla="*/ 257442 h 257442"/>
                <a:gd name="connsiteX2" fmla="*/ 0 w 1128733"/>
                <a:gd name="connsiteY2" fmla="*/ 257442 h 257442"/>
                <a:gd name="connsiteX3" fmla="*/ 54720 w 1128733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306668 w 1306668"/>
                <a:gd name="connsiteY0" fmla="*/ 0 h 257442"/>
                <a:gd name="connsiteX1" fmla="*/ 1074013 w 1306668"/>
                <a:gd name="connsiteY1" fmla="*/ 257442 h 257442"/>
                <a:gd name="connsiteX2" fmla="*/ 0 w 1306668"/>
                <a:gd name="connsiteY2" fmla="*/ 257442 h 257442"/>
                <a:gd name="connsiteX3" fmla="*/ 54721 w 1306668"/>
                <a:gd name="connsiteY3" fmla="*/ 0 h 257442"/>
                <a:gd name="connsiteX0" fmla="*/ 1306668 w 1306668"/>
                <a:gd name="connsiteY0" fmla="*/ 0 h 257442"/>
                <a:gd name="connsiteX1" fmla="*/ 1251947 w 1306668"/>
                <a:gd name="connsiteY1" fmla="*/ 257442 h 257442"/>
                <a:gd name="connsiteX2" fmla="*/ 0 w 1306668"/>
                <a:gd name="connsiteY2" fmla="*/ 257442 h 257442"/>
                <a:gd name="connsiteX3" fmla="*/ 54721 w 1306668"/>
                <a:gd name="connsiteY3" fmla="*/ 0 h 257442"/>
                <a:gd name="connsiteX0" fmla="*/ 1306668 w 1306668"/>
                <a:gd name="connsiteY0" fmla="*/ 0 h 257442"/>
                <a:gd name="connsiteX1" fmla="*/ 1251947 w 1306668"/>
                <a:gd name="connsiteY1" fmla="*/ 257442 h 257442"/>
                <a:gd name="connsiteX2" fmla="*/ 0 w 1306668"/>
                <a:gd name="connsiteY2" fmla="*/ 257442 h 257442"/>
                <a:gd name="connsiteX3" fmla="*/ 54721 w 1306668"/>
                <a:gd name="connsiteY3" fmla="*/ 0 h 257442"/>
                <a:gd name="connsiteX0" fmla="*/ 1306668 w 1306668"/>
                <a:gd name="connsiteY0" fmla="*/ 0 h 257442"/>
                <a:gd name="connsiteX1" fmla="*/ 1251947 w 1306668"/>
                <a:gd name="connsiteY1" fmla="*/ 257442 h 257442"/>
                <a:gd name="connsiteX2" fmla="*/ 0 w 1306668"/>
                <a:gd name="connsiteY2" fmla="*/ 257442 h 257442"/>
                <a:gd name="connsiteX3" fmla="*/ 54721 w 1306668"/>
                <a:gd name="connsiteY3" fmla="*/ 0 h 257442"/>
                <a:gd name="connsiteX0" fmla="*/ 1474983 w 1474983"/>
                <a:gd name="connsiteY0" fmla="*/ 0 h 257442"/>
                <a:gd name="connsiteX1" fmla="*/ 1251947 w 1474983"/>
                <a:gd name="connsiteY1" fmla="*/ 257442 h 257442"/>
                <a:gd name="connsiteX2" fmla="*/ 0 w 1474983"/>
                <a:gd name="connsiteY2" fmla="*/ 257442 h 257442"/>
                <a:gd name="connsiteX3" fmla="*/ 54721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54721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54721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54721 w 1474983"/>
                <a:gd name="connsiteY3" fmla="*/ 0 h 257442"/>
                <a:gd name="connsiteX0" fmla="*/ 1643298 w 1643298"/>
                <a:gd name="connsiteY0" fmla="*/ 0 h 257442"/>
                <a:gd name="connsiteX1" fmla="*/ 1420262 w 1643298"/>
                <a:gd name="connsiteY1" fmla="*/ 257442 h 257442"/>
                <a:gd name="connsiteX2" fmla="*/ 0 w 1643298"/>
                <a:gd name="connsiteY2" fmla="*/ 257442 h 257442"/>
                <a:gd name="connsiteX3" fmla="*/ 54721 w 1643298"/>
                <a:gd name="connsiteY3" fmla="*/ 0 h 257442"/>
                <a:gd name="connsiteX0" fmla="*/ 1643298 w 1643298"/>
                <a:gd name="connsiteY0" fmla="*/ 0 h 257442"/>
                <a:gd name="connsiteX1" fmla="*/ 1588576 w 1643298"/>
                <a:gd name="connsiteY1" fmla="*/ 257442 h 257442"/>
                <a:gd name="connsiteX2" fmla="*/ 0 w 1643298"/>
                <a:gd name="connsiteY2" fmla="*/ 257442 h 257442"/>
                <a:gd name="connsiteX3" fmla="*/ 54721 w 1643298"/>
                <a:gd name="connsiteY3" fmla="*/ 0 h 257442"/>
                <a:gd name="connsiteX0" fmla="*/ 1643299 w 1643299"/>
                <a:gd name="connsiteY0" fmla="*/ 0 h 257442"/>
                <a:gd name="connsiteX1" fmla="*/ 1588577 w 1643299"/>
                <a:gd name="connsiteY1" fmla="*/ 257442 h 257442"/>
                <a:gd name="connsiteX2" fmla="*/ 0 w 1643299"/>
                <a:gd name="connsiteY2" fmla="*/ 257442 h 257442"/>
                <a:gd name="connsiteX3" fmla="*/ 54722 w 1643299"/>
                <a:gd name="connsiteY3" fmla="*/ 0 h 257442"/>
                <a:gd name="connsiteX0" fmla="*/ 1643299 w 1643299"/>
                <a:gd name="connsiteY0" fmla="*/ 0 h 257442"/>
                <a:gd name="connsiteX1" fmla="*/ 1588577 w 1643299"/>
                <a:gd name="connsiteY1" fmla="*/ 257442 h 257442"/>
                <a:gd name="connsiteX2" fmla="*/ 0 w 1643299"/>
                <a:gd name="connsiteY2" fmla="*/ 257442 h 257442"/>
                <a:gd name="connsiteX3" fmla="*/ 54722 w 1643299"/>
                <a:gd name="connsiteY3" fmla="*/ 0 h 257442"/>
                <a:gd name="connsiteX0" fmla="*/ 1912604 w 1912604"/>
                <a:gd name="connsiteY0" fmla="*/ 0 h 257442"/>
                <a:gd name="connsiteX1" fmla="*/ 1588577 w 1912604"/>
                <a:gd name="connsiteY1" fmla="*/ 257442 h 257442"/>
                <a:gd name="connsiteX2" fmla="*/ 0 w 1912604"/>
                <a:gd name="connsiteY2" fmla="*/ 257442 h 257442"/>
                <a:gd name="connsiteX3" fmla="*/ 54722 w 1912604"/>
                <a:gd name="connsiteY3" fmla="*/ 0 h 257442"/>
                <a:gd name="connsiteX0" fmla="*/ 1912604 w 1912604"/>
                <a:gd name="connsiteY0" fmla="*/ 0 h 257442"/>
                <a:gd name="connsiteX1" fmla="*/ 1857882 w 1912604"/>
                <a:gd name="connsiteY1" fmla="*/ 257442 h 257442"/>
                <a:gd name="connsiteX2" fmla="*/ 0 w 1912604"/>
                <a:gd name="connsiteY2" fmla="*/ 257442 h 257442"/>
                <a:gd name="connsiteX3" fmla="*/ 54722 w 1912604"/>
                <a:gd name="connsiteY3" fmla="*/ 0 h 257442"/>
                <a:gd name="connsiteX0" fmla="*/ 1912604 w 1912604"/>
                <a:gd name="connsiteY0" fmla="*/ 0 h 257442"/>
                <a:gd name="connsiteX1" fmla="*/ 1857882 w 1912604"/>
                <a:gd name="connsiteY1" fmla="*/ 257442 h 257442"/>
                <a:gd name="connsiteX2" fmla="*/ 0 w 1912604"/>
                <a:gd name="connsiteY2" fmla="*/ 257442 h 257442"/>
                <a:gd name="connsiteX3" fmla="*/ 54722 w 1912604"/>
                <a:gd name="connsiteY3" fmla="*/ 0 h 257442"/>
                <a:gd name="connsiteX0" fmla="*/ 1912604 w 1912604"/>
                <a:gd name="connsiteY0" fmla="*/ 0 h 257442"/>
                <a:gd name="connsiteX1" fmla="*/ 1857882 w 1912604"/>
                <a:gd name="connsiteY1" fmla="*/ 257442 h 257442"/>
                <a:gd name="connsiteX2" fmla="*/ 0 w 1912604"/>
                <a:gd name="connsiteY2" fmla="*/ 257442 h 257442"/>
                <a:gd name="connsiteX3" fmla="*/ 54721 w 1912604"/>
                <a:gd name="connsiteY3" fmla="*/ 0 h 257442"/>
                <a:gd name="connsiteX0" fmla="*/ 2181907 w 2181907"/>
                <a:gd name="connsiteY0" fmla="*/ 0 h 257442"/>
                <a:gd name="connsiteX1" fmla="*/ 1857882 w 2181907"/>
                <a:gd name="connsiteY1" fmla="*/ 257442 h 257442"/>
                <a:gd name="connsiteX2" fmla="*/ 0 w 2181907"/>
                <a:gd name="connsiteY2" fmla="*/ 257442 h 257442"/>
                <a:gd name="connsiteX3" fmla="*/ 54721 w 2181907"/>
                <a:gd name="connsiteY3" fmla="*/ 0 h 257442"/>
                <a:gd name="connsiteX0" fmla="*/ 2181907 w 2181907"/>
                <a:gd name="connsiteY0" fmla="*/ 0 h 257442"/>
                <a:gd name="connsiteX1" fmla="*/ 2127186 w 2181907"/>
                <a:gd name="connsiteY1" fmla="*/ 257442 h 257442"/>
                <a:gd name="connsiteX2" fmla="*/ 0 w 2181907"/>
                <a:gd name="connsiteY2" fmla="*/ 257442 h 257442"/>
                <a:gd name="connsiteX3" fmla="*/ 54721 w 2181907"/>
                <a:gd name="connsiteY3" fmla="*/ 0 h 257442"/>
                <a:gd name="connsiteX0" fmla="*/ 2181907 w 2181907"/>
                <a:gd name="connsiteY0" fmla="*/ 0 h 257442"/>
                <a:gd name="connsiteX1" fmla="*/ 2127186 w 2181907"/>
                <a:gd name="connsiteY1" fmla="*/ 257442 h 257442"/>
                <a:gd name="connsiteX2" fmla="*/ 0 w 2181907"/>
                <a:gd name="connsiteY2" fmla="*/ 257442 h 257442"/>
                <a:gd name="connsiteX3" fmla="*/ 54721 w 2181907"/>
                <a:gd name="connsiteY3" fmla="*/ 0 h 257442"/>
                <a:gd name="connsiteX0" fmla="*/ 2181907 w 2181907"/>
                <a:gd name="connsiteY0" fmla="*/ 0 h 257442"/>
                <a:gd name="connsiteX1" fmla="*/ 2127186 w 2181907"/>
                <a:gd name="connsiteY1" fmla="*/ 257442 h 257442"/>
                <a:gd name="connsiteX2" fmla="*/ 0 w 2181907"/>
                <a:gd name="connsiteY2" fmla="*/ 257442 h 257442"/>
                <a:gd name="connsiteX3" fmla="*/ 54721 w 2181907"/>
                <a:gd name="connsiteY3" fmla="*/ 0 h 257442"/>
                <a:gd name="connsiteX0" fmla="*/ 2342208 w 2342208"/>
                <a:gd name="connsiteY0" fmla="*/ 0 h 257442"/>
                <a:gd name="connsiteX1" fmla="*/ 2127186 w 2342208"/>
                <a:gd name="connsiteY1" fmla="*/ 257442 h 257442"/>
                <a:gd name="connsiteX2" fmla="*/ 0 w 2342208"/>
                <a:gd name="connsiteY2" fmla="*/ 257442 h 257442"/>
                <a:gd name="connsiteX3" fmla="*/ 54721 w 2342208"/>
                <a:gd name="connsiteY3" fmla="*/ 0 h 257442"/>
                <a:gd name="connsiteX0" fmla="*/ 2342208 w 2342208"/>
                <a:gd name="connsiteY0" fmla="*/ 0 h 257442"/>
                <a:gd name="connsiteX1" fmla="*/ 2287486 w 2342208"/>
                <a:gd name="connsiteY1" fmla="*/ 257442 h 257442"/>
                <a:gd name="connsiteX2" fmla="*/ 0 w 2342208"/>
                <a:gd name="connsiteY2" fmla="*/ 257442 h 257442"/>
                <a:gd name="connsiteX3" fmla="*/ 54721 w 2342208"/>
                <a:gd name="connsiteY3" fmla="*/ 0 h 257442"/>
                <a:gd name="connsiteX0" fmla="*/ 2342209 w 2342209"/>
                <a:gd name="connsiteY0" fmla="*/ 0 h 257442"/>
                <a:gd name="connsiteX1" fmla="*/ 2287487 w 2342209"/>
                <a:gd name="connsiteY1" fmla="*/ 257442 h 257442"/>
                <a:gd name="connsiteX2" fmla="*/ 0 w 2342209"/>
                <a:gd name="connsiteY2" fmla="*/ 257442 h 257442"/>
                <a:gd name="connsiteX3" fmla="*/ 54722 w 2342209"/>
                <a:gd name="connsiteY3" fmla="*/ 0 h 257442"/>
                <a:gd name="connsiteX0" fmla="*/ 2342209 w 2342209"/>
                <a:gd name="connsiteY0" fmla="*/ 0 h 257442"/>
                <a:gd name="connsiteX1" fmla="*/ 2287487 w 2342209"/>
                <a:gd name="connsiteY1" fmla="*/ 257442 h 257442"/>
                <a:gd name="connsiteX2" fmla="*/ 0 w 2342209"/>
                <a:gd name="connsiteY2" fmla="*/ 257442 h 257442"/>
                <a:gd name="connsiteX3" fmla="*/ 54722 w 2342209"/>
                <a:gd name="connsiteY3" fmla="*/ 0 h 257442"/>
                <a:gd name="connsiteX0" fmla="*/ 2502509 w 2502509"/>
                <a:gd name="connsiteY0" fmla="*/ 0 h 257442"/>
                <a:gd name="connsiteX1" fmla="*/ 2287487 w 2502509"/>
                <a:gd name="connsiteY1" fmla="*/ 257442 h 257442"/>
                <a:gd name="connsiteX2" fmla="*/ 0 w 2502509"/>
                <a:gd name="connsiteY2" fmla="*/ 257442 h 257442"/>
                <a:gd name="connsiteX3" fmla="*/ 54722 w 2502509"/>
                <a:gd name="connsiteY3" fmla="*/ 0 h 257442"/>
                <a:gd name="connsiteX0" fmla="*/ 2502509 w 2502509"/>
                <a:gd name="connsiteY0" fmla="*/ 0 h 257442"/>
                <a:gd name="connsiteX1" fmla="*/ 2447788 w 2502509"/>
                <a:gd name="connsiteY1" fmla="*/ 257442 h 257442"/>
                <a:gd name="connsiteX2" fmla="*/ 0 w 2502509"/>
                <a:gd name="connsiteY2" fmla="*/ 257442 h 257442"/>
                <a:gd name="connsiteX3" fmla="*/ 54722 w 2502509"/>
                <a:gd name="connsiteY3" fmla="*/ 0 h 257442"/>
                <a:gd name="connsiteX0" fmla="*/ 2502508 w 2502508"/>
                <a:gd name="connsiteY0" fmla="*/ 0 h 257442"/>
                <a:gd name="connsiteX1" fmla="*/ 2447787 w 2502508"/>
                <a:gd name="connsiteY1" fmla="*/ 257442 h 257442"/>
                <a:gd name="connsiteX2" fmla="*/ 0 w 2502508"/>
                <a:gd name="connsiteY2" fmla="*/ 257442 h 257442"/>
                <a:gd name="connsiteX3" fmla="*/ 54721 w 2502508"/>
                <a:gd name="connsiteY3" fmla="*/ 0 h 257442"/>
                <a:gd name="connsiteX0" fmla="*/ 2502508 w 2502508"/>
                <a:gd name="connsiteY0" fmla="*/ 0 h 257442"/>
                <a:gd name="connsiteX1" fmla="*/ 2447787 w 2502508"/>
                <a:gd name="connsiteY1" fmla="*/ 257442 h 257442"/>
                <a:gd name="connsiteX2" fmla="*/ 0 w 2502508"/>
                <a:gd name="connsiteY2" fmla="*/ 257442 h 257442"/>
                <a:gd name="connsiteX3" fmla="*/ 54720 w 2502508"/>
                <a:gd name="connsiteY3" fmla="*/ 0 h 257442"/>
                <a:gd name="connsiteX0" fmla="*/ 2706088 w 2706088"/>
                <a:gd name="connsiteY0" fmla="*/ 0 h 257442"/>
                <a:gd name="connsiteX1" fmla="*/ 2447787 w 2706088"/>
                <a:gd name="connsiteY1" fmla="*/ 257442 h 257442"/>
                <a:gd name="connsiteX2" fmla="*/ 0 w 2706088"/>
                <a:gd name="connsiteY2" fmla="*/ 257442 h 257442"/>
                <a:gd name="connsiteX3" fmla="*/ 54720 w 2706088"/>
                <a:gd name="connsiteY3" fmla="*/ 0 h 257442"/>
                <a:gd name="connsiteX0" fmla="*/ 2706088 w 2706088"/>
                <a:gd name="connsiteY0" fmla="*/ 0 h 257442"/>
                <a:gd name="connsiteX1" fmla="*/ 2651367 w 2706088"/>
                <a:gd name="connsiteY1" fmla="*/ 257442 h 257442"/>
                <a:gd name="connsiteX2" fmla="*/ 0 w 2706088"/>
                <a:gd name="connsiteY2" fmla="*/ 257442 h 257442"/>
                <a:gd name="connsiteX3" fmla="*/ 54720 w 2706088"/>
                <a:gd name="connsiteY3" fmla="*/ 0 h 257442"/>
                <a:gd name="connsiteX0" fmla="*/ 2706089 w 2706089"/>
                <a:gd name="connsiteY0" fmla="*/ 0 h 257442"/>
                <a:gd name="connsiteX1" fmla="*/ 2651368 w 2706089"/>
                <a:gd name="connsiteY1" fmla="*/ 257442 h 257442"/>
                <a:gd name="connsiteX2" fmla="*/ 0 w 2706089"/>
                <a:gd name="connsiteY2" fmla="*/ 257442 h 257442"/>
                <a:gd name="connsiteX3" fmla="*/ 54721 w 2706089"/>
                <a:gd name="connsiteY3" fmla="*/ 0 h 257442"/>
                <a:gd name="connsiteX0" fmla="*/ 2706089 w 2706089"/>
                <a:gd name="connsiteY0" fmla="*/ 0 h 257442"/>
                <a:gd name="connsiteX1" fmla="*/ 2651368 w 2706089"/>
                <a:gd name="connsiteY1" fmla="*/ 257442 h 257442"/>
                <a:gd name="connsiteX2" fmla="*/ 0 w 2706089"/>
                <a:gd name="connsiteY2" fmla="*/ 257442 h 257442"/>
                <a:gd name="connsiteX3" fmla="*/ 54722 w 2706089"/>
                <a:gd name="connsiteY3" fmla="*/ 0 h 257442"/>
                <a:gd name="connsiteX0" fmla="*/ 2884024 w 2884024"/>
                <a:gd name="connsiteY0" fmla="*/ 0 h 257442"/>
                <a:gd name="connsiteX1" fmla="*/ 2651368 w 2884024"/>
                <a:gd name="connsiteY1" fmla="*/ 257442 h 257442"/>
                <a:gd name="connsiteX2" fmla="*/ 0 w 2884024"/>
                <a:gd name="connsiteY2" fmla="*/ 257442 h 257442"/>
                <a:gd name="connsiteX3" fmla="*/ 54722 w 2884024"/>
                <a:gd name="connsiteY3" fmla="*/ 0 h 257442"/>
                <a:gd name="connsiteX0" fmla="*/ 2884024 w 2884024"/>
                <a:gd name="connsiteY0" fmla="*/ 0 h 257442"/>
                <a:gd name="connsiteX1" fmla="*/ 2829302 w 2884024"/>
                <a:gd name="connsiteY1" fmla="*/ 257442 h 257442"/>
                <a:gd name="connsiteX2" fmla="*/ 0 w 2884024"/>
                <a:gd name="connsiteY2" fmla="*/ 257442 h 257442"/>
                <a:gd name="connsiteX3" fmla="*/ 54722 w 2884024"/>
                <a:gd name="connsiteY3" fmla="*/ 0 h 257442"/>
                <a:gd name="connsiteX0" fmla="*/ 2884024 w 2884024"/>
                <a:gd name="connsiteY0" fmla="*/ 0 h 257442"/>
                <a:gd name="connsiteX1" fmla="*/ 2829302 w 2884024"/>
                <a:gd name="connsiteY1" fmla="*/ 257442 h 257442"/>
                <a:gd name="connsiteX2" fmla="*/ 0 w 2884024"/>
                <a:gd name="connsiteY2" fmla="*/ 257442 h 257442"/>
                <a:gd name="connsiteX3" fmla="*/ 54722 w 2884024"/>
                <a:gd name="connsiteY3" fmla="*/ 0 h 257442"/>
                <a:gd name="connsiteX0" fmla="*/ 2884024 w 2884024"/>
                <a:gd name="connsiteY0" fmla="*/ 0 h 257442"/>
                <a:gd name="connsiteX1" fmla="*/ 2829302 w 2884024"/>
                <a:gd name="connsiteY1" fmla="*/ 257442 h 257442"/>
                <a:gd name="connsiteX2" fmla="*/ 0 w 2884024"/>
                <a:gd name="connsiteY2" fmla="*/ 257442 h 257442"/>
                <a:gd name="connsiteX3" fmla="*/ 54721 w 2884024"/>
                <a:gd name="connsiteY3" fmla="*/ 0 h 257442"/>
                <a:gd name="connsiteX0" fmla="*/ 3052337 w 3052337"/>
                <a:gd name="connsiteY0" fmla="*/ 0 h 257442"/>
                <a:gd name="connsiteX1" fmla="*/ 2829302 w 3052337"/>
                <a:gd name="connsiteY1" fmla="*/ 257442 h 257442"/>
                <a:gd name="connsiteX2" fmla="*/ 0 w 3052337"/>
                <a:gd name="connsiteY2" fmla="*/ 257442 h 257442"/>
                <a:gd name="connsiteX3" fmla="*/ 54721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54721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54721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54721 w 3052337"/>
                <a:gd name="connsiteY3" fmla="*/ 0 h 257442"/>
                <a:gd name="connsiteX0" fmla="*/ 3220653 w 3220653"/>
                <a:gd name="connsiteY0" fmla="*/ 0 h 257442"/>
                <a:gd name="connsiteX1" fmla="*/ 2997616 w 3220653"/>
                <a:gd name="connsiteY1" fmla="*/ 257442 h 257442"/>
                <a:gd name="connsiteX2" fmla="*/ 0 w 3220653"/>
                <a:gd name="connsiteY2" fmla="*/ 257442 h 257442"/>
                <a:gd name="connsiteX3" fmla="*/ 54721 w 3220653"/>
                <a:gd name="connsiteY3" fmla="*/ 0 h 257442"/>
                <a:gd name="connsiteX0" fmla="*/ 3220653 w 3220653"/>
                <a:gd name="connsiteY0" fmla="*/ 0 h 257442"/>
                <a:gd name="connsiteX1" fmla="*/ 3165932 w 3220653"/>
                <a:gd name="connsiteY1" fmla="*/ 257442 h 257442"/>
                <a:gd name="connsiteX2" fmla="*/ 0 w 3220653"/>
                <a:gd name="connsiteY2" fmla="*/ 257442 h 257442"/>
                <a:gd name="connsiteX3" fmla="*/ 54721 w 3220653"/>
                <a:gd name="connsiteY3" fmla="*/ 0 h 257442"/>
                <a:gd name="connsiteX0" fmla="*/ 3220653 w 3220653"/>
                <a:gd name="connsiteY0" fmla="*/ 0 h 257442"/>
                <a:gd name="connsiteX1" fmla="*/ 3165932 w 3220653"/>
                <a:gd name="connsiteY1" fmla="*/ 257442 h 257442"/>
                <a:gd name="connsiteX2" fmla="*/ 0 w 3220653"/>
                <a:gd name="connsiteY2" fmla="*/ 257442 h 257442"/>
                <a:gd name="connsiteX3" fmla="*/ 54721 w 3220653"/>
                <a:gd name="connsiteY3" fmla="*/ 0 h 257442"/>
                <a:gd name="connsiteX0" fmla="*/ 3220653 w 3220653"/>
                <a:gd name="connsiteY0" fmla="*/ 0 h 257442"/>
                <a:gd name="connsiteX1" fmla="*/ 3165932 w 3220653"/>
                <a:gd name="connsiteY1" fmla="*/ 257442 h 257442"/>
                <a:gd name="connsiteX2" fmla="*/ 0 w 3220653"/>
                <a:gd name="connsiteY2" fmla="*/ 257442 h 257442"/>
                <a:gd name="connsiteX3" fmla="*/ 54721 w 3220653"/>
                <a:gd name="connsiteY3" fmla="*/ 0 h 257442"/>
                <a:gd name="connsiteX0" fmla="*/ 3499576 w 3499576"/>
                <a:gd name="connsiteY0" fmla="*/ 0 h 257442"/>
                <a:gd name="connsiteX1" fmla="*/ 3165932 w 3499576"/>
                <a:gd name="connsiteY1" fmla="*/ 257442 h 257442"/>
                <a:gd name="connsiteX2" fmla="*/ 0 w 3499576"/>
                <a:gd name="connsiteY2" fmla="*/ 257442 h 257442"/>
                <a:gd name="connsiteX3" fmla="*/ 54721 w 3499576"/>
                <a:gd name="connsiteY3" fmla="*/ 0 h 257442"/>
                <a:gd name="connsiteX0" fmla="*/ 3499576 w 3499576"/>
                <a:gd name="connsiteY0" fmla="*/ 0 h 257442"/>
                <a:gd name="connsiteX1" fmla="*/ 3444854 w 3499576"/>
                <a:gd name="connsiteY1" fmla="*/ 257442 h 257442"/>
                <a:gd name="connsiteX2" fmla="*/ 0 w 3499576"/>
                <a:gd name="connsiteY2" fmla="*/ 257442 h 257442"/>
                <a:gd name="connsiteX3" fmla="*/ 54721 w 3499576"/>
                <a:gd name="connsiteY3" fmla="*/ 0 h 257442"/>
                <a:gd name="connsiteX0" fmla="*/ 3499577 w 3499577"/>
                <a:gd name="connsiteY0" fmla="*/ 0 h 257442"/>
                <a:gd name="connsiteX1" fmla="*/ 3444855 w 3499577"/>
                <a:gd name="connsiteY1" fmla="*/ 257442 h 257442"/>
                <a:gd name="connsiteX2" fmla="*/ 0 w 3499577"/>
                <a:gd name="connsiteY2" fmla="*/ 257442 h 257442"/>
                <a:gd name="connsiteX3" fmla="*/ 54722 w 3499577"/>
                <a:gd name="connsiteY3" fmla="*/ 0 h 257442"/>
                <a:gd name="connsiteX0" fmla="*/ 3499577 w 3499577"/>
                <a:gd name="connsiteY0" fmla="*/ 0 h 257442"/>
                <a:gd name="connsiteX1" fmla="*/ 3444855 w 3499577"/>
                <a:gd name="connsiteY1" fmla="*/ 257442 h 257442"/>
                <a:gd name="connsiteX2" fmla="*/ 0 w 3499577"/>
                <a:gd name="connsiteY2" fmla="*/ 257442 h 257442"/>
                <a:gd name="connsiteX3" fmla="*/ 54722 w 3499577"/>
                <a:gd name="connsiteY3" fmla="*/ 0 h 257442"/>
                <a:gd name="connsiteX0" fmla="*/ 3659877 w 3659877"/>
                <a:gd name="connsiteY0" fmla="*/ 0 h 257442"/>
                <a:gd name="connsiteX1" fmla="*/ 3444855 w 3659877"/>
                <a:gd name="connsiteY1" fmla="*/ 257442 h 257442"/>
                <a:gd name="connsiteX2" fmla="*/ 0 w 3659877"/>
                <a:gd name="connsiteY2" fmla="*/ 257442 h 257442"/>
                <a:gd name="connsiteX3" fmla="*/ 54722 w 3659877"/>
                <a:gd name="connsiteY3" fmla="*/ 0 h 257442"/>
                <a:gd name="connsiteX0" fmla="*/ 3659877 w 3659877"/>
                <a:gd name="connsiteY0" fmla="*/ 0 h 257442"/>
                <a:gd name="connsiteX1" fmla="*/ 3605157 w 3659877"/>
                <a:gd name="connsiteY1" fmla="*/ 257442 h 257442"/>
                <a:gd name="connsiteX2" fmla="*/ 0 w 3659877"/>
                <a:gd name="connsiteY2" fmla="*/ 257442 h 257442"/>
                <a:gd name="connsiteX3" fmla="*/ 54722 w 3659877"/>
                <a:gd name="connsiteY3" fmla="*/ 0 h 257442"/>
                <a:gd name="connsiteX0" fmla="*/ 3659876 w 3659876"/>
                <a:gd name="connsiteY0" fmla="*/ 0 h 257442"/>
                <a:gd name="connsiteX1" fmla="*/ 3605156 w 3659876"/>
                <a:gd name="connsiteY1" fmla="*/ 257442 h 257442"/>
                <a:gd name="connsiteX2" fmla="*/ 0 w 3659876"/>
                <a:gd name="connsiteY2" fmla="*/ 257442 h 257442"/>
                <a:gd name="connsiteX3" fmla="*/ 54721 w 3659876"/>
                <a:gd name="connsiteY3" fmla="*/ 0 h 257442"/>
                <a:gd name="connsiteX0" fmla="*/ 3659876 w 3659876"/>
                <a:gd name="connsiteY0" fmla="*/ 0 h 257442"/>
                <a:gd name="connsiteX1" fmla="*/ 3605156 w 3659876"/>
                <a:gd name="connsiteY1" fmla="*/ 257442 h 257442"/>
                <a:gd name="connsiteX2" fmla="*/ 0 w 3659876"/>
                <a:gd name="connsiteY2" fmla="*/ 257442 h 257442"/>
                <a:gd name="connsiteX3" fmla="*/ 54720 w 3659876"/>
                <a:gd name="connsiteY3" fmla="*/ 0 h 257442"/>
                <a:gd name="connsiteX0" fmla="*/ 3820175 w 3820175"/>
                <a:gd name="connsiteY0" fmla="*/ 0 h 257442"/>
                <a:gd name="connsiteX1" fmla="*/ 3605156 w 3820175"/>
                <a:gd name="connsiteY1" fmla="*/ 257442 h 257442"/>
                <a:gd name="connsiteX2" fmla="*/ 0 w 3820175"/>
                <a:gd name="connsiteY2" fmla="*/ 257442 h 257442"/>
                <a:gd name="connsiteX3" fmla="*/ 54720 w 3820175"/>
                <a:gd name="connsiteY3" fmla="*/ 0 h 257442"/>
                <a:gd name="connsiteX0" fmla="*/ 3820175 w 3820175"/>
                <a:gd name="connsiteY0" fmla="*/ 0 h 257442"/>
                <a:gd name="connsiteX1" fmla="*/ 3765454 w 3820175"/>
                <a:gd name="connsiteY1" fmla="*/ 257442 h 257442"/>
                <a:gd name="connsiteX2" fmla="*/ 0 w 3820175"/>
                <a:gd name="connsiteY2" fmla="*/ 257442 h 257442"/>
                <a:gd name="connsiteX3" fmla="*/ 54720 w 3820175"/>
                <a:gd name="connsiteY3" fmla="*/ 0 h 257442"/>
                <a:gd name="connsiteX0" fmla="*/ 3820176 w 3820176"/>
                <a:gd name="connsiteY0" fmla="*/ 0 h 257442"/>
                <a:gd name="connsiteX1" fmla="*/ 3765455 w 3820176"/>
                <a:gd name="connsiteY1" fmla="*/ 257442 h 257442"/>
                <a:gd name="connsiteX2" fmla="*/ 0 w 3820176"/>
                <a:gd name="connsiteY2" fmla="*/ 257442 h 257442"/>
                <a:gd name="connsiteX3" fmla="*/ 54721 w 3820176"/>
                <a:gd name="connsiteY3" fmla="*/ 0 h 257442"/>
                <a:gd name="connsiteX0" fmla="*/ 3820176 w 3820176"/>
                <a:gd name="connsiteY0" fmla="*/ 0 h 257442"/>
                <a:gd name="connsiteX1" fmla="*/ 3765455 w 3820176"/>
                <a:gd name="connsiteY1" fmla="*/ 257442 h 257442"/>
                <a:gd name="connsiteX2" fmla="*/ 0 w 3820176"/>
                <a:gd name="connsiteY2" fmla="*/ 257442 h 257442"/>
                <a:gd name="connsiteX3" fmla="*/ 54721 w 3820176"/>
                <a:gd name="connsiteY3" fmla="*/ 0 h 257442"/>
                <a:gd name="connsiteX0" fmla="*/ 3988490 w 3988490"/>
                <a:gd name="connsiteY0" fmla="*/ 0 h 257442"/>
                <a:gd name="connsiteX1" fmla="*/ 3765455 w 3988490"/>
                <a:gd name="connsiteY1" fmla="*/ 257442 h 257442"/>
                <a:gd name="connsiteX2" fmla="*/ 0 w 3988490"/>
                <a:gd name="connsiteY2" fmla="*/ 257442 h 257442"/>
                <a:gd name="connsiteX3" fmla="*/ 54721 w 3988490"/>
                <a:gd name="connsiteY3" fmla="*/ 0 h 257442"/>
                <a:gd name="connsiteX0" fmla="*/ 3988490 w 3988490"/>
                <a:gd name="connsiteY0" fmla="*/ 0 h 257442"/>
                <a:gd name="connsiteX1" fmla="*/ 3933770 w 3988490"/>
                <a:gd name="connsiteY1" fmla="*/ 257442 h 257442"/>
                <a:gd name="connsiteX2" fmla="*/ 0 w 3988490"/>
                <a:gd name="connsiteY2" fmla="*/ 257442 h 257442"/>
                <a:gd name="connsiteX3" fmla="*/ 54721 w 3988490"/>
                <a:gd name="connsiteY3" fmla="*/ 0 h 257442"/>
                <a:gd name="connsiteX0" fmla="*/ 3988490 w 3988490"/>
                <a:gd name="connsiteY0" fmla="*/ 0 h 257442"/>
                <a:gd name="connsiteX1" fmla="*/ 3933770 w 3988490"/>
                <a:gd name="connsiteY1" fmla="*/ 257442 h 257442"/>
                <a:gd name="connsiteX2" fmla="*/ 0 w 3988490"/>
                <a:gd name="connsiteY2" fmla="*/ 257442 h 257442"/>
                <a:gd name="connsiteX3" fmla="*/ 54721 w 3988490"/>
                <a:gd name="connsiteY3" fmla="*/ 0 h 257442"/>
                <a:gd name="connsiteX0" fmla="*/ 3988490 w 3988490"/>
                <a:gd name="connsiteY0" fmla="*/ 0 h 257442"/>
                <a:gd name="connsiteX1" fmla="*/ 3933770 w 3988490"/>
                <a:gd name="connsiteY1" fmla="*/ 257442 h 257442"/>
                <a:gd name="connsiteX2" fmla="*/ 0 w 3988490"/>
                <a:gd name="connsiteY2" fmla="*/ 257442 h 257442"/>
                <a:gd name="connsiteX3" fmla="*/ 54721 w 3988490"/>
                <a:gd name="connsiteY3" fmla="*/ 0 h 257442"/>
                <a:gd name="connsiteX0" fmla="*/ 4309092 w 4309092"/>
                <a:gd name="connsiteY0" fmla="*/ 0 h 257442"/>
                <a:gd name="connsiteX1" fmla="*/ 3933770 w 4309092"/>
                <a:gd name="connsiteY1" fmla="*/ 257442 h 257442"/>
                <a:gd name="connsiteX2" fmla="*/ 0 w 4309092"/>
                <a:gd name="connsiteY2" fmla="*/ 257442 h 257442"/>
                <a:gd name="connsiteX3" fmla="*/ 54721 w 4309092"/>
                <a:gd name="connsiteY3" fmla="*/ 0 h 257442"/>
                <a:gd name="connsiteX0" fmla="*/ 4309092 w 4309092"/>
                <a:gd name="connsiteY0" fmla="*/ 0 h 257442"/>
                <a:gd name="connsiteX1" fmla="*/ 4254371 w 4309092"/>
                <a:gd name="connsiteY1" fmla="*/ 257442 h 257442"/>
                <a:gd name="connsiteX2" fmla="*/ 0 w 4309092"/>
                <a:gd name="connsiteY2" fmla="*/ 257442 h 257442"/>
                <a:gd name="connsiteX3" fmla="*/ 54721 w 4309092"/>
                <a:gd name="connsiteY3" fmla="*/ 0 h 257442"/>
                <a:gd name="connsiteX0" fmla="*/ 4309092 w 4309092"/>
                <a:gd name="connsiteY0" fmla="*/ 0 h 257442"/>
                <a:gd name="connsiteX1" fmla="*/ 4254371 w 4309092"/>
                <a:gd name="connsiteY1" fmla="*/ 257442 h 257442"/>
                <a:gd name="connsiteX2" fmla="*/ 0 w 4309092"/>
                <a:gd name="connsiteY2" fmla="*/ 257442 h 257442"/>
                <a:gd name="connsiteX3" fmla="*/ 54721 w 4309092"/>
                <a:gd name="connsiteY3" fmla="*/ 0 h 257442"/>
                <a:gd name="connsiteX0" fmla="*/ 4309092 w 4309092"/>
                <a:gd name="connsiteY0" fmla="*/ 0 h 257442"/>
                <a:gd name="connsiteX1" fmla="*/ 4254371 w 4309092"/>
                <a:gd name="connsiteY1" fmla="*/ 257442 h 257442"/>
                <a:gd name="connsiteX2" fmla="*/ 0 w 4309092"/>
                <a:gd name="connsiteY2" fmla="*/ 257442 h 257442"/>
                <a:gd name="connsiteX3" fmla="*/ 54721 w 4309092"/>
                <a:gd name="connsiteY3" fmla="*/ 0 h 257442"/>
                <a:gd name="connsiteX0" fmla="*/ 4469391 w 4469391"/>
                <a:gd name="connsiteY0" fmla="*/ 0 h 257442"/>
                <a:gd name="connsiteX1" fmla="*/ 4254371 w 4469391"/>
                <a:gd name="connsiteY1" fmla="*/ 257442 h 257442"/>
                <a:gd name="connsiteX2" fmla="*/ 0 w 4469391"/>
                <a:gd name="connsiteY2" fmla="*/ 257442 h 257442"/>
                <a:gd name="connsiteX3" fmla="*/ 54721 w 4469391"/>
                <a:gd name="connsiteY3" fmla="*/ 0 h 257442"/>
                <a:gd name="connsiteX0" fmla="*/ 4469391 w 4469391"/>
                <a:gd name="connsiteY0" fmla="*/ 0 h 257442"/>
                <a:gd name="connsiteX1" fmla="*/ 4414671 w 4469391"/>
                <a:gd name="connsiteY1" fmla="*/ 257442 h 257442"/>
                <a:gd name="connsiteX2" fmla="*/ 0 w 4469391"/>
                <a:gd name="connsiteY2" fmla="*/ 257442 h 257442"/>
                <a:gd name="connsiteX3" fmla="*/ 54721 w 4469391"/>
                <a:gd name="connsiteY3" fmla="*/ 0 h 257442"/>
                <a:gd name="connsiteX0" fmla="*/ 4469391 w 4469391"/>
                <a:gd name="connsiteY0" fmla="*/ 0 h 257442"/>
                <a:gd name="connsiteX1" fmla="*/ 4414671 w 4469391"/>
                <a:gd name="connsiteY1" fmla="*/ 257442 h 257442"/>
                <a:gd name="connsiteX2" fmla="*/ 0 w 4469391"/>
                <a:gd name="connsiteY2" fmla="*/ 257442 h 257442"/>
                <a:gd name="connsiteX3" fmla="*/ 54721 w 4469391"/>
                <a:gd name="connsiteY3" fmla="*/ 0 h 257442"/>
                <a:gd name="connsiteX0" fmla="*/ 4469391 w 4469391"/>
                <a:gd name="connsiteY0" fmla="*/ 0 h 257442"/>
                <a:gd name="connsiteX1" fmla="*/ 4414671 w 4469391"/>
                <a:gd name="connsiteY1" fmla="*/ 257442 h 257442"/>
                <a:gd name="connsiteX2" fmla="*/ 0 w 4469391"/>
                <a:gd name="connsiteY2" fmla="*/ 257442 h 257442"/>
                <a:gd name="connsiteX3" fmla="*/ 54721 w 4469391"/>
                <a:gd name="connsiteY3" fmla="*/ 0 h 257442"/>
                <a:gd name="connsiteX0" fmla="*/ 968434 w 4414671"/>
                <a:gd name="connsiteY0" fmla="*/ 0 h 257442"/>
                <a:gd name="connsiteX1" fmla="*/ 4414671 w 4414671"/>
                <a:gd name="connsiteY1" fmla="*/ 257442 h 257442"/>
                <a:gd name="connsiteX2" fmla="*/ 0 w 4414671"/>
                <a:gd name="connsiteY2" fmla="*/ 257442 h 257442"/>
                <a:gd name="connsiteX3" fmla="*/ 54721 w 4414671"/>
                <a:gd name="connsiteY3" fmla="*/ 0 h 257442"/>
                <a:gd name="connsiteX0" fmla="*/ 968434 w 968434"/>
                <a:gd name="connsiteY0" fmla="*/ 0 h 257442"/>
                <a:gd name="connsiteX1" fmla="*/ 913713 w 968434"/>
                <a:gd name="connsiteY1" fmla="*/ 257442 h 257442"/>
                <a:gd name="connsiteX2" fmla="*/ 0 w 968434"/>
                <a:gd name="connsiteY2" fmla="*/ 257442 h 257442"/>
                <a:gd name="connsiteX3" fmla="*/ 54721 w 968434"/>
                <a:gd name="connsiteY3" fmla="*/ 0 h 257442"/>
                <a:gd name="connsiteX0" fmla="*/ 968434 w 968434"/>
                <a:gd name="connsiteY0" fmla="*/ 0 h 257442"/>
                <a:gd name="connsiteX1" fmla="*/ 913713 w 968434"/>
                <a:gd name="connsiteY1" fmla="*/ 257442 h 257442"/>
                <a:gd name="connsiteX2" fmla="*/ 0 w 968434"/>
                <a:gd name="connsiteY2" fmla="*/ 257442 h 257442"/>
                <a:gd name="connsiteX3" fmla="*/ 54721 w 968434"/>
                <a:gd name="connsiteY3" fmla="*/ 0 h 257442"/>
                <a:gd name="connsiteX0" fmla="*/ 968434 w 968434"/>
                <a:gd name="connsiteY0" fmla="*/ 0 h 257442"/>
                <a:gd name="connsiteX1" fmla="*/ 913713 w 968434"/>
                <a:gd name="connsiteY1" fmla="*/ 257442 h 257442"/>
                <a:gd name="connsiteX2" fmla="*/ 0 w 968434"/>
                <a:gd name="connsiteY2" fmla="*/ 257442 h 257442"/>
                <a:gd name="connsiteX3" fmla="*/ 54721 w 968434"/>
                <a:gd name="connsiteY3" fmla="*/ 0 h 257442"/>
                <a:gd name="connsiteX0" fmla="*/ 1128734 w 1128734"/>
                <a:gd name="connsiteY0" fmla="*/ 0 h 257442"/>
                <a:gd name="connsiteX1" fmla="*/ 9137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566354 w 1566354"/>
                <a:gd name="connsiteY0" fmla="*/ 0 h 257442"/>
                <a:gd name="connsiteX1" fmla="*/ 1242329 w 1566354"/>
                <a:gd name="connsiteY1" fmla="*/ 257442 h 257442"/>
                <a:gd name="connsiteX2" fmla="*/ 0 w 1566354"/>
                <a:gd name="connsiteY2" fmla="*/ 257442 h 257442"/>
                <a:gd name="connsiteX3" fmla="*/ 54721 w 1566354"/>
                <a:gd name="connsiteY3" fmla="*/ 0 h 257442"/>
                <a:gd name="connsiteX0" fmla="*/ 1566354 w 1566354"/>
                <a:gd name="connsiteY0" fmla="*/ 0 h 257442"/>
                <a:gd name="connsiteX1" fmla="*/ 1511633 w 1566354"/>
                <a:gd name="connsiteY1" fmla="*/ 257442 h 257442"/>
                <a:gd name="connsiteX2" fmla="*/ 0 w 1566354"/>
                <a:gd name="connsiteY2" fmla="*/ 257442 h 257442"/>
                <a:gd name="connsiteX3" fmla="*/ 54721 w 1566354"/>
                <a:gd name="connsiteY3" fmla="*/ 0 h 257442"/>
                <a:gd name="connsiteX0" fmla="*/ 1566354 w 1566354"/>
                <a:gd name="connsiteY0" fmla="*/ 0 h 257442"/>
                <a:gd name="connsiteX1" fmla="*/ 1511633 w 1566354"/>
                <a:gd name="connsiteY1" fmla="*/ 257442 h 257442"/>
                <a:gd name="connsiteX2" fmla="*/ 0 w 1566354"/>
                <a:gd name="connsiteY2" fmla="*/ 257442 h 257442"/>
                <a:gd name="connsiteX3" fmla="*/ 54721 w 1566354"/>
                <a:gd name="connsiteY3" fmla="*/ 0 h 257442"/>
                <a:gd name="connsiteX0" fmla="*/ 1566354 w 1566354"/>
                <a:gd name="connsiteY0" fmla="*/ 0 h 257442"/>
                <a:gd name="connsiteX1" fmla="*/ 1511633 w 1566354"/>
                <a:gd name="connsiteY1" fmla="*/ 257442 h 257442"/>
                <a:gd name="connsiteX2" fmla="*/ 0 w 1566354"/>
                <a:gd name="connsiteY2" fmla="*/ 257442 h 257442"/>
                <a:gd name="connsiteX3" fmla="*/ 54721 w 1566354"/>
                <a:gd name="connsiteY3" fmla="*/ 0 h 257442"/>
                <a:gd name="connsiteX0" fmla="*/ 1821937 w 1821937"/>
                <a:gd name="connsiteY0" fmla="*/ 0 h 257442"/>
                <a:gd name="connsiteX1" fmla="*/ 1511633 w 1821937"/>
                <a:gd name="connsiteY1" fmla="*/ 257442 h 257442"/>
                <a:gd name="connsiteX2" fmla="*/ 0 w 1821937"/>
                <a:gd name="connsiteY2" fmla="*/ 257442 h 257442"/>
                <a:gd name="connsiteX3" fmla="*/ 54721 w 1821937"/>
                <a:gd name="connsiteY3" fmla="*/ 0 h 257442"/>
                <a:gd name="connsiteX0" fmla="*/ 1821937 w 1821937"/>
                <a:gd name="connsiteY0" fmla="*/ 0 h 257442"/>
                <a:gd name="connsiteX1" fmla="*/ 1767216 w 1821937"/>
                <a:gd name="connsiteY1" fmla="*/ 257442 h 257442"/>
                <a:gd name="connsiteX2" fmla="*/ 0 w 1821937"/>
                <a:gd name="connsiteY2" fmla="*/ 257442 h 257442"/>
                <a:gd name="connsiteX3" fmla="*/ 54721 w 1821937"/>
                <a:gd name="connsiteY3" fmla="*/ 0 h 257442"/>
                <a:gd name="connsiteX0" fmla="*/ 1821937 w 1821937"/>
                <a:gd name="connsiteY0" fmla="*/ 0 h 257442"/>
                <a:gd name="connsiteX1" fmla="*/ 1767216 w 1821937"/>
                <a:gd name="connsiteY1" fmla="*/ 257442 h 257442"/>
                <a:gd name="connsiteX2" fmla="*/ 0 w 1821937"/>
                <a:gd name="connsiteY2" fmla="*/ 257442 h 257442"/>
                <a:gd name="connsiteX3" fmla="*/ 54721 w 1821937"/>
                <a:gd name="connsiteY3" fmla="*/ 0 h 257442"/>
                <a:gd name="connsiteX0" fmla="*/ 1821937 w 1821937"/>
                <a:gd name="connsiteY0" fmla="*/ 0 h 257442"/>
                <a:gd name="connsiteX1" fmla="*/ 1767216 w 1821937"/>
                <a:gd name="connsiteY1" fmla="*/ 257442 h 257442"/>
                <a:gd name="connsiteX2" fmla="*/ 0 w 1821937"/>
                <a:gd name="connsiteY2" fmla="*/ 257442 h 257442"/>
                <a:gd name="connsiteX3" fmla="*/ 54721 w 1821937"/>
                <a:gd name="connsiteY3" fmla="*/ 0 h 257442"/>
                <a:gd name="connsiteX0" fmla="*/ 1982237 w 1982237"/>
                <a:gd name="connsiteY0" fmla="*/ 0 h 257442"/>
                <a:gd name="connsiteX1" fmla="*/ 1767216 w 1982237"/>
                <a:gd name="connsiteY1" fmla="*/ 257442 h 257442"/>
                <a:gd name="connsiteX2" fmla="*/ 0 w 1982237"/>
                <a:gd name="connsiteY2" fmla="*/ 257442 h 257442"/>
                <a:gd name="connsiteX3" fmla="*/ 54721 w 1982237"/>
                <a:gd name="connsiteY3" fmla="*/ 0 h 257442"/>
                <a:gd name="connsiteX0" fmla="*/ 1982237 w 1982237"/>
                <a:gd name="connsiteY0" fmla="*/ 0 h 257442"/>
                <a:gd name="connsiteX1" fmla="*/ 1927516 w 1982237"/>
                <a:gd name="connsiteY1" fmla="*/ 257442 h 257442"/>
                <a:gd name="connsiteX2" fmla="*/ 0 w 1982237"/>
                <a:gd name="connsiteY2" fmla="*/ 257442 h 257442"/>
                <a:gd name="connsiteX3" fmla="*/ 54721 w 1982237"/>
                <a:gd name="connsiteY3" fmla="*/ 0 h 257442"/>
                <a:gd name="connsiteX0" fmla="*/ 1982237 w 1982237"/>
                <a:gd name="connsiteY0" fmla="*/ 0 h 257442"/>
                <a:gd name="connsiteX1" fmla="*/ 1927516 w 1982237"/>
                <a:gd name="connsiteY1" fmla="*/ 257442 h 257442"/>
                <a:gd name="connsiteX2" fmla="*/ 0 w 1982237"/>
                <a:gd name="connsiteY2" fmla="*/ 257442 h 257442"/>
                <a:gd name="connsiteX3" fmla="*/ 54721 w 1982237"/>
                <a:gd name="connsiteY3" fmla="*/ 0 h 257442"/>
                <a:gd name="connsiteX0" fmla="*/ 1982237 w 1982237"/>
                <a:gd name="connsiteY0" fmla="*/ 0 h 257442"/>
                <a:gd name="connsiteX1" fmla="*/ 1927516 w 1982237"/>
                <a:gd name="connsiteY1" fmla="*/ 257442 h 257442"/>
                <a:gd name="connsiteX2" fmla="*/ 0 w 1982237"/>
                <a:gd name="connsiteY2" fmla="*/ 257442 h 257442"/>
                <a:gd name="connsiteX3" fmla="*/ 54721 w 1982237"/>
                <a:gd name="connsiteY3" fmla="*/ 0 h 257442"/>
                <a:gd name="connsiteX0" fmla="*/ 2142538 w 2142538"/>
                <a:gd name="connsiteY0" fmla="*/ 0 h 257442"/>
                <a:gd name="connsiteX1" fmla="*/ 1927516 w 2142538"/>
                <a:gd name="connsiteY1" fmla="*/ 257442 h 257442"/>
                <a:gd name="connsiteX2" fmla="*/ 0 w 2142538"/>
                <a:gd name="connsiteY2" fmla="*/ 257442 h 257442"/>
                <a:gd name="connsiteX3" fmla="*/ 54721 w 2142538"/>
                <a:gd name="connsiteY3" fmla="*/ 0 h 257442"/>
                <a:gd name="connsiteX0" fmla="*/ 2142538 w 2142538"/>
                <a:gd name="connsiteY0" fmla="*/ 0 h 257442"/>
                <a:gd name="connsiteX1" fmla="*/ 2087816 w 2142538"/>
                <a:gd name="connsiteY1" fmla="*/ 257442 h 257442"/>
                <a:gd name="connsiteX2" fmla="*/ 0 w 2142538"/>
                <a:gd name="connsiteY2" fmla="*/ 257442 h 257442"/>
                <a:gd name="connsiteX3" fmla="*/ 54721 w 2142538"/>
                <a:gd name="connsiteY3" fmla="*/ 0 h 257442"/>
                <a:gd name="connsiteX0" fmla="*/ 2142539 w 2142539"/>
                <a:gd name="connsiteY0" fmla="*/ 0 h 257442"/>
                <a:gd name="connsiteX1" fmla="*/ 2087817 w 2142539"/>
                <a:gd name="connsiteY1" fmla="*/ 257442 h 257442"/>
                <a:gd name="connsiteX2" fmla="*/ 0 w 2142539"/>
                <a:gd name="connsiteY2" fmla="*/ 257442 h 257442"/>
                <a:gd name="connsiteX3" fmla="*/ 54722 w 2142539"/>
                <a:gd name="connsiteY3" fmla="*/ 0 h 257442"/>
                <a:gd name="connsiteX0" fmla="*/ 2142539 w 2142539"/>
                <a:gd name="connsiteY0" fmla="*/ 0 h 257442"/>
                <a:gd name="connsiteX1" fmla="*/ 2087817 w 2142539"/>
                <a:gd name="connsiteY1" fmla="*/ 257442 h 257442"/>
                <a:gd name="connsiteX2" fmla="*/ 0 w 2142539"/>
                <a:gd name="connsiteY2" fmla="*/ 257442 h 257442"/>
                <a:gd name="connsiteX3" fmla="*/ 54722 w 2142539"/>
                <a:gd name="connsiteY3" fmla="*/ 0 h 257442"/>
                <a:gd name="connsiteX0" fmla="*/ 2310853 w 2310853"/>
                <a:gd name="connsiteY0" fmla="*/ 0 h 257442"/>
                <a:gd name="connsiteX1" fmla="*/ 2087817 w 2310853"/>
                <a:gd name="connsiteY1" fmla="*/ 257442 h 257442"/>
                <a:gd name="connsiteX2" fmla="*/ 0 w 2310853"/>
                <a:gd name="connsiteY2" fmla="*/ 257442 h 257442"/>
                <a:gd name="connsiteX3" fmla="*/ 54722 w 2310853"/>
                <a:gd name="connsiteY3" fmla="*/ 0 h 257442"/>
                <a:gd name="connsiteX0" fmla="*/ 2310853 w 2310853"/>
                <a:gd name="connsiteY0" fmla="*/ 0 h 257442"/>
                <a:gd name="connsiteX1" fmla="*/ 2256132 w 2310853"/>
                <a:gd name="connsiteY1" fmla="*/ 257442 h 257442"/>
                <a:gd name="connsiteX2" fmla="*/ 0 w 2310853"/>
                <a:gd name="connsiteY2" fmla="*/ 257442 h 257442"/>
                <a:gd name="connsiteX3" fmla="*/ 54722 w 2310853"/>
                <a:gd name="connsiteY3" fmla="*/ 0 h 257442"/>
                <a:gd name="connsiteX0" fmla="*/ 2310852 w 2310852"/>
                <a:gd name="connsiteY0" fmla="*/ 0 h 257442"/>
                <a:gd name="connsiteX1" fmla="*/ 2256131 w 2310852"/>
                <a:gd name="connsiteY1" fmla="*/ 257442 h 257442"/>
                <a:gd name="connsiteX2" fmla="*/ 0 w 2310852"/>
                <a:gd name="connsiteY2" fmla="*/ 257442 h 257442"/>
                <a:gd name="connsiteX3" fmla="*/ 54721 w 2310852"/>
                <a:gd name="connsiteY3" fmla="*/ 0 h 257442"/>
                <a:gd name="connsiteX0" fmla="*/ 2310852 w 2310852"/>
                <a:gd name="connsiteY0" fmla="*/ 0 h 257442"/>
                <a:gd name="connsiteX1" fmla="*/ 2256131 w 2310852"/>
                <a:gd name="connsiteY1" fmla="*/ 257442 h 257442"/>
                <a:gd name="connsiteX2" fmla="*/ 0 w 2310852"/>
                <a:gd name="connsiteY2" fmla="*/ 257442 h 257442"/>
                <a:gd name="connsiteX3" fmla="*/ 54720 w 2310852"/>
                <a:gd name="connsiteY3" fmla="*/ 0 h 257442"/>
                <a:gd name="connsiteX0" fmla="*/ 2479167 w 2479167"/>
                <a:gd name="connsiteY0" fmla="*/ 0 h 257442"/>
                <a:gd name="connsiteX1" fmla="*/ 2256131 w 2479167"/>
                <a:gd name="connsiteY1" fmla="*/ 257442 h 257442"/>
                <a:gd name="connsiteX2" fmla="*/ 0 w 2479167"/>
                <a:gd name="connsiteY2" fmla="*/ 257442 h 257442"/>
                <a:gd name="connsiteX3" fmla="*/ 54720 w 2479167"/>
                <a:gd name="connsiteY3" fmla="*/ 0 h 257442"/>
                <a:gd name="connsiteX0" fmla="*/ 2479167 w 2479167"/>
                <a:gd name="connsiteY0" fmla="*/ 0 h 257442"/>
                <a:gd name="connsiteX1" fmla="*/ 2424446 w 2479167"/>
                <a:gd name="connsiteY1" fmla="*/ 257442 h 257442"/>
                <a:gd name="connsiteX2" fmla="*/ 0 w 2479167"/>
                <a:gd name="connsiteY2" fmla="*/ 257442 h 257442"/>
                <a:gd name="connsiteX3" fmla="*/ 54720 w 2479167"/>
                <a:gd name="connsiteY3" fmla="*/ 0 h 257442"/>
                <a:gd name="connsiteX0" fmla="*/ 2479168 w 2479168"/>
                <a:gd name="connsiteY0" fmla="*/ 0 h 257442"/>
                <a:gd name="connsiteX1" fmla="*/ 2424447 w 2479168"/>
                <a:gd name="connsiteY1" fmla="*/ 257442 h 257442"/>
                <a:gd name="connsiteX2" fmla="*/ 0 w 2479168"/>
                <a:gd name="connsiteY2" fmla="*/ 257442 h 257442"/>
                <a:gd name="connsiteX3" fmla="*/ 54721 w 2479168"/>
                <a:gd name="connsiteY3" fmla="*/ 0 h 257442"/>
                <a:gd name="connsiteX0" fmla="*/ 2479168 w 2479168"/>
                <a:gd name="connsiteY0" fmla="*/ 0 h 257442"/>
                <a:gd name="connsiteX1" fmla="*/ 2424447 w 2479168"/>
                <a:gd name="connsiteY1" fmla="*/ 257442 h 257442"/>
                <a:gd name="connsiteX2" fmla="*/ 0 w 2479168"/>
                <a:gd name="connsiteY2" fmla="*/ 257442 h 257442"/>
                <a:gd name="connsiteX3" fmla="*/ 54721 w 2479168"/>
                <a:gd name="connsiteY3" fmla="*/ 0 h 257442"/>
                <a:gd name="connsiteX0" fmla="*/ 3494061 w 3494061"/>
                <a:gd name="connsiteY0" fmla="*/ 0 h 257442"/>
                <a:gd name="connsiteX1" fmla="*/ 2424447 w 3494061"/>
                <a:gd name="connsiteY1" fmla="*/ 257442 h 257442"/>
                <a:gd name="connsiteX2" fmla="*/ 0 w 3494061"/>
                <a:gd name="connsiteY2" fmla="*/ 257442 h 257442"/>
                <a:gd name="connsiteX3" fmla="*/ 54721 w 3494061"/>
                <a:gd name="connsiteY3" fmla="*/ 0 h 257442"/>
                <a:gd name="connsiteX0" fmla="*/ 3494061 w 3494061"/>
                <a:gd name="connsiteY0" fmla="*/ 0 h 257442"/>
                <a:gd name="connsiteX1" fmla="*/ 3439340 w 3494061"/>
                <a:gd name="connsiteY1" fmla="*/ 257442 h 257442"/>
                <a:gd name="connsiteX2" fmla="*/ 0 w 3494061"/>
                <a:gd name="connsiteY2" fmla="*/ 257442 h 257442"/>
                <a:gd name="connsiteX3" fmla="*/ 54721 w 3494061"/>
                <a:gd name="connsiteY3" fmla="*/ 0 h 257442"/>
                <a:gd name="connsiteX0" fmla="*/ 3494061 w 3494061"/>
                <a:gd name="connsiteY0" fmla="*/ 0 h 257442"/>
                <a:gd name="connsiteX1" fmla="*/ 3439340 w 3494061"/>
                <a:gd name="connsiteY1" fmla="*/ 257442 h 257442"/>
                <a:gd name="connsiteX2" fmla="*/ 0 w 3494061"/>
                <a:gd name="connsiteY2" fmla="*/ 257442 h 257442"/>
                <a:gd name="connsiteX3" fmla="*/ 54721 w 3494061"/>
                <a:gd name="connsiteY3" fmla="*/ 0 h 257442"/>
                <a:gd name="connsiteX0" fmla="*/ 3494061 w 3494061"/>
                <a:gd name="connsiteY0" fmla="*/ 0 h 257442"/>
                <a:gd name="connsiteX1" fmla="*/ 3439340 w 3494061"/>
                <a:gd name="connsiteY1" fmla="*/ 257442 h 257442"/>
                <a:gd name="connsiteX2" fmla="*/ 0 w 3494061"/>
                <a:gd name="connsiteY2" fmla="*/ 257442 h 257442"/>
                <a:gd name="connsiteX3" fmla="*/ 54721 w 3494061"/>
                <a:gd name="connsiteY3" fmla="*/ 0 h 257442"/>
                <a:gd name="connsiteX0" fmla="*/ 3108956 w 3439340"/>
                <a:gd name="connsiteY0" fmla="*/ 0 h 257442"/>
                <a:gd name="connsiteX1" fmla="*/ 3439340 w 3439340"/>
                <a:gd name="connsiteY1" fmla="*/ 257442 h 257442"/>
                <a:gd name="connsiteX2" fmla="*/ 0 w 3439340"/>
                <a:gd name="connsiteY2" fmla="*/ 257442 h 257442"/>
                <a:gd name="connsiteX3" fmla="*/ 54721 w 3439340"/>
                <a:gd name="connsiteY3" fmla="*/ 0 h 257442"/>
                <a:gd name="connsiteX0" fmla="*/ 3108956 w 3108956"/>
                <a:gd name="connsiteY0" fmla="*/ 0 h 257442"/>
                <a:gd name="connsiteX1" fmla="*/ 3054235 w 3108956"/>
                <a:gd name="connsiteY1" fmla="*/ 257442 h 257442"/>
                <a:gd name="connsiteX2" fmla="*/ 0 w 3108956"/>
                <a:gd name="connsiteY2" fmla="*/ 257442 h 257442"/>
                <a:gd name="connsiteX3" fmla="*/ 54721 w 3108956"/>
                <a:gd name="connsiteY3" fmla="*/ 0 h 257442"/>
                <a:gd name="connsiteX0" fmla="*/ 3108956 w 3108956"/>
                <a:gd name="connsiteY0" fmla="*/ 0 h 257442"/>
                <a:gd name="connsiteX1" fmla="*/ 3054235 w 3108956"/>
                <a:gd name="connsiteY1" fmla="*/ 257442 h 257442"/>
                <a:gd name="connsiteX2" fmla="*/ 0 w 3108956"/>
                <a:gd name="connsiteY2" fmla="*/ 257442 h 257442"/>
                <a:gd name="connsiteX3" fmla="*/ 54721 w 3108956"/>
                <a:gd name="connsiteY3" fmla="*/ 0 h 257442"/>
                <a:gd name="connsiteX0" fmla="*/ 3108956 w 3108956"/>
                <a:gd name="connsiteY0" fmla="*/ 0 h 257442"/>
                <a:gd name="connsiteX1" fmla="*/ 3054235 w 3108956"/>
                <a:gd name="connsiteY1" fmla="*/ 257442 h 257442"/>
                <a:gd name="connsiteX2" fmla="*/ 0 w 3108956"/>
                <a:gd name="connsiteY2" fmla="*/ 257442 h 257442"/>
                <a:gd name="connsiteX3" fmla="*/ 54721 w 3108956"/>
                <a:gd name="connsiteY3" fmla="*/ 0 h 257442"/>
                <a:gd name="connsiteX0" fmla="*/ 950801 w 3054235"/>
                <a:gd name="connsiteY0" fmla="*/ 0 h 257442"/>
                <a:gd name="connsiteX1" fmla="*/ 3054235 w 3054235"/>
                <a:gd name="connsiteY1" fmla="*/ 257442 h 257442"/>
                <a:gd name="connsiteX2" fmla="*/ 0 w 3054235"/>
                <a:gd name="connsiteY2" fmla="*/ 257442 h 257442"/>
                <a:gd name="connsiteX3" fmla="*/ 54721 w 3054235"/>
                <a:gd name="connsiteY3" fmla="*/ 0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1111100 w 1111100"/>
                <a:gd name="connsiteY0" fmla="*/ 0 h 257442"/>
                <a:gd name="connsiteX1" fmla="*/ 896080 w 1111100"/>
                <a:gd name="connsiteY1" fmla="*/ 257442 h 257442"/>
                <a:gd name="connsiteX2" fmla="*/ 0 w 1111100"/>
                <a:gd name="connsiteY2" fmla="*/ 257442 h 257442"/>
                <a:gd name="connsiteX3" fmla="*/ 54720 w 1111100"/>
                <a:gd name="connsiteY3" fmla="*/ 0 h 257442"/>
                <a:gd name="connsiteX0" fmla="*/ 1111100 w 1111100"/>
                <a:gd name="connsiteY0" fmla="*/ 0 h 257442"/>
                <a:gd name="connsiteX1" fmla="*/ 1056379 w 1111100"/>
                <a:gd name="connsiteY1" fmla="*/ 257442 h 257442"/>
                <a:gd name="connsiteX2" fmla="*/ 0 w 1111100"/>
                <a:gd name="connsiteY2" fmla="*/ 257442 h 257442"/>
                <a:gd name="connsiteX3" fmla="*/ 54720 w 1111100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2 w 1111101"/>
                <a:gd name="connsiteY3" fmla="*/ 0 h 257442"/>
                <a:gd name="connsiteX0" fmla="*/ 1297051 w 1297051"/>
                <a:gd name="connsiteY0" fmla="*/ 0 h 257442"/>
                <a:gd name="connsiteX1" fmla="*/ 1056380 w 1297051"/>
                <a:gd name="connsiteY1" fmla="*/ 257442 h 257442"/>
                <a:gd name="connsiteX2" fmla="*/ 0 w 1297051"/>
                <a:gd name="connsiteY2" fmla="*/ 257442 h 257442"/>
                <a:gd name="connsiteX3" fmla="*/ 54722 w 1297051"/>
                <a:gd name="connsiteY3" fmla="*/ 0 h 257442"/>
                <a:gd name="connsiteX0" fmla="*/ 1297051 w 1297051"/>
                <a:gd name="connsiteY0" fmla="*/ 0 h 257442"/>
                <a:gd name="connsiteX1" fmla="*/ 1242330 w 1297051"/>
                <a:gd name="connsiteY1" fmla="*/ 257442 h 257442"/>
                <a:gd name="connsiteX2" fmla="*/ 0 w 1297051"/>
                <a:gd name="connsiteY2" fmla="*/ 257442 h 257442"/>
                <a:gd name="connsiteX3" fmla="*/ 54722 w 1297051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0 w 1297050"/>
                <a:gd name="connsiteY3" fmla="*/ 0 h 257442"/>
                <a:gd name="connsiteX0" fmla="*/ 1474982 w 1474982"/>
                <a:gd name="connsiteY0" fmla="*/ 0 h 257442"/>
                <a:gd name="connsiteX1" fmla="*/ 1242329 w 1474982"/>
                <a:gd name="connsiteY1" fmla="*/ 257442 h 257442"/>
                <a:gd name="connsiteX2" fmla="*/ 0 w 1474982"/>
                <a:gd name="connsiteY2" fmla="*/ 257442 h 257442"/>
                <a:gd name="connsiteX3" fmla="*/ 54720 w 1474982"/>
                <a:gd name="connsiteY3" fmla="*/ 0 h 257442"/>
                <a:gd name="connsiteX0" fmla="*/ 1474982 w 1474982"/>
                <a:gd name="connsiteY0" fmla="*/ 0 h 257442"/>
                <a:gd name="connsiteX1" fmla="*/ 1420261 w 1474982"/>
                <a:gd name="connsiteY1" fmla="*/ 257442 h 257442"/>
                <a:gd name="connsiteX2" fmla="*/ 0 w 1474982"/>
                <a:gd name="connsiteY2" fmla="*/ 257442 h 257442"/>
                <a:gd name="connsiteX3" fmla="*/ 54720 w 1474982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54721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54722 w 1474983"/>
                <a:gd name="connsiteY3" fmla="*/ 0 h 257442"/>
                <a:gd name="connsiteX0" fmla="*/ 1652917 w 1652917"/>
                <a:gd name="connsiteY0" fmla="*/ 0 h 257442"/>
                <a:gd name="connsiteX1" fmla="*/ 1420262 w 1652917"/>
                <a:gd name="connsiteY1" fmla="*/ 257442 h 257442"/>
                <a:gd name="connsiteX2" fmla="*/ 0 w 1652917"/>
                <a:gd name="connsiteY2" fmla="*/ 257442 h 257442"/>
                <a:gd name="connsiteX3" fmla="*/ 54722 w 1652917"/>
                <a:gd name="connsiteY3" fmla="*/ 0 h 257442"/>
                <a:gd name="connsiteX0" fmla="*/ 1652917 w 1652917"/>
                <a:gd name="connsiteY0" fmla="*/ 0 h 257442"/>
                <a:gd name="connsiteX1" fmla="*/ 1598196 w 1652917"/>
                <a:gd name="connsiteY1" fmla="*/ 257442 h 257442"/>
                <a:gd name="connsiteX2" fmla="*/ 0 w 1652917"/>
                <a:gd name="connsiteY2" fmla="*/ 257442 h 257442"/>
                <a:gd name="connsiteX3" fmla="*/ 54722 w 1652917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54721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54720 w 1652916"/>
                <a:gd name="connsiteY3" fmla="*/ 0 h 257442"/>
                <a:gd name="connsiteX0" fmla="*/ 1821230 w 1821230"/>
                <a:gd name="connsiteY0" fmla="*/ 0 h 257442"/>
                <a:gd name="connsiteX1" fmla="*/ 1598195 w 1821230"/>
                <a:gd name="connsiteY1" fmla="*/ 257442 h 257442"/>
                <a:gd name="connsiteX2" fmla="*/ 0 w 1821230"/>
                <a:gd name="connsiteY2" fmla="*/ 257442 h 257442"/>
                <a:gd name="connsiteX3" fmla="*/ 54720 w 1821230"/>
                <a:gd name="connsiteY3" fmla="*/ 0 h 257442"/>
                <a:gd name="connsiteX0" fmla="*/ 1821230 w 1821230"/>
                <a:gd name="connsiteY0" fmla="*/ 0 h 257442"/>
                <a:gd name="connsiteX1" fmla="*/ 1766509 w 1821230"/>
                <a:gd name="connsiteY1" fmla="*/ 257442 h 257442"/>
                <a:gd name="connsiteX2" fmla="*/ 0 w 1821230"/>
                <a:gd name="connsiteY2" fmla="*/ 257442 h 257442"/>
                <a:gd name="connsiteX3" fmla="*/ 54720 w 1821230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54721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54722 w 1821231"/>
                <a:gd name="connsiteY3" fmla="*/ 0 h 257442"/>
                <a:gd name="connsiteX0" fmla="*/ 1989548 w 1989548"/>
                <a:gd name="connsiteY0" fmla="*/ 0 h 257442"/>
                <a:gd name="connsiteX1" fmla="*/ 1766510 w 1989548"/>
                <a:gd name="connsiteY1" fmla="*/ 257442 h 257442"/>
                <a:gd name="connsiteX2" fmla="*/ 0 w 1989548"/>
                <a:gd name="connsiteY2" fmla="*/ 257442 h 257442"/>
                <a:gd name="connsiteX3" fmla="*/ 54722 w 1989548"/>
                <a:gd name="connsiteY3" fmla="*/ 0 h 257442"/>
                <a:gd name="connsiteX0" fmla="*/ 1989548 w 1989548"/>
                <a:gd name="connsiteY0" fmla="*/ 0 h 257442"/>
                <a:gd name="connsiteX1" fmla="*/ 1934826 w 1989548"/>
                <a:gd name="connsiteY1" fmla="*/ 257442 h 257442"/>
                <a:gd name="connsiteX2" fmla="*/ 0 w 1989548"/>
                <a:gd name="connsiteY2" fmla="*/ 257442 h 257442"/>
                <a:gd name="connsiteX3" fmla="*/ 54722 w 1989548"/>
                <a:gd name="connsiteY3" fmla="*/ 0 h 257442"/>
                <a:gd name="connsiteX0" fmla="*/ 1989548 w 1989548"/>
                <a:gd name="connsiteY0" fmla="*/ 0 h 257442"/>
                <a:gd name="connsiteX1" fmla="*/ 1934826 w 1989548"/>
                <a:gd name="connsiteY1" fmla="*/ 257442 h 257442"/>
                <a:gd name="connsiteX2" fmla="*/ 0 w 1989548"/>
                <a:gd name="connsiteY2" fmla="*/ 257442 h 257442"/>
                <a:gd name="connsiteX3" fmla="*/ 54722 w 1989548"/>
                <a:gd name="connsiteY3" fmla="*/ 0 h 257442"/>
                <a:gd name="connsiteX0" fmla="*/ 1989548 w 1989548"/>
                <a:gd name="connsiteY0" fmla="*/ 0 h 257442"/>
                <a:gd name="connsiteX1" fmla="*/ 1934826 w 1989548"/>
                <a:gd name="connsiteY1" fmla="*/ 257442 h 257442"/>
                <a:gd name="connsiteX2" fmla="*/ 0 w 1989548"/>
                <a:gd name="connsiteY2" fmla="*/ 257442 h 257442"/>
                <a:gd name="connsiteX3" fmla="*/ 54721 w 1989548"/>
                <a:gd name="connsiteY3" fmla="*/ 0 h 257442"/>
                <a:gd name="connsiteX0" fmla="*/ 2149847 w 2149847"/>
                <a:gd name="connsiteY0" fmla="*/ 0 h 257442"/>
                <a:gd name="connsiteX1" fmla="*/ 1934826 w 2149847"/>
                <a:gd name="connsiteY1" fmla="*/ 257442 h 257442"/>
                <a:gd name="connsiteX2" fmla="*/ 0 w 2149847"/>
                <a:gd name="connsiteY2" fmla="*/ 257442 h 257442"/>
                <a:gd name="connsiteX3" fmla="*/ 54721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54721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54721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54721 w 2149847"/>
                <a:gd name="connsiteY3" fmla="*/ 0 h 257442"/>
                <a:gd name="connsiteX0" fmla="*/ 2318162 w 2318162"/>
                <a:gd name="connsiteY0" fmla="*/ 0 h 257442"/>
                <a:gd name="connsiteX1" fmla="*/ 2095126 w 2318162"/>
                <a:gd name="connsiteY1" fmla="*/ 257442 h 257442"/>
                <a:gd name="connsiteX2" fmla="*/ 0 w 2318162"/>
                <a:gd name="connsiteY2" fmla="*/ 257442 h 257442"/>
                <a:gd name="connsiteX3" fmla="*/ 54721 w 2318162"/>
                <a:gd name="connsiteY3" fmla="*/ 0 h 257442"/>
                <a:gd name="connsiteX0" fmla="*/ 2318162 w 2318162"/>
                <a:gd name="connsiteY0" fmla="*/ 0 h 257442"/>
                <a:gd name="connsiteX1" fmla="*/ 2263440 w 2318162"/>
                <a:gd name="connsiteY1" fmla="*/ 257442 h 257442"/>
                <a:gd name="connsiteX2" fmla="*/ 0 w 2318162"/>
                <a:gd name="connsiteY2" fmla="*/ 257442 h 257442"/>
                <a:gd name="connsiteX3" fmla="*/ 54721 w 2318162"/>
                <a:gd name="connsiteY3" fmla="*/ 0 h 257442"/>
                <a:gd name="connsiteX0" fmla="*/ 2318163 w 2318163"/>
                <a:gd name="connsiteY0" fmla="*/ 0 h 257442"/>
                <a:gd name="connsiteX1" fmla="*/ 2263441 w 2318163"/>
                <a:gd name="connsiteY1" fmla="*/ 257442 h 257442"/>
                <a:gd name="connsiteX2" fmla="*/ 0 w 2318163"/>
                <a:gd name="connsiteY2" fmla="*/ 257442 h 257442"/>
                <a:gd name="connsiteX3" fmla="*/ 54722 w 2318163"/>
                <a:gd name="connsiteY3" fmla="*/ 0 h 257442"/>
                <a:gd name="connsiteX0" fmla="*/ 2318163 w 2318163"/>
                <a:gd name="connsiteY0" fmla="*/ 0 h 257442"/>
                <a:gd name="connsiteX1" fmla="*/ 2263441 w 2318163"/>
                <a:gd name="connsiteY1" fmla="*/ 257442 h 257442"/>
                <a:gd name="connsiteX2" fmla="*/ 0 w 2318163"/>
                <a:gd name="connsiteY2" fmla="*/ 257442 h 257442"/>
                <a:gd name="connsiteX3" fmla="*/ 54722 w 2318163"/>
                <a:gd name="connsiteY3" fmla="*/ 0 h 257442"/>
                <a:gd name="connsiteX0" fmla="*/ 2587468 w 2587468"/>
                <a:gd name="connsiteY0" fmla="*/ 0 h 257442"/>
                <a:gd name="connsiteX1" fmla="*/ 2263441 w 2587468"/>
                <a:gd name="connsiteY1" fmla="*/ 257442 h 257442"/>
                <a:gd name="connsiteX2" fmla="*/ 0 w 2587468"/>
                <a:gd name="connsiteY2" fmla="*/ 257442 h 257442"/>
                <a:gd name="connsiteX3" fmla="*/ 54722 w 2587468"/>
                <a:gd name="connsiteY3" fmla="*/ 0 h 257442"/>
                <a:gd name="connsiteX0" fmla="*/ 2587468 w 2587468"/>
                <a:gd name="connsiteY0" fmla="*/ 0 h 257442"/>
                <a:gd name="connsiteX1" fmla="*/ 2532746 w 2587468"/>
                <a:gd name="connsiteY1" fmla="*/ 257442 h 257442"/>
                <a:gd name="connsiteX2" fmla="*/ 0 w 2587468"/>
                <a:gd name="connsiteY2" fmla="*/ 257442 h 257442"/>
                <a:gd name="connsiteX3" fmla="*/ 54722 w 2587468"/>
                <a:gd name="connsiteY3" fmla="*/ 0 h 257442"/>
                <a:gd name="connsiteX0" fmla="*/ 2587468 w 2587468"/>
                <a:gd name="connsiteY0" fmla="*/ 0 h 257442"/>
                <a:gd name="connsiteX1" fmla="*/ 2532746 w 2587468"/>
                <a:gd name="connsiteY1" fmla="*/ 257442 h 257442"/>
                <a:gd name="connsiteX2" fmla="*/ 0 w 2587468"/>
                <a:gd name="connsiteY2" fmla="*/ 257442 h 257442"/>
                <a:gd name="connsiteX3" fmla="*/ 54722 w 2587468"/>
                <a:gd name="connsiteY3" fmla="*/ 0 h 257442"/>
                <a:gd name="connsiteX0" fmla="*/ 2587468 w 2587468"/>
                <a:gd name="connsiteY0" fmla="*/ 0 h 257442"/>
                <a:gd name="connsiteX1" fmla="*/ 2532746 w 2587468"/>
                <a:gd name="connsiteY1" fmla="*/ 257442 h 257442"/>
                <a:gd name="connsiteX2" fmla="*/ 0 w 2587468"/>
                <a:gd name="connsiteY2" fmla="*/ 257442 h 257442"/>
                <a:gd name="connsiteX3" fmla="*/ 54721 w 2587468"/>
                <a:gd name="connsiteY3" fmla="*/ 0 h 257442"/>
                <a:gd name="connsiteX0" fmla="*/ 2747767 w 2747767"/>
                <a:gd name="connsiteY0" fmla="*/ 0 h 257442"/>
                <a:gd name="connsiteX1" fmla="*/ 2532746 w 2747767"/>
                <a:gd name="connsiteY1" fmla="*/ 257442 h 257442"/>
                <a:gd name="connsiteX2" fmla="*/ 0 w 2747767"/>
                <a:gd name="connsiteY2" fmla="*/ 257442 h 257442"/>
                <a:gd name="connsiteX3" fmla="*/ 54721 w 2747767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0 w 2747767"/>
                <a:gd name="connsiteY2" fmla="*/ 257442 h 257442"/>
                <a:gd name="connsiteX3" fmla="*/ 54721 w 2747767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0 w 2747767"/>
                <a:gd name="connsiteY2" fmla="*/ 257442 h 257442"/>
                <a:gd name="connsiteX3" fmla="*/ 54721 w 2747767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0 w 2747767"/>
                <a:gd name="connsiteY2" fmla="*/ 257442 h 257442"/>
                <a:gd name="connsiteX3" fmla="*/ 54721 w 2747767"/>
                <a:gd name="connsiteY3" fmla="*/ 0 h 257442"/>
                <a:gd name="connsiteX0" fmla="*/ 942786 w 2693046"/>
                <a:gd name="connsiteY0" fmla="*/ 0 h 257442"/>
                <a:gd name="connsiteX1" fmla="*/ 2693046 w 2693046"/>
                <a:gd name="connsiteY1" fmla="*/ 257442 h 257442"/>
                <a:gd name="connsiteX2" fmla="*/ 0 w 2693046"/>
                <a:gd name="connsiteY2" fmla="*/ 257442 h 257442"/>
                <a:gd name="connsiteX3" fmla="*/ 54721 w 269304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1111101 w 1111101"/>
                <a:gd name="connsiteY0" fmla="*/ 0 h 257442"/>
                <a:gd name="connsiteX1" fmla="*/ 888065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289034 w 1289034"/>
                <a:gd name="connsiteY0" fmla="*/ 0 h 257442"/>
                <a:gd name="connsiteX1" fmla="*/ 1056380 w 1289034"/>
                <a:gd name="connsiteY1" fmla="*/ 257442 h 257442"/>
                <a:gd name="connsiteX2" fmla="*/ 0 w 1289034"/>
                <a:gd name="connsiteY2" fmla="*/ 257442 h 257442"/>
                <a:gd name="connsiteX3" fmla="*/ 54721 w 1289034"/>
                <a:gd name="connsiteY3" fmla="*/ 0 h 257442"/>
                <a:gd name="connsiteX0" fmla="*/ 1289034 w 1289034"/>
                <a:gd name="connsiteY0" fmla="*/ 0 h 257442"/>
                <a:gd name="connsiteX1" fmla="*/ 1234312 w 1289034"/>
                <a:gd name="connsiteY1" fmla="*/ 257442 h 257442"/>
                <a:gd name="connsiteX2" fmla="*/ 0 w 1289034"/>
                <a:gd name="connsiteY2" fmla="*/ 257442 h 257442"/>
                <a:gd name="connsiteX3" fmla="*/ 54721 w 1289034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54722 w 1289035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54722 w 1289035"/>
                <a:gd name="connsiteY3" fmla="*/ 0 h 257442"/>
                <a:gd name="connsiteX0" fmla="*/ 1457351 w 1457351"/>
                <a:gd name="connsiteY0" fmla="*/ 0 h 257442"/>
                <a:gd name="connsiteX1" fmla="*/ 1234313 w 1457351"/>
                <a:gd name="connsiteY1" fmla="*/ 257442 h 257442"/>
                <a:gd name="connsiteX2" fmla="*/ 0 w 1457351"/>
                <a:gd name="connsiteY2" fmla="*/ 257442 h 257442"/>
                <a:gd name="connsiteX3" fmla="*/ 54722 w 1457351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0 w 1457351"/>
                <a:gd name="connsiteY2" fmla="*/ 257442 h 257442"/>
                <a:gd name="connsiteX3" fmla="*/ 54722 w 1457351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0 w 1457350"/>
                <a:gd name="connsiteY3" fmla="*/ 0 h 257442"/>
                <a:gd name="connsiteX0" fmla="*/ 1635282 w 1635282"/>
                <a:gd name="connsiteY0" fmla="*/ 0 h 257442"/>
                <a:gd name="connsiteX1" fmla="*/ 1402629 w 1635282"/>
                <a:gd name="connsiteY1" fmla="*/ 257442 h 257442"/>
                <a:gd name="connsiteX2" fmla="*/ 0 w 1635282"/>
                <a:gd name="connsiteY2" fmla="*/ 257442 h 257442"/>
                <a:gd name="connsiteX3" fmla="*/ 54720 w 1635282"/>
                <a:gd name="connsiteY3" fmla="*/ 0 h 257442"/>
                <a:gd name="connsiteX0" fmla="*/ 1635282 w 1635282"/>
                <a:gd name="connsiteY0" fmla="*/ 0 h 257442"/>
                <a:gd name="connsiteX1" fmla="*/ 1580561 w 1635282"/>
                <a:gd name="connsiteY1" fmla="*/ 257442 h 257442"/>
                <a:gd name="connsiteX2" fmla="*/ 0 w 1635282"/>
                <a:gd name="connsiteY2" fmla="*/ 257442 h 257442"/>
                <a:gd name="connsiteX3" fmla="*/ 54720 w 1635282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54721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54722 w 1635283"/>
                <a:gd name="connsiteY3" fmla="*/ 0 h 257442"/>
                <a:gd name="connsiteX0" fmla="*/ 1795584 w 1795584"/>
                <a:gd name="connsiteY0" fmla="*/ 0 h 257442"/>
                <a:gd name="connsiteX1" fmla="*/ 1580562 w 1795584"/>
                <a:gd name="connsiteY1" fmla="*/ 257442 h 257442"/>
                <a:gd name="connsiteX2" fmla="*/ 0 w 1795584"/>
                <a:gd name="connsiteY2" fmla="*/ 257442 h 257442"/>
                <a:gd name="connsiteX3" fmla="*/ 54722 w 1795584"/>
                <a:gd name="connsiteY3" fmla="*/ 0 h 257442"/>
                <a:gd name="connsiteX0" fmla="*/ 1795584 w 1795584"/>
                <a:gd name="connsiteY0" fmla="*/ 0 h 257442"/>
                <a:gd name="connsiteX1" fmla="*/ 1740862 w 1795584"/>
                <a:gd name="connsiteY1" fmla="*/ 257442 h 257442"/>
                <a:gd name="connsiteX2" fmla="*/ 0 w 1795584"/>
                <a:gd name="connsiteY2" fmla="*/ 257442 h 257442"/>
                <a:gd name="connsiteX3" fmla="*/ 54722 w 1795584"/>
                <a:gd name="connsiteY3" fmla="*/ 0 h 257442"/>
                <a:gd name="connsiteX0" fmla="*/ 1795584 w 1795584"/>
                <a:gd name="connsiteY0" fmla="*/ 0 h 257442"/>
                <a:gd name="connsiteX1" fmla="*/ 1740862 w 1795584"/>
                <a:gd name="connsiteY1" fmla="*/ 257442 h 257442"/>
                <a:gd name="connsiteX2" fmla="*/ 0 w 1795584"/>
                <a:gd name="connsiteY2" fmla="*/ 257442 h 257442"/>
                <a:gd name="connsiteX3" fmla="*/ 54722 w 1795584"/>
                <a:gd name="connsiteY3" fmla="*/ 0 h 257442"/>
                <a:gd name="connsiteX0" fmla="*/ 1795584 w 1795584"/>
                <a:gd name="connsiteY0" fmla="*/ 0 h 257442"/>
                <a:gd name="connsiteX1" fmla="*/ 1740862 w 1795584"/>
                <a:gd name="connsiteY1" fmla="*/ 257442 h 257442"/>
                <a:gd name="connsiteX2" fmla="*/ 0 w 1795584"/>
                <a:gd name="connsiteY2" fmla="*/ 257442 h 257442"/>
                <a:gd name="connsiteX3" fmla="*/ 54721 w 1795584"/>
                <a:gd name="connsiteY3" fmla="*/ 0 h 257442"/>
                <a:gd name="connsiteX0" fmla="*/ 1981532 w 1981532"/>
                <a:gd name="connsiteY0" fmla="*/ 0 h 257442"/>
                <a:gd name="connsiteX1" fmla="*/ 1740862 w 1981532"/>
                <a:gd name="connsiteY1" fmla="*/ 257442 h 257442"/>
                <a:gd name="connsiteX2" fmla="*/ 0 w 1981532"/>
                <a:gd name="connsiteY2" fmla="*/ 257442 h 257442"/>
                <a:gd name="connsiteX3" fmla="*/ 54721 w 1981532"/>
                <a:gd name="connsiteY3" fmla="*/ 0 h 257442"/>
                <a:gd name="connsiteX0" fmla="*/ 1981532 w 1981532"/>
                <a:gd name="connsiteY0" fmla="*/ 0 h 257442"/>
                <a:gd name="connsiteX1" fmla="*/ 1926811 w 1981532"/>
                <a:gd name="connsiteY1" fmla="*/ 257442 h 257442"/>
                <a:gd name="connsiteX2" fmla="*/ 0 w 1981532"/>
                <a:gd name="connsiteY2" fmla="*/ 257442 h 257442"/>
                <a:gd name="connsiteX3" fmla="*/ 54721 w 1981532"/>
                <a:gd name="connsiteY3" fmla="*/ 0 h 257442"/>
                <a:gd name="connsiteX0" fmla="*/ 1981532 w 1981532"/>
                <a:gd name="connsiteY0" fmla="*/ 0 h 257442"/>
                <a:gd name="connsiteX1" fmla="*/ 1926811 w 1981532"/>
                <a:gd name="connsiteY1" fmla="*/ 257442 h 257442"/>
                <a:gd name="connsiteX2" fmla="*/ 0 w 1981532"/>
                <a:gd name="connsiteY2" fmla="*/ 257442 h 257442"/>
                <a:gd name="connsiteX3" fmla="*/ 54721 w 1981532"/>
                <a:gd name="connsiteY3" fmla="*/ 0 h 257442"/>
                <a:gd name="connsiteX0" fmla="*/ 1981532 w 1981532"/>
                <a:gd name="connsiteY0" fmla="*/ 0 h 257442"/>
                <a:gd name="connsiteX1" fmla="*/ 1926811 w 1981532"/>
                <a:gd name="connsiteY1" fmla="*/ 257442 h 257442"/>
                <a:gd name="connsiteX2" fmla="*/ 0 w 1981532"/>
                <a:gd name="connsiteY2" fmla="*/ 257442 h 257442"/>
                <a:gd name="connsiteX3" fmla="*/ 54721 w 1981532"/>
                <a:gd name="connsiteY3" fmla="*/ 0 h 257442"/>
                <a:gd name="connsiteX0" fmla="*/ 2141832 w 2141832"/>
                <a:gd name="connsiteY0" fmla="*/ 0 h 257442"/>
                <a:gd name="connsiteX1" fmla="*/ 1926811 w 2141832"/>
                <a:gd name="connsiteY1" fmla="*/ 257442 h 257442"/>
                <a:gd name="connsiteX2" fmla="*/ 0 w 2141832"/>
                <a:gd name="connsiteY2" fmla="*/ 257442 h 257442"/>
                <a:gd name="connsiteX3" fmla="*/ 54721 w 2141832"/>
                <a:gd name="connsiteY3" fmla="*/ 0 h 257442"/>
                <a:gd name="connsiteX0" fmla="*/ 2141832 w 2141832"/>
                <a:gd name="connsiteY0" fmla="*/ 0 h 257442"/>
                <a:gd name="connsiteX1" fmla="*/ 2087111 w 2141832"/>
                <a:gd name="connsiteY1" fmla="*/ 257442 h 257442"/>
                <a:gd name="connsiteX2" fmla="*/ 0 w 2141832"/>
                <a:gd name="connsiteY2" fmla="*/ 257442 h 257442"/>
                <a:gd name="connsiteX3" fmla="*/ 54721 w 2141832"/>
                <a:gd name="connsiteY3" fmla="*/ 0 h 257442"/>
                <a:gd name="connsiteX0" fmla="*/ 2141832 w 2141832"/>
                <a:gd name="connsiteY0" fmla="*/ 0 h 257442"/>
                <a:gd name="connsiteX1" fmla="*/ 2087111 w 2141832"/>
                <a:gd name="connsiteY1" fmla="*/ 257442 h 257442"/>
                <a:gd name="connsiteX2" fmla="*/ 0 w 2141832"/>
                <a:gd name="connsiteY2" fmla="*/ 257442 h 257442"/>
                <a:gd name="connsiteX3" fmla="*/ 54721 w 2141832"/>
                <a:gd name="connsiteY3" fmla="*/ 0 h 257442"/>
                <a:gd name="connsiteX0" fmla="*/ 2141832 w 2141832"/>
                <a:gd name="connsiteY0" fmla="*/ 0 h 257442"/>
                <a:gd name="connsiteX1" fmla="*/ 2087111 w 2141832"/>
                <a:gd name="connsiteY1" fmla="*/ 257442 h 257442"/>
                <a:gd name="connsiteX2" fmla="*/ 0 w 2141832"/>
                <a:gd name="connsiteY2" fmla="*/ 257442 h 257442"/>
                <a:gd name="connsiteX3" fmla="*/ 54721 w 2141832"/>
                <a:gd name="connsiteY3" fmla="*/ 0 h 257442"/>
                <a:gd name="connsiteX0" fmla="*/ 2310148 w 2310148"/>
                <a:gd name="connsiteY0" fmla="*/ 0 h 257442"/>
                <a:gd name="connsiteX1" fmla="*/ 2087111 w 2310148"/>
                <a:gd name="connsiteY1" fmla="*/ 257442 h 257442"/>
                <a:gd name="connsiteX2" fmla="*/ 0 w 2310148"/>
                <a:gd name="connsiteY2" fmla="*/ 257442 h 257442"/>
                <a:gd name="connsiteX3" fmla="*/ 54721 w 2310148"/>
                <a:gd name="connsiteY3" fmla="*/ 0 h 257442"/>
                <a:gd name="connsiteX0" fmla="*/ 2310148 w 2310148"/>
                <a:gd name="connsiteY0" fmla="*/ 0 h 257442"/>
                <a:gd name="connsiteX1" fmla="*/ 2255427 w 2310148"/>
                <a:gd name="connsiteY1" fmla="*/ 257442 h 257442"/>
                <a:gd name="connsiteX2" fmla="*/ 0 w 2310148"/>
                <a:gd name="connsiteY2" fmla="*/ 257442 h 257442"/>
                <a:gd name="connsiteX3" fmla="*/ 54721 w 2310148"/>
                <a:gd name="connsiteY3" fmla="*/ 0 h 257442"/>
                <a:gd name="connsiteX0" fmla="*/ 2310148 w 2310148"/>
                <a:gd name="connsiteY0" fmla="*/ 0 h 257442"/>
                <a:gd name="connsiteX1" fmla="*/ 2255427 w 2310148"/>
                <a:gd name="connsiteY1" fmla="*/ 257442 h 257442"/>
                <a:gd name="connsiteX2" fmla="*/ 0 w 2310148"/>
                <a:gd name="connsiteY2" fmla="*/ 257442 h 257442"/>
                <a:gd name="connsiteX3" fmla="*/ 54721 w 2310148"/>
                <a:gd name="connsiteY3" fmla="*/ 0 h 257442"/>
                <a:gd name="connsiteX0" fmla="*/ 2310148 w 2310148"/>
                <a:gd name="connsiteY0" fmla="*/ 0 h 257442"/>
                <a:gd name="connsiteX1" fmla="*/ 2255427 w 2310148"/>
                <a:gd name="connsiteY1" fmla="*/ 257442 h 257442"/>
                <a:gd name="connsiteX2" fmla="*/ 0 w 2310148"/>
                <a:gd name="connsiteY2" fmla="*/ 257442 h 257442"/>
                <a:gd name="connsiteX3" fmla="*/ 54721 w 2310148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0148" h="257442">
                  <a:moveTo>
                    <a:pt x="2310148" y="0"/>
                  </a:moveTo>
                  <a:lnTo>
                    <a:pt x="2255427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26" name="btfpRunningAgenda2LevelTextRight462810">
              <a:extLst>
                <a:ext uri="{FF2B5EF4-FFF2-40B4-BE49-F238E27FC236}">
                  <a16:creationId xmlns:a16="http://schemas.microsoft.com/office/drawing/2014/main" id="{58C598B0-1103-3998-88BE-2F42FDDF2168}"/>
                </a:ext>
              </a:extLst>
            </p:cNvPr>
            <p:cNvSpPr txBox="1"/>
            <p:nvPr/>
          </p:nvSpPr>
          <p:spPr bwMode="gray">
            <a:xfrm>
              <a:off x="2351636" y="876300"/>
              <a:ext cx="2407711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>
                  <a:solidFill>
                    <a:srgbClr val="FFFFFF"/>
                  </a:solidFill>
                </a:rPr>
                <a:t>engagement</a:t>
              </a:r>
            </a:p>
          </p:txBody>
        </p:sp>
      </p:grpSp>
      <p:grpSp>
        <p:nvGrpSpPr>
          <p:cNvPr id="89" name="btfpStatusSticker686227">
            <a:extLst>
              <a:ext uri="{FF2B5EF4-FFF2-40B4-BE49-F238E27FC236}">
                <a16:creationId xmlns:a16="http://schemas.microsoft.com/office/drawing/2014/main" id="{83D50EFA-3255-3B16-4439-F66BB43FDFB4}"/>
              </a:ext>
            </a:extLst>
          </p:cNvPr>
          <p:cNvGrpSpPr/>
          <p:nvPr>
            <p:custDataLst>
              <p:tags r:id="rId10"/>
            </p:custDataLst>
          </p:nvPr>
        </p:nvGrpSpPr>
        <p:grpSpPr>
          <a:xfrm>
            <a:off x="10138846" y="956321"/>
            <a:ext cx="1759136" cy="235611"/>
            <a:chOff x="8626959" y="955344"/>
            <a:chExt cx="1759136" cy="235611"/>
          </a:xfrm>
        </p:grpSpPr>
        <p:sp>
          <p:nvSpPr>
            <p:cNvPr id="90" name="btfpStatusStickerText686227">
              <a:extLst>
                <a:ext uri="{FF2B5EF4-FFF2-40B4-BE49-F238E27FC236}">
                  <a16:creationId xmlns:a16="http://schemas.microsoft.com/office/drawing/2014/main" id="{1EF5FA57-6083-EF98-276F-16D9AD8F4A44}"/>
                </a:ext>
              </a:extLst>
            </p:cNvPr>
            <p:cNvSpPr txBox="1"/>
            <p:nvPr/>
          </p:nvSpPr>
          <p:spPr bwMode="gray">
            <a:xfrm>
              <a:off x="8626959" y="955344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ct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91" name="btfpStatusStickerLine686227">
              <a:extLst>
                <a:ext uri="{FF2B5EF4-FFF2-40B4-BE49-F238E27FC236}">
                  <a16:creationId xmlns:a16="http://schemas.microsoft.com/office/drawing/2014/main" id="{A2911DD7-5D12-C8B9-E0AD-CC9E88412A91}"/>
                </a:ext>
              </a:extLst>
            </p:cNvPr>
            <p:cNvCxnSpPr/>
            <p:nvPr/>
          </p:nvCxnSpPr>
          <p:spPr bwMode="gray">
            <a:xfrm rot="720000">
              <a:off x="8626959" y="955344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btfpNotesBox735198">
            <a:extLst>
              <a:ext uri="{FF2B5EF4-FFF2-40B4-BE49-F238E27FC236}">
                <a16:creationId xmlns:a16="http://schemas.microsoft.com/office/drawing/2014/main" id="{2CF1C8A5-6A00-66D5-992D-AD02E642ED83}"/>
              </a:ext>
            </a:extLst>
          </p:cNvPr>
          <p:cNvSpPr txBox="1"/>
          <p:nvPr>
            <p:custDataLst>
              <p:tags r:id="rId11"/>
            </p:custDataLst>
          </p:nvPr>
        </p:nvSpPr>
        <p:spPr bwMode="gray">
          <a:xfrm>
            <a:off x="330200" y="6341860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/>
              <a:t>Note: LTM is Apr’24-Mar’25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/>
              <a:t>Source: </a:t>
            </a:r>
            <a:r>
              <a:rPr lang="en-US" sz="800" err="1"/>
              <a:t>SimilarWeb</a:t>
            </a:r>
            <a:endParaRPr lang="en-US" sz="80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F0B5BEB-56D4-075D-87FB-47D2FBDC4A63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38" y="946635"/>
            <a:ext cx="252287" cy="25157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279757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71AC1FE8-4BDC-BCA6-4D1D-3C49D97006E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7184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04" imgH="405" progId="TCLayout.ActiveDocument.1">
                  <p:embed/>
                </p:oleObj>
              </mc:Choice>
              <mc:Fallback>
                <p:oleObj name="think-cell Slide" r:id="rId10" imgW="404" imgH="40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AC1FE8-4BDC-BCA6-4D1D-3C49D9700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0" name="btfpColumnIndicatorGroup2">
            <a:extLst>
              <a:ext uri="{FF2B5EF4-FFF2-40B4-BE49-F238E27FC236}">
                <a16:creationId xmlns:a16="http://schemas.microsoft.com/office/drawing/2014/main" id="{368293DA-B4CB-7323-7ACE-D03F0F5B6939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7" name="btfpColumnGapBlocker149446">
              <a:extLst>
                <a:ext uri="{FF2B5EF4-FFF2-40B4-BE49-F238E27FC236}">
                  <a16:creationId xmlns:a16="http://schemas.microsoft.com/office/drawing/2014/main" id="{37709E64-DEB9-54D1-1DEF-340FA080A4DF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3" name="btfpColumnGapBlocker623310">
              <a:extLst>
                <a:ext uri="{FF2B5EF4-FFF2-40B4-BE49-F238E27FC236}">
                  <a16:creationId xmlns:a16="http://schemas.microsoft.com/office/drawing/2014/main" id="{B78D093B-E063-8236-5EBB-C306350FF88E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753187">
              <a:extLst>
                <a:ext uri="{FF2B5EF4-FFF2-40B4-BE49-F238E27FC236}">
                  <a16:creationId xmlns:a16="http://schemas.microsoft.com/office/drawing/2014/main" id="{7C90A7B5-2F40-407C-683C-B8DA734746E6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506682">
              <a:extLst>
                <a:ext uri="{FF2B5EF4-FFF2-40B4-BE49-F238E27FC236}">
                  <a16:creationId xmlns:a16="http://schemas.microsoft.com/office/drawing/2014/main" id="{F4EA3044-1F3B-F4B4-970E-5FF59A0685CD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btfpColumnIndicatorGroup1">
            <a:extLst>
              <a:ext uri="{FF2B5EF4-FFF2-40B4-BE49-F238E27FC236}">
                <a16:creationId xmlns:a16="http://schemas.microsoft.com/office/drawing/2014/main" id="{BE1A7A45-867F-4AEA-7980-885423944A73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4" name="btfpColumnGapBlocker448246">
              <a:extLst>
                <a:ext uri="{FF2B5EF4-FFF2-40B4-BE49-F238E27FC236}">
                  <a16:creationId xmlns:a16="http://schemas.microsoft.com/office/drawing/2014/main" id="{42A8AD9B-A4B3-1DED-A720-C5C417D6938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1" name="btfpColumnGapBlocker755942">
              <a:extLst>
                <a:ext uri="{FF2B5EF4-FFF2-40B4-BE49-F238E27FC236}">
                  <a16:creationId xmlns:a16="http://schemas.microsoft.com/office/drawing/2014/main" id="{EB3BCC2A-9D3B-BCFE-4F2F-991756F9ABCA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" name="btfpColumnIndicator984135">
              <a:extLst>
                <a:ext uri="{FF2B5EF4-FFF2-40B4-BE49-F238E27FC236}">
                  <a16:creationId xmlns:a16="http://schemas.microsoft.com/office/drawing/2014/main" id="{C73097C8-14F5-67C2-19BE-F1334606BDC6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" name="btfpColumnIndicator149803">
              <a:extLst>
                <a:ext uri="{FF2B5EF4-FFF2-40B4-BE49-F238E27FC236}">
                  <a16:creationId xmlns:a16="http://schemas.microsoft.com/office/drawing/2014/main" id="{3873EC60-ED2C-A47A-6C46-62E0B58E1F3F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C028B21C-115E-D5E0-647E-010AA1F579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9855145"/>
              </p:ext>
            </p:extLst>
          </p:nvPr>
        </p:nvGraphicFramePr>
        <p:xfrm>
          <a:off x="828433" y="1506078"/>
          <a:ext cx="11033370" cy="4680524"/>
        </p:xfrm>
        <a:graphic>
          <a:graphicData uri="http://schemas.openxmlformats.org/drawingml/2006/table">
            <a:tbl>
              <a:tblPr/>
              <a:tblGrid>
                <a:gridCol w="1252850">
                  <a:extLst>
                    <a:ext uri="{9D8B030D-6E8A-4147-A177-3AD203B41FA5}">
                      <a16:colId xmlns:a16="http://schemas.microsoft.com/office/drawing/2014/main" val="2684986347"/>
                    </a:ext>
                  </a:extLst>
                </a:gridCol>
                <a:gridCol w="1222565">
                  <a:extLst>
                    <a:ext uri="{9D8B030D-6E8A-4147-A177-3AD203B41FA5}">
                      <a16:colId xmlns:a16="http://schemas.microsoft.com/office/drawing/2014/main" val="13701569"/>
                    </a:ext>
                  </a:extLst>
                </a:gridCol>
                <a:gridCol w="1222565">
                  <a:extLst>
                    <a:ext uri="{9D8B030D-6E8A-4147-A177-3AD203B41FA5}">
                      <a16:colId xmlns:a16="http://schemas.microsoft.com/office/drawing/2014/main" val="268035706"/>
                    </a:ext>
                  </a:extLst>
                </a:gridCol>
                <a:gridCol w="1222565">
                  <a:extLst>
                    <a:ext uri="{9D8B030D-6E8A-4147-A177-3AD203B41FA5}">
                      <a16:colId xmlns:a16="http://schemas.microsoft.com/office/drawing/2014/main" val="1562870298"/>
                    </a:ext>
                  </a:extLst>
                </a:gridCol>
                <a:gridCol w="1222565">
                  <a:extLst>
                    <a:ext uri="{9D8B030D-6E8A-4147-A177-3AD203B41FA5}">
                      <a16:colId xmlns:a16="http://schemas.microsoft.com/office/drawing/2014/main" val="1801828103"/>
                    </a:ext>
                  </a:extLst>
                </a:gridCol>
                <a:gridCol w="1222565">
                  <a:extLst>
                    <a:ext uri="{9D8B030D-6E8A-4147-A177-3AD203B41FA5}">
                      <a16:colId xmlns:a16="http://schemas.microsoft.com/office/drawing/2014/main" val="2998309804"/>
                    </a:ext>
                  </a:extLst>
                </a:gridCol>
                <a:gridCol w="1222565">
                  <a:extLst>
                    <a:ext uri="{9D8B030D-6E8A-4147-A177-3AD203B41FA5}">
                      <a16:colId xmlns:a16="http://schemas.microsoft.com/office/drawing/2014/main" val="1978475672"/>
                    </a:ext>
                  </a:extLst>
                </a:gridCol>
                <a:gridCol w="1222565">
                  <a:extLst>
                    <a:ext uri="{9D8B030D-6E8A-4147-A177-3AD203B41FA5}">
                      <a16:colId xmlns:a16="http://schemas.microsoft.com/office/drawing/2014/main" val="4161147581"/>
                    </a:ext>
                  </a:extLst>
                </a:gridCol>
                <a:gridCol w="1222565">
                  <a:extLst>
                    <a:ext uri="{9D8B030D-6E8A-4147-A177-3AD203B41FA5}">
                      <a16:colId xmlns:a16="http://schemas.microsoft.com/office/drawing/2014/main" val="1917863902"/>
                    </a:ext>
                  </a:extLst>
                </a:gridCol>
              </a:tblGrid>
              <a:tr h="482897"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9681183"/>
                  </a:ext>
                </a:extLst>
              </a:tr>
              <a:tr h="533811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11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1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1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1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1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1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1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1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1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39669909"/>
                  </a:ext>
                </a:extLst>
              </a:tr>
              <a:tr h="457977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9110513"/>
                  </a:ext>
                </a:extLst>
              </a:tr>
              <a:tr h="457977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0338622"/>
                  </a:ext>
                </a:extLst>
              </a:tr>
              <a:tr h="457977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1489307"/>
                  </a:ext>
                </a:extLst>
              </a:tr>
              <a:tr h="457977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6947469"/>
                  </a:ext>
                </a:extLst>
              </a:tr>
              <a:tr h="457977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5999302"/>
                  </a:ext>
                </a:extLst>
              </a:tr>
              <a:tr h="457977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3019452"/>
                  </a:ext>
                </a:extLst>
              </a:tr>
              <a:tr h="457977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4882937"/>
                  </a:ext>
                </a:extLst>
              </a:tr>
              <a:tr h="457977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0199174"/>
                  </a:ext>
                </a:extLst>
              </a:tr>
            </a:tbl>
          </a:graphicData>
        </a:graphic>
      </p:graphicFrame>
      <p:sp>
        <p:nvSpPr>
          <p:cNvPr id="87" name="btfpNotesBox868802">
            <a:extLst>
              <a:ext uri="{FF2B5EF4-FFF2-40B4-BE49-F238E27FC236}">
                <a16:creationId xmlns:a16="http://schemas.microsoft.com/office/drawing/2014/main" id="{4C9B30AA-74DF-4272-A433-D579CD586994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200" y="633696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/>
              <a:t>Note: Based on desktop data only; Average %s over LTM (Apr’24 – Mar’25); Website visitors for Sunland, Georgia paving, Atlantic Southern and Let’s pave had 0% overlap with all other players,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/>
              <a:t>hence not shown on the slide | Source: </a:t>
            </a:r>
            <a:r>
              <a:rPr lang="en-US" sz="800" err="1"/>
              <a:t>SimilarWeb</a:t>
            </a:r>
            <a:endParaRPr lang="en-US" sz="800"/>
          </a:p>
        </p:txBody>
      </p:sp>
      <p:grpSp>
        <p:nvGrpSpPr>
          <p:cNvPr id="89" name="btfpStatusSticker670262">
            <a:extLst>
              <a:ext uri="{FF2B5EF4-FFF2-40B4-BE49-F238E27FC236}">
                <a16:creationId xmlns:a16="http://schemas.microsoft.com/office/drawing/2014/main" id="{F8FB72EB-7710-4FE3-8C0D-1748097CD7EB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102664" y="955344"/>
            <a:ext cx="1759136" cy="235611"/>
            <a:chOff x="-2269853" y="876300"/>
            <a:chExt cx="1759136" cy="235611"/>
          </a:xfrm>
        </p:grpSpPr>
        <p:sp>
          <p:nvSpPr>
            <p:cNvPr id="90" name="btfpStatusStickerText670262">
              <a:extLst>
                <a:ext uri="{FF2B5EF4-FFF2-40B4-BE49-F238E27FC236}">
                  <a16:creationId xmlns:a16="http://schemas.microsoft.com/office/drawing/2014/main" id="{0FBF613D-8F2F-4870-912F-47BFEFC72B09}"/>
                </a:ext>
              </a:extLst>
            </p:cNvPr>
            <p:cNvSpPr txBox="1"/>
            <p:nvPr/>
          </p:nvSpPr>
          <p:spPr bwMode="gray">
            <a:xfrm>
              <a:off x="-2269853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91" name="btfpStatusStickerLine670262">
              <a:extLst>
                <a:ext uri="{FF2B5EF4-FFF2-40B4-BE49-F238E27FC236}">
                  <a16:creationId xmlns:a16="http://schemas.microsoft.com/office/drawing/2014/main" id="{B3353619-866D-41DE-BBD8-E1215459137E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69853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Title 1">
            <a:extLst>
              <a:ext uri="{FF2B5EF4-FFF2-40B4-BE49-F238E27FC236}">
                <a16:creationId xmlns:a16="http://schemas.microsoft.com/office/drawing/2014/main" id="{AE061BBC-D039-4A2F-8088-A54FB56D3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12" y="1"/>
            <a:ext cx="11715309" cy="876687"/>
          </a:xfrm>
        </p:spPr>
        <p:txBody>
          <a:bodyPr vert="horz"/>
          <a:lstStyle/>
          <a:p>
            <a:r>
              <a:rPr lang="en-US" b="1"/>
              <a:t>Cross-Purchase</a:t>
            </a:r>
            <a:r>
              <a:rPr lang="en-US"/>
              <a:t>: </a:t>
            </a:r>
            <a:r>
              <a:rPr lang="en-US" sz="2200"/>
              <a:t>Certain Pave America sub-brands have high overlap within each other but limited overlap with competitors; Alpha Paving attracts high %age of visitors from sub-brands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C9B2E35-CEAE-E2C1-1AAA-62F954C9BE2D}"/>
              </a:ext>
            </a:extLst>
          </p:cNvPr>
          <p:cNvSpPr/>
          <p:nvPr/>
        </p:nvSpPr>
        <p:spPr bwMode="gray">
          <a:xfrm>
            <a:off x="10311407" y="6346348"/>
            <a:ext cx="486932" cy="20619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800" b="1" i="1">
                <a:solidFill>
                  <a:schemeClr val="tx1"/>
                </a:solidFill>
              </a:rPr>
              <a:t>1-5%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3DE02B4-DCE5-96B2-098E-C67FED46231C}"/>
              </a:ext>
            </a:extLst>
          </p:cNvPr>
          <p:cNvSpPr/>
          <p:nvPr/>
        </p:nvSpPr>
        <p:spPr bwMode="gray">
          <a:xfrm>
            <a:off x="10830740" y="6346348"/>
            <a:ext cx="486932" cy="20381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800" b="1" i="1">
                <a:solidFill>
                  <a:schemeClr val="tx1"/>
                </a:solidFill>
              </a:rPr>
              <a:t>6-10%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1C7E7079-A63E-3BDC-97DF-40EB109704FC}"/>
              </a:ext>
            </a:extLst>
          </p:cNvPr>
          <p:cNvSpPr/>
          <p:nvPr/>
        </p:nvSpPr>
        <p:spPr bwMode="gray">
          <a:xfrm>
            <a:off x="11350073" y="6346348"/>
            <a:ext cx="486931" cy="20619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800" b="1" i="1">
                <a:solidFill>
                  <a:schemeClr val="tx1"/>
                </a:solidFill>
              </a:rPr>
              <a:t>&gt;10%</a:t>
            </a:r>
          </a:p>
        </p:txBody>
      </p:sp>
      <p:sp>
        <p:nvSpPr>
          <p:cNvPr id="67" name="AutoShape 6" descr="KaartDirect">
            <a:extLst>
              <a:ext uri="{FF2B5EF4-FFF2-40B4-BE49-F238E27FC236}">
                <a16:creationId xmlns:a16="http://schemas.microsoft.com/office/drawing/2014/main" id="{5C95A394-F5F2-D97E-1A58-26E167B9B1B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B1F25150-14DB-D5D1-0A6D-11B9BBB4D38C}"/>
              </a:ext>
            </a:extLst>
          </p:cNvPr>
          <p:cNvSpPr txBox="1"/>
          <p:nvPr/>
        </p:nvSpPr>
        <p:spPr bwMode="gray">
          <a:xfrm rot="16200000">
            <a:off x="-612998" y="3252024"/>
            <a:ext cx="2164080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r">
              <a:buNone/>
            </a:pPr>
            <a:r>
              <a:rPr lang="en-US" b="1"/>
              <a:t>Visitors to…</a:t>
            </a:r>
          </a:p>
        </p:txBody>
      </p: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27DEBCD5-40EC-053D-4D97-5058560DC562}"/>
              </a:ext>
            </a:extLst>
          </p:cNvPr>
          <p:cNvCxnSpPr>
            <a:cxnSpLocks/>
          </p:cNvCxnSpPr>
          <p:nvPr/>
        </p:nvCxnSpPr>
        <p:spPr bwMode="gray">
          <a:xfrm flipV="1">
            <a:off x="620237" y="2448037"/>
            <a:ext cx="0" cy="3738566"/>
          </a:xfrm>
          <a:prstGeom prst="straightConnector1">
            <a:avLst/>
          </a:prstGeom>
          <a:ln w="9525" cap="flat">
            <a:solidFill>
              <a:schemeClr val="tx1"/>
            </a:solidFill>
            <a:miter lim="800000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Box 77">
            <a:extLst>
              <a:ext uri="{FF2B5EF4-FFF2-40B4-BE49-F238E27FC236}">
                <a16:creationId xmlns:a16="http://schemas.microsoft.com/office/drawing/2014/main" id="{C999B5DA-1D11-795E-3744-116026CA7DEA}"/>
              </a:ext>
            </a:extLst>
          </p:cNvPr>
          <p:cNvSpPr txBox="1"/>
          <p:nvPr/>
        </p:nvSpPr>
        <p:spPr bwMode="gray">
          <a:xfrm>
            <a:off x="2091689" y="1201061"/>
            <a:ext cx="6362015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b="1"/>
              <a:t>Also visited…</a:t>
            </a:r>
          </a:p>
        </p:txBody>
      </p: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3267E0AE-431E-A638-F89B-A0C4097E099C}"/>
              </a:ext>
            </a:extLst>
          </p:cNvPr>
          <p:cNvCxnSpPr>
            <a:cxnSpLocks/>
          </p:cNvCxnSpPr>
          <p:nvPr/>
        </p:nvCxnSpPr>
        <p:spPr bwMode="gray">
          <a:xfrm>
            <a:off x="2106668" y="1561643"/>
            <a:ext cx="9674169" cy="0"/>
          </a:xfrm>
          <a:prstGeom prst="straightConnector1">
            <a:avLst/>
          </a:prstGeom>
          <a:ln w="9525" cap="flat">
            <a:solidFill>
              <a:schemeClr val="tx1"/>
            </a:solidFill>
            <a:miter lim="800000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btfpRunningAgenda2Level600372">
            <a:extLst>
              <a:ext uri="{FF2B5EF4-FFF2-40B4-BE49-F238E27FC236}">
                <a16:creationId xmlns:a16="http://schemas.microsoft.com/office/drawing/2014/main" id="{D5AD728A-BCDC-3952-D618-E87AEF8FAB05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-1" y="944429"/>
            <a:ext cx="4281873" cy="257442"/>
            <a:chOff x="-1" y="876300"/>
            <a:chExt cx="4281873" cy="257442"/>
          </a:xfrm>
        </p:grpSpPr>
        <p:sp>
          <p:nvSpPr>
            <p:cNvPr id="35" name="btfpRunningAgenda2LevelBarLeft600372">
              <a:extLst>
                <a:ext uri="{FF2B5EF4-FFF2-40B4-BE49-F238E27FC236}">
                  <a16:creationId xmlns:a16="http://schemas.microsoft.com/office/drawing/2014/main" id="{AF7CAB64-6D1D-46F5-F0A9-3C039EC5939F}"/>
                </a:ext>
              </a:extLst>
            </p:cNvPr>
            <p:cNvSpPr/>
            <p:nvPr/>
          </p:nvSpPr>
          <p:spPr bwMode="gray">
            <a:xfrm>
              <a:off x="-1" y="876300"/>
              <a:ext cx="2486479" cy="257442"/>
            </a:xfrm>
            <a:custGeom>
              <a:avLst/>
              <a:gdLst>
                <a:gd name="connsiteX0" fmla="*/ 986067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86067 w 1816204"/>
                <a:gd name="connsiteY0" fmla="*/ 0 h 257442"/>
                <a:gd name="connsiteX1" fmla="*/ 931347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86067 w 986067"/>
                <a:gd name="connsiteY0" fmla="*/ 0 h 257442"/>
                <a:gd name="connsiteX1" fmla="*/ 931347 w 986067"/>
                <a:gd name="connsiteY1" fmla="*/ 257442 h 257442"/>
                <a:gd name="connsiteX2" fmla="*/ 1 w 986067"/>
                <a:gd name="connsiteY2" fmla="*/ 257442 h 257442"/>
                <a:gd name="connsiteX3" fmla="*/ 0 w 986067"/>
                <a:gd name="connsiteY3" fmla="*/ 257442 h 257442"/>
                <a:gd name="connsiteX0" fmla="*/ 986066 w 986066"/>
                <a:gd name="connsiteY0" fmla="*/ 0 h 257442"/>
                <a:gd name="connsiteX1" fmla="*/ 931346 w 986066"/>
                <a:gd name="connsiteY1" fmla="*/ 257442 h 257442"/>
                <a:gd name="connsiteX2" fmla="*/ 0 w 986066"/>
                <a:gd name="connsiteY2" fmla="*/ 257442 h 257442"/>
                <a:gd name="connsiteX3" fmla="*/ 1 w 986066"/>
                <a:gd name="connsiteY3" fmla="*/ 0 h 257442"/>
                <a:gd name="connsiteX0" fmla="*/ 1146368 w 1146368"/>
                <a:gd name="connsiteY0" fmla="*/ 0 h 257442"/>
                <a:gd name="connsiteX1" fmla="*/ 931346 w 1146368"/>
                <a:gd name="connsiteY1" fmla="*/ 257442 h 257442"/>
                <a:gd name="connsiteX2" fmla="*/ 0 w 1146368"/>
                <a:gd name="connsiteY2" fmla="*/ 257442 h 257442"/>
                <a:gd name="connsiteX3" fmla="*/ 1 w 1146368"/>
                <a:gd name="connsiteY3" fmla="*/ 0 h 257442"/>
                <a:gd name="connsiteX0" fmla="*/ 1146368 w 1146368"/>
                <a:gd name="connsiteY0" fmla="*/ 0 h 257442"/>
                <a:gd name="connsiteX1" fmla="*/ 1091647 w 1146368"/>
                <a:gd name="connsiteY1" fmla="*/ 257442 h 257442"/>
                <a:gd name="connsiteX2" fmla="*/ 0 w 1146368"/>
                <a:gd name="connsiteY2" fmla="*/ 257442 h 257442"/>
                <a:gd name="connsiteX3" fmla="*/ 1 w 1146368"/>
                <a:gd name="connsiteY3" fmla="*/ 0 h 257442"/>
                <a:gd name="connsiteX0" fmla="*/ 1146368 w 1146368"/>
                <a:gd name="connsiteY0" fmla="*/ 0 h 257442"/>
                <a:gd name="connsiteX1" fmla="*/ 1091647 w 1146368"/>
                <a:gd name="connsiteY1" fmla="*/ 257442 h 257442"/>
                <a:gd name="connsiteX2" fmla="*/ 0 w 1146368"/>
                <a:gd name="connsiteY2" fmla="*/ 257442 h 257442"/>
                <a:gd name="connsiteX3" fmla="*/ 1 w 1146368"/>
                <a:gd name="connsiteY3" fmla="*/ 0 h 257442"/>
                <a:gd name="connsiteX0" fmla="*/ 1146368 w 1146368"/>
                <a:gd name="connsiteY0" fmla="*/ 0 h 257442"/>
                <a:gd name="connsiteX1" fmla="*/ 1091647 w 1146368"/>
                <a:gd name="connsiteY1" fmla="*/ 257442 h 257442"/>
                <a:gd name="connsiteX2" fmla="*/ 0 w 1146368"/>
                <a:gd name="connsiteY2" fmla="*/ 257442 h 257442"/>
                <a:gd name="connsiteX3" fmla="*/ 0 w 1146368"/>
                <a:gd name="connsiteY3" fmla="*/ 0 h 257442"/>
                <a:gd name="connsiteX0" fmla="*/ 1314682 w 1314682"/>
                <a:gd name="connsiteY0" fmla="*/ 0 h 257442"/>
                <a:gd name="connsiteX1" fmla="*/ 1091647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415672 w 1415672"/>
                <a:gd name="connsiteY0" fmla="*/ 0 h 257442"/>
                <a:gd name="connsiteX1" fmla="*/ 1259961 w 1415672"/>
                <a:gd name="connsiteY1" fmla="*/ 257442 h 257442"/>
                <a:gd name="connsiteX2" fmla="*/ 0 w 1415672"/>
                <a:gd name="connsiteY2" fmla="*/ 257442 h 257442"/>
                <a:gd name="connsiteX3" fmla="*/ 0 w 1415672"/>
                <a:gd name="connsiteY3" fmla="*/ 0 h 257442"/>
                <a:gd name="connsiteX0" fmla="*/ 1415672 w 1415672"/>
                <a:gd name="connsiteY0" fmla="*/ 0 h 257442"/>
                <a:gd name="connsiteX1" fmla="*/ 1360951 w 1415672"/>
                <a:gd name="connsiteY1" fmla="*/ 257442 h 257442"/>
                <a:gd name="connsiteX2" fmla="*/ 0 w 1415672"/>
                <a:gd name="connsiteY2" fmla="*/ 257442 h 257442"/>
                <a:gd name="connsiteX3" fmla="*/ 0 w 1415672"/>
                <a:gd name="connsiteY3" fmla="*/ 0 h 257442"/>
                <a:gd name="connsiteX0" fmla="*/ 1415672 w 1415672"/>
                <a:gd name="connsiteY0" fmla="*/ 0 h 257442"/>
                <a:gd name="connsiteX1" fmla="*/ 1360951 w 1415672"/>
                <a:gd name="connsiteY1" fmla="*/ 257442 h 257442"/>
                <a:gd name="connsiteX2" fmla="*/ 0 w 1415672"/>
                <a:gd name="connsiteY2" fmla="*/ 257442 h 257442"/>
                <a:gd name="connsiteX3" fmla="*/ 0 w 1415672"/>
                <a:gd name="connsiteY3" fmla="*/ 0 h 257442"/>
                <a:gd name="connsiteX0" fmla="*/ 1415672 w 1415672"/>
                <a:gd name="connsiteY0" fmla="*/ 0 h 257442"/>
                <a:gd name="connsiteX1" fmla="*/ 1360951 w 1415672"/>
                <a:gd name="connsiteY1" fmla="*/ 257442 h 257442"/>
                <a:gd name="connsiteX2" fmla="*/ 0 w 1415672"/>
                <a:gd name="connsiteY2" fmla="*/ 257442 h 257442"/>
                <a:gd name="connsiteX3" fmla="*/ 0 w 1415672"/>
                <a:gd name="connsiteY3" fmla="*/ 0 h 257442"/>
                <a:gd name="connsiteX0" fmla="*/ 1567957 w 1567957"/>
                <a:gd name="connsiteY0" fmla="*/ 0 h 257442"/>
                <a:gd name="connsiteX1" fmla="*/ 1360951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567957 w 1567957"/>
                <a:gd name="connsiteY0" fmla="*/ 0 h 257442"/>
                <a:gd name="connsiteX1" fmla="*/ 1513236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567957 w 1567957"/>
                <a:gd name="connsiteY0" fmla="*/ 0 h 257442"/>
                <a:gd name="connsiteX1" fmla="*/ 1513236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567957 w 1567957"/>
                <a:gd name="connsiteY0" fmla="*/ 0 h 257442"/>
                <a:gd name="connsiteX1" fmla="*/ 1513236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736273 w 1736273"/>
                <a:gd name="connsiteY0" fmla="*/ 0 h 257442"/>
                <a:gd name="connsiteX1" fmla="*/ 1513236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904587 w 1904587"/>
                <a:gd name="connsiteY0" fmla="*/ 0 h 257442"/>
                <a:gd name="connsiteX1" fmla="*/ 1681552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1904587 w 1904587"/>
                <a:gd name="connsiteY0" fmla="*/ 0 h 257442"/>
                <a:gd name="connsiteX1" fmla="*/ 1849866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1904587 w 1904587"/>
                <a:gd name="connsiteY0" fmla="*/ 0 h 257442"/>
                <a:gd name="connsiteX1" fmla="*/ 1849866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1904587 w 1904587"/>
                <a:gd name="connsiteY0" fmla="*/ 0 h 257442"/>
                <a:gd name="connsiteX1" fmla="*/ 1849866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2056873 w 2056873"/>
                <a:gd name="connsiteY0" fmla="*/ 0 h 257442"/>
                <a:gd name="connsiteX1" fmla="*/ 1849866 w 2056873"/>
                <a:gd name="connsiteY1" fmla="*/ 257442 h 257442"/>
                <a:gd name="connsiteX2" fmla="*/ 0 w 2056873"/>
                <a:gd name="connsiteY2" fmla="*/ 257442 h 257442"/>
                <a:gd name="connsiteX3" fmla="*/ 0 w 2056873"/>
                <a:gd name="connsiteY3" fmla="*/ 0 h 257442"/>
                <a:gd name="connsiteX0" fmla="*/ 2056873 w 2056873"/>
                <a:gd name="connsiteY0" fmla="*/ 0 h 257442"/>
                <a:gd name="connsiteX1" fmla="*/ 2002152 w 2056873"/>
                <a:gd name="connsiteY1" fmla="*/ 257442 h 257442"/>
                <a:gd name="connsiteX2" fmla="*/ 0 w 2056873"/>
                <a:gd name="connsiteY2" fmla="*/ 257442 h 257442"/>
                <a:gd name="connsiteX3" fmla="*/ 0 w 2056873"/>
                <a:gd name="connsiteY3" fmla="*/ 0 h 257442"/>
                <a:gd name="connsiteX0" fmla="*/ 2056873 w 2056873"/>
                <a:gd name="connsiteY0" fmla="*/ 0 h 257442"/>
                <a:gd name="connsiteX1" fmla="*/ 2002152 w 2056873"/>
                <a:gd name="connsiteY1" fmla="*/ 257442 h 257442"/>
                <a:gd name="connsiteX2" fmla="*/ 0 w 2056873"/>
                <a:gd name="connsiteY2" fmla="*/ 257442 h 257442"/>
                <a:gd name="connsiteX3" fmla="*/ 0 w 2056873"/>
                <a:gd name="connsiteY3" fmla="*/ 0 h 257442"/>
                <a:gd name="connsiteX0" fmla="*/ 2056873 w 2056873"/>
                <a:gd name="connsiteY0" fmla="*/ 0 h 257442"/>
                <a:gd name="connsiteX1" fmla="*/ 2002152 w 2056873"/>
                <a:gd name="connsiteY1" fmla="*/ 257442 h 257442"/>
                <a:gd name="connsiteX2" fmla="*/ 0 w 2056873"/>
                <a:gd name="connsiteY2" fmla="*/ 257442 h 257442"/>
                <a:gd name="connsiteX3" fmla="*/ 0 w 2056873"/>
                <a:gd name="connsiteY3" fmla="*/ 0 h 257442"/>
                <a:gd name="connsiteX0" fmla="*/ 2209158 w 2209158"/>
                <a:gd name="connsiteY0" fmla="*/ 0 h 257442"/>
                <a:gd name="connsiteX1" fmla="*/ 2002152 w 2209158"/>
                <a:gd name="connsiteY1" fmla="*/ 257442 h 257442"/>
                <a:gd name="connsiteX2" fmla="*/ 0 w 2209158"/>
                <a:gd name="connsiteY2" fmla="*/ 257442 h 257442"/>
                <a:gd name="connsiteX3" fmla="*/ 0 w 2209158"/>
                <a:gd name="connsiteY3" fmla="*/ 0 h 257442"/>
                <a:gd name="connsiteX0" fmla="*/ 2209158 w 2209158"/>
                <a:gd name="connsiteY0" fmla="*/ 0 h 257442"/>
                <a:gd name="connsiteX1" fmla="*/ 2154436 w 2209158"/>
                <a:gd name="connsiteY1" fmla="*/ 257442 h 257442"/>
                <a:gd name="connsiteX2" fmla="*/ 0 w 2209158"/>
                <a:gd name="connsiteY2" fmla="*/ 257442 h 257442"/>
                <a:gd name="connsiteX3" fmla="*/ 0 w 2209158"/>
                <a:gd name="connsiteY3" fmla="*/ 0 h 257442"/>
                <a:gd name="connsiteX0" fmla="*/ 2209159 w 2209159"/>
                <a:gd name="connsiteY0" fmla="*/ 0 h 257442"/>
                <a:gd name="connsiteX1" fmla="*/ 2154437 w 2209159"/>
                <a:gd name="connsiteY1" fmla="*/ 257442 h 257442"/>
                <a:gd name="connsiteX2" fmla="*/ 0 w 2209159"/>
                <a:gd name="connsiteY2" fmla="*/ 257442 h 257442"/>
                <a:gd name="connsiteX3" fmla="*/ 1 w 2209159"/>
                <a:gd name="connsiteY3" fmla="*/ 0 h 257442"/>
                <a:gd name="connsiteX0" fmla="*/ 2209159 w 2209159"/>
                <a:gd name="connsiteY0" fmla="*/ 0 h 257442"/>
                <a:gd name="connsiteX1" fmla="*/ 2154437 w 2209159"/>
                <a:gd name="connsiteY1" fmla="*/ 257442 h 257442"/>
                <a:gd name="connsiteX2" fmla="*/ 0 w 2209159"/>
                <a:gd name="connsiteY2" fmla="*/ 257442 h 257442"/>
                <a:gd name="connsiteX3" fmla="*/ 1 w 2209159"/>
                <a:gd name="connsiteY3" fmla="*/ 0 h 257442"/>
                <a:gd name="connsiteX0" fmla="*/ 2310149 w 2310149"/>
                <a:gd name="connsiteY0" fmla="*/ 0 h 257442"/>
                <a:gd name="connsiteX1" fmla="*/ 2154437 w 2310149"/>
                <a:gd name="connsiteY1" fmla="*/ 257442 h 257442"/>
                <a:gd name="connsiteX2" fmla="*/ 0 w 2310149"/>
                <a:gd name="connsiteY2" fmla="*/ 257442 h 257442"/>
                <a:gd name="connsiteX3" fmla="*/ 1 w 2310149"/>
                <a:gd name="connsiteY3" fmla="*/ 0 h 257442"/>
                <a:gd name="connsiteX0" fmla="*/ 2310149 w 2310149"/>
                <a:gd name="connsiteY0" fmla="*/ 0 h 257442"/>
                <a:gd name="connsiteX1" fmla="*/ 2255428 w 2310149"/>
                <a:gd name="connsiteY1" fmla="*/ 257442 h 257442"/>
                <a:gd name="connsiteX2" fmla="*/ 0 w 2310149"/>
                <a:gd name="connsiteY2" fmla="*/ 257442 h 257442"/>
                <a:gd name="connsiteX3" fmla="*/ 1 w 2310149"/>
                <a:gd name="connsiteY3" fmla="*/ 0 h 257442"/>
                <a:gd name="connsiteX0" fmla="*/ 2310148 w 2310148"/>
                <a:gd name="connsiteY0" fmla="*/ 0 h 257442"/>
                <a:gd name="connsiteX1" fmla="*/ 2255427 w 2310148"/>
                <a:gd name="connsiteY1" fmla="*/ 257442 h 257442"/>
                <a:gd name="connsiteX2" fmla="*/ 0 w 2310148"/>
                <a:gd name="connsiteY2" fmla="*/ 257442 h 257442"/>
                <a:gd name="connsiteX3" fmla="*/ 0 w 2310148"/>
                <a:gd name="connsiteY3" fmla="*/ 0 h 257442"/>
                <a:gd name="connsiteX0" fmla="*/ 2310149 w 2310149"/>
                <a:gd name="connsiteY0" fmla="*/ 0 h 257442"/>
                <a:gd name="connsiteX1" fmla="*/ 2255428 w 2310149"/>
                <a:gd name="connsiteY1" fmla="*/ 257442 h 257442"/>
                <a:gd name="connsiteX2" fmla="*/ 1 w 2310149"/>
                <a:gd name="connsiteY2" fmla="*/ 257442 h 257442"/>
                <a:gd name="connsiteX3" fmla="*/ 0 w 2310149"/>
                <a:gd name="connsiteY3" fmla="*/ 0 h 257442"/>
                <a:gd name="connsiteX0" fmla="*/ 2478463 w 2478463"/>
                <a:gd name="connsiteY0" fmla="*/ 0 h 257442"/>
                <a:gd name="connsiteX1" fmla="*/ 2255428 w 2478463"/>
                <a:gd name="connsiteY1" fmla="*/ 257442 h 257442"/>
                <a:gd name="connsiteX2" fmla="*/ 1 w 2478463"/>
                <a:gd name="connsiteY2" fmla="*/ 257442 h 257442"/>
                <a:gd name="connsiteX3" fmla="*/ 0 w 2478463"/>
                <a:gd name="connsiteY3" fmla="*/ 0 h 257442"/>
                <a:gd name="connsiteX0" fmla="*/ 2478463 w 2478463"/>
                <a:gd name="connsiteY0" fmla="*/ 0 h 257442"/>
                <a:gd name="connsiteX1" fmla="*/ 2423742 w 2478463"/>
                <a:gd name="connsiteY1" fmla="*/ 257442 h 257442"/>
                <a:gd name="connsiteX2" fmla="*/ 1 w 2478463"/>
                <a:gd name="connsiteY2" fmla="*/ 257442 h 257442"/>
                <a:gd name="connsiteX3" fmla="*/ 0 w 2478463"/>
                <a:gd name="connsiteY3" fmla="*/ 0 h 257442"/>
                <a:gd name="connsiteX0" fmla="*/ 2478463 w 2478463"/>
                <a:gd name="connsiteY0" fmla="*/ 0 h 257442"/>
                <a:gd name="connsiteX1" fmla="*/ 2423742 w 2478463"/>
                <a:gd name="connsiteY1" fmla="*/ 257442 h 257442"/>
                <a:gd name="connsiteX2" fmla="*/ 1 w 2478463"/>
                <a:gd name="connsiteY2" fmla="*/ 257442 h 257442"/>
                <a:gd name="connsiteX3" fmla="*/ 0 w 2478463"/>
                <a:gd name="connsiteY3" fmla="*/ 0 h 257442"/>
                <a:gd name="connsiteX0" fmla="*/ 2478462 w 2478462"/>
                <a:gd name="connsiteY0" fmla="*/ 0 h 257442"/>
                <a:gd name="connsiteX1" fmla="*/ 2423741 w 2478462"/>
                <a:gd name="connsiteY1" fmla="*/ 257442 h 257442"/>
                <a:gd name="connsiteX2" fmla="*/ 0 w 2478462"/>
                <a:gd name="connsiteY2" fmla="*/ 257442 h 257442"/>
                <a:gd name="connsiteX3" fmla="*/ 0 w 2478462"/>
                <a:gd name="connsiteY3" fmla="*/ 0 h 257442"/>
                <a:gd name="connsiteX0" fmla="*/ 2377473 w 2423741"/>
                <a:gd name="connsiteY0" fmla="*/ 0 h 257442"/>
                <a:gd name="connsiteX1" fmla="*/ 2423741 w 2423741"/>
                <a:gd name="connsiteY1" fmla="*/ 257442 h 257442"/>
                <a:gd name="connsiteX2" fmla="*/ 0 w 2423741"/>
                <a:gd name="connsiteY2" fmla="*/ 257442 h 257442"/>
                <a:gd name="connsiteX3" fmla="*/ 0 w 2423741"/>
                <a:gd name="connsiteY3" fmla="*/ 0 h 257442"/>
                <a:gd name="connsiteX0" fmla="*/ 2377473 w 2377473"/>
                <a:gd name="connsiteY0" fmla="*/ 0 h 257442"/>
                <a:gd name="connsiteX1" fmla="*/ 2322753 w 2377473"/>
                <a:gd name="connsiteY1" fmla="*/ 257442 h 257442"/>
                <a:gd name="connsiteX2" fmla="*/ 0 w 2377473"/>
                <a:gd name="connsiteY2" fmla="*/ 257442 h 257442"/>
                <a:gd name="connsiteX3" fmla="*/ 0 w 2377473"/>
                <a:gd name="connsiteY3" fmla="*/ 0 h 257442"/>
                <a:gd name="connsiteX0" fmla="*/ 2377473 w 2377473"/>
                <a:gd name="connsiteY0" fmla="*/ 0 h 257442"/>
                <a:gd name="connsiteX1" fmla="*/ 2322753 w 2377473"/>
                <a:gd name="connsiteY1" fmla="*/ 257442 h 257442"/>
                <a:gd name="connsiteX2" fmla="*/ 0 w 2377473"/>
                <a:gd name="connsiteY2" fmla="*/ 257442 h 257442"/>
                <a:gd name="connsiteX3" fmla="*/ 0 w 2377473"/>
                <a:gd name="connsiteY3" fmla="*/ 0 h 257442"/>
                <a:gd name="connsiteX0" fmla="*/ 2377473 w 2377473"/>
                <a:gd name="connsiteY0" fmla="*/ 0 h 257442"/>
                <a:gd name="connsiteX1" fmla="*/ 2322753 w 2377473"/>
                <a:gd name="connsiteY1" fmla="*/ 257442 h 257442"/>
                <a:gd name="connsiteX2" fmla="*/ 0 w 2377473"/>
                <a:gd name="connsiteY2" fmla="*/ 257442 h 257442"/>
                <a:gd name="connsiteX3" fmla="*/ 0 w 2377473"/>
                <a:gd name="connsiteY3" fmla="*/ 0 h 257442"/>
                <a:gd name="connsiteX0" fmla="*/ 2486478 w 2486478"/>
                <a:gd name="connsiteY0" fmla="*/ 0 h 257442"/>
                <a:gd name="connsiteX1" fmla="*/ 2322753 w 2486478"/>
                <a:gd name="connsiteY1" fmla="*/ 257442 h 257442"/>
                <a:gd name="connsiteX2" fmla="*/ 0 w 2486478"/>
                <a:gd name="connsiteY2" fmla="*/ 257442 h 257442"/>
                <a:gd name="connsiteX3" fmla="*/ 0 w 2486478"/>
                <a:gd name="connsiteY3" fmla="*/ 0 h 257442"/>
                <a:gd name="connsiteX0" fmla="*/ 2486478 w 2486478"/>
                <a:gd name="connsiteY0" fmla="*/ 0 h 257442"/>
                <a:gd name="connsiteX1" fmla="*/ 2431756 w 2486478"/>
                <a:gd name="connsiteY1" fmla="*/ 257442 h 257442"/>
                <a:gd name="connsiteX2" fmla="*/ 0 w 2486478"/>
                <a:gd name="connsiteY2" fmla="*/ 257442 h 257442"/>
                <a:gd name="connsiteX3" fmla="*/ 0 w 2486478"/>
                <a:gd name="connsiteY3" fmla="*/ 0 h 257442"/>
                <a:gd name="connsiteX0" fmla="*/ 2486479 w 2486479"/>
                <a:gd name="connsiteY0" fmla="*/ 0 h 257442"/>
                <a:gd name="connsiteX1" fmla="*/ 2431757 w 2486479"/>
                <a:gd name="connsiteY1" fmla="*/ 257442 h 257442"/>
                <a:gd name="connsiteX2" fmla="*/ 0 w 2486479"/>
                <a:gd name="connsiteY2" fmla="*/ 257442 h 257442"/>
                <a:gd name="connsiteX3" fmla="*/ 1 w 2486479"/>
                <a:gd name="connsiteY3" fmla="*/ 0 h 257442"/>
                <a:gd name="connsiteX0" fmla="*/ 2486479 w 2486479"/>
                <a:gd name="connsiteY0" fmla="*/ 0 h 257442"/>
                <a:gd name="connsiteX1" fmla="*/ 2431757 w 2486479"/>
                <a:gd name="connsiteY1" fmla="*/ 257442 h 257442"/>
                <a:gd name="connsiteX2" fmla="*/ 0 w 2486479"/>
                <a:gd name="connsiteY2" fmla="*/ 257442 h 257442"/>
                <a:gd name="connsiteX3" fmla="*/ 1 w 2486479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86479" h="257442">
                  <a:moveTo>
                    <a:pt x="2486479" y="0"/>
                  </a:moveTo>
                  <a:lnTo>
                    <a:pt x="2431757" y="257442"/>
                  </a:lnTo>
                  <a:lnTo>
                    <a:pt x="0" y="25744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2" name="btfpRunningAgenda2LevelTextLeft600372">
              <a:extLst>
                <a:ext uri="{FF2B5EF4-FFF2-40B4-BE49-F238E27FC236}">
                  <a16:creationId xmlns:a16="http://schemas.microsoft.com/office/drawing/2014/main" id="{805175FF-1A1B-3C54-8703-F6E9C3A2068C}"/>
                </a:ext>
              </a:extLst>
            </p:cNvPr>
            <p:cNvSpPr txBox="1"/>
            <p:nvPr/>
          </p:nvSpPr>
          <p:spPr bwMode="gray">
            <a:xfrm>
              <a:off x="0" y="876300"/>
              <a:ext cx="2431757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Web-traffic</a:t>
              </a:r>
            </a:p>
          </p:txBody>
        </p:sp>
        <p:sp>
          <p:nvSpPr>
            <p:cNvPr id="37" name="btfpRunningAgenda2LevelBarRight600372">
              <a:extLst>
                <a:ext uri="{FF2B5EF4-FFF2-40B4-BE49-F238E27FC236}">
                  <a16:creationId xmlns:a16="http://schemas.microsoft.com/office/drawing/2014/main" id="{31D52202-D6F3-0E1A-B7C0-664CAABADAFD}"/>
                </a:ext>
              </a:extLst>
            </p:cNvPr>
            <p:cNvSpPr/>
            <p:nvPr/>
          </p:nvSpPr>
          <p:spPr bwMode="gray">
            <a:xfrm>
              <a:off x="2351636" y="876300"/>
              <a:ext cx="1930236" cy="257442"/>
            </a:xfrm>
            <a:custGeom>
              <a:avLst/>
              <a:gdLst>
                <a:gd name="connsiteX0" fmla="*/ 960419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60419 w 2313135"/>
                <a:gd name="connsiteY0" fmla="*/ 0 h 257442"/>
                <a:gd name="connsiteX1" fmla="*/ 905698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7 w 960418"/>
                <a:gd name="connsiteY1" fmla="*/ 257442 h 257442"/>
                <a:gd name="connsiteX2" fmla="*/ 0 w 960418"/>
                <a:gd name="connsiteY2" fmla="*/ 257442 h 257442"/>
                <a:gd name="connsiteX3" fmla="*/ 54721 w 960418"/>
                <a:gd name="connsiteY3" fmla="*/ 0 h 257442"/>
                <a:gd name="connsiteX0" fmla="*/ 1120718 w 1120718"/>
                <a:gd name="connsiteY0" fmla="*/ 0 h 257442"/>
                <a:gd name="connsiteX1" fmla="*/ 905697 w 1120718"/>
                <a:gd name="connsiteY1" fmla="*/ 257442 h 257442"/>
                <a:gd name="connsiteX2" fmla="*/ 0 w 1120718"/>
                <a:gd name="connsiteY2" fmla="*/ 257442 h 257442"/>
                <a:gd name="connsiteX3" fmla="*/ 54721 w 1120718"/>
                <a:gd name="connsiteY3" fmla="*/ 0 h 257442"/>
                <a:gd name="connsiteX0" fmla="*/ 1120718 w 1120718"/>
                <a:gd name="connsiteY0" fmla="*/ 0 h 257442"/>
                <a:gd name="connsiteX1" fmla="*/ 1065997 w 1120718"/>
                <a:gd name="connsiteY1" fmla="*/ 257442 h 257442"/>
                <a:gd name="connsiteX2" fmla="*/ 0 w 1120718"/>
                <a:gd name="connsiteY2" fmla="*/ 257442 h 257442"/>
                <a:gd name="connsiteX3" fmla="*/ 54721 w 1120718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54722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54722 w 1120719"/>
                <a:gd name="connsiteY3" fmla="*/ 0 h 257442"/>
                <a:gd name="connsiteX0" fmla="*/ 1281021 w 1281021"/>
                <a:gd name="connsiteY0" fmla="*/ 0 h 257442"/>
                <a:gd name="connsiteX1" fmla="*/ 1065998 w 1281021"/>
                <a:gd name="connsiteY1" fmla="*/ 257442 h 257442"/>
                <a:gd name="connsiteX2" fmla="*/ 0 w 1281021"/>
                <a:gd name="connsiteY2" fmla="*/ 257442 h 257442"/>
                <a:gd name="connsiteX3" fmla="*/ 54722 w 1281021"/>
                <a:gd name="connsiteY3" fmla="*/ 0 h 257442"/>
                <a:gd name="connsiteX0" fmla="*/ 1281021 w 1281021"/>
                <a:gd name="connsiteY0" fmla="*/ 0 h 257442"/>
                <a:gd name="connsiteX1" fmla="*/ 1226300 w 1281021"/>
                <a:gd name="connsiteY1" fmla="*/ 257442 h 257442"/>
                <a:gd name="connsiteX2" fmla="*/ 0 w 1281021"/>
                <a:gd name="connsiteY2" fmla="*/ 257442 h 257442"/>
                <a:gd name="connsiteX3" fmla="*/ 54722 w 1281021"/>
                <a:gd name="connsiteY3" fmla="*/ 0 h 257442"/>
                <a:gd name="connsiteX0" fmla="*/ 1281020 w 1281020"/>
                <a:gd name="connsiteY0" fmla="*/ 0 h 257442"/>
                <a:gd name="connsiteX1" fmla="*/ 1226299 w 1281020"/>
                <a:gd name="connsiteY1" fmla="*/ 257442 h 257442"/>
                <a:gd name="connsiteX2" fmla="*/ 0 w 1281020"/>
                <a:gd name="connsiteY2" fmla="*/ 257442 h 257442"/>
                <a:gd name="connsiteX3" fmla="*/ 54721 w 1281020"/>
                <a:gd name="connsiteY3" fmla="*/ 0 h 257442"/>
                <a:gd name="connsiteX0" fmla="*/ 1281020 w 1281020"/>
                <a:gd name="connsiteY0" fmla="*/ 0 h 257442"/>
                <a:gd name="connsiteX1" fmla="*/ 1226299 w 1281020"/>
                <a:gd name="connsiteY1" fmla="*/ 257442 h 257442"/>
                <a:gd name="connsiteX2" fmla="*/ 0 w 1281020"/>
                <a:gd name="connsiteY2" fmla="*/ 257442 h 257442"/>
                <a:gd name="connsiteX3" fmla="*/ 54720 w 1281020"/>
                <a:gd name="connsiteY3" fmla="*/ 0 h 257442"/>
                <a:gd name="connsiteX0" fmla="*/ 1449334 w 1449334"/>
                <a:gd name="connsiteY0" fmla="*/ 0 h 257442"/>
                <a:gd name="connsiteX1" fmla="*/ 1226299 w 1449334"/>
                <a:gd name="connsiteY1" fmla="*/ 257442 h 257442"/>
                <a:gd name="connsiteX2" fmla="*/ 0 w 1449334"/>
                <a:gd name="connsiteY2" fmla="*/ 257442 h 257442"/>
                <a:gd name="connsiteX3" fmla="*/ 54720 w 1449334"/>
                <a:gd name="connsiteY3" fmla="*/ 0 h 257442"/>
                <a:gd name="connsiteX0" fmla="*/ 1449334 w 1449334"/>
                <a:gd name="connsiteY0" fmla="*/ 0 h 257442"/>
                <a:gd name="connsiteX1" fmla="*/ 1394613 w 1449334"/>
                <a:gd name="connsiteY1" fmla="*/ 257442 h 257442"/>
                <a:gd name="connsiteX2" fmla="*/ 0 w 1449334"/>
                <a:gd name="connsiteY2" fmla="*/ 257442 h 257442"/>
                <a:gd name="connsiteX3" fmla="*/ 54720 w 1449334"/>
                <a:gd name="connsiteY3" fmla="*/ 0 h 257442"/>
                <a:gd name="connsiteX0" fmla="*/ 1449335 w 1449335"/>
                <a:gd name="connsiteY0" fmla="*/ 0 h 257442"/>
                <a:gd name="connsiteX1" fmla="*/ 1394614 w 1449335"/>
                <a:gd name="connsiteY1" fmla="*/ 257442 h 257442"/>
                <a:gd name="connsiteX2" fmla="*/ 0 w 1449335"/>
                <a:gd name="connsiteY2" fmla="*/ 257442 h 257442"/>
                <a:gd name="connsiteX3" fmla="*/ 54721 w 1449335"/>
                <a:gd name="connsiteY3" fmla="*/ 0 h 257442"/>
                <a:gd name="connsiteX0" fmla="*/ 1449335 w 1449335"/>
                <a:gd name="connsiteY0" fmla="*/ 0 h 257442"/>
                <a:gd name="connsiteX1" fmla="*/ 1394614 w 1449335"/>
                <a:gd name="connsiteY1" fmla="*/ 257442 h 257442"/>
                <a:gd name="connsiteX2" fmla="*/ 0 w 1449335"/>
                <a:gd name="connsiteY2" fmla="*/ 257442 h 257442"/>
                <a:gd name="connsiteX3" fmla="*/ 54722 w 1449335"/>
                <a:gd name="connsiteY3" fmla="*/ 0 h 257442"/>
                <a:gd name="connsiteX0" fmla="*/ 1617651 w 1617651"/>
                <a:gd name="connsiteY0" fmla="*/ 0 h 257442"/>
                <a:gd name="connsiteX1" fmla="*/ 1394614 w 1617651"/>
                <a:gd name="connsiteY1" fmla="*/ 257442 h 257442"/>
                <a:gd name="connsiteX2" fmla="*/ 0 w 1617651"/>
                <a:gd name="connsiteY2" fmla="*/ 257442 h 257442"/>
                <a:gd name="connsiteX3" fmla="*/ 54722 w 1617651"/>
                <a:gd name="connsiteY3" fmla="*/ 0 h 257442"/>
                <a:gd name="connsiteX0" fmla="*/ 1617651 w 1617651"/>
                <a:gd name="connsiteY0" fmla="*/ 0 h 257442"/>
                <a:gd name="connsiteX1" fmla="*/ 1562930 w 1617651"/>
                <a:gd name="connsiteY1" fmla="*/ 257442 h 257442"/>
                <a:gd name="connsiteX2" fmla="*/ 0 w 1617651"/>
                <a:gd name="connsiteY2" fmla="*/ 257442 h 257442"/>
                <a:gd name="connsiteX3" fmla="*/ 54722 w 1617651"/>
                <a:gd name="connsiteY3" fmla="*/ 0 h 257442"/>
                <a:gd name="connsiteX0" fmla="*/ 1617650 w 1617650"/>
                <a:gd name="connsiteY0" fmla="*/ 0 h 257442"/>
                <a:gd name="connsiteX1" fmla="*/ 1562929 w 1617650"/>
                <a:gd name="connsiteY1" fmla="*/ 257442 h 257442"/>
                <a:gd name="connsiteX2" fmla="*/ 0 w 1617650"/>
                <a:gd name="connsiteY2" fmla="*/ 257442 h 257442"/>
                <a:gd name="connsiteX3" fmla="*/ 54721 w 1617650"/>
                <a:gd name="connsiteY3" fmla="*/ 0 h 257442"/>
                <a:gd name="connsiteX0" fmla="*/ 1617650 w 1617650"/>
                <a:gd name="connsiteY0" fmla="*/ 0 h 257442"/>
                <a:gd name="connsiteX1" fmla="*/ 1562929 w 1617650"/>
                <a:gd name="connsiteY1" fmla="*/ 257442 h 257442"/>
                <a:gd name="connsiteX2" fmla="*/ 0 w 1617650"/>
                <a:gd name="connsiteY2" fmla="*/ 257442 h 257442"/>
                <a:gd name="connsiteX3" fmla="*/ 54720 w 1617650"/>
                <a:gd name="connsiteY3" fmla="*/ 0 h 257442"/>
                <a:gd name="connsiteX0" fmla="*/ 1785964 w 1785964"/>
                <a:gd name="connsiteY0" fmla="*/ 0 h 257442"/>
                <a:gd name="connsiteX1" fmla="*/ 1562929 w 1785964"/>
                <a:gd name="connsiteY1" fmla="*/ 257442 h 257442"/>
                <a:gd name="connsiteX2" fmla="*/ 0 w 1785964"/>
                <a:gd name="connsiteY2" fmla="*/ 257442 h 257442"/>
                <a:gd name="connsiteX3" fmla="*/ 54720 w 1785964"/>
                <a:gd name="connsiteY3" fmla="*/ 0 h 257442"/>
                <a:gd name="connsiteX0" fmla="*/ 1785964 w 1785964"/>
                <a:gd name="connsiteY0" fmla="*/ 0 h 257442"/>
                <a:gd name="connsiteX1" fmla="*/ 1731243 w 1785964"/>
                <a:gd name="connsiteY1" fmla="*/ 257442 h 257442"/>
                <a:gd name="connsiteX2" fmla="*/ 0 w 1785964"/>
                <a:gd name="connsiteY2" fmla="*/ 257442 h 257442"/>
                <a:gd name="connsiteX3" fmla="*/ 54720 w 1785964"/>
                <a:gd name="connsiteY3" fmla="*/ 0 h 257442"/>
                <a:gd name="connsiteX0" fmla="*/ 1785965 w 1785965"/>
                <a:gd name="connsiteY0" fmla="*/ 0 h 257442"/>
                <a:gd name="connsiteX1" fmla="*/ 1731244 w 1785965"/>
                <a:gd name="connsiteY1" fmla="*/ 257442 h 257442"/>
                <a:gd name="connsiteX2" fmla="*/ 0 w 1785965"/>
                <a:gd name="connsiteY2" fmla="*/ 257442 h 257442"/>
                <a:gd name="connsiteX3" fmla="*/ 54721 w 1785965"/>
                <a:gd name="connsiteY3" fmla="*/ 0 h 257442"/>
                <a:gd name="connsiteX0" fmla="*/ 1785965 w 1785965"/>
                <a:gd name="connsiteY0" fmla="*/ 0 h 257442"/>
                <a:gd name="connsiteX1" fmla="*/ 1731244 w 1785965"/>
                <a:gd name="connsiteY1" fmla="*/ 257442 h 257442"/>
                <a:gd name="connsiteX2" fmla="*/ 0 w 1785965"/>
                <a:gd name="connsiteY2" fmla="*/ 257442 h 257442"/>
                <a:gd name="connsiteX3" fmla="*/ 54722 w 1785965"/>
                <a:gd name="connsiteY3" fmla="*/ 0 h 257442"/>
                <a:gd name="connsiteX0" fmla="*/ 1617651 w 1731244"/>
                <a:gd name="connsiteY0" fmla="*/ 0 h 257442"/>
                <a:gd name="connsiteX1" fmla="*/ 1731244 w 1731244"/>
                <a:gd name="connsiteY1" fmla="*/ 257442 h 257442"/>
                <a:gd name="connsiteX2" fmla="*/ 0 w 1731244"/>
                <a:gd name="connsiteY2" fmla="*/ 257442 h 257442"/>
                <a:gd name="connsiteX3" fmla="*/ 54722 w 1731244"/>
                <a:gd name="connsiteY3" fmla="*/ 0 h 257442"/>
                <a:gd name="connsiteX0" fmla="*/ 1617651 w 1617651"/>
                <a:gd name="connsiteY0" fmla="*/ 0 h 257442"/>
                <a:gd name="connsiteX1" fmla="*/ 1562930 w 1617651"/>
                <a:gd name="connsiteY1" fmla="*/ 257442 h 257442"/>
                <a:gd name="connsiteX2" fmla="*/ 0 w 1617651"/>
                <a:gd name="connsiteY2" fmla="*/ 257442 h 257442"/>
                <a:gd name="connsiteX3" fmla="*/ 54722 w 1617651"/>
                <a:gd name="connsiteY3" fmla="*/ 0 h 257442"/>
                <a:gd name="connsiteX0" fmla="*/ 1617649 w 1617649"/>
                <a:gd name="connsiteY0" fmla="*/ 0 h 257442"/>
                <a:gd name="connsiteX1" fmla="*/ 1562928 w 1617649"/>
                <a:gd name="connsiteY1" fmla="*/ 257442 h 257442"/>
                <a:gd name="connsiteX2" fmla="*/ 0 w 1617649"/>
                <a:gd name="connsiteY2" fmla="*/ 257442 h 257442"/>
                <a:gd name="connsiteX3" fmla="*/ 54720 w 1617649"/>
                <a:gd name="connsiteY3" fmla="*/ 0 h 257442"/>
                <a:gd name="connsiteX0" fmla="*/ 1617649 w 1617649"/>
                <a:gd name="connsiteY0" fmla="*/ 0 h 257442"/>
                <a:gd name="connsiteX1" fmla="*/ 1562928 w 1617649"/>
                <a:gd name="connsiteY1" fmla="*/ 257442 h 257442"/>
                <a:gd name="connsiteX2" fmla="*/ 0 w 1617649"/>
                <a:gd name="connsiteY2" fmla="*/ 257442 h 257442"/>
                <a:gd name="connsiteX3" fmla="*/ 54721 w 1617649"/>
                <a:gd name="connsiteY3" fmla="*/ 0 h 257442"/>
                <a:gd name="connsiteX0" fmla="*/ 1449335 w 1562928"/>
                <a:gd name="connsiteY0" fmla="*/ 0 h 257442"/>
                <a:gd name="connsiteX1" fmla="*/ 1562928 w 1562928"/>
                <a:gd name="connsiteY1" fmla="*/ 257442 h 257442"/>
                <a:gd name="connsiteX2" fmla="*/ 0 w 1562928"/>
                <a:gd name="connsiteY2" fmla="*/ 257442 h 257442"/>
                <a:gd name="connsiteX3" fmla="*/ 54721 w 1562928"/>
                <a:gd name="connsiteY3" fmla="*/ 0 h 257442"/>
                <a:gd name="connsiteX0" fmla="*/ 1449335 w 1449335"/>
                <a:gd name="connsiteY0" fmla="*/ 0 h 257442"/>
                <a:gd name="connsiteX1" fmla="*/ 1394614 w 1449335"/>
                <a:gd name="connsiteY1" fmla="*/ 257442 h 257442"/>
                <a:gd name="connsiteX2" fmla="*/ 0 w 1449335"/>
                <a:gd name="connsiteY2" fmla="*/ 257442 h 257442"/>
                <a:gd name="connsiteX3" fmla="*/ 54721 w 1449335"/>
                <a:gd name="connsiteY3" fmla="*/ 0 h 257442"/>
                <a:gd name="connsiteX0" fmla="*/ 1449334 w 1449334"/>
                <a:gd name="connsiteY0" fmla="*/ 0 h 257442"/>
                <a:gd name="connsiteX1" fmla="*/ 1394613 w 1449334"/>
                <a:gd name="connsiteY1" fmla="*/ 257442 h 257442"/>
                <a:gd name="connsiteX2" fmla="*/ 0 w 1449334"/>
                <a:gd name="connsiteY2" fmla="*/ 257442 h 257442"/>
                <a:gd name="connsiteX3" fmla="*/ 54720 w 1449334"/>
                <a:gd name="connsiteY3" fmla="*/ 0 h 257442"/>
                <a:gd name="connsiteX0" fmla="*/ 1449334 w 1449334"/>
                <a:gd name="connsiteY0" fmla="*/ 0 h 257442"/>
                <a:gd name="connsiteX1" fmla="*/ 1394613 w 1449334"/>
                <a:gd name="connsiteY1" fmla="*/ 257442 h 257442"/>
                <a:gd name="connsiteX2" fmla="*/ 0 w 1449334"/>
                <a:gd name="connsiteY2" fmla="*/ 257442 h 257442"/>
                <a:gd name="connsiteX3" fmla="*/ 54720 w 1449334"/>
                <a:gd name="connsiteY3" fmla="*/ 0 h 257442"/>
                <a:gd name="connsiteX0" fmla="*/ 1769934 w 1769934"/>
                <a:gd name="connsiteY0" fmla="*/ 0 h 257442"/>
                <a:gd name="connsiteX1" fmla="*/ 1394613 w 1769934"/>
                <a:gd name="connsiteY1" fmla="*/ 257442 h 257442"/>
                <a:gd name="connsiteX2" fmla="*/ 0 w 1769934"/>
                <a:gd name="connsiteY2" fmla="*/ 257442 h 257442"/>
                <a:gd name="connsiteX3" fmla="*/ 54720 w 1769934"/>
                <a:gd name="connsiteY3" fmla="*/ 0 h 257442"/>
                <a:gd name="connsiteX0" fmla="*/ 1769934 w 1769934"/>
                <a:gd name="connsiteY0" fmla="*/ 0 h 257442"/>
                <a:gd name="connsiteX1" fmla="*/ 1715213 w 1769934"/>
                <a:gd name="connsiteY1" fmla="*/ 257442 h 257442"/>
                <a:gd name="connsiteX2" fmla="*/ 0 w 1769934"/>
                <a:gd name="connsiteY2" fmla="*/ 257442 h 257442"/>
                <a:gd name="connsiteX3" fmla="*/ 54720 w 1769934"/>
                <a:gd name="connsiteY3" fmla="*/ 0 h 257442"/>
                <a:gd name="connsiteX0" fmla="*/ 1769935 w 1769935"/>
                <a:gd name="connsiteY0" fmla="*/ 0 h 257442"/>
                <a:gd name="connsiteX1" fmla="*/ 1715214 w 1769935"/>
                <a:gd name="connsiteY1" fmla="*/ 257442 h 257442"/>
                <a:gd name="connsiteX2" fmla="*/ 0 w 1769935"/>
                <a:gd name="connsiteY2" fmla="*/ 257442 h 257442"/>
                <a:gd name="connsiteX3" fmla="*/ 54721 w 1769935"/>
                <a:gd name="connsiteY3" fmla="*/ 0 h 257442"/>
                <a:gd name="connsiteX0" fmla="*/ 1769935 w 1769935"/>
                <a:gd name="connsiteY0" fmla="*/ 0 h 257442"/>
                <a:gd name="connsiteX1" fmla="*/ 1715214 w 1769935"/>
                <a:gd name="connsiteY1" fmla="*/ 257442 h 257442"/>
                <a:gd name="connsiteX2" fmla="*/ 0 w 1769935"/>
                <a:gd name="connsiteY2" fmla="*/ 257442 h 257442"/>
                <a:gd name="connsiteX3" fmla="*/ 54722 w 1769935"/>
                <a:gd name="connsiteY3" fmla="*/ 0 h 257442"/>
                <a:gd name="connsiteX0" fmla="*/ 1930236 w 1930236"/>
                <a:gd name="connsiteY0" fmla="*/ 0 h 257442"/>
                <a:gd name="connsiteX1" fmla="*/ 1715214 w 1930236"/>
                <a:gd name="connsiteY1" fmla="*/ 257442 h 257442"/>
                <a:gd name="connsiteX2" fmla="*/ 0 w 1930236"/>
                <a:gd name="connsiteY2" fmla="*/ 257442 h 257442"/>
                <a:gd name="connsiteX3" fmla="*/ 54722 w 1930236"/>
                <a:gd name="connsiteY3" fmla="*/ 0 h 257442"/>
                <a:gd name="connsiteX0" fmla="*/ 1930236 w 1930236"/>
                <a:gd name="connsiteY0" fmla="*/ 0 h 257442"/>
                <a:gd name="connsiteX1" fmla="*/ 1875514 w 1930236"/>
                <a:gd name="connsiteY1" fmla="*/ 257442 h 257442"/>
                <a:gd name="connsiteX2" fmla="*/ 0 w 1930236"/>
                <a:gd name="connsiteY2" fmla="*/ 257442 h 257442"/>
                <a:gd name="connsiteX3" fmla="*/ 54722 w 1930236"/>
                <a:gd name="connsiteY3" fmla="*/ 0 h 257442"/>
                <a:gd name="connsiteX0" fmla="*/ 1930236 w 1930236"/>
                <a:gd name="connsiteY0" fmla="*/ 0 h 257442"/>
                <a:gd name="connsiteX1" fmla="*/ 1875514 w 1930236"/>
                <a:gd name="connsiteY1" fmla="*/ 257442 h 257442"/>
                <a:gd name="connsiteX2" fmla="*/ 0 w 1930236"/>
                <a:gd name="connsiteY2" fmla="*/ 257442 h 257442"/>
                <a:gd name="connsiteX3" fmla="*/ 54722 w 1930236"/>
                <a:gd name="connsiteY3" fmla="*/ 0 h 257442"/>
                <a:gd name="connsiteX0" fmla="*/ 1930236 w 1930236"/>
                <a:gd name="connsiteY0" fmla="*/ 0 h 257442"/>
                <a:gd name="connsiteX1" fmla="*/ 1875514 w 1930236"/>
                <a:gd name="connsiteY1" fmla="*/ 257442 h 257442"/>
                <a:gd name="connsiteX2" fmla="*/ 0 w 1930236"/>
                <a:gd name="connsiteY2" fmla="*/ 257442 h 257442"/>
                <a:gd name="connsiteX3" fmla="*/ 54721 w 1930236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30236" h="257442">
                  <a:moveTo>
                    <a:pt x="1930236" y="0"/>
                  </a:moveTo>
                  <a:lnTo>
                    <a:pt x="1875514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6" name="btfpRunningAgenda2LevelTextRight600372">
              <a:extLst>
                <a:ext uri="{FF2B5EF4-FFF2-40B4-BE49-F238E27FC236}">
                  <a16:creationId xmlns:a16="http://schemas.microsoft.com/office/drawing/2014/main" id="{E14F68BC-6319-48EA-6AFB-4646700FA5A3}"/>
                </a:ext>
              </a:extLst>
            </p:cNvPr>
            <p:cNvSpPr txBox="1"/>
            <p:nvPr/>
          </p:nvSpPr>
          <p:spPr bwMode="gray">
            <a:xfrm>
              <a:off x="2351636" y="876300"/>
              <a:ext cx="1875514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overlap</a:t>
              </a: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4E2BEE82-5ECE-AEFD-1BBB-AFD3E01B5EC4}"/>
              </a:ext>
            </a:extLst>
          </p:cNvPr>
          <p:cNvSpPr txBox="1"/>
          <p:nvPr/>
        </p:nvSpPr>
        <p:spPr bwMode="gray">
          <a:xfrm>
            <a:off x="2093803" y="1621420"/>
            <a:ext cx="8535868" cy="21120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900" b="1"/>
              <a:t>Pave America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D1F4695-585C-F1EB-E8A6-8AA57A0860E5}"/>
              </a:ext>
            </a:extLst>
          </p:cNvPr>
          <p:cNvSpPr txBox="1"/>
          <p:nvPr/>
        </p:nvSpPr>
        <p:spPr bwMode="gray">
          <a:xfrm>
            <a:off x="10683240" y="1621420"/>
            <a:ext cx="1199181" cy="211202"/>
          </a:xfrm>
          <a:prstGeom prst="rect">
            <a:avLst/>
          </a:prstGeom>
          <a:solidFill>
            <a:srgbClr val="BBCABA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900" b="1"/>
              <a:t>Competitor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4489CAE-6FA1-0907-0FE2-FB2FED5A4D2A}"/>
              </a:ext>
            </a:extLst>
          </p:cNvPr>
          <p:cNvSpPr txBox="1"/>
          <p:nvPr/>
        </p:nvSpPr>
        <p:spPr bwMode="gray">
          <a:xfrm rot="16200000">
            <a:off x="-739214" y="3975693"/>
            <a:ext cx="3115016" cy="21120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900" b="1"/>
              <a:t>Pave America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E37F2D1C-36D4-9C5D-63B8-29C48350BFEA}"/>
              </a:ext>
            </a:extLst>
          </p:cNvPr>
          <p:cNvSpPr txBox="1"/>
          <p:nvPr/>
        </p:nvSpPr>
        <p:spPr bwMode="gray">
          <a:xfrm rot="16200000">
            <a:off x="584369" y="5837576"/>
            <a:ext cx="486838" cy="21120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900" b="1"/>
              <a:t>Comp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CDE9147-88D1-D19D-C2E3-810398909FAB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1030142" y="2523787"/>
            <a:ext cx="10852279" cy="3175971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D01A093-AA50-E2C4-43DF-53AB5009465C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 rot="5400000">
            <a:off x="4229059" y="-214014"/>
            <a:ext cx="4252557" cy="8548669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9" name="btfpCallout265433">
            <a:extLst>
              <a:ext uri="{FF2B5EF4-FFF2-40B4-BE49-F238E27FC236}">
                <a16:creationId xmlns:a16="http://schemas.microsoft.com/office/drawing/2014/main" id="{00FE135D-1A6F-CEBD-F8C3-827DFE260F52}"/>
              </a:ext>
            </a:extLst>
          </p:cNvPr>
          <p:cNvSpPr/>
          <p:nvPr/>
        </p:nvSpPr>
        <p:spPr bwMode="gray">
          <a:xfrm>
            <a:off x="261954" y="1472253"/>
            <a:ext cx="1634080" cy="799202"/>
          </a:xfrm>
          <a:prstGeom prst="wedgeRectCallout">
            <a:avLst>
              <a:gd name="adj1" fmla="val 57995"/>
              <a:gd name="adj2" fmla="val 57096"/>
            </a:avLst>
          </a:prstGeom>
          <a:solidFill>
            <a:srgbClr val="FFFFFF"/>
          </a:solidFill>
          <a:ln w="19050">
            <a:solidFill>
              <a:srgbClr val="5C5C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US" sz="900" b="1" i="1">
                <a:solidFill>
                  <a:srgbClr val="5C5C5C"/>
                </a:solidFill>
              </a:rPr>
              <a:t>Reading-aid</a:t>
            </a:r>
            <a:r>
              <a:rPr lang="en-US" sz="900" i="1">
                <a:solidFill>
                  <a:srgbClr val="5C5C5C"/>
                </a:solidFill>
              </a:rPr>
              <a:t>: Alpha paving and Pave America share ‘X’ number of visitors. That ‘X’ is 4% of Alpha paving’s traffic and 7% of Pave America's traffic.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1BDDDF0-9CD9-0BDA-E0DC-6B713F650560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38" y="946635"/>
            <a:ext cx="252287" cy="251574"/>
          </a:xfrm>
          <a:prstGeom prst="rect">
            <a:avLst/>
          </a:prstGeom>
        </p:spPr>
      </p:pic>
      <p:pic>
        <p:nvPicPr>
          <p:cNvPr id="16" name="Picture 2" descr="Pave America | Concrete &amp; Asphalt Paving Contractors Nationwide">
            <a:extLst>
              <a:ext uri="{FF2B5EF4-FFF2-40B4-BE49-F238E27FC236}">
                <a16:creationId xmlns:a16="http://schemas.microsoft.com/office/drawing/2014/main" id="{FA353F26-3994-5947-DA42-5F73E045C8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563" y="3119351"/>
            <a:ext cx="926487" cy="96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" descr="Alpha Paving Industries, LLC - FRIENDSWOOD CHAMBER OF COMMERCE">
            <a:extLst>
              <a:ext uri="{FF2B5EF4-FFF2-40B4-BE49-F238E27FC236}">
                <a16:creationId xmlns:a16="http://schemas.microsoft.com/office/drawing/2014/main" id="{56D56E07-26E1-0AF8-F930-DE6D808481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8641" y="2630589"/>
            <a:ext cx="465160" cy="224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0" descr="Contact Us | Quality Paving Services | Brothers Paving">
            <a:extLst>
              <a:ext uri="{FF2B5EF4-FFF2-40B4-BE49-F238E27FC236}">
                <a16:creationId xmlns:a16="http://schemas.microsoft.com/office/drawing/2014/main" id="{B4C20735-307C-A537-FD9E-41B4C296D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1644" y="3999723"/>
            <a:ext cx="722157" cy="2026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2" descr="Turner Asphalt Reviews: What Is It Like to Work At Turner Asphalt? |  Glassdoor">
            <a:extLst>
              <a:ext uri="{FF2B5EF4-FFF2-40B4-BE49-F238E27FC236}">
                <a16:creationId xmlns:a16="http://schemas.microsoft.com/office/drawing/2014/main" id="{6C50D4FF-197E-307A-0E9E-09191EC6723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968" b="40222"/>
          <a:stretch/>
        </p:blipFill>
        <p:spPr bwMode="auto">
          <a:xfrm>
            <a:off x="1078994" y="4462593"/>
            <a:ext cx="897943" cy="177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4" descr="Working at Cincinnati Asphalt: Employee Reviews | Indeed.com">
            <a:extLst>
              <a:ext uri="{FF2B5EF4-FFF2-40B4-BE49-F238E27FC236}">
                <a16:creationId xmlns:a16="http://schemas.microsoft.com/office/drawing/2014/main" id="{0C6287E4-9D3A-0B39-0387-0D3DC165C0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6392" y="4881194"/>
            <a:ext cx="667859" cy="2053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6" descr="Pavement Experts in Denver, CO - National Pavement Partners">
            <a:extLst>
              <a:ext uri="{FF2B5EF4-FFF2-40B4-BE49-F238E27FC236}">
                <a16:creationId xmlns:a16="http://schemas.microsoft.com/office/drawing/2014/main" id="{8AB3E8AE-9F89-47A8-CE81-D17DEDA419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616" y="5313700"/>
            <a:ext cx="981952" cy="2687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8" descr="Rose Paving Merges with Atlantic Southern Paving and ...">
            <a:extLst>
              <a:ext uri="{FF2B5EF4-FFF2-40B4-BE49-F238E27FC236}">
                <a16:creationId xmlns:a16="http://schemas.microsoft.com/office/drawing/2014/main" id="{2C45AAED-F42D-B96F-CC5A-0C034D4AA5E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88" t="27030" r="19071" b="29133"/>
          <a:stretch/>
        </p:blipFill>
        <p:spPr bwMode="auto">
          <a:xfrm>
            <a:off x="1338765" y="5793774"/>
            <a:ext cx="630841" cy="244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3CC5AE99-A00C-DA73-36DF-A0D7879CED1C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488853" y="3551541"/>
            <a:ext cx="485843" cy="233395"/>
          </a:xfrm>
          <a:prstGeom prst="rect">
            <a:avLst/>
          </a:prstGeom>
        </p:spPr>
      </p:pic>
      <p:pic>
        <p:nvPicPr>
          <p:cNvPr id="24" name="Picture 2" descr="Pave America | Concrete &amp; Asphalt Paving Contractors Nationwide">
            <a:extLst>
              <a:ext uri="{FF2B5EF4-FFF2-40B4-BE49-F238E27FC236}">
                <a16:creationId xmlns:a16="http://schemas.microsoft.com/office/drawing/2014/main" id="{A8F8D609-E1A9-7BD0-8396-131A6537B6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2248" y="2272979"/>
            <a:ext cx="701200" cy="73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4" descr="Alpha Paving Industries, LLC - FRIENDSWOOD CHAMBER OF COMMERCE">
            <a:extLst>
              <a:ext uri="{FF2B5EF4-FFF2-40B4-BE49-F238E27FC236}">
                <a16:creationId xmlns:a16="http://schemas.microsoft.com/office/drawing/2014/main" id="{B8CA9F6A-59CD-EF26-2D2B-F953CDC99C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5547" y="2191414"/>
            <a:ext cx="465160" cy="224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10" descr="Contact Us | Quality Paving Services | Brothers Paving">
            <a:extLst>
              <a:ext uri="{FF2B5EF4-FFF2-40B4-BE49-F238E27FC236}">
                <a16:creationId xmlns:a16="http://schemas.microsoft.com/office/drawing/2014/main" id="{B209203B-6876-6E57-C675-223E377420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8865" y="2242936"/>
            <a:ext cx="660297" cy="185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12" descr="Turner Asphalt Reviews: What Is It Like to Work At Turner Asphalt? |  Glassdoor">
            <a:extLst>
              <a:ext uri="{FF2B5EF4-FFF2-40B4-BE49-F238E27FC236}">
                <a16:creationId xmlns:a16="http://schemas.microsoft.com/office/drawing/2014/main" id="{4B7679F3-44CB-A406-E8C1-1ABF9144A69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968" b="40222"/>
          <a:stretch/>
        </p:blipFill>
        <p:spPr bwMode="auto">
          <a:xfrm>
            <a:off x="7222549" y="2265000"/>
            <a:ext cx="670051" cy="132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14" descr="Working at Cincinnati Asphalt: Employee Reviews | Indeed.com">
            <a:extLst>
              <a:ext uri="{FF2B5EF4-FFF2-40B4-BE49-F238E27FC236}">
                <a16:creationId xmlns:a16="http://schemas.microsoft.com/office/drawing/2014/main" id="{8F6D2D8F-419B-9061-BC84-2CA7985A13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8836" y="2228876"/>
            <a:ext cx="575260" cy="1768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16" descr="Pavement Experts in Denver, CO - National Pavement Partners">
            <a:extLst>
              <a:ext uri="{FF2B5EF4-FFF2-40B4-BE49-F238E27FC236}">
                <a16:creationId xmlns:a16="http://schemas.microsoft.com/office/drawing/2014/main" id="{31CE15D4-79E0-96A5-D8EE-4F71F8B2FB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9424" y="2136829"/>
            <a:ext cx="940247" cy="2572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18" descr="Rose Paving Merges with Atlantic Southern Paving and ...">
            <a:extLst>
              <a:ext uri="{FF2B5EF4-FFF2-40B4-BE49-F238E27FC236}">
                <a16:creationId xmlns:a16="http://schemas.microsoft.com/office/drawing/2014/main" id="{95E187E9-EC9D-FD51-BCAC-A32A06B6A00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88" t="27030" r="19071" b="29133"/>
          <a:stretch/>
        </p:blipFill>
        <p:spPr bwMode="auto">
          <a:xfrm>
            <a:off x="10970989" y="2230740"/>
            <a:ext cx="496829" cy="1927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70">
            <a:extLst>
              <a:ext uri="{FF2B5EF4-FFF2-40B4-BE49-F238E27FC236}">
                <a16:creationId xmlns:a16="http://schemas.microsoft.com/office/drawing/2014/main" id="{67D05E6A-B55A-E66A-78AB-03C2B14C7C9E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4872506" y="2210271"/>
            <a:ext cx="485843" cy="23339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464833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btfpColumnIndicatorGroup2">
            <a:extLst>
              <a:ext uri="{FF2B5EF4-FFF2-40B4-BE49-F238E27FC236}">
                <a16:creationId xmlns:a16="http://schemas.microsoft.com/office/drawing/2014/main" id="{B1A65001-6B28-BC49-1FE0-71C264882E9C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69" name="btfpColumnGapBlocker286732">
              <a:extLst>
                <a:ext uri="{FF2B5EF4-FFF2-40B4-BE49-F238E27FC236}">
                  <a16:creationId xmlns:a16="http://schemas.microsoft.com/office/drawing/2014/main" id="{BF619389-4CF5-2877-9376-BF4EC2668F7C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67" name="btfpColumnGapBlocker902600">
              <a:extLst>
                <a:ext uri="{FF2B5EF4-FFF2-40B4-BE49-F238E27FC236}">
                  <a16:creationId xmlns:a16="http://schemas.microsoft.com/office/drawing/2014/main" id="{292B2922-37FD-8389-CE4E-124A9742F4FE}"/>
                </a:ext>
              </a:extLst>
            </p:cNvPr>
            <p:cNvSpPr/>
            <p:nvPr/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5" name="btfpColumnIndicator377608">
              <a:extLst>
                <a:ext uri="{FF2B5EF4-FFF2-40B4-BE49-F238E27FC236}">
                  <a16:creationId xmlns:a16="http://schemas.microsoft.com/office/drawing/2014/main" id="{5E4969C7-95B3-2AF0-EA48-104739F989E4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btfpColumnIndicator297045">
              <a:extLst>
                <a:ext uri="{FF2B5EF4-FFF2-40B4-BE49-F238E27FC236}">
                  <a16:creationId xmlns:a16="http://schemas.microsoft.com/office/drawing/2014/main" id="{D1B0C60D-69C2-9CE2-AB47-02BCE710E43C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btfpColumnGapBlocker308792">
              <a:extLst>
                <a:ext uri="{FF2B5EF4-FFF2-40B4-BE49-F238E27FC236}">
                  <a16:creationId xmlns:a16="http://schemas.microsoft.com/office/drawing/2014/main" id="{23AC614F-BA1D-3C0D-A546-9EA3C85F4932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9" name="btfpColumnIndicator388842">
              <a:extLst>
                <a:ext uri="{FF2B5EF4-FFF2-40B4-BE49-F238E27FC236}">
                  <a16:creationId xmlns:a16="http://schemas.microsoft.com/office/drawing/2014/main" id="{C80048D8-6D5E-38C2-0B56-188294198598}"/>
                </a:ext>
              </a:extLst>
            </p:cNvPr>
            <p:cNvCxnSpPr/>
            <p:nvPr/>
          </p:nvCxnSpPr>
          <p:spPr bwMode="gray">
            <a:xfrm flipV="1">
              <a:off x="582572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btfpColumnIndicator694440">
              <a:extLst>
                <a:ext uri="{FF2B5EF4-FFF2-40B4-BE49-F238E27FC236}">
                  <a16:creationId xmlns:a16="http://schemas.microsoft.com/office/drawing/2014/main" id="{2DEE158E-EBAD-B76C-0D29-B7E21DCEDAFD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0" name="btfpColumnIndicatorGroup1">
            <a:extLst>
              <a:ext uri="{FF2B5EF4-FFF2-40B4-BE49-F238E27FC236}">
                <a16:creationId xmlns:a16="http://schemas.microsoft.com/office/drawing/2014/main" id="{2469C031-87A5-796E-2DD2-A384D5697EFF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68" name="btfpColumnGapBlocker295848">
              <a:extLst>
                <a:ext uri="{FF2B5EF4-FFF2-40B4-BE49-F238E27FC236}">
                  <a16:creationId xmlns:a16="http://schemas.microsoft.com/office/drawing/2014/main" id="{6F215772-143E-37C8-33E5-03B10D82BDA4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66" name="btfpColumnGapBlocker631135">
              <a:extLst>
                <a:ext uri="{FF2B5EF4-FFF2-40B4-BE49-F238E27FC236}">
                  <a16:creationId xmlns:a16="http://schemas.microsoft.com/office/drawing/2014/main" id="{E5F66E38-2A58-83B7-4569-22486A1CA267}"/>
                </a:ext>
              </a:extLst>
            </p:cNvPr>
            <p:cNvSpPr/>
            <p:nvPr/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4" name="btfpColumnIndicator915677">
              <a:extLst>
                <a:ext uri="{FF2B5EF4-FFF2-40B4-BE49-F238E27FC236}">
                  <a16:creationId xmlns:a16="http://schemas.microsoft.com/office/drawing/2014/main" id="{87A74407-21BE-2597-05E8-D7EB407E9F17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btfpColumnIndicator333103">
              <a:extLst>
                <a:ext uri="{FF2B5EF4-FFF2-40B4-BE49-F238E27FC236}">
                  <a16:creationId xmlns:a16="http://schemas.microsoft.com/office/drawing/2014/main" id="{95CE792F-9A31-65C6-9C69-9131F5200CD9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btfpColumnGapBlocker131547">
              <a:extLst>
                <a:ext uri="{FF2B5EF4-FFF2-40B4-BE49-F238E27FC236}">
                  <a16:creationId xmlns:a16="http://schemas.microsoft.com/office/drawing/2014/main" id="{201E9172-CDB2-DBA8-89A9-F84A32CAD6F0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8" name="btfpColumnIndicator263747">
              <a:extLst>
                <a:ext uri="{FF2B5EF4-FFF2-40B4-BE49-F238E27FC236}">
                  <a16:creationId xmlns:a16="http://schemas.microsoft.com/office/drawing/2014/main" id="{43C62728-398B-5DCF-8742-8C83EBE7966C}"/>
                </a:ext>
              </a:extLst>
            </p:cNvPr>
            <p:cNvCxnSpPr/>
            <p:nvPr/>
          </p:nvCxnSpPr>
          <p:spPr bwMode="gray">
            <a:xfrm flipV="1">
              <a:off x="582572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btfpColumnIndicator194591">
              <a:extLst>
                <a:ext uri="{FF2B5EF4-FFF2-40B4-BE49-F238E27FC236}">
                  <a16:creationId xmlns:a16="http://schemas.microsoft.com/office/drawing/2014/main" id="{F59AAC68-FB63-E632-3A81-AE0217262896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Rectangle 35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jGqWYA6BjsAEOoBh/sxdjbjOIlqW00QkN1B+POn69dvO2kRCA0fuSBYFoyafyotITGnUIttRWRAKVVUostTOUW4G6tNk/dAa/f5doJqzRe/HmvbAcnAxdWmueMgyzxaX3h3SfB9eHN52y4NT7gk7QJhUqVDBLhrauqypOt1nxLoxoSFI5jPFrBRrZMPDKibYoCySjNoWEPvzPoeB3wepnQfLpSIIbji4P+Ocp5dXeiAZBGey6G4aqXrv9iw1xDEIYxKGYbGtSJ1xLLq7L//82aJrz9HGaeqrIESgDW6QI3mKKQYQRs6aJ87uiqbVTUm3ukN8VT1GhCnTOeJ/ePQ9g1CnZP2GmIkLzTfWG20Fm3ZO17GzTT/YxpPr1W2jWYU5y5IgjGv9zzSITkHrl8k7A5fDIMGBBDl6S3RPU/M1BhOeeo8Oq+kHyU4p2HS9OyTXXF53BR8rtcHg9mb9AwU5w0JLu1EMauTleQj0weYt9TJFs9ziKMP0y8Cv/t9IXwDJ0gn+sFbjt87RpfuMqToY6wwQcZN/0eUvHuxv2q2tFTqxhaOHKYTkwcT6rfOkAPlrTCFr6FOAGaryVL5J9aRtc7op+SQ5ZhBvlD5nLi/AJFMUvDYMTLAz7Laz7HI9cC1SsZ3QiVHNGjgBu4xOdXbN7aozyRqrMHKfYGPFhVyJ3BCSLt95yulWByjuJyRU/5mPM1X9FpehekTj1gAwhmv9nH/xLX2drni2Hvhq8QrTsw+e8kSkQfeFr7ZGIdZXrhDZRWlWgjgdFrIqoSOIbkYRd2eNezaueerRr29XxfOVp3WTFYTKoGwHz3wHYNA10OQJG/hObQSX+DK1+r3f4/h0Bjglp8/A6dwKbxoLoxLUJ69QmvKxW8V9Xtfjoekwik9IS3JKUo3l8eEiN5s1rgqOO1K/4dHuzRlqgFqjadRcdv1O3F8JBj5QigwcKX1PHSSXu/lxLQfA8LyBDaU8xTEOrGOy3oU9wS622XQhTSkmJn1BZt6vQZWk9oKdsac8XRcxrJDobcW5EO2sfJ9K1OB8zaxVCDOJtSFkpbVoQV3aEAuwwNNDi+keWHhZgvXVeKj/usLbT0pSzYhnP1HvADRCT+l75PcoTXu+PmsMMoW3J6K4gDvWTdrIMabJf2fjBXsYwPNhR6iEUg/Fydr/g2DjxEw+3cRgtoNvs+9EKtXENm1ZkyQLQjUfzczBkP49Q+gX5VLyfQIboEbYjpefU7kKc1tTNfphTbIUpsM+YBbrlGdkwFJlBVODnOkq+Gh8jreUuX1m1B29zl/V9E65NLvnVzhElHbOrR0nKq27W7Oi2jFWFI44bagSDRa8OfADyn6W4uHdO0f38B9/lrLAEe5s2B4Ol9EPlpVUrAvl0p3Ni+oKYefKsetPSvPL0nqUdP8fcP4hdCTxggxvUD6ks3zgQoRMLsDfwcZj0C6fYVnKdosL9iLK7oGASk9aoca8AOI86neu2jfHMwxFYGOArXRsO9P6ooy03t7GOiTr4ol0wIYULKwrAYAccZ3IDoyYmXWHFKCZw8lWKFQsU7wULzYHRgsJGZmn1D+Y8AFrA9erixAIfuQsNiegpLR7hOIWgEksoAqGfbMNfbU86kbC+E0bLtwX7MGSMuR26l4MD02oXcDk0KaW+SXSSbWKRi75XlWe/PziAAQkzC6Mbh1cJf2jeJwRAgh0Y2G8nHWcmQXxCOhIoedn2GextoqdbcuXL39g2Ld3gVjtrRlDA6BzWVGMilxbm+6eqeSAXEEKOClWjPe2WXzkUqqEJRGL8QrctHDZ8JJz6c7IfbGViApMz97mFftODB7BUXSPuko/cG2W3F1xWAXkKS9lfbOgwKf7HCZ+LpnYRa0mxb7Pj2+sTOk8mHO+ijD2DdmjVcjwbphTH5Vl82nkCn0Ar376nJ3CL7U16GCzPfJNKOfvqi6h5aO/fhmewjArYvJXqwKnnKfnXZL3XAHmfACai93iFqfYMtaIq4yaJ0H5TiRG4ho3CuS0gUP0IjFL9b5VhjF4Qdl1Y4YcN5LXiWwlAd3PyQxPJMvaNvuKeojMKBsOYIoYni7GV5H5JS8/v3UUXiDA4bTzhBkXuuAQYMP/FbFagtMFz+lDnvDCK1yeIESwgqBGHmbDVW/lZ14NXfXu8/eURCegIKH1jFl+n7PhtZ7fYNjQ9ODrPHfY14iQBXT8sJbxBg6xD68qbGFVXcvGEldWNY/5jaJ6LbITQuaUIuVegvttLJ8D94OldEySFvoJnZcazJmmoEq9ZR7/kW1IYbDPUuY+2iGkj4K1Bpjb+3Cgou5eDmNmSWvGJfSlkmi60wV5Tisoqx+JcYT/SD4up7ZvCOxKsTYpSPoctVp+9rNp+r6+A5jqNX+BJvITMVOXO5KKhD9IH3WM1SwhErb/JO98zIcmz5UCV1UK4qXWL9FRe4cllFfhApIyG1xH0jxcvZN9f+SdbFWQJf9iJh59mMds9px/Ti4Zf9Do4AgvF8Jt/cj/VtSXrMfZ499V/LoUBKUEU25Mxz/Z1A+EwfcixEO7ZdV3njrrMC+hb5BTRGgBDxnHYGjOnRkbdYDHcwNESBmMlYjEnyNbUFu9pqxxsYNXAAzNBTVXLskNTWGDg+bYiXZ1oT2JrrZ1KyrrFE6rv/l8jONe1f9gxaNYoZFOY5KHDX2EizW2YTaOEWtPakUtsYj43x3FWSonYNz9EhXerJEYk503z7muRh3yhFBPI8SRuXsZUfeu8enz4JvATwIWJz43Ouo6Hp+dUEYFu1jBQRFGjcPr5i0IdZLwLdBPv6l3ovKSjdw1BHTV0Ezi3sKajtJM7Ikc2RLyIbmlDlG5MjI3modfCCFOK1XseFctzfSD3LfRjDFnUf60fs72vKUhV332MQt319l7rnbgLJ/SipChIwcOwhs4+/ip2Tc6eWmLDITaqBQYcOj2JeoFULfJxdeL9XgP4xjcgZWBzRR7fa+BHULoF1jThPOGkBf1hrnJ722GuXDGWDvw8q5QV9k5McpHTrLOICAtp3pQakv68xFaSV77Pu2zWVliHPKO1Yu3f643gQItRltnYvneCOkCBXQ9Er5D2hs60NdqTMbD9wiwC5vCKrVmlDktGrhN8Mvgclfj65HA+RwHUreh0g/F04p1JTLYsoJvG7Zuh+N6y6cM0b2ZxaMIhtZ7Kmn2A3/XioJ8I6J6rchyClbmRZKyAKHsAA5XqHNLlzbg4XlgVQnnusaorAnj3GfghgCZsCwZgi6ca/jDu/4lZNWQpSY7Y/wmhQLQytSOKkOfp0tKujs3dKUqUlucJc1p+N9vHQBEL1w9iHM0Jm418NusofjgIVBHqFojxB/KZE9qNlSAJuaqNXBqXVWKAD+wyRs5rMGNGR4GtL7IUJ4typIdeZxh9JkHunGHQMICHU5nuz+q+AQKHwWv9wBPAFEfnAKxSoMvdRosPyNIRyrVobY+EyaE0gskw/z6zpnc7iTj+HSBa0dQqcE/U+XnnKoauaFd3j4hGZy6Kmg5TgGxfzeAsj6T+Kb8sVTc/KgkSHypzXeulnedjsuTPwqP8eqlkAy8yfY8tHPluMVxkd7VQgs5DNh7PQ1ZtdwAk8WWrkmT23iwEr7v+2MgS4pCr8iX0ONstddkawN0qlms8KmJC38hhhXfwbCtBG8DT8yyGHL8DDhmX1oGs87nrv5d1SG6qyt4etxhk3+mmrSiGnGVnAObgVEF22G6fXB6oQoDwf+ggC/30hkLZTqXD9LvrPa5PmQLX1ZADt6qs4G154tqWKMK4Ch82PiE+blVbsDj5+lp21q79akAk2guEXCUNOfwrUTfNDLAGBAL70NxFBqkPrkTfI2XvNrsXby4UhvScc3VSq7SKs6SuK9R6tiqAbS4G4W73ikOD3QUco+CdJ+9bsNMEReagNiNfCmIdi7gAPUy7/WcWIcBfbW3VyJvnkqb1UeTmnoYZzBUF/bkqzFAkabvjyGmj6fklWR6A5gZ7VdYg9xqwwJ8eu1IbjPOMkrTiGe5iOt7b5870obJeqEOvH2ihpJtWtuJaCV3VjgTnGZSzaLwt95N2mfIhk3bNdMSlixDu4zDM/CVxRaMqXbvPIzc9l6DQp/lrFC9ajUHktam++k60AMpsf06KmjKoT0jkEpIisFSrqAwZL35R5dzmfmF5sG8/nHNB4WlxOjDejmMVMeydglppS+abirzx+gxlqx/trjGbLvWBVz7O9W6k9k4427KCUCkv1t1sb5gH8sFlMfCOBmmrSQl/N4il5g5qxVHFpTcXnDj2YF78wSiinfvYuwsFE0kzeBuIDiCl3iQqVFtNHKEypIzudhdEQ4YIZZWDbFoJVFTtOCHTubhXIovhx0B/iY47ZYMO5lqnJv2JbdBkSFFlAcLdLpoRpgbWj13EGhz49/Ly/rWukBk2J2DyGhhqn7CXcT38pjqs4msGL5jX/CgUAi6HMsvzwr09s0+x7klBTUmcAeDbq1/gfqO0+D4NysVfohPF4zN90J+G94fy3KPUZ2xaJftif4o28mML5W1eG9txbX17ekKM/tBvSHdz3uLIotBJW0+/uwSS9mj3+WmzfqnPCwri+ulSzUmcpniK+xZRioGiDM4VdI3ynX8AHPOtAxzjyYlxgUYMeFKMl1Im6J0xS47I3eIrX4bFcdNXYny5MNMjmvLZ1FogAUhQvP/7dwZ60faPM9MmeZlaD3rrTRfagjSzBhJaexLPf2Q2CQ7obkNAcOwYFO1ZTfdf12bjJDqvNgxYlcrHGoJj8tnxzQLuTwiJNztqUgO5Avve4UUjA+bvIkyi5oOwYwujYGfKWTHfeoNdfYgP/h8PX8bPnCI73QT6rkRO4gDmrkYePC4eaYtEXVFKL4mn7TfIQfAhNZpic1h1X23C2h2zr/fDwRCWSXlFYj0DyMNekQd65ReP0p/zC/sHWHKd9VWQkyRIAtCJ2X23NHUklF89g3MpxkmZe7D6T5xTl/nlDr6PViNvTPCwfPSIHzUQ8JR3dNrDZtcdH7Qpe+fLhXkVM92BZgwkwlGuSR6HxWpDGJpZsJXuLMLfE1q+Y/o9622jxwKn227vDbYRwpDqndwhBkXjIkPQLZ3iSVdo5NRLuix2mELSOKqtp1sc0VCcZRZltG9kauoCcRqIeq6/LnU8FupFjcNTAbPoNmNDZQnVQRDV8jVkI4lsm5s2nHiuTiTTAT/C965GPSJuXz8t6jyrShc1Igu1EM8cuKVxs4H9CipyHPsVFhAn1c1FmWSAZfJRWaeKcuHfnurEClG7M4Toqy9zZLm2w6VbvkJ+VBsVPQ5Ppcu9XOhyFqerlDPTbURs9sU3TDyBcDmvtD2wdB/+5pi4+aCAeXxrnH1Qd1Ia3UnwmnNYC/CteYmtexDBvS25u9mpT1R8mWNS+Uq7sUTMzct5lf2Ng4GnlIK01uYGMUYs9MjJCW2UyQIiqDpE96VYlY1EvFg9MWAQkB3gjNsaIPJTOw3DjPx5o+BRnAFn2GYiGZPckN+HzMnus25HS4Q11EWMCSRpoSmZWcH/nAqs37lL2V5YVZTy2Ue6ORh4VTBewnPvOdl3BWAZppGS/qjYE6NjsRevPeTXsPiXRn7n7YgoNmxpzUgUCmO673EIXpxnV0gSxl2NOBhWqBNC+jnC8iLd/p+MqpgKZ3nJFaicVPRyBgAHIYfqtkUO4tT1zzD+rkqO/H6azu9teYjJu8uXhC9uUpxPWWAYoiUQmhd3e4LhPd+0nNci77aVAQumcKxelPp3Zpn9zx/L7XfXO4mS/3i7ckLp3uswezQUHU0YfVoL5en/I1jvOvEB51Bnhvz1tPHhcpJl0/LVSwFrqd4XoY3hpb6U1xcZZVTGYoxQTmS5UGw6BuMZio03CC3Uwq28c5Mwfv+q7cXD47lrfGWTD0jA0UtWx2+HJh48BGbH6Fq8HjUy2lC8huex8yfQHSPPiEomumDFyZhcXI67AjdAtgcVbs9a4P/+zjlwYA4TxFIK2Dxpd6YlogBGW3BtPiwV4fUfBo4l500yknbH+IPMk9nmPd8owv1pPIDPRcad/JZgMzki5RyxfEkQYbeYKYArxliXJUgxU0eJQ2rUSjSVGtIrlK6vY8nU+J3FM9eCQelbBK4A0ahQaoXOH0xI5vtQrb+obf+lF2a8+vVMDwB5U6ZDuUAG/h6GZRmP/q3ncH/SSuxtk9lhoAwnXlWCsXDcdBifbtHFHMQ7zvXURC+R0tEJVFHmbptDwrXJpXttxDTQRa9WTgIJbIXqntxcvug5iWlbrz1uh/1wV2UOPZQ3V069qi4/qHorGWXoFYt7yoCX4HQleL44ppXDOqvoKyFDWqonvQWXvuvaC09Q2tw+vlkiL5Hy17vwUx5jp7CR8ban0hYzqfIvjgSrmWIGta8HXjx9ABSttATP85EAHu9W16WSL/9+UL9A4DRQXMEyto5SyeA6oJfR3sUDyWP4O9+cm3rOTUy3H3TdqaQ+w5sAORtbwMjfzwxCsedOxlPsg6MZCG+8eqNnA4HmNYCTqeLoRLr6Oi0YD2rPaYP/1tiwOj0Ov/76p8SopNu6xElnKwUfF/m5kJHU2qplRMPmZKGccVjLdyGZccbT7ecO7dsWsTdt5IRudBGzxGl3MXUiYEgcrWJQLpU9CHMUaktq6kbUOalW34Sr4jg3q3dPG3aezeYL+Fx7v2ek6C7hZHX1nWKkjHi9U19WrpMlM4JpelewTkNtIHgszrakHStf1c/m+fkbZtJf9YiNTbzSCksz9+WlDIdAlxlK3+BkqO+yjCyXSGdZ+O/zO1+pFs0vKDu0DUa8FDgs5Fg1nsIX4vhHZgiREIdESB+5bGMyY/yzpojvzZHxxvjjqKytWxTJqgXmHQc+z56symM9r7viibJURd7mCaXY98r+xNvMq8rB16rkyhPrnv6h2Jzl0juDgMoVYqQXsGR6V1nRoSnSxEfYYRu/89QC/CKIRRoESm1MwmbEkhcQttzehISc+IuYrmUkkJJm+AkSGvT4dtD/QqFM/0O6fkoJj7tdNye/bp97pDIqlwtnomjwTc/a/KAr7nedG7Sw2wh61tlNZa7KLKuFuad0S2atCQ9wNzQrqGZp9A+Ymw9F0I0ezXVuiM1oOi2kub+Y6L7fKt6GcSuXkw4VNER0IGLzyIjU6xrLGaJR7FhjSafI1uR1CZNs9pm1gG7g9coqR4WXh8XmPE6gT6abaqOsExYzjlXgCrQIjwurIj5TtYN6nA/pbI+B3dETD85XZVWiEoBOdqz1J/EpBxoTUYaywjiRtRqPvfVUstIUWTeo/sKzKliUs5mTTah/yzWiaXmog00ThH/B0EHIopdQqKt6cs6ulUjPdZXIexJRJ2Fvd0PE9XXoSpn+K4WtGNmBi5u9G0lpdDDQdgOLcMrG+WwaAMJZuZuDpDMnjoXyj0Sx8akzlUbhXLG5cg+CeNV4qOTjdLEe741e7yLPGjjDN7sENil265XwE8OyeOK+0dW36tVsGzIeQLKy2qne37ezGllRAGdAMRmWdv9wqyhb9ieB7+MuWQyJxHUY/UPmyrfkVPNzH3MSQWE346uGOadj/2iRm5dzs7R8JLTZiLmSSTUKC24SUyI2apxFls8DA4gHss1wpA9kRtMhj8UjV0U32Wck/4xKQWVVG2iLwhduZoyhLM9OFfVrSSixhEBszH+6sEKl00CYhCxlyO3SgFVUKNYYGvRVZVj3fzTK/S3JJDY5W81mdk+LkLwX5Y/V42xgGV3uK8WcJshrh2/q0gnl8CBjPU4TPGkMkbFsfHw1kqDcGs7n8hqNH5Rsuu122rgdHnJ7hYpsLwm/enXxpdP83syNFIgdfZZ6uSrU58vTKLJjXl8y3+MdDmiFqp03XvNK6hd2tq92WKIX9eDeCrX1rx/zSr+eEtIKOW8c1V6TvC8Xkm22fGU9Nyr8ni/xoco30W+MMlbrHB4XBfJrtl/yOTlMXa04ODX4LDDCBveKJgwUfyM4Zs8miwV47dzU/lYzLDOqVTxCQt/xGplGCHzj5HvfOb100s8jUSTDa2LjtZ3SgYQm2+YL/v3XjyBRaWSmgwHC7P68QyMT5itjnMStidf9MHc/IpwPAMUT62Y3lHEh0Va9zx1BFaZoyflryqNCq/+jyKLqtchIMZ0HO+YEuueEMOjWlzqL1KFNjM/PXo7YNP/oO4WpYtHRxP+tHeSLuYeH5jG9ZDPR8RyfCerSGj+dtNFbhW5R8wW2SR9Sc5GWhbuQlu9U1z9B7af8x46T5kAzWDYXWhDvMLFYym2EI1rzcLcnBpYbdI6e39u60c+2ALCAfe2oz96Y1FWgZZJT8ZDODIFV8DtTPvZZZeAMLwJwU7xo8+/9D2i6cuCLwk5Vg/1N9RUAO28ilBDtBmoDoGX3OE3SV6ILY1v+vcR/g9RrySMqVfXHgMDRykQ95kscscMJY33CkrzIqU6LkzcHeNYIHPxUEC5uVkopIwMlm7Xjn8r7ObKKXyniHSJGR/nIeyrz339y0WhJMScg+3R3IfZRnPJy9SM65kVpmRXO+q3pf0JXRJtjmHDyTs5fZLXQ+yYb1Gcab7xvJLVa3BW3N5V551vdXvykESeJf4A76fT/b0V0cjVr90svZLuiDr3ck1gU06yWMoNNWc0BsgGBcoY1x150RlQVFH55qhDnQ8+bW2E76xsx7eMXOv4i0hyjBo4FdKO8sCvtDvuNPEeUHITV5XYPbup4XAqwcJAm4uPeVlpBN5dVKB0KvmE5k9xQp/MYzn1pMZY/gL0rgZI1uhol9SB0vvuFojyPooqOO2doJY7KFq0gOSBtsVIBAubhKetr44U6s5buJZAjNfaAeb/YV+AhcXFYDPS1bSfxAqaUhoCvbAlOrpEPcS6F0VFxbNnDS3XlWR3CP6ECEi24X2BzVSxNkVZOuHicMRahWqUW3G7i5Oy3qCFmHmrrO7ZoCDR2/5lXQGIQiQsBtXBdN2qkJN4+rmXIsxt+4AJ65H64I71oXqevmudSfrvpdRk+zOu/iLCazTCLdYu1E1UlGAg7jLBYA6nigUloLb7DtxmmvUHhOk0sQiPRwnIpaXhwWXduv73T0lXZpAG+ttqarBl/LWSPDhAPzSdIzDyEfo5tbBSlEtdFg7mDvSkIla8nH8y5P/XR0Lwq3qN6CZhHAOPMT5Y2ZqrqLsAS3LJrZLIO5f8ff19CVXCB+nlpc3C1jj9bj2SYYzrGNMpU9FxfmU0+NN33BfquHSVUqNCnMOIB5wadm4R6E8bsSs2ghtGDtYWoHL8z3UAKA8dUxhkW7x+X3sZBZco8Zgoovgwccxmxixa1RRW61hLmdVyAvWXXOAk690IK7GvZabI7H6cpzOD1lDIpA0LoAufvb6kD8RW6RJlGBpBLP8PKkJ5WsRdeWz2V9C8FLD9AYkM8Tx3IqOrcYREOnj+WM9L/jtoU+VNhz6D76MDASy/F9BVRLfEbho7bHdNlK6CxC6Fx5YtEaNweiJVGRM6H/stSg9YTsJtzEQep7GIHe6T+0AF+Z4EitD9xuj1dnu9rYOs1vapXZGvxc86O3EHgXFZ8d0wggeMgvhVmxk4I1HAUIGd26pxNpimRhAmttnz0kCmrnaPBjcqu4gHndPwn5BQXzng4gUYJmRAnKXN1Rv3ejk1ScF6RtxrC0V1l444KKxdgGZKg3+TXHaLTjT0n+9tVv394SbHIsZ2ZDKZUEV9RiUwPTse3eXpzubCDCqrPTCqFobEUa3ynQZlhfMnA6BxiR/SfKCllViiWojfxhvgt/bLAaXrNUniCbVbn5LDyqYWOHlgFZo2+AtQVN+50iUMIARoxGz5FyBnHyMyFq0vFt6CJzz9Qn2dyYgqhjv/3NGic/iXip+ZH2XRMtx+iUHNoSp6JHnK7Thura198DXHhB2nd3W5RNsLnlU7XrOqsD3F78f4oKP9NBTtR+47soUoXubweMA8rBwGqHVmaNdNoSJTPnFHhv4NbgWK2e/+pyhhvp4GmCKYlJqqUQzhj+JBtsKAUzeeHz0YkVE8b/qO4PZBXKiTvXh7wNq8m/bYo9JEp14pZ9ZGyl63bB0bTz2U9jmxaEhBdKE040AJCj71HmGy9ZnJBQkqkIxbt5MPiXDaH2zjmvrk5NzG6JAe7qr+2PXEMQYjdr/bZNWRgntObXL9muaOdv1ykmFiFmJwhcNjA8RtHTrFFVqLQvLIwjfUBag5Iq+r+DAO53Bv14VMnEoDo8taDyjyxPLT8oCUh23dNfrx+2AcIG6yKDVyEQd6O/lcV2HJe/YFDcV+sp0DzWMymof7aQfBWlqBTNSt+8G59rlVqw5W1hdX3ZA2GSFUyO+ltX/gtwecQJAbfANlO0cSIgOE/wZP2+DVI1pFu+gNMGXF5szuH6ZbeA5NC4WNXmd1hMqiwrO2atpL8l1UP++TNlA7v6C1lsNDWS7kApdQYNrJotiwRwYAkJJxTWm6KNOtj3gL040vx+6MN16gb+Krtgxvv6TN2qUSWP1tPp1VEZ5otx5AuSGneDN765Qo0DhcIsTj4SKWt6vg1oYBD9LQxRrMi4AJEwjqavwpHde8ORtmjIXkde0d2LzxrUXqxEC8UsSsuIDh7RcpvH4rJrYRG5e+90R8JrMRZmT4YsnwSFYGvbLxM17SMsdNxCx+C+oSS5mKXz88ySjUcF0XqA5CMj7X1yx2U5YlAETpdGMpf0bzzvGKH4+mQKtQR75NBCKbyIu++DfLYC5y8yVKNI6S6qzRQGXcAwZ2OtQ3DlzXw5p71O6JtSmWOaNKsgmKCZlxlnm49ppnr9mZCzdAUPeBOrrzaLhFbagC+zw15BEx5oiR8DhpG8RCeSqOiLpJni/rSexjuuqLZVpH2wE94xiQeJidjJjxKbX9lJnQ4himE+MjJg6CkdqSAI1nY0l30QKLipmMBi9yUQurUAV/MMye0gwMhTr6glqmWPCq++NsCBgHsesssFfNZHibG4j6WGbtlZibMiRBzRfmfhvQ8hzoxx1DsfZlw24VpFfqghiI6PJyFDvs1gHirC5rzUHJ9GEauUQDHHeHv25AUdIqbqxUkodmmUwhf5D+i/ZPXQv/53iKlr7z32HcycV8so1XVsm56tJCuOQKHKQMCcji+o2a26n5yHBZUetNsI6Vg92CvjIDJK+S9l4JxBnmGJyjmyFgAGkhMM7OxhsNSzyNgJBWXvaM69comRlK/s7FyhELcEl+am88IOKtg6P2FhmyYqcaKXbkyiG3mPGoDY+XWqX//y4Ni0kmyi2nKxG/J6bnPt2ckuzaUgZkkBkODjr1lvcrbh+TF0iDDWmlrOVG28DI+lNQPU1Fu5yGJTXOTLbIrHAzVjpsRIsw8oxcR1Z4pz/ZkSmfAH49PTpvdX2YMzGJgz6xDrgBfvDdW9zpc/5RRIIkhqxYIp8xE6BH62SMMqUeu2DSF5OKmWqstL1nj8uEnxpi+aJBR/xXW4ZBd1+HtRfkijCXl87nlS4vWWqMywAtCNRVzbLKzIFPGNOrMC6PAHF4UIBReqWgE7Sp0alHlhQZKs8ZMcdlMpvpARQOe7rTtvSGBeF5jQJYMGlCAyNnT9HmxhKgyyHY3ho2IZP9sRp0cHTTDMfcWC1cI/fZUNQwJc0VSML4yJ3rquWwdh/rqfv3YioWHa85ElhuTYVpp9tPnnZBsU2fUR2fBTiU4nVO1tuYeuguds0oO105e1GqCkwYp5wQEUdLWS/a+Ry04AYtZBHOBXVkqYfD3cQIzehIcolM4RJyHaHqAJ1FFiDNPVlwHXrWsVQOAtAJaK2Olda2woI1OF7s0R11bai+8W2IHzk4XITzgEFW+KgjEVsjdRXOaTWpyPvsJjnnxN2NjAuRxVuB5dHr4H3ALASM/3WjyYh+DR20plYiJac80BOXEgoC4OWEhRJpkr8b1hnQ2IImFh2SqGAIVMYjb9lq5GhHJgvda5SIXMqDcnaehkD1pNMUxfbSIIwLhfsrBB36pNwwUkymeeMoMk+tPzzDWHDBqCCs81ffLlziaXzEzOytExr5tTbTTYmhjvH7i3TUwFOLGBg/TvKg/prPmUSbHmHDyrkZAddF/QGF16VnhfmdhFWvjb3QWwDEkZt8/UXCRxadv1UOE369go+aoS3FyR6sgLIJLxDdwGSKrxTcSOlwq6/CIGR54QZiZaPuWWC+36CpQueqIocDEpXozNdfmgEaII9M7+qQrHR/Px/VOWki4lXapJSAsnvAdlMi+OzGGGLRiVGajPU6aeYC2mjHRomyhE+9cRQ2Y1byCcb5Vgclp95laDNZ16s0v8bmh9cpfajEohgzQOGb2K/lIrCFWmtsKMDrJqP5eh1rV0GiqhUGqdaULn4Ac2WKzr28CE21us8NBO2/pg6t8mhh546gVLgd1iaVddumy+SNhK08mod7e0K5hoXiXr7iaMdZ58JsDGoDwvgNfOMj0XJILFPww5rhN0OQp0/wcPoaXT2m6jO4crEcIeSwE3HDQvKoPA6U3SqEvcILeOjkXafc1R9nYkSaEmfoLU8jQZ+u84WH4tHxU7qcvZ5eFBiRa6AVG+MIXDdHseQw6lSVh65P1HiMMowuGHeNzQHoc5LLdhICo8G4xxjN2Xw+EVekYOtTm0hxFUasxnifpiEKNS+EMRXBeJKBe/XTLBdZnQdQMmwEoy4e0qgxRBS/wvJ8JoWLsacPd0uhp0hDD9dHPySVaKRqImQwMgrBBuGQdfjCj0dt1y94f7qxH+KqstNpnS5YN9npd/m/vlaYGmlhbTvVM+3o2VQ/JVJ4zeo50fqI0ERVrU+9vjWAbFFzKqOHc80olODwiroGG4shqFBOAPzsAO23UxL9P/tUEh1zjtbnlbpfMh/PvDU+gYCgE0BbXY+M8syS76oO3P7p2hLg7ntSNBykSoFAVehU9JEj7Z5mU44TuHYOEpt6YPnxL0OH3L5aNM2bC/xrYrNgHZn6tSFqIx/mk4mEAJMkqfPVHW8ruJszqmvoR8rUGvPJ6J20r2QFvbYDUBDB8TIR4avNZoII6lOrxMpg1my7q+EQEhBxU2avSHv6b/a56BRs9OB2snVZ2Ya2g612HmaRF+AE0zufnKsu5NteH9u6+X5zJyrueLbFMXqI+WTVrS0DQvFvQ2fIxUlw8z8hPZ0RnmJc5BRERB5aCKmK2y87pYSXx9niqbWtBnZsrpJp//P6Jrw6Dd/bRip0mO9dOm1i9WETG+EDPVwzjDUd0l14ER2a0inD647wGzoWsQvXCInVkkgf6znJxII3JTc2VDy7GIjckecK2Zq+EXpvWujzVp3UYS/z0fd4+QqMqXMp722x/z2uyh2l+Uo7aeuRml6wKR+Gpqb7GmyIfSccXNbapKBpfyeRFcKzjWDXAMuqOAAvlf/SShLCwnlf4HexRO0ePlOTos0fG1OfBDmELJ3ppnBLH7qOAQU1/WgthaOiBzwmckGPNI8mXSksfcH+Jr+/cRBD4KWRghC4lrCL4iAbZOxu8Yo8HggxD3UqVx9F8A5oWh1Dkx2YHqM7RBAgiemQLzKSQz4QGL7IxRc+tCEQWpFGP7C1AUdQU2nSc9p8IvqOt0a8XusUBlIs9LrTDOMeAn4UcIHJTkaMZ18OhSqyKjYnYVKUBNnMJt9RdPjeQkuDZH09qmafaO1uAgXcg4loEgq2jbrBloS0ua64N9bfn75cytRcltxwHLaSBbojQtY20+kt/9EE0VnIAoAeizO884ZH9hK9qvQ42eZCC5Z8QGPl/f+O25KeYTqDvkbaQd/KWl15e7Kefgu/i3/ot7qIhGAFsBmKW/vaiCFiEZNUrYai+B+9ou3KfvpSmynHAgWLn6ccwsa8o85jgbrytsRTQTbR70LiV2c9rc+nXUawhEPCw7YGWdi/xe44butuZO5TG1Tca0WhWZbQBIglSRThkIo+mg8o+PbykjiXC7VRJJuCj5rLSAA8gk90zywNVlIW6QjeFCnA+4bqxEYuTrz/64VBW6RH0LwLLgnejh07JTkS+X64RJQE/gOcrqkM6JTwQ8x9z6X71gY7vpHUmlSPQY2EA+FFL60pj4hAep6tb2bq+rzvyxRBfv/RlSMPin3ck9GuEpMbFvWyrk+F8MVcTz/+d/NtUhkI1D9gLdpLQosR1GveDqRsawQ3h4HRQCH56V1+1EpI+21I5aTt4VgabeiaVnLr2C2jGn6duZZBG0nmAL0o6sasGPQwn8aZmw9fNHHz4vqctgl0lqKO0qgeG+a90wVP8+mTnAIZYp5+B79Ynq5Qfs38GnASXTuydLALuGP3TJ9i425plwj6zfu8xk4ovrDfSEnlBJZro2OqHkhD4Ubd7ALyvruf7kyRkNnUOCkkVe9TVatsNxyep6h+lriYvfirMT6s+NhSCPJPfmljaVK0yiPEW1rg/HegSLyfDJ9EotKaBdSR4n+JEZVW+AGnou6/mPzRf4IfhxAAU4skHvQ5wBLAobN9Yo/8zgX8ZhOY7E7KAC5t90JPNgRyKl+gLzqZ6SCkSagzUttET/0dctkLn1G37BgFYfgGf1ZWyBu0r3255sDmYOacR6X8q8cMqlE6qh78bQltntXTcLKR/YZRv/Zqjui5Zi53qaYTCrrZ5G+y/Yrk0qRyCrekqJaDSECxSckc1oaui+4zgq6AHv0wfVmTujHBR6XrHojaG8ZosG/dWHa77mT9B/nmMctmaX+atlTm+lOt9Q84wlQA7h/V5nb5fZJJi5slukbcR2KdaHcouFu1wUhZUVNNb6ixVNHFSJYTEax+i0rjOZASU2JmfYvo+wgj3oHlsHQrrRB5s4ezVPgdYbMIlCOFaGOzAnCRlvkoAhNfE26huEP601MRfA5s8EImiRqTtPNnZ6IcuSW9ORwXZitsdSCJoX7ZMJUDtnlWn3FVG7leOaqyZ2ORWUhQKWvuv1pQQx14bE5y6KDbJxCsrrdOYiEbeTUrxIWN2kS1ajXxeK5L1Ac8pQ5wh2Joh2K90r6MZ6WNJSdWobAbYzEm81xBNC/dCOuTlVJkFYV6bDPLPGT/BBppy4iB8zEsc6yn/vH9lB9FvTR6qYLIDep4AzE487jQYm5LW7OTgY0ZNhR4IUnPy7ooj1JU7leCUS4kTQjhxUAnE5+hQrypnfl3JN6F4k8ezb+IjeY2+/SzMTeYB27Lj3apkZyWpcGgKBzvzmFZJDZ6+SMdliQQaJByfO0VoizOtFPJWw/fr4dy7NJNGPEq6yGSE1i7vqDWgxdLhBPQff+NrGhSL3ItO0H6+gUuO8/OdQr9TwMAiRd36nS31SV08XPCsNyvG0BemC6rh26utgJivxUbUx6exXl0Iq2tmh4W2GmPMsgKd1bwtKA/SK5aFn2DXID48Wm1eSBeys9OGvDnk+t6z4cwR4I/QYAnp7Rv9TA4ihMTjKdrZO17O31+vW3Wb+cSCYTxsFGgun89CpGwIr2ip9ZP8+1OcSDf3KppEzLpDOQGAt6GeVRzTAeOCQWyuYIz/tAY15v8uDjCLB2lj4SWIpFAjfwPwnuC1j8X98+YYVfz5Xibcg4y1XorZyAvx0olFBfvoaazKWzRWi/WRyeVvH8XJS9dVDr8qI7gMiLnCxdVRZ9G0/K94lpAJ3RU4ZPvDnhm039bBDWRniNozUzXcksMEhKimFeJtlPT8deQ9lr9VSkgVQFT3ejiduXU2hvVVO6VBvCVxcsZhiu8VdBxn4JXxWRBO2T5sneYcdvnYOESxBXBn8SlCc3Ji/IGN7Hl1LtecvNmEcqYhuWHsbe6lTmHSm+kDY9UdqqkSgs8FLK8RcYxWVJ8EKmi5J+cYQWuRFVkg+6PjeISXMqoG7cPuiHsmIStv4ho1SCHwUsbzGsyTH7MHxjl+PiF2WuK/MreGiPhknJa9JDMz932KrflMoOd2ThisZOBcywY0OJ7ZmlpReJMJzHfzIpuDgSNMcGgSpiv4RKq2LUPVrtagyviTiBq/zQl39yN8Fn3F6+eS1M7AfY5NTjnSgBe+K4Y3zs8V+6Wpk35pp7ytrK5H31T6Wg/A3daF21FLt81+J3uzApeNVEUXyO8d75FFcgwWW7muSc6ktGvbuBfOsLCxQah8XrCgeSZpeGHUFehLDe7XAE8qGmxU/Ocqeab9VFueEyKhINd++W6jvQnlj2qFBHDrv0Ut+WaxHNdJLWX6hD3ueVXigOUU/9EtoA6s2bCjj8XiMay76AlhqarC32QEIBm3nLF+jiEuRsmgbHJYs/sMmI4fr9U++dZ0B01QDiiMEoAqyjxdHeBoAagPKgyihr3Kye4EKFshOAsLA5wASqYnM4H5JGbEXRwuFmmVOgAuO1WGrMwnUVYtiZgz9I4QJ+G4ZMWT46rzdsig9qF9sAEsVSt8qw4PgwOL5TGGFUpTE2Q+CFG8toKe5jPHZxynxh1MmIfgJfERG7CL9y32kghNh3lshLUL8LHK+uhIAcMK5UVdVpEUQZQ9PcyKvK6F8ehyKJoqSzlrxlelXcYGp1/GBz99LBrqqq8x4bRMuWYafDjF//arY1JHQ9RM2HWY579T3mXyDniWvMSgProhphBJO+iAWMnbFLGU/iN090FuvXn9GZJmYnXNfBpviGwV+xrflVCqDtiC4mpGzbaeebg8ATcPFcmfrnYpMHFQ4UtwwcgpDuwpmyYxd3KCz2vdQPNnBP2UW1iOFLZKQvqutUXtKPw+t+944eJNo7vJs1FQ5b/YNcr1j/NnBsM+/CN5SorPDDoX44q4Y9D5pzXvPhnz9b7WeS3SY3B84jH+lsjmXEdfHoPX+DLQdRJMjMml8iO6mpdPhDznHRAKLxhUsFT+/vxOaGagFlj2uf06MsJ9t7Dnt71v5jY2UpFSnc4cdhcslybmIoDxbbtprLV66gh2wjNXer1hfnpQFE19ZDPO6H0SOxH1AvvRGjnNEbqWNFX5VFV9udKsrQK3e3yKhkmIFb+Wi6FTdJ71i7yJwxX+wimuE33VWcp+uRfb/Gr5yCjv3OFqq9b/wD6h4WxGHrNQt80PvzPGPQ/AqVuoKc1vR4ikM5CUdJ3YlxjXl2697oSOOX523w80zBfqdWAxyM2WGEPDMBUWV+D8Wdp6H43zvBg5hf0NQzughxw2xwC4Kry/k1SfO2/7PTh3MtUUvUXQBI22HQXuoIcnuZXyrsP4qaZlfpin5D2JkG5L5EFAgG7HFGCpgYVdFVIMrkJEdfszXX9dSWZefIUZFhG2nTr6jEpQZ7Pokg5huRgLRTJrl1sdyUDF6E7iUjmZFSLqU09If+ZuDXb4CbNcjtpJTAIf06M7vm6aAzPKtQJ982ZcUMwgeKSwjeRkfaAggwR7YaQxDKB6XuZeoQF7bfswr5ExIQNI01GkkpeJsdyin16plOaLddjZ4f/wnsjHjz3ar/2CXzFcSeqQie/KrpKCDQdmQMROuTxxBcygL12iI/7DCj1ck53sGbKnKlaxSW0u1/v6lf9Z8bQPp098rRdvGrJtojTf7my+7Nfzd2YLRHMY+7yeQAc8S3X+/A+1ZWtMpSUOxya5S69Krn1MUlRIetxEeZuNe85DaUdc6uAIzvlbEtjLcVk8+4BlFjhVWH30DowXERZ4KoOJ75zw6PjgS/OLpgYrcCjMgYJp/fTi1KDRjDq/Q6N2kS0Azj2gXll1ny048hRSQMK4xU4xacdCJvG/2HyYDXCt1nmvYI3efEJ7IQa51mt5HWsH2y7EUniHLrEg2NWi3IdykOqEWocH7W3Uqqxnhjf8MAGMCfL0/jV66yNXFWdeUvpvyBkLW9ddsl+6oF88C6zSb70oGuJWry9svjFHH0UZtSXKHiGWEUDK6NyMyJvZ4toXeA4YqOCk3EqRH33pScdSyjQNi1TXCc3KIuUEFhIBUURXHaUeUXK/upAvIcJeyHlbtKwaSlbGTqajIvZO2dVHqYxcdjeb3TUA/SlQ0JuH0is0VIywNF3uqIicjtDeQ00AjApuK1Kc7XMU4qT7VAxT9xDaHoTJN/oKrbPogWHRPfk1cNu9ygA/Are321Sk34+gnsqeNEnqjuLQlADqOuaCeyIdT+Gb2ld8lCA5m2SQ5FLivqGObiOeR9xFXbR7welPCGb31sukTWM8mblMjVwRacimHpZJ4NsQcoDZ2D6bBXKyW8CYKL0yQYwm9kYFIdDqOS0DB/uKbiXZb4tdPxg2BajLzAtMfrM+rBlf5HBL8xWx80/dF0JXtwaBUuhACwdEYP4uGehp2i6WYfQwHFeoZKJIn7/K/9utSGp3VxPk7rG6MiL/qLSmsHPWIF0AhW2TsK/axof1Ci3zXrQ+N1npGaH2hdncDGCXusI6ljDTC611QpJ9zRSecG1QcbcHjQp1+hBjTkUqrAQjfSS3EGkaZEyDyaPvN1uMI5xqC6ON3qEJNi+0hBZfDLvCSCc+zRj3le4eHB1rM3dnc71a5ODBWT9LFWc+gAX8DK1/ymwsLHmYO7xBACKndilYSSYgqtw8Zn5CHfi/nNr73ODF/1X4Uj0RQ7HNSkaH+roSgYTGBuGdyr267OPkoqnyXfw/BOExIH0/cmZYAxHRd0G0bwYEvFgAvLmEnwjzCxrUkySVegEHQxLCruwwH56/UFV7YZCWUNE5o9AsxZu1xoYV8yxXZXRG55+gf4MqdJ+ymJvroBQyh2M9ED8eRgVAZnruoHw7w+5adaBZdOfVHAZgzKLiPggi/yg6se9qRcBsGGt/uODHcGnCkoJ0AU31v7R8d4cF+25eKw1b13QqJaoV4BAu0RZDLcMG+WQDJspJxV3QnvnQXPbbJaphB+2Z/5y7NSvuWlT9/RdMR/4z60zJM26dLfesOE3BSxrTuvtbgdkAjXonj5UVcyAG7/ZxZ7DZHL1H0R13gzFljGDoFYo/iYsUho/EzzjaA9OPuMMGjFrUt+y2dR3/ZqOtLkV9oLSLU28AxUtUs36vxfL+RzEbltqFSbCfVr1kheGbK4DXBqcs+9eibjH2fC/G8WHa56Donc6lMQDEBm39QMkwC5hNMSvoxptPHxkwQ70nlTItnvA9iqfItMCPSXH+c7UuUR/8HmLtF51+1cH/G6dWWluUqGrlGmyjRGGB7jRBwmohq1stircyDRd7kVEWaxGfrozzvaDL79bZp6sfvkTT+XJCID5S9UwrUDDBPvmM50OfuJndS7oKMoNF1591xSfgbCeHSw7Y7iIOgnoDux4qTgpq+CUXJbNK76OeSjSzjZWClwFvoM4YromRCT9kSDkHU4kv/iSxQe0N0JSBwO7q0tDa8f5iYXWDg8SQO+Qm5MVIglsBkoIm0vYlOMYe9iNYs1Eq85kG3aNDbeGKkR1P98OgnIXw5OrerZZatBgU9dMuwVf+lsNbeOr8tsZ05vlpfvvdt5EigdkXpd+VrreIr2UPWjyI/eLEBoia1oA2ph8zUD7hwxjdFJ/1YW+UZJVs5RwKTzXRNZmra71H9+syPDEr0l6Lk89+c/t7za3+c+sevkcFpXSiQzZI2+ahS2d6C2geDFjQdpXPPzK0TNrqaLYDq3thklc5ZF1wU8CdZWDYyWDtytrd8277uBuVg6j49uLui2PtTdNCf2TSyNtZg/ysAb4ZGLCxHt1hvZaQ9WHfUjrJQANXX636paQYZ61Ca1H6J4wcofNacHT+0Z5X40BMBRE8KR2ckZCfEuCbLwa9al+U5NPp44ylhCvF5OOpTQkCmQc4tsnUHvk4FwiYYrfgT6TnDgY9M1qqWJimjZEOxnTT4MDSCjhY8ljEbyTJFF3pSImFNLq8tbYGsCJ92+OVI1JoRaUes5HxvGB2/uu6qpOgwEoujhwOrtw+mqy6uNT+zSSLN0zCs2tCT4vRxUTw3xcunnZsjASgPHgTwReWrDJZ/FJe6vutGpL2H2YxAgb1dAcRYbC3RBlQu5W48GnqlvrA3vwywT74IsFnoOI/LixZMcZOmVfhH99eOP+G9keBMEmeA4BCs5uUHBhyjXrXzz6O3c2XaWveiu8HYvEnQSx4z3F2guH6nCsJKktkAA+cGxIXk/AYcDGKL5kvYGbhL6ydsRpLCGt4G9t0Zx1QKonMl9SAD0m0kTG062PVYlOTSBF57HtNvVuExOllnTPhAnqgTSyzLlGSfRguusdA2hh5KhDg7KS9JTwB3ibT08+ZY5bgAt1CHQG8zLxLaOcatUt6l2ue4yvrCn7FPuV7sPohaINFQFG1Zpy8s8GqF4IgPmPCL8AQFzX+5C4A6XzNLsQufXSLS0POAleKiS3QFVugOA/IvIfQvlH/Rs0SjiQs0yB0ny265jOizV98LgaJs/DVgmUOsjOMCYuaxgwRWEEH8O8DJUrGVyapa/rkyiyMfeDJ88yeW4/h12J+Dq+2Hgt6zqFJExsdw9taQMqFbD0TzVOXTx9SJWk8rEVwF4o7WkDdQojFlJ0RabueXw1KsqkntNh1a4cLBxpiV6HGNb3TDkoGABtwLDPTVB5C+XgxvArNnn1f6aaRirYWB93I0DfwNnxDkHO9beJU3mBojcmtUY+ThQnIFGFgq7mL54SzgKCVFn9FWkROhWkF8x+V7M5HP1GIwq0EgLc098nIC3pWNkptzDFZXfL4AX5JJPF0zOarps85ezQE0vELbECPnP+pvz8AQKC03M5GXhglsq1Q8MfP5hO5VjWFzq2XrDNanlIqxs0r9oA9nRFypRrlBcl0lHndUh1Ior8UNJYb5fFuzsBXmusjZxmViMgktk/1G8897GDqQakjCzDycXMAtXvXmCcdtRFBw46+MrbtIWo4jBWdq1/OLSgWU9DXRX1weWJeZvPk1njVd8BcT442URQEH9ltFC0Ky2zqVtlXVyUr21p6dm8pFepMYxBv+uIdoqEMOLNDYTCBijbeQA8ApjmC/v6klQr8SVh23MMVj1Yh2mu/j82D4XcR2Our7JRHHzFG7eZSZwKcCcvsowoVL8DuEzo8izjudOwfyLMRoask4zKuDGOA5V0ouQdL0ulkb644eUXlbuHOhAad07+LO41OjIpWj5W7ohJ240kI35PHZrUd5OF59tHysK1psrcK/jcV4TEWNRntpKuisUdQ3EwgYzqrTzanoBfB2ips7GCemkcQL0sAuty9CmOFm7zAWoehl6gMQBFENBNm8tMrRy/693fpilf7cqlZ4B/n7wDpZgBVfjamP5snbrGj34C8JW9u/D8r/E/kEWgTZWV06kP45TMq4jItsFBRZgAnDouxCM9tBVn9UZ1EsXHp5wq3rdPdduQNvW/FzJSy+doiqdsH1NJsK6+d+e29oaF8pXWogO7q4eIcWZEfjjyQb/iTCSA2oDfIaHGmSQJhOnTwVDPkT7ru4MHXIjYKNgZEqhE3KYNfBb9HUAtvyb244Ec0bc4ZOgIEwRTsEo1HDt3nmH+grzeH8lMYvWhXjg0afoUEGtlxabGwhGGTaAJEX1q42pLzPmjkSqIkF5Ka2PeHCkfKvwy8mgn1GEyT2GM5BDlX5xIQOgBkyXZdO3ulAHJdWBPFLKBPx0NrHAKRnpy8go+wRQNly1lxzxRKcgkQNyTe5xxrSV2p9C0F4aUXGEjhkhiP6SP7ZWqS4LTtXZlaL23SLjlADzbE0STXBBFJ25xncKaVAqsL5maosVyEHpJlJ//0bysydU6CC8/aTl1rnGRLQJLD5cRcAzj0STqxHxwtWwtUQ29kl9nLDNX+tTwKfVOsqrOHRPGHk5OqKqXktElRagwxfHmi3agONnTcuyS7kXNuzg4OlNTb2N2dVXyLl2vtKDwhthbKqFWghJJAVh8kEZCLWobspwrAuQEovQK19nNIOjvefdzKSawedLYAg6IDSft8yU1W0saIm5xgSIrx1FL9UFdW4xOYGCwhELgGXM8Ji6sxHLaqFbGolFjf7N+NTEIpBBXxumcqjvJRH46G7aJl31ovRbp+9u9ykf3fM7eNMu5A4A4dhH4Vh3v7giVURHpCPbJ7hlGnwXTx2yasqcgO+dBEydMM2//5vmdmo61BiEF9w77cBqJ4jDFugmsApkEr65tkhu5pf0CP0k9XQS2W4WF8LxH0IzyGXBcj3rpZUm9QiJuuZbsL9kQlAYdRai/6DnWPaNyKSaXoKosF7EOCich1RyAyDQGg87LVvE7RpbQQkBWvAOXPb+V7N4NcUdLIS5FeYKde3v/aOY3LHmWvvQhr0AkqNaAMVpcqurxleKSHzA41RRHVryQfP/pO6h5oyDwZwfaePoTndXfJh9Dz5axgsDNvHt/LKnQTM0cmBIcKLMW9WhXe2MSOLwsFQfxJWhEUk4h8KNgFS191zRjwpU7R4IaOl3SoRxU+sIjK9yFeakylUFsTc38fcGSLzF0TKhZU8/wtSAimEDHHCl242RfADLcsSpfSd8ADElJfuDBibRLNkfYdwcUKNT1Roy7+MKtXwtY92JcD22Q5e5EuWVgsfC97IhX2uViATHVgJNtojkJNP+T0f2mh7d+bAq4/d0Z2qM5rnw3bp5hVkJn72EbryaSLZAqm6bbRYSfw1MmjPVrVqs5JiAVv8WqKRyYzI/GzoyiGgXJQndKjS5NHKezAQxGBB85b8uNSc5PkUVlCzCAEuDGDcpuKY7tZfn2Fjb8vhjxEMRT1Kz3E9I1kFe9l9iFLHbWTiQcehCWj/ioXcq35iH8yJGePGC9z1OG0opoCm6NWHCBDEn+c1vLCYHMU53cU1Rhpwc/39ZAUY1Fi8FcqL0TT6nSNgy9AYuywQrAE1fGSj04kOy1an1tnu4ezVOnccu6SHro3naP2OejCyu6oaSxlmoXUMkhXZTWtnKZpSLKq+cTGfu4PUmRVDmtkEhsf+CuEischGHblTWz/WPeo3RbGzfoqHUf9DJ8A1ZYEA2Vzpp/NBht24VZ/OS0BsNec4+dgJ35v1y6G/OJMNcfzwz+P37HzDH9ygjz2y5OqRDyZ72ncGASdR6GK6NlT8Sb6LQ9/vVBTMwnFiD+eNGszILJz8sYn0ltgC5ZkZJfk170G9kkk3EyMPFbjUzbqjiv15DZxlU50jgnmwZhObWE/FQJiHe86rwsAYS25b4EDps4rM4baUHvzIkYdj4CV65wo/WMV8lGMPNgimFUrDVVukRM9ME/9Q285vDJNr/DoqPRM6nMmUkilahRCB+EhT/ZwPufz+gLOcQuylqNkE6qBGsGOXgNlKIaNWW2Dk440Xh5J0OlvhY5U+Kx2sdZ6IfRFfbckerHJwCAFSEoDPJw6u2xmHGFmw2ru2W39t7g53HXR8U7jLelxY5ZEi730TNftHEG2neGphfRp3rkco7HSMbQw0iV52xnT/7KMi3tDnLPoZ4NcFC0ahJq/dSjBaXshFJRvwjhxaug7ZmVJ1Or7ri51Kup+Ll8qqOCOsDEYC7dw8t+fq3M1JbgUN26Xl2DD8IzE4e4nTEvlxDxMTx82rr4920/Qgz0xv5sysTxw/tKRDCQZEGq2i4qOSTe+Pz8tpEl+3Wp/OQMIqnGnisMnDBaWuhH/Zs3gG7nDtJ1o66UzDX/8gsKtVltk5g6HQerpPW5RabLvDm5uFfHTtEr6jvnmwfHEgqBEhwNCVkjZixlCn/T760d8/xtjwVQxCaVR3/K1Jz2qDdUPrQLCMQOaq0SgwwLIe5oV112anfSPCT0kQayRIhs4lt6ggigLOoPhxkT6OqbtTTu2yzzxTImwEebuNfsQM5XhvdQJk1H8xW2IRtlzV88YXKrciYHgUl63ms+4Pr+pW5Cgfv8NvoZheIsA08uA9ha/8pXFDS6TZeulc7TbyI/nJtPNpW/DqDWJ3UZWepNJkmsu0ElV0mvdSAlTg2jf01AxcTo8IQ71BZtXoUuVmJmsUW8/56auXuF4sgvkgiRuQq6GoVSyevEx4SjOTwIW1gdQ2fGeV4jJN1VweOnHtQvoqPP+AMTNJymcTEVKBuSocpbNfjjQwGiPBBdEYOzAZnv+mWa5yJGjmWuBK3gQjr9jQBV5NXr+Hgt7zq3CUj4gM+uNV/xEQAdRO0FE/NJagZTJQNnwYGwFuQssx+IzGdSN+XbOe1wKYfLLOo8SdYgEVB65EVAZA83x4q77egOnjckIzJmxl8lj+omShsmZrtVNRCYFDAd3bRBFxowjEYXpR0RsGiT6g5wre6afsQbHBBuMzvQONIwt0+eAQkP8iG6aSfrBqhyW1jExf90Fz8Z0x4A4I3a1zKGy53TQn1HMq9MvgY7Myd9v4unAygKLAW6PKnlP4mWXV7xQ/4vGcqBlxzFN6a4EoH6gUtJRPXOJQ+YKxUbP2byuCrnawSIYwzoRPDQ1Dsrb+tMwdtnuWNoslvCDVn1fX4KZp6tAcNqgWpNTRQj5tYGU5Hwo/gWlFuUhRoYd5DPe33B1ZiD/Z/Ayp7sQPVL87rriigeSctsKiMHfHdl2dKo01Yk5CJiWy5jqZ6mN9LktbN/Y0KG9s/ezS+T9PM8WCpvRcHR6OcZFVI7/0SdsYsAfeVyZgYkVtRPv37zjIzekGg8/xTXEVekX7hSVEEpaNzU1CeLIzF4J1hDNr2smFvbkgPKLk12eAzaOlHKYQslIzx8kjG2cjJpMZaTvv+cPD1dsCq7VYKM4wWQ/ms8EiF8lUSWnQKtkproumPTyAD7j+unX+eLJzuV/WegCVctOxrnMNgH03xFRAybMyOhx21VKOwfwAtyNUyoB5FULFyeHVM0zmoNucIB0EhYV+KLJPd9oi+BQJaKMVXC5VMb5CwOwrgskaEh9p+NlJDo95Pr3pllOnyRiIbxrmrW0lp/b+glJpuhr0sTJBElFz8MY9yqLA6GsC8Gz3TPqtBlLCcbqeHIxxvpm6HqcQBeMZZqAuXFbatuFxCswesxJS8beWUKPJSo3RofqIyHGoOuoKPTFTx6xk9YrZjeJpTa91CkEbYaWlE4KnSEXHJxTWEyQWLxsQ5wn/FxbeW9+mGTrIxX9h1YQO16jQZJTugjGIjfqVlPUUarm9CeNh4QyyUZm2OAM14uHppM3U5p67v19XXqiBSHGU0/YZ2V9h/KwjiY+Kbuv426bNaJULfl7P+2C4L2STAFSjl/TT/QYaCVyMdvNSTzs+0j6n3KZrEPWy8kVWJyycezVdfmihr+0m8exhQR0zyFb9QSqww7ccNSgmyfjsSH9tFucpXQ4cM3x+ISl5cy7LjqSGqRMpyXhsdn10pbYi7FiV7N5l36EyJiTTISJ89Br4dhM9eHXuBKxanZs4b7y1j+bLVII1C2A68SIZ9rQCqd2BudhtYCPR7Wd7Nr+vab1lthgJIe4vGtWRyFsHdxMdibYagW4//42/lw0pkhUKPXCrE5Vm88kOTNxd4A7oWYuD7g5Z9EttlqCIpO2jhwz9NYM26RykLVRIZ5753eYhSviPMAa3ffZwPrTxvOlCv5TOEpP/Ub7uCKuPkJau1mlh0MShOslo/m27gD5cAMlpp/1yHPTswPCrMEBKPZ5slcSduyBNTCbEchG0kKpceqKC9LpvnVMUnI5DUsKGXxRqH2c7LN0bZVrhh1mPKtu4Bk7DcDpKOmaEwo/Y00BbHFE43YYeD8XO41oIWIPi7IYQqT45fRSVqHmClya9YZJATqf/fl+jLAbaMZSkVqtH+YnzcAWaVSCCczMgWSqmixIWDONoW816ayfrN5nrPvx9KefZQWcLYuBtLNFZv2zT35+BiS3mIoRjN1v0ZnYq9kSSNLYbd8xe0HLs5AsII+JWxo5j+T1AJsl8GmGblfpOKEh5fe/qAg6iuHGyqNzUqDt8LdEMvN+NU5Ryoo5RDSENXhjKkcPaGo7Tayo0EUDhQlM3jwuf3Hkop93ohqqwBCsvQrVDWbflB6VzUZv52g/S4fSd8Sbhr8OjFGnrsnI8EQR8uWDwjqRbMxqWUwipBct54exTebY9OSVqBMNol+Yl+n0ZdR7chwuSaWrWefoPqseQVbdF+ju3MiGwYV9zjURll0GY1Do99kTBtCAT8RLBORTIlNA4qCOi2KPVskAejt+vUynmGbAsyv9VG/iKyF/fTN42ZjFIJNVeQfqw+DJaUhDv0Ns5DR6361b++J6+TB9I361palP56XX8+eNKRUIIKrb3eMm4wJKO3QIMvRm1b5YblUKucBf6pyhZJ/hSaJGfLBFnKZEAGh7RBdJzdv7rj0cYD/XYSV5m0O8xbo9Yq+t5twQo6yI301LNmVXsnT44pmGpTsdoHRmnW8PA8/dz7lxMaT0qmu/Wj1QJgzfqJ5N66kFfZM/WnAJmnf9PS1qiZoDwFuYkNaAFYmly0LaDgCp3navIOvUaPV94owjS7IjrIRyEzS92OtkeVHu8lT9Z79FsC3jtpl7ULG23peUW4pAfIN5LpBvylvmvPAJ5XMRlgbY9lv9R7I0Jn9vXM92WMIIlQBPmSpxiE3tYwTwxdcNzbLYp/3/uAmXN+izzNV8MbLW8saGqOrQiEOOczZYO2lJ7XcNcu1QXE9PuILGhQ60WXbY+Q0tFkfNrpqgjOnxVY61el2isFFvfm1ZFb8T2nNXiiE384P5rXn2Je0Mif8DmAKKI30maMhtPd9ZDn1y+bzKTe62lcTs4nOscj2hVlbSf7P/xzxIayJdjAC+biGY+2cgmUqMAJYaaPT/pXIxPB701gXoXvhCmZPTCMOtwHxfoVu+O1VeifO40rhBFzrzpdaWHC7k2vL90zrz36oYdMoTEq/qnJQfsgenAD70tutl+8riDSZh20VeQET52fN40POmVdKz8ErjACv1gR+XTRaqBliuA0bKwwXCyiJvYt/UCoJCSuX7k0GozIObdGl7nsURXOUUMlt+rUyEYiN7t/YWtHC3Qkf7ZCgAMsg+Ahy9BD7uDffzPbQjgk/B2O0XIgbVz81XC1TlWVRY3rUd75QNQ8XqZ+Vqqp4le/j3bzVVePttkLJLeFDnn4aOKkzPrHvGSTovZ7l0/Uedr2pZ214U1bCb6jZK0e9aOqtRsuTvV6Wy7mQmChIvxquMQFkyOjvMwCKbzKs2eybXpEEZruXRVSUuQJUulA+SAHgr3rHAkpe+dx7T1QvrwzF4yaF1kqLwbkqbhGXW/xheG5zCADHUl9QMCF7g7HMf4tiO0hbdmpSATr3D3lPPIWdZx1ALs2vKCYjbdrUnng0GDojOdL6QIKxCUV0HZ0eGU4VsmAZ7Gl3PbyHVmy941jLd0xj9qxmVSWGfU8QPjGb4KR1mH9PiHFfae/dzrbW6GOk9el92vkdbQimbdwi0l8GxVr8S0tieet7mF+ExN5se1+p8TNie+dWBWg9oB36+zE7ms38JAzB8ZtCnIV2ygDBL2ZUxFq8sf4hbUCx199w9zpyPa5f3vbqjSrZFdw3E3Pro1A46AbfyiDG4GI6i7T1ZwvibGEHX3Mhx4X5PQcUiOCzvil3jSRpwHR3U6iF7keLkDRUigi9DNAK17Y+MCHouVQW4x93PN4wQlquSJOSJB+zPy/SaQTbqe9/SRl4U7xpQSyqxOkUWFQnKVSWKavzt1lw2xb7BEUIH6SpeT1hczUFF+5PbOlnvtGRhwReBVEVO5YcrThhuIHgPKvOQDHRYOA1ZSmzCb7SQQQnYuWgnEB/GK0YBMiNFX7Nns72HnPvqlEh1DrmhwGish95QPmoKlfDl3UKVTDIgFzaoa8AMU4ABcLmhFdirxUI5TARrGU6zX8YOndaeF8nozZvu3mpsi7cjqazfeaYPcmxV2jlOYNzcP/PHimmGeytpFMDF0Uq2PGOJqKGqS00d7jncpStHK9OPUMuRcyi9fkriKeIiE0AYBuflPQeGLyHZTUcM+K36w/t7OoUdStzkyGIQ7IlVPbMQAaTwIksQCwM+sbsnGVIpUUBGr7zgoC9cmtEbMcsjqg8DiwsFGnrPXFODG8/9XjYbEj+7QaORlQOB+3ikH6QE8MoecyhmRnCaMuAudHULnpwtwERmMzvb/v4/LLkS1vGzz8YSWtjon8EeM228MePqLjnhYmZA5bqbJpbcFrnqoL/MRgw/+V/MqArAAG4lh38I+k65J/cO7X08ill+hZS3Fy6wT3PmAqLkiIuJ5vkz6Wy2oYySnkc/o0z8hY0DW7s5xmnj5P0qLF6WPtO2NezgmkUstVhI6V/9rxBRRNvR8/veaAdH9cvm4rf7HDPHVGsDc76zj/hzsi4TJzJ5yFvrfhe/Uph8/cvwZktlXybJnzU1rEOp+sP3HcouARTPKX3077L/vY8mca0i1Epbj7HjmHMKM2lYCxbZCzxo0VyviWRhz1FBGuWy5FXD5pcoqv3ZATDDfon/9mwiZxesQxwU+NqQjiH99GjjWN7L97HgTgTSqrF4J8oPIANHdIrmMYCEQ0hNFRZCga7TvjrOtKGVkFor68GrvlKTJUBP/seOIGQFEmpaAMmKQO9CyU2DyqN8uo8dzFWgVNY4R4/wgYlR3DGYhfCD/OBeV22ZNrIvmgT1nTX/qEVY+9fPRmG87I9lkmR2MR38O7hbkSmqX65JQoJTejK/nYwE1utqpiNbdrFQdgInJqnCYqHgtCcHLU7oM2Y0u0oAscSJatO2ZKRBP+fByk7FHKmj8Upsk1DG2voAwJuedALJzEiE2p1j3p3zzSgt/YG7hrH3xSuaa0bFtvw3kfdicGaezq7k6EHas+jcDbe8L95qZYTzXPOJN9rgF5mj+xvaVnAZmHFz3JnGfhoRW3Ff8MemrHo2AUP9b0hETxCW6IwhzM+S1tC8OpGtYGNFovUQcOK9wG8sFcNF1SQnpmuErAnm5XrdVwLwTu1rx4qXbup1nhV9ahVFTF9r7aCY2FoVtKlaAYFbvlTKw9UjeQrV1cSPnW+X/CUh2iJyV3M9Wkng3jKroA0UF8olcxcWSp3NpioX/3owY+km0I0Q5jzCEZIa2VfS1wCT8/yIrJxkxDNQgOjzpBhwTCRT/KbbhLpL9FjiowISzxuk3h6YD+L0LkicCrJkufXl9K158K5dmiWffw6RqivE5AU84AHJceO99EHixjTMwSm/Q/sMfYxIXpvlfpC3gNW6qXsajfXg1iYbuH+AjoDe8h4Vs2x6f1CbaGq1542SplnMX+P7pZjZbXixdK251ORNJe0MD7pq5AAzWPZ8welRyDP33iTHrFX5VdSFdJJ33KyBWAPcP3Er+rKE8GHfj/NEDLTMsARDDO3AsTzVf1hlnJbIAhJfuWXev4r8eYBu5EPJaA5iSd8JG/AihhYPnwf3B7c3de/BjnJ71zwFaqBBN1YeFsrtgw5VwCWc3dysqUSxexsY5j8BhxQDHINV+wUtvdqV7ntkQ8mwt8ipeVvE7mJXVQY3uIaieeuT/Kzvzed5JKGFhCWTUgqh6FcljaAYHir8RGFUoU7ci0awmZiigrLrGISHeRa5dfFhf8o2yd7FDfLDi4Gv2+u3y7+UbJOrYOlhxN9MsZkuQwIokXwxQucJ9E7PCNptC/N3Xm8Sry6XffhDTtkb2fbvwJOX/DbYhk+4cwJobcZR6FPSTAcaA0hRY2kXeBeHvIIRGRAwC+A+Rra7wK72T1wnoGEhIdqKhS0DgPr3qVKGS46UfC6OboVdFxeMag5cAAxTUHoZzmgeuFB0goAOKJMMJU0JZrdzEOOBiqj9OJjx1lMtMH/8mF31pn3MNMAWc7C+QvbkgC9yofMYCoZ0sz9eq+43O3GxfeBrg6DO062SV17vr97Mp3YUTvjfseeoVQ6dT+3r75LUBkfjiO9izDxuIRRNjUXehaGX3A4pL/fyYd1kpGtPFen6lsr+dkEcYMvU6LGng49jG8O+/3JPmbjVPPHZUItPMyEXV8IA+7BI62BQN1BJxTWB2uCthK1u+PtkFRpzXj4L0zqoipPnEt3zzHBIq9N6Ob3tOMGmB8MCuOOxb9EqP6rqF02zg5tgyEIGuMHSoWXhiDtag3UouuY43NE2hRhNGmWYOCTI2V1sCCVB8gREg0dhcYEqjk8a1f50t0GeZtnZaNhfY0RAt1vwNwVf3xvvT+k1u7a609KPxaaFXGxvyWeHnv0xD52ipXSlI7Ro0umSBhHdN4z0SXVz3/Ci938ksJE0++C28gYNnSjxZrMSpTkNNsH6XXIbLxqLombXuzEO4QJgM2kYwUcHHO7IkFuZt8W1IfJmDiMNK874f4pDH6ZDTJHNghAC14efX2iayHmPqi0m3L+7MQQjsYCPQ+O4HV5mpYWqlT7YOgNWsjvZkM7F8waCbKunlOwyLQ2zCfAAc0LdlgMwyp8KZGS1i643yg109pQs6uUpmMfcEKIrY74EWMqyPSJeHuNANtDCdsGLAA8fEmEtdgurWwhlPeLcWIhIS9yuBVPV/f1MoE3DKq+VP7mpJRsXxXaxVT5ZCcQjbJVdx0VpQbTnvK0i2VJj5iG1TYKFLT5/XXNq/usEnx5XQMGbNGXAidg33P3bv7qyzOqh69KJ9cCM0nQXKaWzVln9VvUpj52Ga+z+/94am1t4uAjvXflmTBUbqkfDLRFgkNPy9dfO8lYGtNMH5c5hb+5HgXpez/DWKvsi5LbcwLJaIqMdiHgJLYDUuGLQAtSj0aie2wn62583KCJFSIn8e1tb382YP8Wn0rXeMb7igkSmyWkPn2IeZR0tCLWRnsDNTLmRUljl+5yRQ8Bk0EphGFS350y1nye0yvUupwUwsJeniM7Hw8N08fm56aKKew8qmdDcWLMg+nZFgZwkNQEAEgPZdfv9TpcQpnPXfH1u++2dET6e5kPtCpLHbfiBVWFqYeXL6NwVd0PgLMFkuT7eh2fnWheuWi5Zs0KuCcjlnHR3YV7xqy9+kvaltJaCReL9FQmyuA5HHYijTE43RafSVaIm53no+Z3n2vpP/GhPG47xKLH+v6Y9CnL4pqkP043z9wjCe4cKeqZ6NbsoMb/mAQw2yrAuhxoWC+oO6k2RfVl5uwG7UcVXebLMcWCqepxlBw4zcwVR8FUr78YvZ8eR6Sy0yEig0pfjsT0wL7zyGI27v+vDwNIDFPQXOS+xgC5MZ6+iFfZQ55g2tJKfHSwJ11h3D8BbPkYbhydSmyDl/D1yL0gD02xSKbU/EER3ZHPSHNq60IVTCIe8Djegp9Uht+E65zNNgk5vp94gwYysCPVqbsSqR4XJuFtWlj2BtFoCNtEehiE1quoUcuig4jvIyBPu1VRS5nbCfN6H23eZ13dRwUbTXu5YeTOWCWf5OhSSWjxX/vkmrBlgR1SzeAHMVVbraBGznPevAmAKrS3IoWxihBcIgJWPcx3jaxLeFgUbJvVFQCrP6fvcp4ZxsJJcS1rWWcLHQ9Lv1JFks8FQ2uAFNdELhf4HTARtycq3OAUZzbrxHNSrU2a0WL9DD26PZbl4VAqVps4gGylXkDgAOBd3TSf3OtnAUiFrFhw7sXy0TbX8DVF7/wIj39lSA6LaT2ZN8y8OcCxBV1bXE647Ha/hOOWXNW/igWGcz1I0I3yoh7ryayTjYFMNTrPtSxyeSGQErVhUAPRDCwVn+f2bP2ff6oZg7wQRf307wQ1gVw3om4+fWbmL+P6CvauQrUCvNUBP8vVYy/f2XT13YtN1X5Etutk1uIAQf/scgFNdQdfo75GNsQ+EFbEdlL/KujPiQfBFv9ykNpBhCBjihC6U3S0ZdnXm6fq/0+ckMhqEHuOCwKySh0/ab7Ov5R/Ra/A4mKGh6HRjkr7givSvBWo9U4y0cBbTfdekcs9RZKQzBHfUXdV/W1NAcEipZcxUFSmsmOFWJjhnS8uf4jN/ylCLTZOMz0EpRPgXBgSBsZW03m32rsnkH9xBGimOSb85IOboF6et1ooIcFuvbSg6mVmLoyHiJfwAP9/V/MkUIc5mtX2ITSdMX/UnLOmamm1BzLVeXxWb55adBdd/wtMN3QYMxWRMNCrftgmlCNXX+79/N0SVfsB8LMiZNLNiLuK02oVwlcyGOeTwrwzOvuUT1sa/bypC12Vio3HtyGo+DED6W4ouXagl3H7pxCP6WJ/UwgI33bJc0DSOjNzORAuOVpmL2zL2B1ouLh7B2No39CoJd6jpds1ykBpN/r7qnxEy3c16Yf/YFXvoTfQFRVt0jVvlr1s5Hj3oPH/Ne2zi1bmr40o18Dmk3UE1uU4C++0hlf6V3vz2EGTFb5EEbJK/gI1q+II0NgDEGULohZ1OR0GVHRtS+SnhOzlhQw3FSLm5/3Vhe7XZR2R8R/ocpn7SQYSGCryLvsy0VQA/rYfu1nl0xul/aGE/aLJN7yjoVv1MGvjFYqhd34dNe1grl1i9G7LgB5oCgGE7kCnPI6S0SSEH2Q0prDAQWa0MC7pfrlY0eL911WMDCXPilixh5G+5rAmejyUac/T4vnxnRq3vVATW8yfDtzcAhY4EJSGDGuTz4InxKiRJaiDFmhlzaaMacJuWvc2KUXvm1mjEoQXJvi2QCYk9ZVwcdu8MEx/A/LZIkElye2eFlGciio/WmfG1ebj07j6ChrF6PxV9Y7ls5Z82+oOa7SjpdWNZU+HWHX71eQo4oLwt52S8brJSINQANr1XcU1hTsNCapGV7jy5hmC1i91shwBRdoJgw85RRJagW274/xAddtXP30AMvzjRLd+KB16/BBwe6MhfO8KfDgQVgC3zECxaUde1Au0iZkN//p/ybh3w26f7foYXKBc8W/6bxJPjQzo1eIPX/kC/ky5nbw1zVkd+cB6vaikjFyqgo+az2lD9yVFnmFr8SW010w9lph4rS2YpUkqWDw5KLSxiq8tSwVDRUd+fY8yUgLjVLDWf6AfRhsqIUXZIt1Y/9xa6rEN8LCun0bsznWkmKO53Q67tlUgYUoYgXW0hxVGAf9xrm0fildnoTRGX44vuqhmb1Lt8TkifB4C00ADkzoVaQ/NKzuaLAaq69UiAZ5WYn4fN+xtrRBhP36aY0cr7AKql8+nKelnjM/BKDwBPuWdR1yHidjmEPc7/yDjyofbSM/mzqHQ26Zmex9+o7hxwRTOhwkm77wvei8WF5v40GQSAcnoE0ZZvMmL4SzkwfnfGAWLjOVfAiocH5o4e9o9N8IlQ8GQ86VfB2ZgscsK1YDbdVxAq08zw6O8nGqIzwb+zbkw4aZQ/YAPfXGoqj7wwn69uh/flNWhPwDTyFCtInX5SqTb0/soQxn0WrVwDdq3KMyEw0HAz3bz/cox4ZTYBIsZKcmhVALThPutBXfaczhKK+QmeYR/ZM6RXLqa4hbBuFWghVFmIqcqUfAEQijbsm7yWv0kk73VhbbhHp6JqpJH7y6kLPjJAbt13XovAR7QPEyUwOZV6r/0QHLuocyLl6LN8o48amSL9DjnWhxDYC7DvqgmipQio56tNfiG2abNYk0U7lAl870xK8TTLiN7dNI9kpFmazsxJiyH963mW5yAUyMGHS2TMg2gOwO5wgK1eZmRZfgaDJajvv18NcyN7vxvZ87inT4Hh71Bkse7Q9BOMi4ve9r8OlSch+lXZrLTTl9eVboohNvhVj43QUQhJBo4QeXJtaLB1rl5um/DZQZ7tiMoWIFOdRVoGM5QI/n3u2xNH2RpGXrHtpQCMn6vosxLDudGV/NPB2IxdDMEtYfJgvxTok/QkcYH7chRaq8dMA2U05GKzKwiie63la3dBfcKqXligrHpUJ358KdfgU00u2DQxQAXEHk+nUp77mArnpLWbA7AYPbsBHo6hRMnM4P86mhEy5H4YYnwMMhnJ3IHcMPPbOYpoO8jSIF4SfTBZzHO2d2XKfwxw7PbtIn+gOku2hqXOMhBAwvo+2yq8wddxt/o8fflwnww9Vd0Sy+Bl9VQyUswyW4evLcjEnJ5ulSe+xrg9S6/IX084ulW5PGv4BlWBEIdFLbIzRloT95n28FT7ji98JmzQ3uNrryBsM+OhLEUDEcTZUXsPwNSGDysawspAQXzMGFbKS/KzqzvVKN1pIDXC7xOzmKts40AmbdCiAUDMEw2OOJyRBTDZYZrm3/h2COjirG92NsN+7EYxJ0e98deXYLxu0BHH1OOVIfXN6G8HAysOOyoO/QUdiMrZEHSDnJTiTgD5WVJAZCa5KeKEqrItoPCNP+Q2jw+Ypr+G5g6XEzTKUxxgDUoYPDef4/gTON8gM2zgyW/KPhZukC6qhLnH8P5ZD97Ui2crFT8gRTYUKeKchlP8Wv25zDPYvFtwUE4lkpgH47fZ/oZf0rdmG7A5NghJSaUre3KXiDlSqcqBU4aWFcjyDCDB+qMekbD1LR+lN4w4oO3R50cuXraTxgqX/L0Mhms9cg4UqOUCyeeGHKo+toENuwyMjm2yPE+Gpi5PhYrFedXHvJ9EaAXv7s6ZfprZCtgmwM/LS18gT4zg3znKZHEF+l06PaBilPXv+zzJJI0syT5EC1KWXLUXyflz2c8xWRHGx9WNJ11CRgczO1AU/11yYvdZMZVj4biBpz257ZsOy7DfCKUHOBSuriKASmoP7Sf+CeZr+uINa3qPQTtJPjXqdf0gkZaJXUnPd5eZwqtCPttFqquVvPZHe0Yytkwp8crhxTH3fHn1eisVFlg5OgBuxe0W+9Ny/ypzpYVIWgAYyr78xXRbkqJFuq6QnKT39OoFmOUiBTzyuTPav8K77Ss25w+jqgO/4uYGDv0Bey67W6wgBYXzmnLwGoSEvpzaZNOYa/vNhdzilLVBGbYRuscvJE5/NVre8anhMZYH5XT4W5O0bGeUixH8tYIcYjL1VlEeU60wwfkC1uYC+IA2kbkQn4xnIpcEEkdUHnhIxJ40Ln6wbhFAQypDb0qBKDXn19ZTL1kQ787sSFXLm/DLydtanAOFp6cYoe9HRwJ04v2djgQRCvgZRgyZddaihq9Li1X/Efl+LiOiAkPW06CIB/kI5fnz6UsMTQekd0OUM6BtL3LzTYyO8c9mIQCK2lK3kKZGEuld4z8W1PvamhdYSNHWt4nf1dM2EyhwWOz8tKgJ1IuiZh0e2jMeSkmcYF2XBSvMXb4BEM4JIPIkLuJNncLmzh3z4i94Jgd2wHS/JRRapPY06PBoulBLM9pmxUmLH4aEn2TPp/8vYWv1nf2yFwUGLdjwHlP3hkdVREx0vAK7kli7/veAHql+SNekPQfb+ykzqvA6s81/pryMX09CAm7zNYEBdUtmCKy5oq7SZpi9jO4offeTKHBbR0esxnhp7HkQ95c9YrehYrZuqjIX9TTolJ/wnG86lzglO3MF6IKxUvNJArxbAvdE/RA6pOU0GcURu2prGLaEIa0fW5EDwFZkYBBW+1SU6ScS+GnhkHij4wm4+HWjhGqyFbpivM2VkEJZMY3QsjsNRwU8JOpgTr1o2cththPKVCwv1SCxtYcLmOYfJP5Ef8C8yP5hyfMMmS87n3pDTT+bTqhUJyrEPHGILQQszy0iFNsA59J2dOAMVEiXqmcV76PWVLPUKonhXkI/PPDCnKfbyOWflApmerFv199OdXveveBXTV/nIZHf++ie1mlmO1tuEWOESFonYnyyg8JOLC5LZ4Wf04O6np3AppbQ5B++4NBZf7gvE+sPQvZXVJV4oMzraUm8MnVvi1ZLM0/q/GI0csg+GCm08MYVFAAE+8Z2vUIoioH1FTeFtgk6Gf0K+JdJZiN/R4novJUuaT0d2QeZjDmAV/QEd4C9Z7uolpfs9rDxBd2Hlc+UWdKI+Fl/IKEKhTG/uOwZG78F2YBfuTEcEcqwzq/QLEguec5yODhk6aPUg0cWigDVnOCuaQzyB7bnf64byxqp3pPus58w/KL5U1BvVoHVih61DD+ACmLAzQhOOZLim7NceJzJ+yJpbfqClhDd7ll42QAd9cFLaysKO6+bL7lFxqB2z9B9khx6TEf3UQwU3+sydck59pi7sydOZP4SrybltHJqftE6a6kbI2v8RnjMUC2XBqjkzTuSyr/x0jcxxyX5oJAOgr8cC7bqL2B799oYo6M+mXocGgRqQPfnwI07JuNVISDFO1ATTqiOWzpdFx4f07ZLrqhdbtuy2RkkCeaN3iGIOoNI38IkqJCeaP69IOt1pOXLWAVagODQhDsfrsvSR5xHDGe/2RmmJD5gDWYQmrEDJhG1OtUNNLVdfemqmkciby9uqsjKRv/7ziKG+tnBWS6v2VHIoe671E8tKo+76MlGbMDRnBoK+CKZOBqZ6FkbEU00gi/d3PZZxMlJYhoxx6TX8FZh5YpIc1/ylPGH0+ZTTY7eNfbKUd7As7PABo7BdzuMEa+jltl2X+C/4/BHze2QsHHb9hHgq9p6ejqlr4yWvM+YkEOEq01cP/pDH+uEIqiD+HKd8pCtpPOVknAMxk77AZBEvKpSOugyoKd09Prj5X7AS0iqclDces+B44U1FvkwYnYNSSpDeXE2BOkyOgbxgf+VyBK+gG6EfoZrRiMwmZb994bwMdhXIneQKMyDeHfpgrthV0eltKktZX2XtTafip77ObrfRgVyGDkRjsmcyerifSCMJ1eCOvulTCh648c1lP2FjRM+UHUxxEKOs6dWvXEOJk8o5mm7dpaBiQUE0JaHhaq5z0Jy7qCLYA3hy4fZ+G1rnkedBwzxZvV6c6QxsY4JZ1Nz66mnUCeLk53CQ8evbPYW1ibFfGspCe/7IAALQJjqGs/Ni4mXwFxN/SCnXxxR2Ha6LheY+H029LzagXD1FAVoBhBgYMx5hcAfdrW5M+kh0gNZgtxyVnXBg+L0LJ3GrHjljDGMUtX2/knWjHYi/5SrEGqOSgZVgC/SF8eDJxWLbra86q16rw73JwOuzlF/8cWTMZCIia1piN6Hyz9SsI8RSlp+lB6TEoG224loqkvU7xF7aS4gqBqBugw6paOJSAP/BEu9JR2xsFVYsIeI1eUXVd3HtaVeLMf90GvsUufOVwnp/vSU9fcYJMaHMwTO0CWJcCJPPDKYW3iTHwwLc81pRIh4ZGJyt1UXnEi9Q247BzHQuFixjdS2mWXcWfLszS+QEDLX7mQZ8z3jlhfe8+hLRgwvoYhZdXNIvzW3B00+ohMUAjqoEYXIsNcBpEIQSVJFPnyzEmVGAS19EtO4/8l0HrqyIMe21M2eSUVLCDRGxcBJARHSuuzcOMPmVh3rapbL52VUHZrOn8O9bWdUt0QR6bEYSLwztZrOIkiC8pGf++o9v9SQmRjavyocF/l6pHo6uByfTYVX+8TbozFxu5OWX2D7SRmJVrUcQWFbnqYnZzEnNX7vovrGZ9WShKNmzPRLETsWr890WkulO19kv68mxIauB7mGP1fmglqmkn7EgRQyDFnXlaV7lwO5oZZLkISDNiNH0Y4PWzWjLRydd2UR2/xW+doFiL8ctkPFF2Oj63iggtJr2482+d7ZVXee87RAu3kQv+4gDENrczTUuz4q/aipSCO+bVCVCwO8ib3PREqn0YZFhyYrjMis9JMSvLKXeL2aDO9UhF0D2n/uajstWq4TYGs6R9HikqFcWZ4hc/RHXWT6pmg9hOCEa7nEgLZ1Iw0S9rmZzUNEvtre08blwNXcoNnnFph90OwYJ6tzMhTeszjYg51fLV7ndm5uExA3EfjhrMU1JFEoFgQHIZnNbmdRknFZIE2UpmzIvagjVuaW7cuws0pInnduasee8ZeHUmLORseikHz7qUiNtSVS1+AW3RVqXAVotTbb7xvmtZAuod7/ZE9KPHEw7s4RVv82Sg0qOxyYjO7DI+QCcU2+gGv4ITVlHoEbKZswoxBPanmPDci5EIJTTB+exsABFAPhWS3D1tWDoQ/iW/BQvg9ErmgXl909RwKN1707UU2NZDQFGoxObGMozvcW2zeVXnbqnA0uZ97Xt+OczxUj0Pk6yF2+oNzYuCigFrzkT0ArC/j+LPm5Zt4pI31ArkJSBtbTi5khW+DQwqPtpYYojtlZa2WlphsO/rU7ceO2AIYTWocRItJKivxrNLuEb9IHfxqyiG3+bQGvOpIvUaNd38RqqsCxuraXpN5KuY/AA5sWghyiveQ4djSBxNEDn3wiyFvwbj66QEC34H7Nqdol/KxvZJV6vkWGf16ssD09lFmsoK/mIfO7FmXE08NvB4ejssKZfC2oxoZPdIGcPA/H4DVAxE2grozYcXtl3W6bdMyPKEJ2Z9OvWKZ/3lMe4Ul3G8bYqBnTdTd9JUmoMTyEpL3mv3pf5c4AxPoszxGmD0xr1MURl5xJPA2pZ9522qhE869Ftn6RWPVlKGHR3rBTaGdPFy8rOPnpXDKetND9gSEHfM0Eu7wMoI0A1qKLwf8onxx9GwRAP8vRNuohmPhz5+0Qfl7fghVqhaJaYEiNz44MepUy0nQh3HpuOLbc64WMOO2Gb96rEeyi9zw0FjVl+nnDrIQE5mmCaaqFrfToU7RJiCsO23i1ioPYbmxK34AACHMbxni9K1sgvFfxd7xiX9xO+02Psa2/WnKb4PSQk/kUMR9FU22WxIPZ1qibjgywtWUI4WOr/4eofzPUjEqh/yYxCFP6b6L41Mkfdjf9QGO+jUxuWkeGhFbflzNfnSqetaP1ju+E5+hz2qHGqpf/OAufBQQVU7F9WE/b8eAP/2inCLudk3RXoDzMODViT/pSifG8Im/hIJIH2RiXjBhnzw9mQqnUFKM/Y5ylHG/IyfrrgvTgMH9i109OKqMETHLfGS9sVL0+ti6YRaP7Yb9wh/sRBCaVmJmPE/LaFPFka5/FJuGaXHH14reB5Zf7tmS6qdeOEYsTvnVeE6VZkAvHKFhqwkecjZVkRjKw5ru039OEhLw5G7RrZtqDeXjtaVPuI9zyyCGQ1b7z8Nl8nirTk2/U+kbG61QA4gQ7gw4nK63Epfw9nQ09mm8GKUPnJuMSAPmwUeWiffJfxoqLkbkMymP4kk8NLDzAQxaIIyyhha5/9UNrBjbBpGBS18jtHcBw5tZlZsu7QSl7aIq/H6dybfoJliY7I8H8H2Q/VzEg5BnCYoxtgaIyIoptBjeIRJIGgBDx5yv6c8ergZ8pIKH2XtA/WLRTpDy+rMJ1MeyAyxQ45cKhr0VfgPzf0S1s++pi4WvrcXwNfMY/7m7mIRoUMy5Bf/ee5b0FD6mPL9yfoebO1AAt5YAwWA3+DM1nLMjB7mvPQcpLX/Vj408jpb9FDjFUQbFVcOh/VsoSCl/vodzuOeg48P9rAOMZ7NY9sAu0mI2Zg+LFE84IL11eTDLnrAhAj0/Aa/CkvftjJACiMm9pRHH5AYuqa9HsdsgVdgvOoZJ5zKY3thhlZ7vJndV9VORBJrx+2BQIWBbsM6dbrc4Bi+WsnQguX8DQ8jALDZ9h4qV2K/z+2Rm2CsR1oot8L5SY347KwDA/Rjp7SDk+/GxQHVa9tLAyMT3aKw3S/kQ3npdWgzF5tS41DCAsU/H7F0EO+TU246fkMRjA7hoHDN7wEBMEsFSRFTv8zjslvEvmhooFureqvcXnIr+Uf64VhgNOMLhEd2EFD6wwQeCXlFaV75KYWyA4zAVORj4a6aWt6w2WO5RoGjzjmwOXo2Ggx4WixqJxFe1xWwKYODIdxFV4nHRVeQXohU2wAUFrErZxRTRJ5TdNl+Sb2UJWcLLKlN88ZcWBXqHXJG+pUFR46SBnPNdsOAwNVvkujRgRg7Vi4kLyJXunf1BiqLzgbFRH+vBJsC6tFbIDNPOkWJWEIIWeXVwIy9h0Nnidbje3Dh8W5Rpyzt8+FEDZOhwHmAi4nKPvd69qrr3LgP7z0zlpB+Xmn0Hy6MoP0SoGOSZeK4uibAZs950Hap1TP0TH/K5BcSZWV0VapHTeDzAjhlZQ53ZylFi7j+cEuXmlVVETraHg3a1tMd3+XhtFGFRvHyg9FhvbOmqG3Knn/Mry6OzN33P1KldSFOjgCc3ZXS9OBwTMiETe0HDwerO4MFc5WwDg4Z7Pp7ggVs+PKzvSmT+r3gf79grWIlr7OBbAQd5QOIf/t0VrZwADITrZT2ZpeVy8V5CNW/SEMMXBReGVlK2exiLvT5FF/l7mR/pGSTCb3qZwykwjestsY7VzpRQvBrH2WE9eZ8cEkcsJ1uwnz07TZ/RHPwT/6lixZd3mn/MLp8jr4tnGu4SHo/9K7hMjmsKpTGDU73gJfVpn/opO8XRQRCWa3Y4My7lBCqjsJbQio/FUKEEvto8oaz3odQpezZPPjCyTDTjVclU+4axrZXf9RE6e1bOspGSO7U74Vke8TcDdJ5828ApR5dZvu6asO5c/g5n8erW/RsS1mmc5LVjkq+K7Xi2CH3mD2olF9I/Gn3Fj8+onpABe0UA+xgeXKhZAKnuVrle7DbY6tJ2vl7YWrFJiVoR58HF8Rm7wMoq0X8LYWBcvjySqON7FbxTydiz/cLzLrDS0Hu3Jlq3h1CXek35iDhKxyk8hY8NV8pP9LCWgLEoIUOn9mZyv68LUpows0pbcmfi4BjW4MxB2e72wDxmmO9rVHneIomDYYQ9i+FS5Oq5AsXNXmt10DqzbvI+7P3uAZY948V1wtP6i+hQ7jViz0mwzBqttIIbwoNtyUGbhwEQRE8eyefBKPZJ5DdmC2ESwUM432NjZJl28s+zpZAQyDTJHUmBwNnrJDD0PM2zqQn6wHL2o7E2eot2bsKpGuy/BFfUh/QzGVpiJnuadNcAtxyEDB/lUn5t3xK0mMtwJHcVU+QF9NAEe8GPYauxZ1jf8QZJqO5KVSatVxJovmubMW6PqVxBO6IoPET2B7x/8TU0B63xiZkceyRyXG72bN4BBwHpOjPSnyXzF59qQ2xFKl5vBuCfwLt4wkXX+4Pi6Zy+dK1ScZ8eyhqokG5K0JbBEibC1FYCIaMOQKJQgmlWDJFuzolF3GPeTavcH62lqnmimrspBKQHi40qh+1T76OOVGpORuAbwkJ6AoAgKIn/IlbpoEpLCkf4F9stZdm2WKsZURnIX5hbApc02Rk/PMhYqVcSW8IYtNAAkCHp8CJa5hjdHadA7MApOw4CJlzz6KxbJLA3IcaSavZhIWHrmb/tKpjgeDafbuBY40Tj679kOWirVj20QpGKX3Se8vj6HJdUM6wiCBf2UW1yww7PuX69Tz/H+YwDCnhWpPVybXGIDCYJpJKbrURh/ptpMsAd6F2JSPboVfW0UY2jD4m2OOSRqwLKOKN3PIAJuHOxKVTOYgprq7AC5htxJjhendiK4anJfsjVkFfhjzX+teb0/Um13FTvuWWq4Wgd5cxWrWEgZ2uskMoy1TPXAqC+mSOsMctk6ZU/bFcQnp3MrlRfadgk9PaLrIzcS6LwgkRvhR9yYXlIs03ENWlPAhhyrOLxp9bGmofUJrIGhCdo92YFd5cdEJjjvtamO9eOxXjdWbRFNgU3l1h8COJ6WGkdBjudlR42zug3Y/FDuXGPdJ5PeEukNaFiEE4NjZFucOIRr281RE+4Uxs7pOa8/sRkBQH86kBrlFzeb5mLkU+Ab3LxL8SP4qAAw8wvrTtGEx9iSzFSpllkX9caJDaSnMqpMa4gunBex3JlNmVaNLz30w7TXJfOzG0H5kYHROPlq0lyv8Qew9JoxLiF2TlUjGqQi11SvG+o+Y3IoVm0LVdkZ7ANloZonO8Mufe9aFK7w8ObtDHHFet6RDlQyDTaUI3B//Qq8uhiVoEwVy/GRlPlKsDBXb+jxTWqHDZ9IYDgD6e49kQYaJLT+rFlTeq1lxJva29mu9mL6KdNK/SKPzybA0EPTS6l5RB+0Qh/DIfRQnLIni70XH+ypNqzCJ2NNm1sQAk3yohB/tC1eOYhuNPatQMzhpfNrK+3tn0t2A6S4oyH0Ee6nH3vV92yxoiNnVOfJ08wWfCrPq6CLlNFuU546XHSFBKNLCg0RG2pq+jvFrtOsYO6iMllFtYof7Qu1EzfYbUnvZbWZLM3DbRnexl8pcb90DxgN5Px7cuh41gLHlz3yYVbszyLz4aTPtEmHPWBma9yBrCeA+S+viciBoG3kFw/xpczEhEZ6/guMb5yFs5wpgVv2Ld/xvY1th0fCE++FJrxsiUHA2s7Lmz0CiQtRhR3QOtIzb5qSshtU+MTEptCUvN7kmPG+7xfjh3x3HyEbcpZ3vRDzZkv/EFSN3/PfErZYDt33AHLRrQpaSv+1rT0471Oj/xUyzD4d5tPJOOWjU/fpVPu9zkbcXYn+ssW4T8FTl6wGslSomu5dnVDGmFvYLKR1U8X41u9oBeUnhzZzLR0Ck4MfwxA1pBwvdeE2OWGchuz+KIopCVR3yglJLyEmxhUFtodCV9Zo8kfoSr5gVov6NVuUg78Yfl+dS4RdUhHibTZVWrVcI1rmeU9oty4jcWVIgEWbXmPyJvU29W2tdIXzNmdZqCQFYH1gWzCK2AYtMYh+qhWsLmERruqasO5GI/OfAN0PJSQrw5n3+C0M27dbu0dOsX8M8S2akAD2zpKMuYDtxOouJ1h7Y01842r3k4XR4NUjH189DfyhxPxo31F8hE5knoFnCX1NnIdhI4UqCYK0djTiJ5HCnShDJu54omTloyhzoum0NzInmkzA/WkRxnlKQrJGLsZotZGq2vk60rpgEzDWisYrAU2eHSz97gtfK+mIT+gZY3rgHTGNcza8v405AYA4npnaN8z7CIctnZhGAyu23UpxeWslUntT35GXNv4RcvC2ws3DZl5n+OfYsMAP/ZLif9o/UjsppLOYvNl4whQDBw/jDx2UbXO18mm1pbeD2xpyP19vygt8WNvGcrPHC46IzXqvSophA9Lzv4dTCdvYz3ODPKViZCwn1Ah2fP/YJov65zB7E6S2L4HSmzHyUOqzYzYnyf77msj7oB8ZSLgzTlEpZcvu5nO9qYhupWPs+YXTPVeO6TKdkLLPiE6LAnk+njJvXM8bIV5YMG3oPuPE9w3LOk7Yk2XV/+5KOvzopFXI0y0bA6PTtk6Rni15i0+m1k2Fo5UJRn2DHwYgwxSu19Kva6cah3b2yyRL2cDtjXCP/0moQn6khSDKPdeCLWgjFinAbFAV5NG0HQoMt6YQmhX3FZ3rNnIANTNSobv9fxjtdHoEdWPCXCLSG3/oiGy/VC0pX6XSLQFSaZN2IeLALmYbNmaiAt1Jd8jWYuVXoMHvpZoSd3jJ4PV3qwU2GUfWrRDckf1Ie5qbNNEfhUiPl9uU0oBaPqAcGbpMlPUDauMvsGWfkcZCeKn2Vk2FncTOOG371qzVgp9KeY+ndQFm2nSYzf0NfzHf+ARVaeTP4upGO5wTGkQ+Zrn5dHlmSVsN+f5SV3bu7aXVaURuemP0fpDXn+dOg4+5zOUdzKLMIZpwdll3ylrBptddcKOhu8XUgGyp4ln/0DuyvQSPlDxroaHDlkjkM9/TEBWW/0eweJuIKyL3lvYOJefjsCGUcmNZUBkdC2bw5Lwf0dvaAIzYRk9dnRjM9QcNLB3HqgHIS9j8swT0+52u9pJQFRN/eIBGzGZiZxvM3Yiz9qXO7IOkPXDaJDR/emynd8REl2Uh5J54C7FPNEbyOSNJjgvdgQR1WoOv8g/uoofDwa3lbp2F85Hlc4Ev+llHICqK5j71gPIiC5v4Az+Sw7VzjdlORN/lU/5veh1ziiEHPNTob/IrFrQQd+pgfRFKxZjZm+MPePzyOMsGoG5xdZVnRaeaPXUJ9T+Em4XMt+EgMk6bBVKMFNa1hBLwsQ7elZhQz0sCPIkirKW3pzcv6gy4GCFzjOMVMCAcnSTB9zsMP222DGkpPUbYgCgLQ7Dl2XfgCAHqnp7brQx20gUm48Nw8yViizvGr8o7wNyzZz5xWW62WuvUkru3rkgAqveM1BWhbG0SiHxD+6I+k8n7q7Nah61g3sKLphTC8qV6qeaRWsBP9yLb3d0a9CCYYssQxINkWYW22l2X8q5iySUogNHwE/M0sFLTPtrUsdbS3N89lRIX3/BEeIzTFIPdRECWi+9fa0k5AwRJbtY2jCO0ffRHWrrUs6iQrxkczsBS80W2uT9GK4vmVTqQKCGpZ4FSuQirrWuERihwuSFiZNBo/19EB/guIpV0jnr03XHlS8WdEmOUOSc/czijlKJv7GsTnHsO7MZCRbiMzh4aIqAh1vGrGtGeo01jY7hm0w1+IHm7b8VdpG7sJqKpmPu1tIZdQDuFvNsJho9kcOaQH3MU8cqB8/CRsfm0n+1XZOjp90Q3ld1VwVVcA+F33cJz8f5gr0f9dbF3hlF+zGLgO0QBbjy54SSkE9txUdafZ5HTXLNvKwkD0oaUc9Kxgh9gpci1Qpc3sPxSOYtUoiaBXqjHOWOFdUR3hoXlNcn9uVDK0I9z++zXk9E2dMdU5lpuhdqqMIaBIR5rF5d8Unwp24t43UakpUlL9EN4m5/MW/ZFiuhROPWmKOn/tVb/CL/BL3Uf5i/FrDuxIYrNZfZznJDOaAmelcRxbMXQ2uH/VM3IZLGh17RQN9NR3isTGNzVP06N5RgGuSwuwzNSDhgJLfzdYS8dYlUcW3Cfoot2QMTea5Nrefwqi2nrZZ0j1vYx4Vv39Ka2+338AyJvE07lvyufsfT6GtUCw6n235KIGasDpgK3V32d1buuPlgNNWyx+TUnbAdS82zPzsvE5GaJiu91DKeTDS4VdfXmXBRvPM0l6fr23Pd44C/TKWZg4FuT6j6aTGnwbI9w+IhLMwTsn/dtbRZBuQoOFES4kKMpcn65GZbLHJDFXwO36fdxBDjbXkpmRilKBuSaEJySQTUFjO9zogjVjSlW+3/bhtoV662qwM8WnfZVh16gzoxaFOpRE+oaYDbA8m8CS2nRlgKVwRSKhp2UcqcvhUUCwcfMHBWf/m/608pIRicN6ru46TPDbnrE5X7diusaFQXUCWY+fgkA1xAIFgNVbD5y/zS7nZZ8IVZ0JLc0bJdq0VB+m18JMEVmMQoQQjSUVFxJg0qoiumDjMZeSbxGLnvf3rCGuf/v09XgawcVBZMLj+saqkMG8Ng1p20o/nZUEGvwzdfFNeXo4GO09k+5FPIqDMImhljHMGIw8jJZBVpIt27NKGRH4KSVvsj1iN/2EBfNaUql7Ex9YLBAuqTF+72og0rBvFoFu8nO5rnrMthKkroX6CG5nTcIVqi9d/9HUav1+P0q/Tpk/0TZM4pinjrHOTjtWzYGdd8ZySgidRtSnslpFerRDx9tBKFeTd9uISYB4CnZhrSgGEAFaE2f5pf1BmqMgK7OXBreMTFSlTp762paYg+sYSW+/HB+3/Jz7FH02ezQoNkzZ/0zhpgcBiROhEWAn5Zr+8UQgvulnKMnjqYjpFneKt69tQkzk/J3ufDQ/1Gc6bLx4yvHeRt5bDzkOZHjazNEEfYqlJCz+BDorBS5PFr3q/kDNLsphzaTwQWC1f1egmvTUli9ZNh78d0xTNrYppxLhEF7wMXWRWdE3z14JFzMGyu8aUfKaBf+Y/nQynKxsuTqdtZWBGscB8ntCXWL1xs/b1uza9pE+2bySx+HylM1P0CflXEi4GgSWKgcjGTpXS7+4r+5m4AiDzsf9laAwxZnua4Pu5uhhJX+QgJHbxLrxPpG7kQ1rOPc7z/3RAOPR4uzZKgBXWl2SHQu/lVgpQgVzwXJGoZey9NlzdWDwAjEa8miNcupgrKxP+1nQhSlq7vLUu9pYM47EIjCROfjkD1eWmyqRDgGolFe4jyabiqR39V6ahT9ZCxKloopWCmuUptdmN0q4FNA3Nv8nim+W+5ecYZSLABmZM7n17mgrg1OEpFT3CBpUp/kefPvkmatvY6Ja8VXsw7o6fKDGqJ5T5FQD/PHfGdXofovtbaOt89EULiBBRhGQzvgvKFPJ6MJKrsDpRWmsQXDw1Ns+gmCRIJKqNhCUqZOFvCR6QK9/YJkjsNblt7EAlWMgJ/kYcT7USEQa6UTfQPDjGpnmafsg73CYeOUm2aGm0O9Qeqcx+Up/5/KmVAqHBtwbXSen1Rv51/w7gf8PJrZ2JnQDf8RbY/YaRVvvYIi23O26ASYHNHgCwNcmNXTp4SKEU8eVU5KmfLOC8AbGcS/O52Vj0s0+O5FNu9u45pAK/tbpbGSwPsytTvcA3Pp4721XSuMI/A5F/rXGw9eX/YzRQRaJcKu27MMCuLf42P8KfItJAaHWrG6uzTVSzY4oCnmDwwgnbXmfooND9jkqHP6pqIw0GY/nlk4Fk9oiUNGLBsY/CRetBz5b77h7PyzHfNo+XB4qcrc3Xv7Y1qNnP6hfZvDRmykq7SCsRgI7MkD72zKmksgqBTTUknvX/8E8vLIITuWLKAN9+hXehM4Izh696uK6PDVAsQR1ZHdRKhFitySI1AtR5BT8mX1VeBd/aWwlUObBQkrmfFpEEMjr8uGvwGy9R4Rc0ONXQjLBNMYReNjm9pO3xyNOY7ZoRY37xbmKt+931JNenjDJ3XP76Oms5mHH4WSofmLL1n/S+eAt1EpcB3itK/1nu0eu9+DjmWK0NgCsy84gs0d769+EiV+jZ25GL3WTA8ep/XaIQ5Mr1qFcRMCrnsiuACkhBdNSLJ38pNFr7FZGLCirKthMp7gyfQyWwctPfc0MCDlLq0tvjErTQyh/enKpycFr/zUQQ5HKa54K9PwJPqJFWMilhBjgw96eWh5/VqE4rNAFbxPbpfDm8CkxZjjlWDootfJM3G2iv3CY/t5uOU4RWilBNZ6KP4PioblcqXVzEqEYiH8gIfWd3H++iM3CtJ44YvjUBjJdxz3TAw+szXpHloD0ZivM8mqxiirgj9FnrWhQMaA99EkS5wyyuKUFUJMzpIJvc5TcYUY+A0Y+y8SYUUAaJkXWldToy1N4y2Junh5GkcM+znZIj4aypQAt+VSKmTWj5aS75JyzqDhzE2DNRAnjVcdsROUeZnp+juTQyJSKuQy6v6LAAWyDwiS5gqKrIhvVM2Xbypwuh8lOG6KGuovnK3sgipejcz2wh3hxqaxJeOfZao3LuwvuEdYXse8l+VeABBjmeL3mzDW6HSpkNfAfE64pOz6uEup0UVW4aFYyApzloBoz4sBS4F/18jzC7KgM91Nu8cjTPtbk4f1JOICbUHzD/CmG/cla35BmHr+UCMKAhbVsk1GFCAXdTT3MNKjkZPSiyKm6hO7eGaoqJDznWmNG6EjQJW7e1UKG5ciNkiFGDoRSHpitk4f6FYdhoIBmSrb0hbS4deVJSEeyaqH9gIHpf8wfeZ8NVGitlCQM38Ea4XAcpfFLr2XImQT/iQP0O0UEcRc1qXtMzOe5d0cc9qytwdm/dQ/CXtl5tGMPYzUYNra8wwcj2+mX4w5bxF9ts0D01lHlN5ao/2ZTHcNe+5C+e4+Ba5sJuWJ9Xk0TXA3YJvDRqdNCP4OOi5bciTr/Hx/CQBYE8dCREVtE05dPVAHyliFBLOSfl3+MWAqYx+eJT6TEyGD22tb6SDQuqesvgcxUTAv1Zq474AwrE72ayCgloVyohH5gASq1YCLkjM2af/MgkZm8AZMqTDL9wjPboYAEV+vhQI04Tvx9jBuTMf1B0PSIGb0n4oCE52DrVdNwLpxfwyEJD7U8L1HTD+zSz+vSU+dVVAOukyD37H2pwIV89N+mRGkIHXlC1AhNyFUd51zMws0PSkQaxksEQKYyWRs4A3t8JIXzCYo+uZuwI6SYQXt2U/B0ukWRQbIrOZvFYmP7DdDgEZGbEtZP7cUiE65I+28P+Vx4a/qR3BDACqiS9SEFMHJMePYgw0022CX7Ue8Man3ZjfjO5GSDeCAdsG0/a/W7X3tSxl1C57RLIugLF7YWRatCcKiZfZyEzt1Of8pdIraTz4ljFUX37dvYRLOsUCXjWSIIr3cNchtLqzkU/jSCOA8ZYqku6FPv/ACALwUcwQRe+UnO/Wd9uH4vCxWVTy03bm9Sl99x7tgkvcV/VMMNwHRRo3SaIk0vxyKMNSS4hLB8Ox1iAaxIQfduOsZCfora68nZYNJSflsIfd/mI4JcmPn5eHoDzhyB3acDPOd8lLMwFMlYJehCrhJ9NOiVbHaeHQE1HE74f7iqxUeXss22brPB/0TzA2hIm7R6Dtw6wROrPRkmZd5zg4ea96LUi/RQI526O+/92xMDMNXHZGuVrKXUX8tvjUGoO8grsAKiId5QzCJVdXK3ZHAuS7gviJ/3WWJedWV/aqfl3V7hrZoXHyH+MeSN/jPLikOyJjS/P1VTtynuifOtq8ZO3vOVj/aR5A7nkbpiQxfR009kIEw20HbuXUCget3KAHQIvmMBS6CYeuacA2aFhCZvbOf0YUIMqxLSnYxShhqDLRPvsl2KAHCfgSQokObHPKLciGMc3s4EsSNYjPtA8TQ8ChWlOxKuJwJS1k4+FfVX1eOlIdxAUKo+ET2AeEn1RNBjNKbJBQe3ZN9oOAaPEIoxL1AR4pZO/wXTKD6iQbyUVoXJUDyaF9g73MMk7XhRGN5axuaRz8xG0Ijz2/A3xp4GvnVqzfd7fLwcaG5SEJEXMh5dSiRfLZTdWsCjV8sK6XKPxw1iB3Nmi3ryvdFoyZfVR5GWuZAMCYsG0RL684B3ADYoEB8V7hdQDtDEtVUcU14XycxNmyf+z3VVHc1H2W1ho5yHDNemfdJBFrr7q8AgUk9jkd/QYEp01815Td0jisqSQXG+kltkhEtV2+l3JXZpNsADhen0TK3vbHa2ggamSkDv031C6D+rgGWSXHV3vhz5mGMzonTo03XNfp/sL/QPjVhDhfnGnwP9YxVW/lYPF5hy7rqjnjVdljLktmwuVxHiqywAgyZZhNADf9KMvvZ02faObNDL4wcTZ2Bqb/Hlf0qPYhcWDGEEBLSUQmuBU9PnUOGZP/DExXD6k8HqxwGW+n9IAtqpe3X06TUCXrNzx8CaSVzIpELwlBOeERbZWCjg12yA48qKID5Pw6t2h48cdUz+DSUHPDVcByNt67F5nGGGcrs39boBQFJv5dscBRzTt0bq2caSnKcc7GNS26uP8qKR4Q8Hoizz8OS4TNco4oLVpqECJ7Ry9Ok4RcjDaNNLIc5SdgvDmKKFQ3mJ0e6RaWIRw8fPSwR7YxqJjwKSeD9z+P2qVJlb1HDEIKPK8V1QW8bwUXUw/VE2P4rwwS3k7uex3qLPX0BisPlYwFvMxvEcSG7/523kI3LPgjrNTGkKZztB29WGnoRmIuN+IDf00SajsH6sOsU77eE8noZBkLDCjJMj2c89KBo6YrfFE3Xvk+r4bpHO6HYU82l2EoqMw2yvfn8yWkgOfIP9CmS2wA65QEc2kuiYhvkyGbuZ6pJlplY0dNXfo4EO+nxVhwAOlsP2cxcvWsW08EioLANNL/uGqKTBWYVNYdXVlqonzsIvpLbqAAMF0zvrFrtscZ0EQPuvmYaC1ngqcCPG//7wwZaZyy2qLxka2CSlQnPDRfzIwu5yHFwJC0MCAlhOJVaNIVVGmlbwqjEzNz2qPrkc8dqAf64vNYkPUeSTOYWFx/VRKK357Jy1PlCFMsfbQOVbAR6jHtHMQIXDEuVUJKuqgKhvPaZpms0OAHzkQOLW3VK3jkSlp40H6juPx2mNwKDrkq5VOZGFE8GH0Em/cCYNySOw/oDm6eQjVnbIbBJYbV2Cum79v9xs4NbAXZdKIXpcGV2EpicnAhLz/togCQKFVSQ/Vaz/UgemEKRKPaTzguo7qrQP+3Tn+03TKQyD8I6Sp8pe32ufqnxR1JRJjffc0itLKnVyE4/DKx/WB8+MCmn8gQhmOckehh6pay/AmedNhNMsmS+Ck9Obakg+3bi2+Y1DhBwlc62YaV+nIREv2TQCiBgokR0E20CtE2VX+nt6FApbUg7ofSH/xFcPqKh+kxGrmowKyoojMq46Y8l6rpG0zippQEnhEoa9/NjXw0q1+PSkJT9mJo40jzIc1Uv1IBw18ciUgiINRDHnfUZ33rYGR1Zg4y1PWzB3/uVzxqxm/kI3GfwKxrVMx1eP2c1BDOSt44D4eSg+tgbBfEL60sF1x0mxsxDgRBvio8BwbbA1LYDm3clJZmC6iYaXskQnPKF8/UGDz6yjx1HwUE9rZv1E3bk8Dknd8b+aQzb3RulzWbnxkn3oV4EPpBmSxdVNO53LcHZaoZncGGQhw96e6r4q4Xgj114vvdDhTCU6VjJHIwtAqjGZi6whvZ4vqCYbWfgsPdpBgm/HFT7AGraW+DfZZJppZXZrhxkvCsOJcOkelPFOs9YvaDuNM2efsPE85Rxf7LeUOTQuEY66jUJNkSSV5dPqVIKG/YwGA8nXBfboquH6znzjPeWc0iz5egNEpyLSxiEhRAndlXboMFct3Lg5RHJeVPsWN2e21uDY58JNzQiQ0MV9N8L5JgjY/990NRyIbxrU+RASrZcIwbuqONQ69/miZqQYAban6Gjy//tk6EKKC++R1A0Oxl4g7onminj3E/2KHBtYJVu4G1dPI8NLvN14GNsWuSHn9FnLzfToz8DV7Tt37/SZxR0KmhE14Zoz3IQsh3GoXnxCdC0dNuSCeGp/0G+1wJdw6TRpBP9HYGwAMweXPNIoQJSVk9zKUTbvJTKWOffwsOE+CC3gdLrDupu5Qfx+1tVSJQf7UYw9tJJjgcES4hUixOdz8/mitvqWLG0NTQbObZbSoGilVvqrtT+BDG8bGVTgfHpHOsReakACSDTeFIt17lSxlAG8/EMz4fbPmKWwQq1xTpd7zh+GWOHVrwsOojfnIO9t00GkiszVManmljoqogS33ee7SWaXFhVAqTM1ZxsViV3lEiF44PAm3HbGFUMgv7DzdcqLa35QTfft05AcIaN0OrZEg1ZgavtInnch0JeuOAmeDppCqBMMjhdCQq4h9i+N2GOJa+TqSeDz4fgujE46ZKOmA4TPnCUuQf4GEK1QUc2svnbS/8QQQRe/fz/DsCCtZgZ9oSirI/F/W1WZ0FdS9LXehWUVnGKaR4Qn5s05+uRSbZQ9V4gNMmbs8BRenC1zAS28yZWUq+Esze/Fx1MU7W9zAs80RLy2EHfWOZE4O+8j8mYNzlrFt1Wi4T/WMfQbK086Lzo2BAF5BPvm9ZqRJZ6lKx9//aQkmWqreSDXq1EXUACvKIPS9JyoBqnX6MBdR7OAJOdPLhsI8oQSqo+Cw7PQf6LKQdpPn56NFBjBD+Gze7jumhmL7IowFvWUM24nAJ+ZGNB/IXi90easBlHqhRqvTEQIDrOnWgqFdiabLnbmreOYSxhXkEwWFyliGVUYuI5q3iq6QVfex6VRkOZCU4kaWN15wDZNi4TV8Im7PjDkdZagU2/sE1IZh/olP4epAmAigGtf88JKZM25AUDaPZogVo1gJ275lOfY/m2CcsgPFv5Qdy641jcAzBXiMWl9HRPVVjxNg1FLGFJFqBJLWa6GGzv78DY1ZI9nvEJNg8u4q++EFjlucTFu/jBgaH07w8nHigS4IdAzybRWa2vIIcnLJ9RYPzIXh5VhSKAjzbh4xikkyrkSR9wAiySAzpjVhhArPyeB/IUqpx5sU3vmp5B49ij+xoQG+IiTs3AM2uQaobvbna2W11jNHM9uEsqWNxT7BYmNY11Qxi97VYFMbFrHjOM+U7mrr7Srp3GTJVlJpl2WYN8GZBkfe2V6j118hHKWAb/VOgzmIwOLX8HDrkp9+DMCOzXQhGi7wGLbWOVpaLd9ktC5Bvfp/g7TyEC4Qio1VPrlSRL4AoiTL/2Gl/LuqE8x2omUCrZ+XsWZ20qtUYNIKX1mGZz16ukw0UNvKBNhPNdbYZB3b+HPvM/sm7r+2Wtd3I4W1+/fTIuC2UKw8qbeTYjA0djUrfp8yUrZm+4E1ohIiuGZXA90jOOWgZqZUzVZdsfmHlegzAbFMgtZ4EFzroP1c93pTcQzFmVFSEmO2mrfi6hC01xUkWvLdi0W4zISHhfzjxRlDHEZb/VpaJhGuqiCYJqaBbTyVGkaAhhKSFE64SAWXBWcfeJzerh1Fl5lTU0r80O5NQSwzERc7ygndlKfUX+KZZntBOUyiDlGOHp5jofShtXh6Xvh2Z9nfXjNcA+EDmvYcLgE6Dny2CIVUSRz2Ppd+tOCRQJcbf93YLfy/axLn1/uJlfJydxEWsPGd95aRK/uhjK3335eujRebIYM28UdZvY6lbf7mCa0uFiMrKR05f+vz01o64Iu9S+FQAyER+l8eUpa5HAbl8pfUSXVBRxfs29yhgN1wOOTlyeuXxpCoMHORJm6Y+Oiy7m5JAMsZozMm5YwntdqwM0ItrJl+gGPzIbNgN9TTDyxKmu3MH3SLH6zzQEHk3L0Z9oN/xxBMd3HoDeYFpgWrL3dOQjcD2t4GpNrYOOFjZ9QcNklc1ikbL8e3reyke+CyWkaBlNPWWglfz40S4JgN+yBon/z21p0svVpzs1pb2XM3thPBn0bCHNUK6auaJG7SLueTIQ5vrag3QvA0wLUVooKXoXKkdDdrF48kkW1nIqoAxyUzm45CZr3xBERonE3CkIBcAiFV2j66L1NpNE8cIPLC2v4QndAqPowwEUE/3sx/xj4DV51pGHBj/To1jrMwfwqIOImx4z5hRA050x3y8sMq6yxsaqsZO5/3PT+Z8wRdgdN+/9CWn+UaSw6Lp+UviU0Go5ogPN2DVd94ZFwq7ivekRfBDzeqwx9gJ8TB78kRtiVxz+LY7rQlF/rlGbuFJyAIh11uEl1rUipt68F9ndj0++qNoXc9B6CnQs1vMp27151dDw81UmSGKCPOf52jNbDA8QQtqfP2TGYh5/nFpXeJNiiQb0AF4W0wf+xsCrUx6WxSQCtFkf2sv8lSoXRKiLsVUr/LPzS63eO+/2jHZI3FwYStYnstRvXL+es2MNGQPM09JP1LgnofTvtRnroyaJvUKh0yyRFbWorkpqK8wJ8yVx9ZXewxEgRC0L5KISbQvz8Wn1R8MGt5Yz6ZwfvkV2lhzDNy/rthMnMKUfgUPjpJia7YZbB5cYFThvnHx60/s28uiYYUIz5sSQ5oI7KvCxLcrQ4vackO/mHMGHnQc/1rkGoK+RlNR+xJ8K1jMvPSqcGqaMX8ELSwM10RdFPS/UfJjjf0diZXpGwdFkbZneCyzvtyQ1fb3UYF4tNzgtK4RwOS2+1pJjty8EeMAxvXzVNyVba6HS7nlYclcIhs2Fh3I2gTAfVwux0SXLkmS/x9sZhHEOfyP70SwVa7e1RtY/Mh6XZBp716WXyQFklV1h0/PDBZlA7xcNazk6Gch2OFT5UjmoDf+enFX4Up3y2faHOSmxX3o1+dpyGx/YCWKqFuE3baZh/tNHFopt/ckukwXkefIs5Ff9bItQesFrkajIhEOeM+I6xM6z2Egc5BMDtjFmWZxQ8tx/GSonLk/ulf1DOu8ewShRDeXHld6HC/CfOXMUTzIvGjMO4wIo9K8QEcdYZmV/6QCtNI/0EsPbLN9GRrKe3/9HNStLSw3szN8LxS2g1rTarV1Y5ioA5s9nB+w6faCpOnGB1Zx8P/ntI4PcIQbRdQIReNjrAWV3Pk0wu7mdkHFUUocSuhYYzuwUglUQgj4cF1MAxlPiSuFmR+JwJdneS/oErFZvrBqExGJqtCqmLfcm4kg0X5luInVa2+ReOT8ozG4sD3dLJwrOonu4vZpI8RYvQEAM18j4C8IYpuO1JpVi+eLCIGJ+MOVhnhT/8R++NcCbDmxoJN70t3Ea5b5tvkaxp5GysdzOZqp/CP6kFwNkhtTBUxlQbrEKhAXYWJ0+p9hbIwACz6onxdDgYCyxInAjcObccxHD1/EurcdVdrQrGumtRWqEmvxmPvm1mfUzRAklJp94NhLwVMDF8/Gh7CTVV8LxATG7orAYlNl1iWhQMqAxLGygOKHPXfcbqd1Myv4bhCKTxPHclTB67n9YrCSwf7E6oAybfK6mU9lWfnaYr5sjd4rfcSsh0DSRYvYjh4QS2t9J1V/BFdKePjCvkPZTGx8iQ2seqXjjOdhHXoOmTcv9s4PdfGCrl1gHk6Yg1RgMY4MfUKZf+BIKJwzLHeAAKu3GFP2qixlMusO5gUkMptHMSVx2fG32lDC5mi53rSQO5aSml/9KkPiwy9ExuvYdVKEt1RUd1mdSSpEAgNpFzsxdLOJ51WgPCwMLN/gviZNympWNR0OjKbieRUsLvrIuE3o457sF72AYnEIYAmK9MZuszV44eKI+HkYDUCQu4c26WCC/+0H9MsY8ZEf2rSTZg++BV+03PVbDotRCyYeTOQpEToGPbYbnCqPM2nj33H7VYxSSVzPBWW4t+6qJDWJq6UIZASqKmx+Ew9t3mbPy3dCgXUI6rwUK0YsUlPLvCR7ynQpioEpMlGjPjy+UZqbBatehN6D9cID0cKO3VZ43k9ID67zOKrblU7JSHMkh9SpFl6Z0eGo9N0N+eH+jDkm3xZJkEjZZp9Znh7I1ZU7FyCDi8VZztIdkD0lfyGbfvbU/UL7KvS5CdoWlBMTXHJJrXdGpJof4x/T5P9hesdWo40zXHqpRcVYpei+5MU1UnSje6J/Zx7PbS0EaKL4/ENPCEGUuUyBA1ZcTWFICDR2wt4bDY8RFvW/uSdMgdqfep3mp+SMpJToG+EYkYweuGInZgDnDUe6zrNQgktjRZIK908xDlfXpu+EGQCSQoyFDHvlfvTmTe9wD5aaC13Lc1q2j6bMQ76/bSvsjFGzaZKhpHTcvNed0T5q1DJI0k+Ke4rYM5n4HLWTAHtsRSAI6GECk1XOOgvnwesoGuHfA6NqClHL/P0FIgr+aEATNAlJd4Ro7r5vfzkULky7VvS9rdehpwD+9qtMEdILIcAKYw0nnl98WWZGdOYsV4TjEaAjz6p7yeH5wVXealB0+pJ1nEAH+tgCbWrLeYYUC4PLcnFrTR8C1/DMBJjSBFUIzvgn54U3NuBnFZZ8RqwW3d1xXpvkygUn11UBPDRtnecmKe4ueo8yMwW0r0TbZiqXGIuFMUoKCqFGRNdWYGHhkqrYhUfzLsIJtB3Iz19LCVyKyFgIQsv8T2MX703ICuUrhKa2DFGuoqCNZY8pu8X/qAS4Sea0wb6sZg8Mi4DQN9b9ocpWIJA0ya+3x7upgjoOMZGAM6pja+mdBM0g1QoQODxiDM3knQokYYGpH+IxvjV2KC4BjXnnDG71isrIAg7fxrYYbSf0n+2rFBuOhlFyyujMAm4kWCF0fiP19TnIK2O/aBAlAJ/H3vqaLZqnX6PmBISxHv6gSuqO0FvVcRwn7Cu3A1ydjtxpCoS1/sXWo4Cs46Wh8vJcyZ/89LWa1t93i9ggG1oaN/PjMKlNQ3UkXkarnfXcGe+8sUIYD9TRED0blgQLhoeOEug2ezvthp27+8vaulhRmeKw0YEiq3LfcceNYIy4D7fYhpOjw6xoCcYHZHdo3XlJRPIxKP+8RK/kUOZDK1oXPvFYmTGV81Ogy8ssOkA/PjHYanBdFMEFzP8ltEIWZ3uDObtb1/x3QJEUTfzhsAu8eNlqICBb1ln01V7juQ9y1sF0I+Um2XMdUubN9fFQkKTw7tJhCi/pwSiDtnLQsiejxIYz4Q+DBytMoOoP9Vc1LnqtR1MDbfLfZQdAollM3QTopdbyOP+cH8+iKByiDxzm7toCSfgm+IJvBZnIxsRqkj+ekEbUzPsyREin9l+9kzQV7409j4VpaX16BtAX/WDzB/BUFvmAE2omu3goXvRor9ctzMJ30Isbn5NcEAIqwgtcSNdzWEqBsOP0S4SJxZI5K0ln5KrPRz6GZpJ0HVGJa9LkV16+QucaKPkeFDddanMQFFZOrs/O4HJfuP7FdZ3ZBReNWNH05+mEZYSrG7QcbNrxezh4bJboDpSj2/YA79z2Vo9cZbPMeyiUn8XvQD6pZneCrwbRQDmjLSpyVcSPbQ+PHmx6qI2Rk47VyxJ8YdeZAbF3cr62q7WlMSu+utfhuhCzprmYXmvb3wxJfA2Fd1+PDmOPnL1Ej+JitPGx0a4qokPWzXtI1IBNBQs2d32KT9RGOoA9UtSWtj0srBviZNGiRwyKUF4tuRnhqgCYJ5JH7SZVoUkYJHMG1CNNfI/PvwHmIgXGUIX9Q9xSQsJVOiRrUPFpGlA6jR0iOrMqfxdbWHNLS1GJXbxzxk4/vOE6f7U3rM0gjzZfaC0sKEXx5DlP43UGGZw1nK32YCbPA9S0CXGP2Ax9y+yBPFCgwjl++5EZQrOXsbquf5TvvMfHHPyr5AAdE5llmFHe964CjCj/tT2YHR2b2DmZ/pdr+sBe2HeqCzC18jiuMBEKV/qsu29QFF1T3xQ0V1m35qRWyau6iy6AjxWiIswEqO2PZqWcrPc91Lv7V8JWFEH83u5g9+cZEGycNcQHgYAOyWwQv0dHGWrnbqXxv8xVeQhw5pk0eIKidq0VjEvzaVEXYVtaESJBO6j2Wl8/LF1syKSVM2tuuoxKQcJ4ENbTlA0VDT9gPq0WGiMfnjqcWFIrFMKw3GgC+zh+2wJS3CJggGJX+v9G2zuGdqag0iq6IuPsRJhwOmdmsBSdRcPOT6dMKAxM1FzLsd352tnqlvP3GITEfEnOrlVs3c7Ly8Ca0wPg0wyojm9nn5GeZuHSR04c4rThm9oFuSgBtyqRDyagIKaCoxZq0CDkRMsKYZIaZKwBIpP6xaU288w5Mhqht5s836a0klQGlJ9zroS4r3cdOVHSaNBWXrHQGYE2IlDixFB2AbISnC4FZZmfZAQu9/4RvIA2NpsswJMxoqAlnu5LFDQznmR5nuqfG80SZI8lHDrRmJpHeMG3rSI57DHUxIZEm10HQVho8AhlJkoEa1pe9ocajb9Eb4xxOGZ2W6OCE6xlSmXuVqdwMZuAYQ3HXgnFJHuC2w8UCUuumTFT+DM8ePm9lqLLX4NQo5jYEGFvw2ROFrcP5Rb9s9JgMWByF36taMpY0myoMkkmbQ2euc08TLdDoMD3ssMCFEqxakOwBCZKMqUWJ1NoRF13BsBXaotTrZCQ/O90p9G3iokgh7uNX0oZeRb58r1DpoB5Lin/PxlAFtIeqIej/vAW0P+1UjxF/+xz6fKcpzF/UAaE75G4usXdT6PRiwizWOg43pF/tYwJz+N/U6nxD7fSknyuTg/QtxAY5J04OvAO314ZTJpad0dn6/8PLeRJqp+Bwdw6EX3ImtiRxZQOtzMreQgcwRkm8nzVuUKB1PukBaCo4ZAyukQsKRpqYCBy6wU6dEtDWx7w26vdvfzgB/dEPS+dyZkAZaZ8nN8fzCR2KufyEY+1GAyeeaSfiN/3vD8g9LrOc0BDKcpWAn0b9FAX1IQ0/9yriROi7mhiP7ZDOjdhexHt95GV/Pt31Ni6GY7MmienZeNGu7WyikGWiJGyVVMXA9ptawSI5giq5QqGK4QG9K70zrqIrSWljmp6gd/wpVTWsH3BeAOtgWQHFi/A49iJTnjSSn3Y5pLIB8aaGMIKgiCrXtOpqqawBixGQ+b1wYYanfBn+2u0WfnfrwlDSm46ZHkTJD9/BvPejUAZuReBklyXcNVMfqpgOM9l+/svioW5u6f1ToRbQHHeeT9CPI6sjxw0gTvmvw1c7puWdoq8w0+LlmX7pBr122LgrDX4dEQtUc9qrP+PQDOahgJYW8AggGaim+gbih8NM3ymSQ8AUtpLXBeIYeCf0KCNVCLFh2GWiOaFdtr1Unf5FKMYpqWZPZAsm68w+FqdMT/akLmEB5bHF+/fojszsVZIEQVmRjRJhabJnXIbsfY65fW0zyZRtQcxrCXm4AdvJuGe5nuWVEPaRnQ493tm7RDZrnMlEgeRLCPMlI563l9pXa1TQ/7pmTtERHyrYqCs26b9nmZSQWWeJXB4yTR6nTznTzGEgyOEOYFkxrF1s/p7KckVeDodz59JyIaQKJ7kNXm3wt6LNGLgqRznZYfWC/iMlP6k8aGBgd6epP1kqy5U2sVjgX3Gn7fdc5Z7jSz0OEFMdlcPzZ3NhLC7WJLHQlIQmpBiTb2FxzFmJoloUyhcQqF02rg/l0vsIYprJi31YcSVcR6FEKdezQPM/9t8UtyXRLZCBRlX31FQgWC6wQhfeb06Bf1xZASWgekCAdaXH/iQ/hT4FdqGmaH9mXBEkZKVaGrCMZGpy53EjwBMHzGvIQCcncQWDpv3F4MeW9CUd+q96CmPi8I0ULOhTR1HZhwRyyr77sves/xH/3LMoRju1xo1MSLvbM+VYgwjsmkVLaK/mNkw6tyM+JP/nOA861qX9xtng7FY31K1Fwn//u2FE7II8uXryAfdUP0iIJ0gl5TlMlSKUvDN/LB4csM/ulAqXsIl+nwYORel2AbGGpwk5qYPJGKRY0Ps0rsZAvQF3b6j9jNPYVzr1pBjfUIR/0XqncRz6L2uOxVM9Otkixe3LDAeZSKmE8UHANOZvnpyZSQnpcbes33d/ZKfdxybFemRbQBT8crga6b/s2xsiSmCIQJRTA4zWLrwFHbhpZh64vN1U6h0EDhDuxPZc7t+7/jSmnKjQ4BFZaYmQwMUC9zNjQpFv8qpX36b4eEOCIk5R7hwkHZmzgqYYy6/6XCr1cLEP26iBlfpekOuqGl7mEYM5UGOvXdYpL+QvfJUjQ03S+71E3CyioRrYTT27QozD1GM3oR1M8ObO2VRmUGXvvSHJI4q7DAPYZBaPVOHIRhWzXnqPFo1WWF9zLNyMd8vSeDdYACMis7Az//EOiYDdF+dQO9Mo632VO1sksscTPAXat/bvKnasJWBzLVrcefhCPnx2svE0fu/uHuzBBFk4mFAYeFAOGwecyYLHMP4debsF56KQIblNE4q3ftpYG1qGyWRL3m0cA0r4/6JY8nwUVzsUAwQCje8pY327mz6/kAGk44cAkfoGktSi2/0K8LclD6mhpNt5mjYthov5TIeKahbwVh4IQlBjdcU6PFYjhkbNFZO3E4SkSyuigbjoFx6Si7+8eiTLIRKApJnevOrl92EoLNPaGobF4I51k8ilgkKoriuTZUgl6fmHW9xuaYlhfjL2aLyMNGcBnNLgA53c5F8TiqvXanns7apXgp1XCZ2D+VJqcHX9MtfXawxEcC9CeC9JgB12K/X6fiEFxWdaixi/d8mMosMSDPe9J7kP1Hk84d+Mxj4+BR2fFho1FBt3LS7JZoew7eUsb5ilVnvE0r0rpvIhpm2qvp6uoBo8rmefMxQqO0XsGaTnWcJZ6OCEeHezjeLC7Npezc8MApGHjqEvgFCOiM7HSN60kmAto9XE/HW9QSbeL8hC7hrT5/PjOOZTHX4cEx2anY0U2BjPSjWJT90h05aiGW5xmG5ZS5w141gHveKAdPKCU4k7Y+AfHbQeqZGvKTh+27+K4qnhWzmc7oOt3bdREfbhIbNpGdurJ7LQmRbs53FnG4rzkSJf4mpFam0JMeQ29iDIPfVN2fKe2ftF5RQOYyZwHoi/qY5SZXoJMOmnDqfkZ7lTh3FiTwdqjoy8njZQoodXsQqFty84zBjD6f37Q97htc2dIb6kEt6iu8KhmpLjUS+hrXw0hxZwllhzk0nqd42DXSHuJZlzS8ixM/EBzfysJ/qaQD5m7/2g5KDKzwBFtkpZhCnWY7BvpU5XXcg/iwGY8VPNWqNSx/eHmmhac2uaEtljQtNpe6c+MMrodBuGO62IjrCxjfOMeBqc4gh7krQMNuPtkczf4tzJSsLEA8oLyOK4NSjJI6GMjgW2UQ2Mc1jfAHCyjdsvGL25RPJj+I5DUh3Czr3nGy9llX7Jy8RPcthyc7HoaBHejQQD9PtsU2krlcMqDWARTW+ZMHhhARpz0rZxNe5Ep8ub5rx9A8oTcZ6u4RlIY+83tIkQSgOTMMNZJJyZvGHBY8/2mPSefwmmzwTJDjADYCEpekJNHj5o47IFoYByqN7QxUn2y2Faf0StQhk7sJmO4GnsMAXmEQZWnwkfx5zYBK7/gQFHaF/Vpcj3ZRD3MvXzXDdQsz5LIF7nVgwyIPxad28/PuBQkRDkS1teklqFacHsKYUoaYT0qTUN548VlvzJYXUjTxoL3XtZE2O5c69j5zVE2qAM/3IouUKZt1jk1VLTYIUsUBTFT1fdU4zfeZPeWIwOVmFmF9f0A7MVkAtwEy9WqDdRBwlD66wmMPEBXI2H3Wa+9/cVsEtwopAfebR265BVPx480byDg8nQnL3zH83HiBYt80hqrLCTfZh4bpESHUHGCEJd7V8cuINUCEMaliydNcHMuM/6OiIYbF1uejd27Ss5G3eO26JBFamSQSF4YwLmeXPxblk2bRQezwsNeceXWp0vqsOV3uA9m3j892c0H0aPQDws3rt8vyksaMfGlWidGgYlV1Z92MM09TDGubGCajjAxnZet6AjYdu8ABlz9njF1rj7MZ1tIlEeNa0v7CBOJWeJFzEkRu/FCChtlgTtzJVUhcWWra0CvmZZyKzf+2KWUFgvUTfMXvfbiV4s1EtCNZwfyXEj/hKs/Ik2fqKrQzq4sFfrF6UFDm/pRGKXPkZE6FnRN+KbzzXp/wr1vDt7MwqFbCAXNAijjkGkPAELyZEywuH1cYluMjxDGgSC9MRUIGDeI0T12brBgrvHUUnyg6XEclKhgVyCa+CtLRA6xjz2kwVzdtTMkjA+Bgh1bKvwayxr1rnJl19Qm/8iFTP47rZTpy7Wda4IUn1U4pUX1xtjqd9jgm8Pwkqpgbr10xiAsK3xx53q+dhwNTrqJohIF2vAgMcuulirBCuzckgitZQy2EcEO3BE+dh6fIFmHwUWHj57EHGRX7ZLP0HrOeBahpjbKFiSPfwmlFu+evFnnRXYWs9wwWxQuIXyM2z0sUrNSuEWfK9MovKhvhynrThxl8Hyf6pADupVfSvzkhr5pA/7p5J5cRsR5O1kC4bXbk+y0LnQo7XrKQvhs70kjgecE9d4cc8JVytYqy79Q/aiohGYO8xIbTcyB4kz3l4lsV2QAV7Q8WQR3BDwzyCZqhaRjgg+5WE1ikF0GT+A0cbq7DoM9nUxaFWkaCkuonfbSZa8/vFpKsbiAC1QDgdqAKAgKDmb4m2j3wMoP6qQPS+2BvCk9cZPL8B6XcI8bUsN+NuyQnc5sMssmAGegzdBYW1/D0wMtV08o3ajhIZ7x8W1RluglC9cVYL7TA5CZjeK4dvTZIXI/mmNo4qMYIgPcicvXmDtfVYq48TorbioesVOz9tZgC7yiuZZsnVK/sTlELht1th+zOmtIHJA03OvlW/Q9XCDo/V7YIM4cnANKu7PL1Bh7Z3lHWmAyNyoQ2zVmOHjMtlSiiGrQbZ/2u41kvbOTkCcr8rYuv92Kndgosvx/E95fcUTRU5sei4A/Sz4D58DleHTbNy67aeroEiqXNXqND0vFzxiEUd/PbyCWi+S/Qty1m+x0nLuX6l42I+DrD9Bs5BRYDwWwffaKPJvQDdVYzgNX6+YgssrjhopCRfrZ1KeHy3bdQi9a5AlfRkrBw3BSlAaw8ynzX8EVEtvvCxp23s+2SIlPypgFaGhn3MGQHs4AevM7L6BH74Cd1U9Ol5+Y61VfyYM+sH4CiD92WylquWDqfSJHt2aBM8Us0oHgoMPoWu7Wz/99P3m+8UQRqeYmQK5WWsIkdR0sxuRmtGsuPGcZB7GAXrPHrvmh5Jmqy7ww/bkLSAKxlOO8VHg2WDvKcvGi2FF0ijexVeALZOLLAHpBL382mNyYp207+hVlEWXXOMHjR6DDUDSpxTsBsbMMVxWFaxBM1fLuqdGPA0yma4acNzdy3XkA+rtAU5OWtt7aJddLHmEfrYRcGxctYVvCuDsvjr34uNKofonTCEuE/+pd7gv3dNl0zj7eNgMjjPSBTE6Pa+6OZ2fUi96Dpgj5haJkD/4aUTveFGPiwq3vitMTKJOYzvb7AluQwyNL3YWN0fpwwDKoWbZ5oKEln2BNJfoylBViSdFi8lAgKlXVLEW7jOl9tlCrVLJi54V2tuTM7UsDpgXafGjGsctTKbvDDC2ORa+dS66zg5sMsk/wnzEwcd5nPZOiQ6pT2LB7wgGCufRX+th0f+6IPEGUUr75ae9mXblt7se/N3xjevs5XrUWycdEFSlWyrb+Bt1he+W6+4E6mJn7xdQunBXcMelpr3Nf1QD+XJQ5NDnDm6EDjH86NniCpHOlZria8+CzJheJ71wW1BboTWcsZIEFQ3hmhNhc8+lWjLaROVPbyjL3GjvUjcxvyeeUR+QW21RjQdhkuhX4Xj4rGcdv8XGQc0ZvPC9F72tcq/zlzCK207eDUXZBBCM9Bqi4/pcZCRRx+emGdSO4ayzPjgoEaZLSEdP7wO7lZH1r9cXtC5okohP1Jyo0RA0HVfEwIJwHhLvf03gKymbYI8nChN10qDMIUI4fw8C22xdyquVZ7cV9GPWvXo21uS0h0xPzZ0/OeeDqKZCqTaBmdep6MvoyQDyQ8r1H74u+4MYXa6qbMTThI7ADZG5ZxIISrRi/hmFHWD3SlgEcHtXJ9G9cQt0zEulNTjulA2PZ7g3LifMfeaAJU9iYeq+cxXyDOHqg7wb5oi6E6W5U/4qd9B6b1T5/qm/Pkp73ZCxFoYTf618iXv1lM9P5WJPJ7mmN5if01MT/Dp+Gb256LwBuCvgs2iGBuKyu3/Hz22niO0+7LUXO1x3llVgSw/L7Lp8XQls+hamiNVqKweDUacYuIVetBbZzYYdBbfwztT9jyPXGhnysq79ClYAcBcBzg/3RM0rr/yg4mcGIbTRg0cNpyUkDnK2PSIcw15JeGUvGJNcDBGZuqU9dTEAhu7aJENRg12PH/eS6x805DZI1IUI/dRFJ1OALyOpFYBo7FMq3C7Hdz/wW2MW9WKmrrSirpfXc4u4n7VBHi29h48cXljp7pwQFFEZUjAmDjBZhBXXP3inQo9jtCULcjGDL7biRvnm1BtdzrBOJx2iGMzHogeLDVdVPTd2sc8Gkl1R/6I1kkwnrZfaaW+HhVlwxmQ/sfZDLJQieUW/CTpc5SlqQ4GuVOD0FMHp4nRj/sYPaaTGZgl8Dls0bRI+72D+Jw2LWCqYQsHXTNjVTh6Jvabh7dIf5Lk4Gd25GGO1/yxLSIerevTStiAdeF0ppEJg5xgOaADk+3e2C/ceMNAhyK9YVUg5OO7zTHvb/zesTjh+uJzmfJzG27hhuUvePoZeiUB/9duiTjzYyx1MvDtGD31xjqIwNRJ2nqRDslFp5y3XmXyRt+b/qOcIOBN6XNiauP9DbCR4tP7V+wMcqwr2XgzIH4+OGg1TzASOlMY8f1JQ+7+OU3HZa0eg71Fvk9t/EmKqRXhb2bbudTgQx50BT1mhkTTCx9ejLLq+hHy0YkYrY++1iYB8wpQBuDwQT42vy292+ZdJ4LmflfKIaCgAEK6h8xTdVm/p9j+rNvSleuoFGSRV7wXVtXly10rfwLa/qZjaEpRnXTIXn+OY6CsW5Ri2CN0hciw356XW7hr+dzPG+7suK/xjMpmMbBvdMR0rRg0B7qWgvQ34cPNm2yrlbcosWKt0JWsdcYFTngR5lYVICu92iwJhsCgMU3ZEDiDTNNuOP8NMZcdO9Zw3WZGfMAOeR6IoS2WqHThPOFx9IOojUnhUrQZHSDKYM/FXuGQCbthBxcxYCCC1Ry+alI8ez1OX0TP6FJ3o040plMzv4TucJXAExgAfC7FdSgVWYuMeYXWD851wsZD/93LE345JXfEd+TV+9fItZHr01Ch6nI74WzJVAGc02bNzMV6rkWOXqwoxz7MIuhloYMZOA+WynwffY8Tw/sOTno79qgP8DNRnb4c/5VqS/6eezdECQ3Ir9lvO5d8dGgEOQTQmuN0iQU16Y00FSRDa5hAtIvjKSPNd6v7g9kIWhCczpdRXs2XVg+G3ekhqKZaY61E8dUp5rJIeMAOahG94ZCUJM6t0P3ZLoINDeuLq9HkPU+PnGlaj638tKe4/7Bmmja6kC8TBTkdhvpl/4lOnkBOPd5Jbuq0BC5iSyCIRUDtDCkIrqZOaJhatsBQw1eyf5CzR0YVPGvBHThjBAnrpwU7bCMLka04OAYerLp/CH/w7ZeHANwS1OKT7mtgkC6nh6tcwDS+OfU/2It48PbB/blPJ8Bf/pWK7sDS6deecgr5Jh+QexwTIQ7A+Zzv+8Jo09B58zsBsny/Lk+mtZ2cVooqnjWqeQnUQF/GcH1/1vwJdi+qXvxzPY6JjLBvk+nmAQnFbD3PI7xlAmSu5xjjnWA0chUwbUkh463FEBkN3Na4Nx5lmIEmPGk1EvldHMQPBBi6N3Ju9xBI4xn5L3w1BkZ9mblwJUqqXNqEjxb/Jx+I08zr5ZIHTuJ+Fbb09n1e71yffOff5PbvHXizRLqJy18oUEQU63epM0TrNsxNZJsSsy+X2kZR/vXaFP65T+qadj6PrelhBbAzEBIFhUHpt6T6Q0/YQrWQil7U1TSsQJQSBGCQH1/pnAeUIHOC2QyFtAAm3kTIBGdxKKHq9XKrbmRFhgKqDFCVE+YmDJmUCwZfuLmkFagqpua6QGsK0YS6/df1se9AqBegSxp+ctZKSWS/j+B98NLUchnYn0BtdEMqeHlrRihjjfXnR9Q5YTDYJnmM+gWHmK4jOa8oyaR/xDfQSjggU376NWSdl6MheS8S+3w+0h5ed+sZDP1uugumU7J8Xbvp6GVMUWU7YlKr5yQKOuLVegGukN9/QF64X7OALfJIj2M3hPE3KlfhuyY0C1T5uG3xzmIQruVGK2lFrkpic8oIiuaRGNcpXcZ9QNCoTIbpy1740yI0BNRFejd5jaXAvo7MPPZaV490pt3MO8MpbG5tmJIcSqJo77jvEnGUprhyuSTyLWh6AbUW0//SSk5m22NmYSVXlIXeoPGhJcQfAo6R2hc40CTiSzQsGxD/+cvrFBNDy7AogSo49wyKA/gGokHb97ZC4yGMaLnUY2LI75sSL6OOsb3sFmVrqi9au8aLS+ydQZUOfY22LwVnGFCuB2TsT0upyy6FofwAg992afCJM5ripY2y7G0CLxd0vjGx4uswolt07f+dOUaSJsEXBrwI5SzJ9YwJ7eYgwMiCNWctvKKXxG+OujLpS5UEw8DGibPWoWyN3Psdv0CM1ZkK1rfszXxsx8bt8adVl5JXek3/qOCG05jQoDk5MkecPpKxSYLg/QRyJJvkCd57cp/UCDMXyPjYfzpd11X9I98G0v7w+gnFkdZjSoffDKlJkZkreS2AIHVpvYCKiHA649Tz+ZGZgwTwIQmmfTjT7EKBxp4M38D3c842VOX8HijOMtJ1XjccfrCb+PaFnv/dXS39E38K8YTFn/RIEKKHcQrz6u/FYsvdViR0GEic21G4HuAPtkKzlvg8lduEpm8h+s5pUf2rdmw1RgTznUW55EaCiaY1og0jI6EJ9MRUAX2cUemohTnFfezU2fgioB/+ir0u8FEDExWr6rQH3eE+tEjiSjKbkkCfVqAMKcomddnf+2AyEoaElr2N6vWtFD1zmMYsOskWlUkGyCyw6q93AUN+MI/PPDm3bJVCrdUiVH21z5jDZ3no8f42gAPpmX2P1i+Ge2Eg0A62pDKoVUKYUzU6qkDxIdMgYck+wIELQNAvn3BIczHlCTJp7DDiM1v8urDhwlmFIpskp2cS9VEp9exuTHEXCfAzLEbqxymE95fNnTtnqxnnpcQ2HQwxRI6EWeWaAKAJvlazX1UM08d3F+SXWvVkdhqTHu5szLbjZad+LFt8wqM9uO5N0VdzHuYg7kqbGh+ezdyCbYezEFk1n9LStrWQp+iW58uhVYhHVkzL14kXTEuEm7kaWd7OH0GW8hZLKYq43h6/FU5sCXOmo6VYJohy+eB5PnISnvr8WMA4z/6jFQ6t7Maru6v2LgI7n9DImEsjCh6wT5J0CzwFgQ9P2p7/8TZ4//Mos7Bmt7pAWAVnGDIWOmrWCmDUnne3OHDXugS+rer/ba27ziKe0HnPH376eKSzZpujnQmNVmWt3cpQShZ0urcso1FnvHWXbwKl7KJShI63copZRxsGP6EKjrXmWP4LC543pJdO7RzKfHjunznpK3nnkKHWoW84QCN9AQFfmDcPxmbmkQpv2nVJ4FV72oHfEkJ2iWGyHf/5T6RMAiC2YK9iHMugAiBa3MXHLpQfcKHaMYnemKvRYRrHkVDuj6PQxJQg2UlPci8QVgoWErn9zp+zaBLUjXJoErBqJgH3VQTRKsXF5RYdA8QeBzWZ5T+bJC2zRH47F77TCpj0AwYVxvFQnEX8CTPJ0EsDQO/COt/NcOgy9sMnuAmIIV39LnZlOZg0tZjH2+WKAhOoP0/xnG5wXDxhRqJRXnjga4rzs1TCHJPJRL1/SSuz3CqZnNEt7PjK3nXIPOL4emQHvXAKOcRg2+nqeh4ipD0Eh9XY9pBUV/5u/2K178YjwR7yZUiX3up8igyw68N/z46kA7GEIbUiexkqtMnj8mq6qSiemOivg9MQTamZHPE/HAFPYxp8IhcR/eaIg4BJzqh1ZE1vc2210wO1GXobdicXrt76yzsDZwm7HeyJypRQ58RNZu8PM+wQVhUDcS5/5dXqp3tlawlBtr9l2MldKfYHM70ufXgcipWtJwB7qlS9mhVynk5MI6lsARm4mBN/+ZnbIDK5/u9o4gWcTC1vbTQ+kzntRO+oHAjQELdzlSZevnBOsVU+aNZZCjGxfBegMCDbGj6IG1VSg3A1BlKNt/GDK83P2E2r88OL2YYaSudlUgwkTIEeEX07fVDTtTc5jrGrhnJ3ChX9UWCiAY6uwirwQPeVVyY/OYKXnnrKseYdptkkqoFgj/l0zFkcjiFtEW5jwyXKL9o6pvhGygNBZu1DEGcqsksjzMM3uKG1xj0nIvQ2ditUtEUzThoooeQv0j20Trc64pENJdhq0dSiJzTCIZn4n5R8SLOm5wcjSAgCVvhJjhAXh39pVziyg8ZZoA9bQyKO3AQvEFH63AseUKsKEqBpXx9wHbwMUAdf1tlWLVPZy/IqaDvXQk2uyru95T8c4KsPeL79o2T1lH/XAIiH+CbCBQzKAMD0oOtgkWdPVW/QdhwEhiKzxN7vEqHvQSp/JBstSOmNKUTdipslu+HWGBrGi7gSctK/s3ZZ+67hTeCZaANaun5durSNeGzSRFfxIUH6l8IzIY2bgqYiShTATyKmWk=" title="Mekko Graphics Chart">
            <a:extLst>
              <a:ext uri="{FF2B5EF4-FFF2-40B4-BE49-F238E27FC236}">
                <a16:creationId xmlns:a16="http://schemas.microsoft.com/office/drawing/2014/main" id="{72F2A435-0D47-6A6B-E949-7FE858C30367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gray">
          <a:xfrm>
            <a:off x="334962" y="1599044"/>
            <a:ext cx="5490765" cy="4845539"/>
          </a:xfrm>
          <a:prstGeom prst="rect">
            <a:avLst/>
          </a:prstGeom>
          <a:blipFill>
            <a:blip r:embed="rId12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600">
                <a:solidFill>
                  <a:schemeClr val="tx1"/>
                </a:solidFill>
              </a:rPr>
              <a:t> </a:t>
            </a:r>
          </a:p>
        </p:txBody>
      </p:sp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49385AC7-8CB1-2B1E-1722-3B6D85AFC48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606" imgH="608" progId="TCLayout.ActiveDocument.1">
                  <p:embed/>
                </p:oleObj>
              </mc:Choice>
              <mc:Fallback>
                <p:oleObj name="think-cell Slide" r:id="rId13" imgW="606" imgH="608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385AC7-8CB1-2B1E-1722-3B6D85AFC4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jGqWYA6BjsAEOoBh/sxdjbjOIlqW00QkN1B+POn69dvO2kRCA0fuSBYFoyafyotITGnUIttRWRAKVVUostTOUW4G6tNk/dAa/f5doJqzRe/HmvbAcnAxdWmueMgyzxaX3h3SfB9eHN52y4NT7gk7QJhUqVDBLhrauqypOt1nxLoxoSFI5jPFrBRrZMPDKibYoCySjNoWEPvzPoeB3wepnQfLpSIIbji4P+Ocp5dXeiAZBGey6G4aqXrv9iw1xDEIYxKGYbGtSJ1xLLq7L//82aJrz9HGaeqrIESgDW6QI3mvbuveUI9cK8TtolFUANe9vAZhj2wTRaX8SJopahQo+yNbQDvcH0RLt4Se4JPB4tQ05jC3VSOf5XEw89ajf9epjYkBUSwasLHVXsHJm6Mr0ynIFYctjWACIrvySCqQoDuueSIp3i4nkSz96jaj7S9RUGkN+IWWzS83cL/KlNbm81rn++0KVyh9XgMXQJmt0xfmogHgC4XBcfYgOCSLAuKpVESoKWxm+H9sJe0NCND73HY4AylMhyhiv6uvWtDQG3kJGKiarpSOL9qsGQjvQqMHihE6nds1E1nUgLCF7dk4k5HZUUfeJQj3bkISOSqgDg1mD5bVYKzvYMUCjiR+zHije7jSZZZZNQ8G+5e58UtIYrmJCzEzZckV8tOLuM5v3oYLkhHmSLRbHddYe2/GsJeIHwtzHZwpIb6K3LivamrYleF5EFdGMGIgS0D1i7n+TU6xfxLkknLQxyVtbiC1mVc3nVkjg4QgE0KxJGgzpEWd0vI3Qejf+YBoqNDQhARF+6/rD27HlNR/aU5OEdWLJnuGexufSmi9sfzK+t2Dtaycx4GXFsf/9uiMpvH2gJJAvx8CDS3tHh7pScYrXOQXXJ5K62lNlJrZA7eGCDS0dyTjfEJpAlorS3BqICzjbx4CJRWfT5WDgJk1NKTmzdnacFw1syiLPh0p9160HI4RpfxdUpO++aH9diGt1mtc1eOCvXNrenb3TXS0BhvjPGhVUBBNGATVlmrfofMM+0YZ4/utex3q2xL0Rp8Y6wppr3cIGHzW/cojcC9o4gg1zmYJcdTbOW2mDHTuxt88jblexGclM8Air8r+LvhYPpZ6A+0E4NfH3BFtkSe8nn9GF+ir7ccOc9FwT+uD/XzRUve638zcG3COSc8viNbAR+yhQmO4rd5yWTulpGPDglVD9VR82Coh7SzMbjgt2yVjBs773TX+Zb1QeMCtH4kBL8RY2AKMxsijjewen/cdpKikEp+ov4vecaYJh9M/ghCtEsFgwbABcR96Vqvxwd38H1nVQEb5R3XOCRHlnpje+5gzDa5WWyMlkASpx0HL9XnXuwSPQSYCr3+PwGICUY+qmMIo3A4dUvnkRcPE1/ULJRGf9uRHZAgyTA2T08sRk3I1bmn2QSk7vKbCXoGF6loA3XFVg/LuZQQDlP/kv7fbrAJNUuPE63PubYn7jJdnYdFzTM0gPBG9E7CvhUgqBYmz6Cx+mY6BIAp0mcg0ocH6cUl6iHiCxUfuc5v4H89H7CxLRg77gJcYOWKK+JnZuE2rJZlOpMnKaB8o8QgMAwpJQuqdqFtPHeO6icBNB1+qFfTTz0bPgiyu3zFiZu2avVSdJbHbdfRlQA4scY+dY/U+3oDFn9jtuG5qXueriLeWFnNQedz0KG9/xESADpt/XghRUqBvMpU3Z9jFRSWVfb6haZ/QQ765mw0xX0R9PBDBy1tVeQyB41JxREZKv8e1+jrjU4ODQoz8j05YTuH0fyMuxKHz9qCgmpPTdknYyWGnVwtPEqnV+MBXXYxHavalUuEYjG/YIe3MDYGB2O+ZAgv+nKQ+o2TKyZT5mw0LZMHSL+zvySeJCxXSWIyBSH2W6kUujZf2muKAngMQL1kpzH7QcP/h2ANrk11H8OO1JYxDM9aIrLEE3P8CTXFkxf26BkX53BKWPaNpSq6vVE9CQqxGmbGxDMnk/RPGyB9zjOJZWJY/2RdVSFKdoibaUy5chePZHtJZ8FV3qMvkTrna0M8DglQ1adxntERPHZK7dwfDYCAkrJj4k+r4vJD6tSIQX2niVwC+0zmqygNBZfggqwbDzaAO43ReVXVzoKEfb8CaZFs8kT9jFILQcyoUx8Z37TLow2at+j17Nzwyfvw1SFuEOx/6Jj4TkoYCoc3i4PBUVcPzz3mlXFy44SMwcK1U49UmqWwJXTom4PjAJUox7egKRW4giL424Tbf/wCi/D9561p6tX/nsoi2JtQXXmSlUQ8LMSjo0mIT++Y0KNJDpc301/SIVmna8alqLzk4989qXQmatYI+1Nm3I7lz5Jz6oSYYgeHzCvjyZn3tUK7/c39Ppi9acLERyzzy+VdwPFDHUGwueoMrXyki8o6a7tZnf3NZ2gRu8OreazO64ElbliiKXvT45RywShuHcCjG3Sf7s3swIkP+Lj9viKzdjyRITJw5LlqaazjgiSyTtAXVvYpp0CKQ9ylhTT+r8m95Hjmslp6bgGAyFdT9eBXJ0hp5k+6u4IOs25ATLdaUFBw7LC4g0imsSA0RxdMHaweO+2P7GXbIrjTUnSU99BAijLcdWR0WUYZQ1lfsCVtlEGE8FlTeU9yhECuR0dhOJX+ESmKCTk+DmB6pZEU1Hr344UbFQeodg8oMwjhm1DYRiCFObmm0T189lkb96n23OEKNu6kSge2YkUdtHbw2BsLg9D5+onA7wV1UgYOoy/SI0XiYOlNN1YcWmGPkNiPa7kfAnCUVGM5vaiYTMQE1yAwDR2b1JqQ/yTtQSqjXZre4gn7PNq4oevddPT9NxpLJ2heC1c+Poip+IuDnu1DqP17NIPigEA8iMf1VCSMh8vrwU+3CJVjDfNADxTARjB0znIf6QBLxxuPLKVvIanxrYGlDy0RAybXWwa82HpKiWkONpuzk+DB43Vk5sOmFihmkAD5bRfY+5SwuqJjW9+je1bDFaaLBQ9SP/LKqtsjK/bDt+liMIPHTG0LkrkMBGa+3zIwpBsjthEQs2uLJTolgZ0v26gTXZJdKEXNOPoFxD5z/id/639a7uB7fs8f3kTUatOYfMzOGyrPpES1gHWE/o2faNOPI8Iq6IzaEHphO86KCOFH878Z3oJ7NUu++7cKdudwJlgdHDdkpqx4FGi3VsRFwKp7as40Fa9IANBv68Pk3UXcpMs+2WwapqWf3XuIhPRSpwJmEnNzJGAbAS/MNV7PIuUa9g25sj6lfZ2p/56b6UAJIpVyPYgSgwP637KWpEjo1pn/5BJWLfNAlMDY4ctmi1IOTZBs5Xr36MBz6+FUDqlw4y1qmDQHgCyDIOR8lk2yM53CTDTHkDlDDY8B5890QMS/G0VHVt67g1kiscbuQ/Keh59FdN1F1f038TuxGqTyy7ox0CYHXhVTM2yhIWfF8qzNCIFEZufy8Rl5A+Jubx69nyw1PIPgNTilkDrE3nVwmBulFRExRveuSz2s0tOuxv2fimLjbybmYN9S8WMt3Yh4BFBKYT0wJUrkgYnS367tASohNqtSeywHF8UFitcdMiCEq4sivZNGbZOcbJDPVoR0VhcioOFhHnSDnnB2BeMY/zWkIzpTOvSGOhX4FprCTDpkyop7kviD5Aa+iHIeCn7FfOrEqaYcG/KGWdjI70D+/ygC1Q69Q+EiGVCVbfknLSEm/O8Caa/n6jqT8VN7vPptFfJVTtwGJxS4J629Sy1k4CxsWXGijPfYsNRnIh8HbbVaVHKhbMfkA4eS5edeIm/1+XVaQiDweSaJDBlvlpcRh4ikk3Okhmsa475LQ7wdPEzLybofwfNxWD8PD5oflCvejRnmw1z6qGy6GRy4K9lLwGwsxzVkYVhQIuV3HmzzsaSuXP1mKbgKvhzGV/LcE8LI1t4rXppBA+vOdh+prV/H46LINLMH5CM27OP2nO8d4CQbWL+k1WOeke4sJ9zqTulQcE2ZIJDZQWTeMsCcCN0q2zWfSLVTwYWZqxi20vAFYQmqBM9i5ec+9joEt2MB/zPxlN7BHqBB3CMEEMZNePXXi8IwRyFsYptWvLQWlFBuAfHW88zOebMjuFxkbbZ2xadoG/4VQVQFw3z/K8EbuEHPNCdobHol22Mn1y3V9kKzScGGHbDOc7/QGD0bLmKqAtT2eOsoyJYMZvH528HlhtKGJP452XatLbnOfniSVVDqaEIi//6dbLKG6mx88diIhwAtAeLeNiUTCtmwrXyo+ZK+/1lOsqe8lZ4SSqk2CZhnegTnOhI/l3bhsE9cWyCpy9AKB5v2xM2LwYLBxPpDip6PxNBxqXFkIeRKVc2lgBGOXOnrkzuc0NaJSopaVqPo6strxK+zBLKIweDZ25DqHf7ZoWQV2ugKGnLeg+rSV+0XstX4QQDcxLsDwBI0mnKKwwFzI7kmJepQKa7UQDarREuExj+UBi6UwjSOj1hEVINga8+iF4HimJhX8n6ijCnKczy/yuoigobyLi6QjM1gCF8ObNKx8fIOgaNtXKWo7hnw6Tal/NBeXPdyN3zxP53BOeLYp9tB5bsJZ5BaAveoUGOg1C+dW6u9JQtVNwsuiVAICOvF79KBPKDBJeqMWnzzPkNyp9ySjgCjIbePXC6Q/haYT0JKGWOTcmNPwXCmfPyRMgFLxcyqJ3KXWe6aThGHGLHhPGgw+K5OcLvAi2rRApSykWO1Jp8etrq/Ix6YBAvy3QVByEJ27IwbtBsZmIQ75yzEALJt9K5Q8XR/2Y/BYijUyQhuVHVsokpdRuxDvLQzTfEZ5UorO7/z+DTLZizYLX20NRRaIwW7IRfmEEh5tGGJEEmbObo3iaas4YAaOP0fFPElVglCo4iHhieAeNGLYwxGwR9UeK+XD4Th+Ceym5l1mb478u23PRpSL1icuDi1viHQXnERUpBW5XDpm54h3WbCnSuZ/xMJlJngAE5QsEOtAnVQ+cR33E7Dw4F7AAETVY3CzUyj+0/qUT8E4s3oep/ABvY30O1mCLivcZgUm6RRxYEAJ3kD5lFuBED27zayPvw4DBOI8d/U8Z35divnXFUJUcyhRUU+G5RCtHOOmJd3rOt4RWHcaxY8oz7fw2u4qAGn31LMPn9d8e0e/GvRvLQ6aeM+kDAGwb0lPwWZPBGdpz+CaZ7P3Y7gb/KBasgN2OnJT2TIYPybE2gpZEBQnmMXkyDgvoOhesBPdNo1yOIbWxyK2XYjaTcDJMYPwaxfDL2dPz3IHmytrkSSlLw1NRJPQcQCCTHEd1YWyHAJOmFFKZvxRRYG8Lx3HnBGZmn+F18M1P/H8P9O1VFo2Q2NHF0QJEzUPv1plQ88V1xTrZu+uy0MRyS/JcAInW82ojmYeqiRldW1QSEhDVvEL/+/WwDu38KB1Fpq9/NmciBYlyztBVmG8iOUE9sSW3qHQWyujmLZFX+7S4WAhkPp81ixwytSDN3ItQ1TCSGLai8HjO04S+JcdZUbIiUQYaacx0IU0quHp2MRjU27dEnvIrN0DDD9WZXe+gnfZpBIxamD//SYTHokQEi++r/Nl/GEfbu1tkzcvjVMfxcSKjiwfn9+60L+I48M95881mU2j62uXAvmNT54bSdwnYatdYFXOJTBDB/Oy3t4E0gcEu5yzoBuloPRHTx5Sms/+rYBgPEP45s2QjiDEDWnFynw2Sb8t3LdALbEF5t5Q0sYxIgxMIHKR/SARJBAnWA0s19XZT0t7cTcBw7EjebxluJHv7SVBMOXS/yj+0L0TTpTS2yO5WpPr4mLXXXjU9dt5Oou24iUvxE1y3hY6kei3MSAsS3q9VtGP95OfrIbOyhXQeSestiCy/h19Z8CzgU8VOtfGI70shwCb4si33ApZPEVB+VyReB6rA1uqi3LLYUFcEEZ7Cc3Pgb6r2Oay5djMLnHKcGac0wyPvWkQwXJl72DILD8Z/uIdCQeuHj2s+Wdz99qYTMJ1jTDGlx5jKurejm2n3QAAfp98zXXp1RDKTh3BE364BAFeMkmhoVsdiNES3ryIZGcj8SEbmzh9zvY7YuYgoElwX7ulZW+O/h1bwgX2ji7hZRuz2Y2R1vs6m2u8tgowDcsw+sbafLsc87Oj8SR+RSooAaeUj0UFDb9fqN2ytV0uBaLnlPP29njTAFTwBm4h/6lb4JWsyav8itiJ7RxzknRnNwTlyKIhD3QTKjGHC1SqDLpebfyCpa4Nq6TUHjuqDayXPtkNFPu9SGydKKabiKmIMQm/mAQ7usZG1x/0ON8oPrhBbAdq4fl/V4yPAOJ02ybnNCqVCo7VWnVtdca9SIu/2C7LM0a3bgNCoZEeZyE2VKgbfMWTlgynGMdzn55bXEByHk+4UC1j8fvG97VM8cKxKpT0XhX7xlIa7Nu1IW5LnHz/Ga8MXjDjCwLfCnDDLlpNl1o7xgDMiRVgPJgxl9r9xMO/ZDnC8XBSTS2HkwRr651JERM19VXL1n06od2WLUENNBk1LTbJibI+VW2lGjtpMdsg8/ysywu08RKfQGYg8eCSDHZgx9iNm9LW8L9RUcmSHx94ZQEXzQxp40uYb4qHlkIxFjlRRjsEt08C1XxIY+7dkBs0Jd79zgxastI4hx5AVrzUFjKMUGmLuN7uJqEyxh6O63EB6LWLpBWX2JfjLUYErFdSDytWjafHIbiIRyyNCNJ/D79p8df7QsL4EEfh3r+7HmEazP+SYzmlAj1aqDG5oDwTn+A5YMkj9/IXE4NuTouv2xUvdbO1QdJo0n7u/yt90Ia02E0H0IKeD1lGI+4UwMpbLHPDQn5hSNrdzr5CmJfHjGMP1VPT+CVqY9dPxbXONmPv8vnhwpGk3EGCm7RIs3n3IvZrOi7quDRpITejc+wTYLNmJBdQCWHgYxw/FZ6E5sb7P90wtYWFMWGdP0A2bj7UqzD093k0iT+Sa7xkJ9yu8Bs2OrTlwcnKVcDCPFkSEvlOSt/RDO5UTP944Hs94LSTJOqohluGjR5So07uvTFoOxjnaQNMtF3e8kgunWISYSFxTawVeQCD9g72DzQSQ8MUF9oSlPfuvkztkrkXBONO+JK5qPQ3juneGgU219g1xPTpq/gIuuaRksuMf4quixq9B2/SMUrgo+TSDIMIXE0amC6w7tR8C4cmN4uaGS8CTlWsTwl+2HTY2DS0oFufEQ556P+YF2/TwFVhzBIUlT4zGjolc25g+6IOeex9aDGwH2tYDs650bm22pkY1IAOnug2kZRWTjEBVml735HUGJth5MFYK+jPwryq/OnUFGII/ctnjzcjZuAdJwm5rUv4cyyfplbSZ9FWSrvAYwebWdE2akbzH+4z/5J6nI5XbfrKXOViYFusC1U6IbGu7IHKFY6rRJ6bBgt+w/cGC6EWMPtObjMLVY9n950ZZPRzQb7Rjgt03OGDjmpl59YzsAXuiPKZEu8reuT4U1dFlcwBg0/pirP0OhchGiNV0KvU4CxQnut5+Fks1Ajq3om5sW95UeQ934Hq9tAvtVTmXICnlSVD97f2Z1lOL7QKNq7vU/cDNhU8y7jYpD9jWmtrpAErsu4tQGiDYB/ADC3C7+28UiBwGodMvkTlRYIilQGwaWDna0q3wiVKKMmR9uRC93Hc2XnYudWA3d1OPI6waYGXOGLA54KhOAysXb7qgvT1xU27HOcddP3ORBkbs9S1iUS+uzyZUDKYQkcOqGlmqV/NB16bk0NIjUC6wd1zKl3BPsikvKIng+BC7slGMmR6PZyW4eCFHGwYOE6kAfvwAiBtZh6d8pQ/+DoQP+D88lCEhHLFHatJirb3O0M2R64QkKIL1kwSXsCYobe3RSxl6KUpJLW48qUqiEzjsCwEmHhTGpWfaDoFLTvSgEGqPTpn3p9Lt3VV2HeG3e9sbTXvyyeT2z7wdSV4CvAx8it+70bo9OHBUGBJrIbnjbcpZ+kE7PXTzKyaFJ3Xwg1EERMikflQX5jUsmUvvYLRFggsRu/95kZxxNf7S2pzUij8JZI4MKSQV0loW1/E9MXOp0fW60jGoiwe18xVYcD3415HZ5YAacyXFsEPbuTO9Df/uohMxLBqYdI6kmy7cY83oCMtiPVzLv5Bo2J83pFDlxkwHH5xr07TdNgut5fMUkjXIobmcEnwDTtC+F8QtCHCI08kFzPhBOkMaRGHOtCk0fKP9g7DfgR+v0zAHWJP8EACYr4PAII8hHC3+NR/kqgIPvXa/njTfDcSVrEoFhKUdlql9Xa82gRMf8xVsILs3h1Cv5fd3MXq7Ck6ncq1kOmjcc5knLZgaxAJ1AFarjA4lM8/wmLxseKmwmiYT8b/rxz/eB0qygrtGJ9lMXa8s92gSEde73jG+dNEZlErBH5414Xdm6SY91fGtOhfrHAOH/QkWCWcHavPfl6OQW0u/mUHYf12IHKLew/LCqcjVFu/gKXILLfTeGe8xINhHbK+z71sPEOo/ntPKb+FTjNgf6oEhcUB7RikxyJStuHpUB5sRcbgcAmqHpqnxSxHR7xvQOl2pE26I7LMXUfaY7lKgUwpxB3fvib3QXFpz8UsXSx+EC1Y8n2fgM3SqmhXhs4mKhI4uikNeiVVkxjUTLoJlM6Xj08E/YyYb9/wKdA8bYSqn+B/7j1ZpUt+IVzgzM6oX8HNSOuN89/LUXukSiH6u3W8RFZZ/16PwNy3+t4nfS8IUG0cY3W4PWH8id3aGOfO2hgI+K6T14RN6j9hIzf925ukv51pP/HkBMFW7mrr1kLbq/oi1npeY495sZ0cYb/RfbVUyjntEY9cBQtqbhlKfT2KWYE0O+B8naZ4/fWg3d+gxPTDBERWJAwDdnC9auQWGiXBdi+xCSBCsGQZ1FNW/kenFvmtyOCjpPKmLtsCoCE4S9gb4I1PZPApbgBv7hop+xExkKn20D7L/li4nAIgRebRGdPTutdlkK4LbQpnV5llBufbFOYKfOFjya3+EGV3ppO/rVBySG7GHOw/+ZT+PVDKa29/y7pXpL+fD5J8qvdA5JhqrCZckOgOSY+ojhbc1z50I7iV9dXfMOLC+6BWLUpadfr2ylTPk1Lw1VCPHF0ljCsCOP8IoztiznK82lcg9AodzInNUUWRkTmlM/W6/xJ0pQHcFxqEZO5wDwQ6cw55K3Ba3uz0Jm1PExI9zlNzueLEDwfcdZxDhtEphTKaZXCK4d5jcW05FAIrRvnst/VTUgloB/GZro1UoewPFfor3pKfgFpDcSkjd/eANSl73Otuqj/KOzduFt+Z173jtMdFBc4VMFJfQW4+I9QazIa2Xde6qwrOtbFbbFUJ/2/8AwSaLEQ8cfpexVoD5vO32zei6DNump2/iiA8LPa78TdJL+lbNwLbhN/epnzNXpcssxuauBShazZ37rQ9TcI2TPlw6jt3YCUujKj2oyq4HUAElQuZVZh6yJlNEBwpcvIjMytz3dPyXVMkXuz1Z82Pba0nO5xgt6moqKEB9QXmFu6mVxY6LV07VumMTKgy2XK26piSkCsBnFs4Tn7p0NAoxTgYziYL1IIaT3HTgOLqQabkBjH0dbcgTZ1DwbdtqGO/E3YiOGA4jpxjFmFXYZf1h8eBl9MSgBDqZW9Poo6jc6QvAFakR7n+s9hVbJMAUs0cr19YLk+y95YKI/JK6hBMVVE2uSx/WisjT3QdzmEM5UQk6+UMfYkSOC4YY093pBCPf2JFzTHgXzBiOyd+iKpTy8A7ENyvNO8CNqmwK53qJ4+TqOJQfAE8V0h+hfPdygMgTcvokKw6CdOdCPoBPd0q81gDWx4T7YJZi71gO6LrHwJ3Gy456b7B4Pg9cY0T8g4zIT8YTWG3oX/td8DecI49rnovXaP0GBcQ6dJMpW6ptWBLQDHJm3fdZn57sNHm6dRO+7SyFqQp4I8mXEL0oUHiIP0BUgaNBlZdyoCYeiKVu/EbFQ+GTxuYYfdiMJdfCD948vfh3WWCLY1uVEzO479cTyrPWkeiWDmXgfn0ClrOkoahQ2vNjI7C1oEtyQA022sDFZSXqGj7mcyzeyT4I1NtM3tNFn1Zi1PXW77jJ7tBrdUD/dT5q/5fESk6OshbBNcYveWldfcphyLWg3br/4om64laEg/EOirkqYENOSxlQ2Zah37oJGFHhQTyLIFdSyOfHaLQahlRoA3b2A+ZlDUxDUHBi1S7iymdN0e23/084mjKH1/rSXlXo9DrsL0H/jDnlkz1kYur57MXCHeQkrwuqXl9bU2oIDW5104JWX1oRWuHy9oO6VOoUFhE3zQeJJJOYpKUGKjSTYZZkWU2FKHWfN6HM7iklpzwZ+tQLu6ZbeGUBauQn3Pir75nHbhbxTTXMOQyscoNkFjjwXrYfSr/0Ut5AY+tJHTgrILUA9sJBx5GOoVBAL2q7f7QocfvCj1fBSoC/Fcaj34tY6pq/EEj8KfGu1KxMYxIMBPYz0wwZWsO02MODJlBVdB1Q5dR9tiWiADqzL0EyYohLhHyBHt1//g1tflaelHbHfwejlPcNEwBAw87Jo78lC0yBZzS2iQWkXAcbSEE9wrQk7gOjiBHLfEVBdhnJ8gIykQSwFduDuRUl5pRBk1LIODX2AUB/dvU0lXrx/V5Fa5/toiba6zAxZV5zBfwK0zXHa2b6QeAdpau5getKyWvtwOqCnve1OOOVSKDYjvLpLTRA8y+fQY2ugURb1HhGGALSWPFTtM4SyEMdVETSdSOEdcLU2BZcxqeaPq5dDda5cH3uiN06DKIfItsI8ENRbsDAS/0KLQ/TS9SRngZKNO72oFXPSub5ldgITmizcN/09tLi4qWgD5rm0vro+nE0QPp7jlOnNAqGjds5XGMJtaRHGKm22f8yFeVRB/N0EdPVnUQez+C/9OjZN3A8/qsyvNZmLi5Mo1YfNT8yC4AM0lZnOBqbQReyYuQMY3guDhZ76S4TpsSzo+uSFegF42r+hTq4uu0Mm9cs1l9cYnC4vXjHOgohFJmKeaq6hqXChEagBCM1NxY5Px7mrtV5ho5BtV6O/p3/Ld4PJbW4O2Ms3db9GwAnL3WJxffNrkarZU/IWuhiHWwBiVnk8QR1She4w5dUUoTo3Yapb5zN/79pHuztIkH5hlvQwMkWfJtADte+lUSq6AV6vkfrSTLV29BUVn3S5YfVaHPqs72ZH85XC9VqfYFkt6XLpAJnIZvUczanxbf0UxVl03KlEqtt38f7jW5EL4dzlpWZA3xuzuAQ2ctEx3N7lBHAgqRLpxtRJ/8pwEMY2sZFlrLYtfFd0oqk4QWh9Q+qZV5El64FYcTAppUUdX9Qgqu4xE29Dw2/c1vUQ5ImbjKa82Uz3JrnhNixDSXSK1sZfJCx1AnxD79BpPA0/9Ew5Pr6FXwnxbwC9Yf4GqQ3KDIfwqNfY2s3vjDwFAvFl5UgG9PSORSufq3F7keoRirAnF47YQnus7QbPP3rMitS1fHVkhDA6v3b3RxUqp+7LNzQ5OhfJXyYXl5zzmY055bfJvL2S+PtdPSR9qS5Ch1w4L7z6SMrziuAwK9Lz1+Zryc0QRdlV3I3EGSwuG43xlql1HGBEF3S40OiJqHIu9j1OHdvTH1za4JvdAtSJej5gKgrOE5wUSDchcpn6w4PzOkVLc/rs/ho8rTbNsQbiOhJ3DQPUb5ey/ILq7LWD4rQiUfIIGnPL5K3aB1fjLjUz9set+ZhbQL2dOHNc2YOjM/WeAhVdFTzS2urRP0fhWV/K2Mty+Mhg2nLBW6LsP/QI7a+hZZz3GVp5R6efz6pVLGamMym+5ZOIIYaCoWu36wAW+guppKmvSikkGRFps8wHBALgbFDwl2Ea/lu9pkDODqum63RUOCCNOh+K/iGE27fMGaYIsbBq2uCDSpI8ges/UuCn5ioBByY5gfX3uxVLvQxR2J/fF1XuCLtECygFrEfjeQiB23fw6SO4iYOvxy48d1CH0k0L+xjdd/s03mQYebPbxDLwqH3/RCKsUJh1QaUDMEl8KBoRfC7AJte33f057c6npbIcl2tvOAAejbEpL/7lx0nJ3kwT0z4PB9/L+ZIwD0nRGGZ7gfvq8E+KNTxUB5d3950pCyiTI0n8tyb/Jj5o1pBadQJqSYgnhOzUEahvSo/TKeCrdQwpqnrcaqACJtqfLJSQAlMpQ8t7nLO62DaDtGmZRUfTXF9TbD0rfjSzJsHYueMlVh+qxUB8AFBTNmqad4+4IoZI+unjNty252bOX7XYS2EAWdTfFvlL0scXdp1EP+Vkm4DsllZO/DuxUNv+4bWiuSz0+02UrWBjUOk+qGF7nNbZB31A7YkAwAbrUb9EEdFV4L25UXLRr1hs8g03BQMO5RT9Gr5s2eFp/T8Thvb+Kcdg30N2IYVK+5JQ4hBLNOdGNzpyTLPwNPNtsLVrVjg/WfW380UHj8lnRDUxiddIw5OrI6tXv9QjUoVSIc7rgszalQavDOUa2C527ctKe6XBA3ICZsAbmbN8x1QzyprLE7smG7beod91kss/vt7+DyyA5xHKHGzYMCLTthNVEucFxMyQEpUA5J65Fqq0PzdcEF+rXm+/uBxuSRt7M4TuxbQEP1PwOmoiaR3sMYkRbgmc7UaJccutF6qnjawBpUpjKaZ/d3cQ2Hjl2JbzWQSvjJ26gJvpFiK89vOoMVB1O2GKHP6xI96Cu6/bZIG2rM4vyJUUSEQLmZ9aLDB0X38WPprkZsS9wYKd62D8TRZhQjmoSeseqN4bX951jSdRVS9muvhk7HVXVHtQ3RXASGDAjyO3YKo4NhGYvVGPbUhNIG8o7Sd3qk0sNm5lGyLH7Kxs8XifZs2I+OV3w4y4Z90/6oSE6jEXwmIzIaBUBKF7zvmMRN8hiOU8PB6E2Q3nCIrGbzbL+8jQwmi0aR0A2ph6WZNZjAV43eFSZXtSqzDdR4rdCDH1WbN226HZLuWUhIxqTBx4M/s2ppsnmKiYAVXEhONRFL8TXfga9DwZNR0dMogYMrpw0yto1D0WKaHYGlKELMAfyI+Iixb/WFY4RfAlIKyseYLySwKjWsIwg57F6fQel2MH50KyPSUTHP8BWm4bs6w7M0ObaNZSXirmonk5N0jw50VS7X3jup5d8ZohPBK6sU6RMFEcUkCM45TclVjjMmKUJqrAU9qAw49qBr2YUhrsDff+G7y30v8+b59XdMAnH/uDrVBQXBIl2NiNjixx0Wn2Pdcvw916rVPWjFwnCBQQvu6R70A1M+NkS/9gz71SZ9UoSyij3Kv7Rb7Fr/7gyyF+Cr/63fcjE2G3ZxjO1ZcxUyg2tDVisLAS4s4hytrX783BYo9l7pom8Xg3XhprFHnXDplPRJtbDQmTsXBJ7Zp3stYqloorOLY7fr7zzE7RyuyQ94hZ3U7ySppeJ2T5yHdxOy8TJpjzmPqt0+Ts5+/VQ52jPcdEA6r+4uOSfghh5PVE5ZqnymzMkuGCs/L2eYQwcbLcuvGvoKmlz+d8fhf8TbyqXn3L5ijXPLRwHE8Namuj3J72isDUv0SDyw8z026ExYUGi+VN3sSs9Vc7ZwmkytV02XjGxRquuKuUK7S3QpW6Umv2I3b8ZwR8rJybW9ugYO22n5Wd7/xUsdSSNVhdf6hMiCB2dXiGEXZeB+ICZV44ho0oZ8gncFFwqLaIw1pJSN8AjanbW6nV7dAwaqWOH3zx+uz/VNXpUQtMzl5gEbdgtyQiiz/P3Y9OpApgrz1O5nI1drEq0ZkFzH69FJbgQ8Sk9NmUxG9zxW6Hs4et05a0qKZGan3/9Jo87+slasnpP3fnV+unBY9J8SxLYmyCsN9k3M4SLRKVVSTkWhB1XXCG7KmTr70tmVcIz7AhXUBoDIKGbScvPyRmVlntp5cNjfHZGhrkGn/A00ALefQJJbWBe5ZqfQfZJsDSZAYAZcYQNoPbsJ0DrPlG4Cs0K13NeJS6/RFzbPO2XZiGV0NiB1uV3uVjH60lr2hrjNyoDrpQueir7gIIeCSdbWt1aS+QNPLA8OoIejpoiLFEkxOqQyxrCv1CN0ntlmfbOPnfvG2Cgp0EqyHQnixHePjlzH9DSXhZ9gt+xh0KFaWYKzGR+McTPrA2hZDoIA4TTBF+vQXMemvKJKjF1pSpV0/k2G2RX7fWLB7mM/v7lx8XVfqCUk5xSNgxv446Q8WTfLI3BudJ7pXmQN32u0C+856o+CDma+QdzSsGUZtWTtOfm3B3KReZFkFgSlenMVGD31N4cRgEG346QSUjxJ1Be1osTDIMzFwNAhPY50EQqKaNRCmKy0Nke7C5Mft7Gt567guts71WliPKXrjENzfcWusSEkUAR2B7QHd06Pa7kM/lOVtc6F4VyEhujqTiwQKTcQxe8ugvzf+mcvreaZi70j6xIPg/X60fOlJo3Rgl+p9r0rCEE/vuDSRp4Kk+IrOlGN14RIw74UBcYF1D+vKES5Kip5K1hTQvFfcUKKf2g/sKJZMEKaCSPn9DiT0QcMplptNCmWGj161CGv/SH7iDkX9oAeyh0Y04ymwjjYHGRz790SNzhou7TOk/6CFG+R0qldOv0D8qmu28dnV7yXFVhvrfBOb2a5PhwXgysJMaxBABO0sKAQoFnXuTzyOWq7NOru9ldedfjSJu6WqLDZn4rcc2Qvh95wk3EUbEWMDc/deajcoND5mU7Y+1M4JmhXIiXIbMSO94a5PYXqZNUde95RcT6fSnp/+AV34vFPTc7iERuRpyD+qKb5fMR7Kmc6SNLn5fY69rm9EpmArciVpviKmphdWM7g1ROIS8lEAQSljaRjC4dC+hLTJZeXUV2RPs0KIYBvsHZVEkVLeBg+49/WYCIKVMhf5d5IZokW0EQdaL0qOcDiRcv4wthtjhOTCVIPdWWshmkMqrVz99HKmdleq8Phuklbt2O5BYJlQtoAYLLL0JShC9xPzVBgRhTa2jqm2lIbdkAV79MBACNMuzRGYVfKLZyWYSB4v+91glzP2bAvMlSVr4CW/FCAHvFrFuagbQ3/wVKbY9v2dkuVq8LaRzuoRJwwUVHyku2BRkKgJqyyHjwX6YCJuNGXeA45AsDBpELIK8qqqs9iM5MTgFf4z8sH5lXFwwqGCjI12CXTn+Slktk+b5Gt/Cq3Mv3lawc8nmJpjW2Eu6ce7v2b8SEH1qdtNgzvsVVQOViax+96pjEnQqBi3XNVJzzJDADGlaedYQyM8cr/rIZuwxIiYu+op3YURTn9wBeAtgEkLHQI7Lur1eQKrtuBDNNccX1ZTEuY/GEEoxDiyos2LeLJtC62nzoEFd7JwFCJ/KvqQItKFla7XR8tYKK/4bZeLFyM5/kFtkqHpnjv00yY0UDEzySmOFIfw7krwSmNIfACwmdsewYqKXAZc2LbTb5KvrfYXIJrIVCi3z5WgbeXMGQSkqQL3fgTnuwlTzmEbrTRkUKI+DCIEfBXTjM0bJCWQWt72o7tHnsPtknFQzicnc5MQX6xjbBh/smYm6JCjXJ76hSHOjt2lX0mfeUG6ct+vAYgHYHemNIe4mimVldVwOtEq3nXUGftjqSZRG+0HRuR+Cw1wMBBblHu8a7QvN/Ok1HVbnix+nQY/YvHJWSoSuJ/etq1iJ5hIA7AW5vwmefAQY4KSgE3IbOH0qAwBe25IoCpPExqO2nu/9iRh4oeb3VHBa6yGjM1o5Jl7A7AEGPLgI/YoGhRYx2rWGV4mNyhJo+Oh8yGJHkRFMyYkNSmQQkx5rx3OusjnHMDjBnVgJQLzCoWwFo25xzGT1Fk+ooZeq7Whs20Tr2WBIEMS8eIzLi1bOYMrtGfdFG1u8NeIvkYgNVc1kDZh5IcKlvmxHcQChwXjhL4Jy1hkxlYYZAI604KpFu0NKoh8ZsdTqbuj7qfDttq40QciBYxxIC0Kjnh+F/6DloT/fGopPw6qskCv8VUyYlEufPOZCeQsVJt0ZaTqI7sZNMUfzS2ZRIw4yAUiVnpbckGGQ3pGycLCTW2H2PhQoZTC1s17LiS8f5egBoM4wamHLIX6m+OGzuU9ypF/G/+nMH/Y21/lPC3jwZDaoHkqpTKs2WoVfnnENFHVSstiCftsCUUIkKOC7qGZn/VdOhAa7HoiISBpi3wq2v+OHrIFzGWt5aa7IVNShU9qyPonMR8fMj2MzRF7cn7F/uaqWTxc7igjtyEz1H/XdOwzdfk1umZyUmWuwCFGb3SUguvf7dHvII1UuvLMzmBIt5kiZUcNEmMXsNuw/uZghKvzhm79/eqHabrn2wWtseMQx1zWB2rn0LPnF5ONDwCx5GxFy+jOx4NknxvgY5YLhZeAoI+nV6IxaK0Ja+DXWSMm/S2HX8rKQPb+7KepWTx0JCsfqa5ltk5CmVUZ+iI0V0DztLOkr85F8NnHvlw6U8sef2pMZY4jNpHKNWTJsy5quWyc4wgN5z8KynJ6X1TdJocqny4BaBuuK+NnpsbyXF6VBnviFeVVyQHn+GWbxKULeQCTGT+5kMs+nxeEG2zR1eh6qg1CfxcWzvY2FXTaDETaOpzmHUyjrsDgPZR15pcFnKLCK8C0Y+xT3oX5Eg6j+StGtG5PqGolKHtjy/0rtEVIIp3+GgNv3Q+SVHaE4WM/Cc4tdYPayub17tXiF2aV38IWxDeejD+gtZX9IGCfAgd2FrO7TfGIjNGlJmxCoSlfxdHPEGQVAWNcacyGs83gNeX/jmXXRXDPNVa8UVBoV/Qb/FuOCDe9l0N7xRVenMU73UVztuvFbVRD71ycwLkFGVwtxoFmwh3URbE1Y1Y0E5gtxalpZKnxTB9y+sovzbwDWOBSdDNOpk+pGlvydEbMudOqTnDbeAwzd8o+Kpeap+jB+UwVELzLuJ9z8puFQngo8crUkWyppzXmkWbjWAjt0hqpTWG4Sqy8prlFIgh8BOFj4WcZ31krfr92G3664t9/KtAd/r0rufwFypa/qojsO+5yWzSdYbJFIv391UP4gCxBj4kB86f7EzekyX5Rr49BQ74jRBGwjiD2sOeonCc3p2YexwmtKjUP1tQ6Q2dTaM3cwgW55UKtrPN0cx9s9vJqGd6BDnf7dKTye35mlUT2B0pQYr1qRv+A3dmARBjLepCiboxXDX6nW2Rprnf/yPgaW6Bw9tamI5nhc2l35TWk8UDTHE/I3ANP7WyMUOj/to/FDsOOfcOA1lUMBCn3WA3S24TDjPJWP7QQg9vQGGpQ9qcAxC1tmPdyK4shO5CGwvjcW+KF6VEi4PxQcKMhqIgspKHypfH2Xoh2BysSJ0c4K/bpr4TjjIcOYIO1hhzUWz2Zt5TxliJN3ycYW3NBiogXREZL3cLdc46AzGmuvLR/CtcH0jUh8TiEvZNRGyuZBgJFuWfHCg5ijPQ9sqy+dHU5SYxkuFTpW6ax9M+VJoeGD6fK+7XUvnFn6X4JEp2vxS1Qpz0sOqPRKbE5O7VRksTOqNiZaN1rYVUURbhwAeLUsLVLyfzK85+CLuzTDbit0ejitOflXXGk1iaa7aDvByyvNNJJelpXDoCMerJ7IOpzz3Nvqy+SSd2oX3O8G11D58sR3Erqv5BaS5ruOcJYdu5Wim/FfHrrAvxxkWrGPB+KjLk3LbVySt8+Azoc+TDtrvxxP/4IrDLm/d/WdSDc8b8PZ8Eq7i4ABIQ+p/sYwjTxyYUWC3fJpXYn0sbLbH/ubYNzl7XDwKFt0SrdhgH9g/FCuqVlxfIKo+QWBvol9T8zQrfegIpjJw8yyBoPkHON8Q2vwg+Wb39QpKGdepCGKqjY/tijgsCDpEL9zzpGxZnyf5/+/Ymdd9J3BDRLfASmVvhMLReGbSCGypPUUsyWtyXJRei7ubCr/iib5AsA4Zc91byLgB0FAtF2jKTi+RVKdZPfHFhFjd1bK+zpvfyViSREuMO5zLiY4tpQOkGvLQ1DSI1EMuQHr2g7d/fc1Az0lRVJkkUIk7vyK3u15tC4duRLNpq7z2nUjJO73ZwzxvTbfP29mf/B5H4deiNlyVoRr2kqXJVEqoFdDgst9P+OsgzpJZGSTSLKSdFpxdgZHWERmCi4xT6FpPOxw3pdmK4EHxdip8tPzXK2gNBuZLazfZD0BA4Gha/c49k9sgtMBmb1vfuWQT9DwV0H/Rsn0BTG7X0HwGXA7BeFc4U21anR5mG9G/viIr0oI1K6Red4iWrrFvPewkgQpjB8/wiP0akI4HyJleAnjdVTYRaqGGOYolqyVMjTsFjGzSe6sA1erRdyZM5kz9zTqwg+MOgFdJrDWavZdMrAanXvkgcWiXwhvyBjP1YSF8CDZjeUN4iNRf7MBQXtlPJjMVdyIOOQYZxXoMncXjEvfKiI7Djmb5EkYfg2dtbf6pW38yKZc+fixvDnjXT5+aDSM88Eb7bfrA4ZJqTfe9eDKg2YMIwrABQxEzwhUoKEhpI+DrMkHl2hQYbwWB9Plm7RdaHwBsVcx+pSUGswbBEpSi11sMyK7YhxX/GtAiHRfa/uqlJVU+pURiDdLOrKBGoJUwK2oKwBrnVhMJffkR1429IbQpPqPUxa1jLtiVDkX7xBwmKvVCtrDmBN+nmyX7TtsGihd8AFzkE5mJsouqH3Rn6gg9MNVL2oCqJBBpwf/RT/JLx3C5XbhqHa/N/RdomamrlPD3fkT0iAe2EBzfKP9TSs+XmxGHgBMZ3vzERoyv39lrM9kkokxP3S0iJQypl4TAe7J5pxQ6JqqfmHfRhLK3b5We1QpOvkynXyKDn6agrLt84kgFuAgZkLDqFJ3HBD8B4YZcuiQHq4mUgGVDsHWZTLucTfN4CSJdvtrs20LdW5wa8Quzep63WusnNqKwdLccX3Oh+JuHQ3LnpE0SgJfNkFrvoN5XE6zQzZ3K1VBUM5rKz9mw3lSsdoZBtmPCxlxMxC8PbOaFNaQPoh6FuMojWIu/l/lTkogj3VKKsrUa3i0q946fdeJTuoZn+EHE81a3Rb3pyArDHJck3pqFQjvvtuk8Lm8+keWMsNos9UFcpnle5KsIAZdClwCtJIZXIaAGSWXOVjtu8gfQfzTsrNmZLpxll7Exxub33V4z5kzvQS9HF48nm25hzWujKrF65HiPHrJOt77BKgJym0goP981nMbO0GpFJVGDff5N5E1+GncQ3wHEyn8d4fBuhDBpouWxCVLqRGXpn6rOlNbRtlu/fWMqyW0QzaKkgraSKDVrCUOfmJA4KV324bvVM9Nzoj2TqoYAiEkvDPjqnwSI9QqHliGG67gTSJ8pZqanXxNwnc/3qr5/pg0q0ACYMRS/mQno2NLojNw5TXcmuT4BYYq74YEwFrZnSZHtDDYwYAnrX2QyajOMD/M+2xw/33tN/sjJ3V6cLMm1jpBGDXHKhSSckq1PDJrUwrgh8us3AtBF0Bes2BwNaiiROhpoir6hga8dBbkquiNe1EWHUviS9tVJb81e1X2163vAGQhufiGIuCza4NLD9dAu8IF1Pr2TNuOO/7Kr+nt1W4HGMPymPMQqkLqTwzF6joicVJgolRlu5zTj/ew2vwvQbXi+CfzlLj+s6rxNH2OpmVuM2SBHSwV7lLjkmqf75SFsZDmLCnUBDhcSSD6sv7Ks/Ekh98KaJPd2FYDGErDLWIpIat1/5h6X0/8TXZRO1sh9LKxxNVg6R173tm7jsoaJJ5W24PkBZh4/uriVOBs4Ph9oD1jCUTN0PAzaJHGmnzz+mzJYsFomsFACxrVhTSd+LeZQUM5emWi6hZGY2MsNtbN+bU/zS+r18aE8NGmbxS2wuR5ENuV/W5GIg766aVkoDnoxa1aFN8wwRh3o4GtN4b5PUUO39XZR3RokcXz51LnWaOOA8Rap3cTPHeWy8Gz0I5kRQYeXmHSdaqfKihRje1u09t0P3rMJ2XJlKZWk6Au/8AgydXK+5j5u4rxn9CKbWLd/lU7aJFpS7sQ3CDu88CZLpD16GaoWTySqqz6UrOO9v/e4gwjDW5sVHShmBaiCW34qlMCxMfjUVbI5MVYMhlsg3pOlZhGqOD9kgj7k+Fc6nRl8j3GmNvhBC/K1uSceZiY7uL21mWPeAjxf9GN7/Ab4doQzc4pnbrBLYjghi56GHNJ1aJftRddNkftzx/9VD/DOR7YOQL9qhSzj0QoVNCREFFg6OyzKukszvd2Gep9RD1FhAsgfEw3ArqYroTCL23WbMzL5moeOOPV94pOeT2csQgRuJVx5kQ9PIlUXuN28TKsVGwXgYU9/QUO6noPsdHf9waTEUC1xiW0WjiOLgBd0dbnxLHb2N2xBCNScvDSdVwTtK0/aoqCGLlt7M8VzRcYUdYjkKRLmWouxbIMsKuXtlRc6OV1ZAanQ0mL6XcxCs0ezDHlhnKw8ooxoN3q6RKUmEE7KUWCUpHTcrdUAyV4PmYKwyWUwZjBJuLAgc9Y8+aIHoNx48gjMhdZuiQIwsS74OcHzfIWGqStRgPlLj1BR8OzEM5sTdA8+1fVekpPE2Qq7ErwfT0zI7MevGjU7/WmfqhEZ+u43Xix70zv6wIhivYrRe90A1UqhbzrDxdYvGR+/VgmVDxMGCK8f+xUSfsGBHWiULvKTGSpeHfN/K4Pq+ocE1DK3WV8EjeY46HPqlrIeu8ZAB5cIaBn/IEnARsfsguVwj6w/AYGJyvuaPhIweHN2KK/hwy/vdkklZ0Hg8F+uP4sO8xRyMwAxyKndgAUe8eJ/uy4CXUa8DO1a23F27TPtoTkNE1G/cCDLc0EOXnrAGNrpKdhNWjAxB1bvnHp4wsPPCNapqzsULIsd/2+8Br8PmcAtjoIbYUmbP5pJlj/x6PlmQnug1uJ3B2lNsYvojdQBIjRUR68bk1dzDUb1PPq2xWy6ZrkzhUb3o6z1gS1oI/h/yqd5Eu8IGBy7U2O6HZ1Q3sFQpsxvZZ1S64uraKtbivkj1RhdwmxcKaPTyvg5iWF3/Ch8Dr/KQF8czqvtFt6ezk8zTxqsnbHUbJkRoEwEco7pWgVWkhmjZM8bqP+RmMLCS8tGhY/doqlIHTq+W6vymQ0SJtDG/Tl9BYvfnP2epo0AgvGZ08dta9KtU++mSFfR5nS+WspUlNUuaOBJvhoLmAoa4hOu2PghR7nqsRRq7p7xmB2z/4+rHVi+h3a3EMR0d13oTL2n5NuXK2ENfuTHxy52ytpQ2kuNRIlwRY9SePkC6gP1VwFGC+NTQq1AP5Lzs/UDtTIXMSpJiUJiQWizoZkY9BB7p/9KjK9V76z7+ptNTpwg6C9djpIRhS9hd0lCc7v9ieKLD2/be8o4RAKRIftQl+68Mi0Ph0tomh+DfH4epZ7XHxqyCYBs3rDK9ZpTjzHG7M+CToCgjZJayTqKksZ0Ilw2dfJbTugXWlhqIjnvFWOGA5ZsCSacNe0b4LO5B1eHSSHWhMOlV6tzh9NVIzxCePswk1AgRQJxDpQNyzSqIpVDsnZL1lZwhZkVvygoOLuaVxJHMYEgqCNy+l4bWBddkgUM8fQdPScTmCmxXkQOMfK5aebHreNSd6vcjhDX163HHBMDEZFYNE4jsnlYDE9i1oViZ9Co2C14l0/yM/0EcLkg4FKKDO+WL7CRiVFbthTtW9mvydvY71umKT2qud1CEJ1KyVRgjszmivogFY35u6pQGfqFHXwKPpcRcAo4Jr5pzxXerf9oobSHGH7ep06+zzf33oLoApZ4NUOIY2tiSyefalswFwdJwjXe/CSVIJVGHXTW4GC4FgB4XTUFYAbvLSQlARBHQnwruib7LRol4HmHpi9c99tBeMYoodx4q/gLFzYcLsiaENVIOQio/q0eNQdHjekOXKb7vYHru9iY6JQ5roNsJ/HFIG9kUF09oqNpBSoGO9KcqLwt5+iepF6PvHgQaDQdvfOjhLVFBey9llaC4HIeUJUguuIPnYczD8wUCVBBnb8i2iiym8f691gxMc5kYUOE3r8loaf2oAssDE3KWrl7bikP2S1sjcPUpGiQUrNAxUBQO7B2lDrM/fuAWFhyVJcfXqBWbv2rQLty5A1TDkKRzrby8hRE/EE3nAUbGCetVLxLfVJqFwkLcJGokRrMXNgoHqhnFBbLkZ/wOfk4jjJF2PknzpRDSI9yZ7vbapDWsF/kv6lh0dIBAH28zrZ9kkwLv4zXrig1SaIus+n6zAap3lx+zz1uphxpLZ6MDefaBETK3fRyWHewURi3PKmwszFTCRD6ECtwGjjAAm/EhUCOAd596fQTU88nB41xLuRryXH2BHk1jBePHZF/xh16rYFTf1qdgs3NS6PXqqFi0JZkU348U1RzQ4hWt9jIlCcvvZNoA/qam195B0H4K/zjCTPLu6n73RKYDPlDoG+CxbAMAknd0/DK2RvCPBR4yTgEXemYfL0iGG9OpMgKDRB4M5iD+ermrj9V7kp5GQLNuVxwibJMnHvqRU6vC4vCmILMsNyGv6VsBsq+0TlSl9tNWNoSzpkSnwcr0+eexOviKb5eLofuKMunCMaos0gEl06bsFlLlFNUrRRNxhtr9Van18eW1xcEai33zjnHzLttBVdE89fKczIdcgsfBUOB5YI0sjRF8P4+FE0IVmZt6Gamu/swrbeO3rVlSsca0vKeGcpktZcUNPTQI2dH5mZWAAgHtZitH99qrxOF43P9sJLT4idlOKMUC+4hyHiYqMJ+VlKn6XloIVTm2Ost3WXfAbDSaKf2xUzBfIuJnv3oAIemRgZtNZcLhiYc72z1HAIVFl7OAVko+Ad/r4U+vdzcYTqxf59ogKtKcwrIm2L0qvk2y30psmC2FreBRQgx48ZNkoKqTOPc7rcD1Zndy3OucWQU2cug5Bkitv7uLbbqlpdvZg3Fc7zmrudLyGRNEkhilopjbJeIIcQvMRz4qpexubMsx+5ybrb7AoEBzmrFqM1202UsNmBJWx7RTxzyFYU4AaImZ6lBnL/kqiOACZBrwD5U3zYzNBci/Li745UNuEV0LL+rZIKVEuykyqOHBekKBqeJYtkchDIFvtXn1yMdbFHji1uuSgW2ayurchHUGvpinrimW2OUaZ93wXWfEFOW7iQtQC1GWp6caZ7E+EzZm/XblhJwjLvJU56wG86FnNp1q7gUbg9j4uHW3ukHIwG+GoG63PJt1G9O9oKWLWD6BBTWG66AumNL44DY7u2WKhifvLXHEjBYwM8wamI8ub8PenoDdmsvHU2M0cWcJLhuJymT/xMu0CLbVxWUIMgHO4pWFWlmcwRq4wLQtPpAoMv6wiksx8JFHfLiFZbeUtHkZJKRizqTWoGh6X9XlgDik4NTud8dRZBf/5y2tyxJzN19pwFNA95RmOLLJ6XbG0AaII/XMBolmtfiosWj+QUkdpkpCAFOfCYS1Jdi7PFveyoLdhmaYu/d01K/9wSfxCmHuuOT+BtNptBBvb+ObWke2kr7ND6+ea+5+c2YzzcWP9xUA0i+f1Py8CK+uans4h+iy6DRJJeUnwMlAs6Qoun0OcEvWqWhSRd/k8mWZjdKPKr03gZjE9c9BOVlrCjpv36UlluwNM3yzRPjcbJq9SHU68LUnMwnEzSrkiDGX0wIroBT0rxVdS4zKRPfi4f666E5EakQTwnVDs+iJpVDr7zZqFfWqbZPxvzGSsAXmIqUqzrc22WuI6SwmzO/2iIQ4xZYJLsA3GxUzHGxV2s/Ptyr8W+uZSCpscpjobciwIQrNuy9fCQLHX6pzGx+qpelBtckX0it7cC61uK/JCWSrdIjNVgy26HR8VIV1givhjTWrQd6Te0ZIf8Ose3qfxQXXVrbq3U3VQLtsZSFWy0rh8Lw/XccG+dPY/JafuVp2Mw35yhFjEQdvL7pUA5ka17mfbGYAQkmWJJNwK4LFvPGH5wlSW57ZXpEX7J6ME+lkL1T8pFSi7cAUzxRt+TBej1dWHjXe5cQCYQTll8LvLKe5EmPDmNW49pmyxKVQYekCx/7L1bnA5zpYMY8cWlt3r7b3t9zZWlCCODLwEKNR4b8L/g9cFsH9KsCJFeTM3QL2GE6Asrvp55n9JrP9b6NgC8tKbW9KF/jkTRUwrW/SdFbjAUjRxhnxuOBZIevxyYacChUB7aJMm+k2emdkPsvLcfiDeg0Pfdh5jm1zNsoxzM+3eYF/5cANt2SUBrhd/OBpQZkWJLq8EshXREqUl7lmzo27yBMKb8b4sTffi71Qf6rJ+9+QhitjY0M5I3/lGz2scIQgAaaG6nuWSbXI7Ye7ciE/Zcl+O22X/UU6vAcqLnkSP8X1L7492AVTwm+bAbpRKqaUmIcEx4/g/kaKPzVJiScnNr2D095qPHJtK4ZuG2hY/hbWXxbByBTzXNvM6eaX2ndwFVn3UMdfK/K15X9tghCPefGJ4NukeYS8eKAk/pq5mC3BMIkvtFxgd9n04Ho6OhJvRgX2iz5aGV0J3JTfwhFaLz/I8/uqv1dDrARchRq7Qd2otf0EpgWDk9Ub2baS4/rgLRYjOvacZPY0raId5dkTanPc547AwnPmNLBU6FmRsMtA96xKfLTU1Z1T5AwA8+UqjglUMvF1XpNM96AtaTywye6IKZ7S2m6EYXdj19gLsTjfgc23BMocTQq9xOk33zX/uJkK3CBCoiHTbn9rmLJbL0CyyFt0sT8N6l3hxBqsqwHDH5Rbyqq/UBP/q4mmFcbBwgl58fvO77C6lJfEzQJt23qzb9T08OtTgrdU6wMqQPolDXjhLPxCB3gnz5b9pcavSqVzceNgofWziFEVHlT6cBSJ5mbIeMXEXNGDQK8s1n4o130FVDo0a+cnFHextXczTD9Ujj9Wg2tU9FJyR8xqkGEkCs/tn9/LIhonlskph2v5hDYNfO6vq2b7WB4ImUh1wPXNrsaOWKQOntROSrDIhd8ylJJ0aBBEI23haG9Ak/fYk8dgs16ojF6QALtlAKdYyYghimUjrPEhzYXcFZ+5vk94b6+OCGoFnIw7xz4OoXSm7D0+ai93JkUIzCX0v6Wu6yl82t2Yt5PokKYekzN1ScrZvKX3SE2TbMRjVKl9Cg2ehbndmbZEvKXzH9PDgxB5uA12rQN6TqSa7M1iCYZhu7KBLo+f0RempKIp9F3CScwBcBu1bkI12Kwp9PnrIBYnrW1kPQn/BlC5rkSVdHoBcUdNOTlO7XPTMqKZfDCFpiURx8cPwQuA7MHDc84ogDQDPHNczyLscxNhIIPSDYqlri0xgDO1fGLt0cMzaPH5HlvrADL4YA+A0RlwYa4JLKXU51BCXFAETOazyMQxU6zH9+VMpzzuMio26Tkp0N/LCeN0VBBmwR1gmFBcaZeCCA0UCh+8iL+o9heRGS4hL9OuE3fzZl1uA6DrS14AoaQANA1Bi6DHjyp1PSRELWyiZiTPl2u66twNZ86xCLQWQGLmkoCXM3SAbBDR6RTta3fXHHTxjvBwnZOx5f0nt/np7r206EBccHtXd2wMzBmmu7OO68tBVpfs6sC/sWQ0Bejyatuxr+umjsFb/VgdNEEY73KpKLM1jJu0Uhr4oPuLgRkS18crtKzv2n+L1+iO+gLzITpskg3xX6oCNgXw/jcTu4JYfxMBhUKbR6HTgKgxG/4mN/cbv06GD+Eh8v7/RBj5epdjsZ1XV8knCT33MCvpTeV0kvh2JojMwH4XrCumy/ydQPHJ6bV1YDDqrFGagfYmQ+uH/u+rBSkkTnM1Ux0ReNpgDfevCTbPpdEnc0VZnf03dzS/L3g7A6tYsW1Lxtu36xMrGdG4glq6iBsKisiW+hnKg0P+PxlBcl9PJUXjqeFeJN3+3UG3tK5xwWXy5Fe6EQ121TV+esPtamUJwKDu5s8628njX8PtM+Dof1F9IVUWml7MbOlrPK1qme7spWsDpxk06YrsOIBkV4DcOkAn/iszGlFMPeE7a0+HR6CIeXSqff+SrTtKsvAppdtK6unMoFXpaYOtWlPySNmpqWyk4gMUp0UmWJE+Ao0j07t/PWbBIBS41eBr1JMraAKSwO5fHMJ6Srf8qmPJg2X+1VI5K9Ef3a6FmzYlapAfWXbisbwZ6EzrN73AYysKPxNAFD7vLHXxWx6yW0Kqvc2XyAGuHaAS18CBA8En1//rWvUtTDc2hOor2jzKtpAeK+Wbi/wepSRuto4jNO0+DFhmJnnZdpoHU64KW7eu7bnO26+nJ2/rQ/xBfSP83lNOHbo7MB8HvlAKGIPMyf9gkP17AT5izAcAJKzpTUbtp6wGkT2s5PJK7sPH5nEF7/JcO4w8R+0ybiaWnWjZLUky/lp5uXa02vnvGrS+b8ciEMdEkvxbo83xOmoWkqVJGQCOYOe7n36pAXxivLCgfnuEuwL49wq79TfzBxWITY1QTPRdhBGVVAbSHNZ8X3MN4BXgz2JKkJSyiLyHo3iNyXUhJbm4YaxROE0c5PmRMnboVVXs/sLd081Kizfolg55abndMSH6s8qtMI19nxdObHXbnCPxkbvP5fImL+qMN35aPSwziR2VF2GdSkMQwUf2fDVprh85cJNMdVotVjYRUDvFbAbOSFCyryq8L2J0uUEOZqKHdh3s09wseOowr2GXPXQRy3tCPC04SIKSXQQYlPnhqGWAzxd3sdj1ASPFbl1A2E/m0vqon5P6hehegDrYUDcmF4m1YYEoMG8/63r3vZAXUQt34dhFkol9HRMx6wgvnYXeRIKiamGgLeRNBTaHkKZzMTHOtQucTLLDpLjUl1YBqFHT+D7a5x5/4H9S5G2HmXM9647YMWkrdibsB+PMgD3j4FycrIkkKkEhJnwUgkTIpVeBAlkE2hv4QTmMIoe+Krw8V/bnW/PFHXem+F88oPetzO7v6FIwhc+ZnKLHe2T7XVRHhCS4dV8NKFbZgemojhoNGWchwQFc+GLz6ZhSeIxb7NxZTefjB7NAJxAaZIO/Bu976QMeho4iyvn/JBcWrKaHiTKUDulFWQy4y1lW3g/Q52mkK4vEhTCNJsE40s2UYFrw3wCdo44gIfGBlOpqi7mQ5LCD9IpFZr9FIwU5tNH9FBsabovPC75XeSX+yiapVHMGIN1IX/Fnz7S6AhmlOVUzDFa/4EpOuR4627Dcidagst8KTTOKnIcB6d6z4Jy3tLLipuqMsASQ563kgUt76bxP50iFORqysuf5OvTk0ZMT/8yYemyCo/7y0ua7g6UpJ1iPAUbIGm/Yu77vwFvBYQzGsTS1Uivd8pKAz4KByxqulb/d2bxSgbir1YVk4qaBEhnX4IEUx6BXdbDv42TDVKgVS7QS0ZGFx1nSb7tf0yh8B3GLXElVJ7bwfmMBR5Q/i2cRtluLpRIiSVuhG/5meVz7QTQY6MFokL7z9vPp1DMJn6IldtnSYKM4+1HZBmEo2gHGB57WJX5X8eVrTPPLROURtwMvVvjbO+ds0I+rfppTHL7Z9E0W56feDUQe7qAbeo5IC5V/BTYShwX8PePZgcrJG5PEF+bgQ5k3hbh1PRoXayDk6fmUvdouWp39mFgxJ5UdDXzHfAlS5moYHDDQfUIbMMRcSCoouC4qkyER/J7IzUCF9ZvJJ/jCfY04lOueeMY9AEsq9/AmQnUPVh2aSXoazx06RtixrMtH+ezr1oqO8Q9xy/CLTDxINw1RRT1y0lY2zjbcl1Gj86rO5rPlMepFSftp2gxtVkusLXAKscamFF2SUTYPCA77yQjpPtcXVuRqg4DknMriH5GocDbjKxaKo6pPiBjGJxf+V5W9D/pbq/uPytIOZeydOU2G71igFZpKjKZamqrv97H7QVP7Wc34+o+zBObUIdQjV5aC2iFR7s1+zfF1FbvREoBRvG99mEIqrAJ/Pv7Qx0SE7lw93gZEhYmroEthn3j3DHxi+B3zm+VvV2rV8tOHBvAQPs6UKZXLVw3ZCSD3cVGdytjNddcXRylnS7Ravm13nGGXLZxH/5Nfa+NcBxkI2YFK6P9/sQMnIaDi3JOIFC7xXqCGErySOKs/Yl72axJ5EwHgV3LuqzqiYFoxz4MBOlXTGC18fZ1/QWh7eUKwngiUWcG5JQaBvYnrXMs3WjVQ0f21v1Y+/dmV7WPrh6R2iKXtnTMRsAiSkJS/lWo7sy9k1aTJfKyoAbHpiRawpstG+WS1bGIX7VRaPPv3LqLZ0Vp952Yb5QaFrNNtsIiOk+02f5ydaY4BsdTgOMT6rRHLpu0EHZlYIg93vjhAR5VpQaw7Bh1Bl9/F1hrLcOCgtKOHL2WUSKjP9LzGYcjlxliDInb/GLYgx4KEYVRY/Gswzru4Y1z5ZA97ZNOg+HJ/4YE2on5Jlx2NOQxoVWuGb+EexatekMw7WeFWSJIHZIZRt6E2wENcAESo2j5+l5BeTfAGNqlR6z25DcH+dEbHCpqHfdvjrugePxg8bEMy9KVm3Fr3IZzUqCwit3/kZ9xfkjRwjuE5yoXUKKIpgYwmwD78GG5+JeWTbHRnDHlSYqMwTDTvafPraaAG+dWpMrrHGUDjLtQWJujDd4IF0Y6WqM6Fsui74ry937tgkqFzaz0Wge7ChSdKENmFMXB7jEPni146TQyai4VpT1aPQLpnhQItKMkXkrwHskuxVC77mr1D9iPOAvrMsnsNOS/UgKqgmNbBUPqBvnltiJ6/wiV2kORUiNSLddDuFFjTpOBk1YeJbB5tOzwbMC3Nx0OJ6Tx6GlreZ+Eo6eWTAi5NfCJ7UWyokDSxfthRZRcVJFkqzXBHlDnGZ6EAP8ajm6pEntbA77OCPAhm8xD9NSRaPLdoLyrXPKFV2g5QLu4/1t8EkwHD6uAMDZ6D9U0cPteKrM5DqvKChhGGFClaOd107+W4VoYOASw+oSmTev6aD7Y+zqz2Ykx7gFVj5NOZJO6ikEwClAParZIrAy8lsF/9qoIoEPt/b3qmsYh37/99KJOm3/emNpbKzxsoMN7la0ND3TgVCJ4xSrbrZHgek4xL5D8q+rWCXbm2a3u9LVxKbcSirFlBpeKeRKEVDZIgT8dTLZumFU8nDYbOqTc0uLnSzsFIeLE7Ibl2q5/7Eebr+ge39VdqW7kfka4hTkJVWoGbiOoNGurvfo7vXBU9Z4l97xlWyboLaDKVtIqQP0ROCqMYIHYPnzPnpQgjQFs6Ajt8Q08XQzQl4vGkevIPNX5ba7DX3QGK6pNwdiPg9TKvpeXTqytLxmBDsKtF8EGn7HHi+XXl52HvWThJPBTSK8Yfi/dHYe37FQXzJoET2lD3Gl6yJQtt/tyGqBlVPnzAETz8R99/vsKTPnUqsNijMZ0ZZD7BHl1aDHZTvxKmwfQa2D0WUH/wVwtxc62CCrQn6jRMppULHD08qwvHPZ9WLyBtZZ7KjghqhpZV3Bz1x7sDsvGDUcNHD5NN6AhSkuMIzPR2vpVmGh2DmuQAg5InOsvPq+yKiDi1N/DLVmSxQoXDWHBLinTEkA6a0gwXWkUAfz49+XumyJ3vvoDYCatEQo8WX/vNISolF0/UlQSsevBK0Q43H3HiDAJN5UO7LRm50mPPI+ONJcVuh302082GVd4pabMQVanQWXf5pZKHGXPgQ20EjdqOO/wdXpXMEGhI4NhrGsfH7ufyBG6RcRYzoof4SlwZcwLjZAvPzPodx2O0sSpLjxE7jEw6aEEkjSHWf2CWfnuPRCHlf09OkH258truDZh3vfQxgfaqkncadWuU3ariME2LfoWNVpWuFyxG3zOoE7eYHzJGzw5yCIcvf1dhpWhbpxJ3hTcOar/fuY+9VjY8CjfvD89Hnwqzj8JElk3uDuG1ZndMtoC6oJn8SrmMguPDEhMfBF1z6IhcZCB9JHD2x3M+fFRd88I+fzHqGbOhUrb2RDKKpwmMDvM7uH9UCJTw5CFmiukhxjZpJMWae5VO5IuUiK4YFZVID3zzBtn30QustL+vW/nWkuGpSn5KJZy5i8oLL7hzbCJmkMc051cIiDeByfgQfrxOVadN4N/JWnUmaUzXdeJHbllwAqcYEeILFLKkoEHmXvkxV9r3bDTm/nsH9XiwMunPFvSaxYr4TrISdKH7SPbcNGjcGn+BO9yDeSfhDFdlgmUeGMjC4QJsDMUQjTl0iN5FGcHPOATcqN746dWhYzv0MaJ1dDapgA8A5zvFw/F91HToL9ek9OTW/HO3fTz4Br2n7Lz9uyjsQTGGGgUfZ6FcglLkxdcDi1gh6nVkx8iQ8lD4agyQdXVSxLE9wla7GfCWGRxbW9yEqllm9xgqsieDMjqifjjafYoiVhaepXj4beZWqUtTbqvSkVmhQyledaWKkoqkfyi9mZXOto4h0nihyXsIAe7AKmb9P0cL269zrhIbrMyRe9JSSEyo66EOYaJ7scjvwAw6EDZMF4Uerph75zPwkTac25OznXZEq75kC8Nim86Q90SC7bwd7JhIy4/uECfCQhpGTsz2ymc/hVSpeXP/jKg4HJExuMe8yl2uSeG7eHF6iTKhLzR6e5EW2DoVCOvjufqQl5fZ5mP1IsaZy6IFF3pN0c8Kxao0bxrT3oTFhwWflFu7nGUIdg3R0xc1BcjcAgWB0tSDYW1hVsKYIBfftWqUp9WCQbamDMgcYakWRdWEjoP695dep19AyNEDPxH3bU1OQBZUabIeLmlsKvVh5VA2Z40C8WR7nM8G1LxfSnDpFd6+3ABf/s5Os28H8025Yk26wfwqYT3UjoLdce/dqIUgM/dbblXxt4Nnr5Ihk7ENYgdzy1N1epIs+BCdCcc8Y+agXx7+ZSVnqpmB0ctboU/tBmfUUcKLdHnDSKtHq3F9EQfJdRFOOQLYVpyLx8wtMsyI3tDwmfZafnwypGD8PRKobmyFuYL5MA1w/88VOW2TaEeQBw8e8nYx2rxOmy0RPYgaZ8NEl1czxYfMw9WiB7sOy7hWnnwORt08Ai9IQNuOl1KCGKM5Q3pKgKTMZ0nZvtE/NLr9BwIGnVo4aww/2SOMuewhBGztgKG929YL8cO1JWqS1Pzs9PnlMrag2E8sWET12KxXjt7BJwXdYFQMPi4tIOjnXEC4sRkLRHyaYtRdDaxdfBiVG6nNRxtbYMXk/yO3g8xZYDxN8AouH6pFE0Ef7YhhdMJPPGk29E4rUeJJ5+73oW+2mlFOJhR7w3sypIQesm7tVKXryLRBtS0B5JaQYoaAF3lWJ+TcRLX/oRCLTGgH1tTQL9cDlIkIbDBbgy3mcS1yR1SCoNpBo3QjN/S+FJxNrNReS3MFSeuHa/p/6Cx/mpLRZC8vKNq2vM0+fYAifoVC/tsx/tBSIqxOmyYAhC10WDQzPOdN8pYoyLhA0JxiO88kw8B+T0D0cgsH8P4en182FK7WPXnua/4jEH+zH7083VcxDt/UpKWAYj4vkJ8WnmQWjAf/fx5uU+ZwnO76G8toMQR16hetTaip6wY3XLa1Oqz4F0EYcikD0OoYyA+A//RmQjMcoQCXCaZYUIWLy4oRKHze4sfs0TeD0S47xvrBFGnMqlOf1gkjmEM8jfOtVpY+A2pE4nBhS5Z1tzb/gNmCwKXSe1Zs9Qu2Jp86XLoMnMVFh1Ej9eHk4MhhrhnO6/k2UkV1od3RGku3puddWPSP2N56+wzVXNrEQE7/HrKuIypFXnOddpCSyBODdvWwndX0jTXWubZgmZVBNwswVB1gFaoqMaXNbZKU1VZyqlTxxt7mw0xhjUTt3Tnbg3bERSiiIPX/r03kWJYseo7Vd/Ubm3UrxdTAXGtWNSqGrwmvYvr0TeJi5b8m6LPJ5+91tkJdmzC6ita9HH1Wfrnh49oeWam9ByZoMYnzTyKxcwUQ2BhMgwKwfEZxo8C/hTUY63hSq7mn4UAqPA56I0WSEE7+hsJL9sR4hns6otckHsopzKSl+z8Pv3k1FQoyJGNAhjbNAEJttSsTuRnmlIGSzFTAR1GK/wCaN/IPJAGveZbffEqKJnfzZalKUovTxS+47InWLXR2ePCXRSOoBv7px8CFwMdhxCxQ8eSR5d2aHuYtBPOiXdXclGlF27fpgnD3dNd4/ynMJ/xp+dcPdcpx9hw/PFBKZiRFcRhgmSyBT3pZ6CpRsyrIuk9vL0ywlfwqua9ygY1NYDMEan4QnbZJ+02gm0jKM+CsVDRI/BI9+2oI4+s5iq8EwGK3SZ+UBzzl9bwC9xgxS2y1UaSlRb/EIrRAAMD3sZlgRCNXL40eXO5B+s+q5nalodYM4jJj6GgvZbtyRXYAXywtHgniujhMdU+eNhjc/tyCa54O2vGrXC/ulc4JeggN3Mg7r9IocwUg3zXQpbQ6NwsJRlbtcxfK/TRHowV4lHW0dJaQhm4LwxAxUY71MtsqdBx9A3PQlHJ3Rqh09Yuaw2SCegwELRHfNl3nH8OVAxBP0R58tcOQV1/YhtH07jt6e6rFVWUa+TbCvrMSm/ZkClaH/YtGeQF1mpuBlLCnVImdK4hQMGoBN6ycM5BPf4n3BhjHYaWQsdIakndl5ZJgDqeXWDW5nBnZCPansVz6FfWbkkA40MLk3odw8lSJhHJSBrwXIPnw1kCjb8u97HMB2lLH+biGZdvRjn21Z6K8Qz7nuE+5/OwS/SU7kq54n+KQ4RP12XnGXg3NG1hj09v3YAVNUALSr3T1VybN9jV1Evi26u7+4VQX4GpR+vhH4+MjEW1Y57MvlnNct7o8YzomoWztuz4m7PIGw52fLBjZfONv8rem8OuxjOzzBkff4cw1pAtQCiNfp6vKgCFtjdRrDi3/vBEuHzxCTQYJLR+2VahbyOZFkGoqLy+i5/3DOwWjzmUx2HUKAwUfidjLT/l9IboFzQhZufi0gZa0T+bYvv+8JZ4oQzUxlSqTveu7aWUQmHKDon6+t6IPsI3TG7ZeOMCO08QTLyp+FPDeLFD7w6lk1hhf4fKuwO4QS6tOTW36gbD9Q54LGXpZosl5PbdaKrrNyArUClYK7xq1NfTuB6XXuEzdvrIsxwP1AtRTYw3CF8cRN+EQxHDzz4H5XoP68fKyjtRqw3HkhPm5ZlQ9IDSGJ4fuqdbUFykSuf345GpwaMyjEaYxxw3LBPbIuJ5C6ObBFswmETEUfcxOyf8YcKgonm8SCeED/4YDCPhdeuskZj9jvbFkDv0yyj6U+/OU/Y4HmstX8Q25wsK1L0GE4m7hqGhlozNGKVr+1OoOP2ExUqUwKSi+TRxAScPhAVQbCzb+FXaQy0xQEYJFVwIWFsN76xxDjWO2IiEtenpRn8uoqkuT5ablLKb3w3/2RtfYiQMHZ8g/Fksv0zpO+WsPQZmbi2c2HOyzdwdb/oxAvD4NPLlK7XT7z6Qb9lld+XNQzJfhTKYkN0dAuKjC9Md+sy6hSaGog4xqDG/ThXmVqPjlcrjuSJICDCHZtoUBMy1rWAEyTeKzq5VeiWRwP8MA0pjgogDWYSADCf/OHmaMdNtdlC0l9wRaH0EPXwZWJ5FFJiitU2zVT0w7PATZZO5iH/1CdvhseaQ4wG1TsVfVJ/4R4/cRB6F7D5DrcVe91pFH5R5vfvZg+BkpbmdzQF0xOMfVedsXJdo/wf+wFPn+wDP3+3ET90h9yMuF1qJeK/dVRoMKEtinxjw4VZQL+8S7qku+4nBTcFjuN4rW/IqQXd1v0/LVPyUqMxqbWfiT7VwXy7yqjqUugyPpsoSqxZA1nZOvBpspaFyX3B0Eko+hTpqzWeIxYBqrTuUTUe5EWxeGMi6QFDk/o0xeRUhDHsYAZwl/mdAd0Q2rpARBTP1yOb1sGBnJmfh7ntsPDBm84XcdYjTHRlxCclPeBD7MnwwsOz5pIIJaXl5/UNO88anYqfocwvdpiPAKhmZ841U614gPjysasQVikPbj7WXMsp8IE3MAjgSb2IN86gJalvkpxsX7cvDkgTCtuz4VsqHAe5FHPLQQGXGeyFsThtsipJKNJersOj5DISxJFQBnc8HRu6NhqULId+vzSwjoCJ8goFMJ8FatYIlDfXLPZ6t9Uxx1v5Y5qvLEoq7+ETD2bOsHm/3se3+/WYD9Wq6TY8pkQAzRwl9s9BWU5o2Vwx6aC9KACKFM169wk04VjBMP0OzSzi03RAhR+aaP1VNwavszNJ60wf1kMpWImw0bL8+CbG7Bg5U/9jKLC9OC7FAwFLEhN0qoDuznVbw5YZXpKYm6X/i+E5FemUwqZ2bih1U08oY6ER+kMgrjSP+7Pdtpyg9KOjG/MHcMoOC+1V8NvIrsGD0J5Z2CPwu/95v/mPtLcFy4QxsVt4990kjfYtxkbob5vp4hakQ5DCTXUU9UB6UBWZ8/AdidXTwx1pme4H5Lwh8T1G6bdLqtzZG/DD1PXRpJK+zcCEEHUMTh5jrg9+JGr8yonPXf13EBS1NzvKV1Z0GRHcYCvH78rYPJj6sc0UinNZwkWcYLB2bVONRzy/mViuMt4+GfzvgbxLCRGCvc/Aq78FDCSen0L4RzWKjMtQD4KzvREqm233QDQIB0rFHXNB5nWsTRCbShrniF1gmFUVIK2O626w0rFMx79cxA9LkOsKyn2VNWmXf0brUgQXPq08xbFYzBXvnKUBcBID2XvGiwfh6YB9VZzZn0y7Shzrqt04SjPPRJTzEwsvJV+YLHkBFlPP0FhPXPlmjoAArypBEmg0p8Hq4RrsqSKcHj8k9Z8icso4UrVNdMMdCxQwUsn5HCmwX0lJ3P6Kbo5V40yKbJBO8WM0ayPL50ygDObU7ta+s6P3p8iTFsTZxwNYwoBBxW5DHZ5Dpj+4DSQQ2XtTR4e3TSGzhf3YRsU3oNTZSNyghBliurA9DdnmXuOutOj48rBBKKbZ1XocQ7IcXCDDBczzNkxf3ILLNE3FVzhMsxOINicTP6uczsSUa3oixSo9oGQn3neMRs5F8687xjbqONfiDPB0AcV81dStmmL+ppKrV9YjULiOSb0JnMXX7cZueGwZgDHDI0r4/cS3EAXLgF98cCPawdLgz1CYC6fsJKgLhlzOplTbtSqP/MTqsiXirOm7z+8HtHIA/7RBvHU3gzMvdHVi6vtEL6Ai/qn7cjxQpmqtrht1AVD9cVrXVFlwHr91W6pK8qnos3a6JXeORISUiDYCCAPOdWSAvcQWN2ZbsP88LVdH/yY2WJIgelPEFnx2NXRkDyXWKv9xYp4/K9l7vpdRvKLxa9xzzqVOSGhYao7ya/qBJ90uVn0f6yh5xQBoB/UJg8GT8g5MUUkfinbQRzo81kvyX+in6JElIueg9PsKQQwMGbqexT7YQL2b/0QDeOA7XvmlvU9VGgm0QZ6fm9/wI8aYTCcfPlPwso6y3+oFzJD7ABuIHw4uEOETBgajmRIR6QI7f3LbeXn+PruC0EckoiuVCp3oCKqIxYLDVdrkQWEtm91Ll92FSzQ/XQh1EmQTHpx2qFzvHcd54YEvOOlsG98pd0L5YlnJvz6v60vrpmB9x9cmCo23Wa0+L6S1O3QAYJ6t+znBvdOhrVW4G5bv2dd+pG6Elm7RZ5XYXGOwTump81TP77ZafVpWhcrMjTBL+1Yn9hracyvz5C9D2HjlvcuZk2IBUbG6t5Pl8HWkbqBicGSfYTYuCEPZJ5BEIqj9/rK9wUSdffZkeR5GszQL4f5Cxr8ld0kGIaktFKiauLfioLmCsErR1FLfWWTi6EAvCeHzDqVoGy32sX2SepxlkYNf97m6DXcVA42yxAvxXZ/g7l2fIZqVcLuxDs80lr0yN75Yv3+pv6Wu6kGfGdl9dZLX4N50ZYLkfCH+6ufrfZCqF5XOA1JVBaWp5k5dc3lT94Cj4Ce9jEZjORHyYwQxVpArGCjZNcryVxAQ82TuKLYAmCRKk0uBALd6wbHIEmxAhqSb0YpSYtOWZBWWAJABt1E80QRo3iVucnGVzuKtl/Rmz+e1dmcoRMUgAyso5Pc+P6TTc12LhxAWnchY5fbS3fg5Yt5tryUBCrH9e28eUv8gcRSR42DXvthSFSlVabz4Zecrkpb9HmFPhvrP0sXQa527hrYC5LhN8Ex0NAcnnaeA3GPFHfR9BqyPbQ7bl8af0v2y70UfbI7yS5lKIeHmYE6KpmBX+BELxqItdk8Ni+QtHPogDVsbxX9kpIIaAp6G8JjUdq0Qw7rg6nWHjTGO2LoEZ7ZSMzGt0+eidfWQndfQ0nUU5AYAE8jcvHYTl1BmK1t++5EJz1icilqoPAR623D/AliG11HTnpc0z+arHtsBJQojDZoqIumaV31glVeEh+lYgqyQya1Aeh7M3JLXvTgSD1MufsjnDHBE0rcMpAmPXibMWrJ8cTzOJCmdbijiXkJAzNGaJIBcNj6Wnger/On5Pi5CAhDEn/H1FNWvUhK0cbMMPwxgk0XRcEZ0CuhwCCItlVFktF4mWsbj5JIjngG4efI+0oKZTfTzF0kgws737CnayP4UZAIbUzmlT78CFy9CYdnwjQAoTE8baxFBE8mBWlE4jJru+88Xbwu7RQxAE6zSDgEXbGpuqJR7EZBDm60HsgLubIvnjCVm1+5OA313x/32aWSRLQIINVHFl32OgNFYZej1TFxR7+uWdc+hlBCAfHK4cBrkNRhhO1QOn/p5hwm5+UgE4vgIE0OJmbto3udBCP1tJqAr3j+MyTzaPkuFcO9QQQx7NfU1GiJQsuCud9FaFlBFY+8fQz0TF77FQpBd97ntu4KsdweZ5spomM4pIn+RHxO2FRcdvgwqGot9qo4llPEWDYztsa5qYYTeSMXY2vEM9md0m4/guXtI7izyvGA8fUsnhbxmZSZ3cJ1ZimfuSoOykCPHmDx2N2pxNvWic6ciAIxrSN+Uv5RTAyWkS33FF7a+CMNO/lgYsvWVc7A5lOkVxsS3/7SLK587vUvDLpN4mCAo0u1X4ddLtspoVUlXm28yjjDS/SzPF4KMHRu7YEO/MUiwbMo25xtsVgQJMi/uULWnpGNWItQgN69BomigDFK5w2lAJNeX/tJEgEIPFHPHuESC+IAAEe6QnljjG4JPam56LbRTANFI2jz7SnB+Z58JiVsp/a99X3WTqx7URB1BMWr0GiQ6cM8dNTYbu0eQ6pGSXIAykYHEDybHQPuPEcPmKZSSGO8huVSHaXzvWH5EBzwdCqay3kn4PZOxfq19AcAtUC7Iqy2hqA66luc75X7c7I9/fVbrbPHDCbQH+ccVo/OED8RbO2I7YyyNJPHMgTwy/oWhy0Oc9B20kSUDIfd896QYGwy+w0o9fGR3ykve4ensXZNJ9m4A7kbs0VnLAy+N/tv2yBGWBka75ZlRthdo3wBw8tyFMoPDF9B7bRErpyEFo3s9EZFub8Ig/buVLXPvq/fo8qg++a/VBzSlKV9ogbgpwlFlHHm23XX5fwPYM3bCdXVNLtVH1bqCdvwFuurkQKgufWVK53zqlyAOu1A7ko8un4MTijW8Z0glFWs5HiBN5tyLejHXiyS7hCb45j62U5GL2HQQCenDbDv9F39IzgYHRlqCiT7XAnrNZlMK4FuzRwAuB9tajJ+0xr+hqOfTCt9V4pYkS2F1LBJd4d7hbtwZzFx9hvO/bixjIisYSBhVehbRMUpX5RPUMIq9uL1uj/LdPU8v/9XU2tkotm+9FRvSba5wp223G2YN+li8qVATI3vxId1sV50MqKCA+do8+2VRiKxdnta3KNgzqVEu55QoQxuERGnHaBHvzMoLbnlIEhqnwQFUrW/vzyQ3q9o6OA1uOnTrmsOQQTvSC0MBh08NvzymJg26Ut1DlTw/HgiWBQRlBtNK9Rsi2vNn9r5pmbN/JMQ5Kxb0pulRYb9f2/4aHgTa5euNvaiuaBMSWal1eKrHsbyeDD8G4Coq4N2/NGfUDgxdXf6ciom5Ta/rg5WsdtuWU0J8zPCr3cwEhpryOpmU950MOmzbTpC+B9DYRQ4Aj6yph3jcqZM+SkJ0+MVsfiSkAVtoDzNmFNi2T7lzxHIacERj2Ya7K7H/gycqnGHtDxhA9xnA5KWWi0xr0WGVwqZ7j4UCt/RqhlPu1wyMERtvI6/Y6UCkICZVnnA8T6devFnAh0bAhUiwm2pf1m5MuIXejNrrcZh1ya7d72yF3cAYINrLDLdEmOXWCpg2+osyFselL0OMsplcdbOc22+c8Bv9bajWqoQiTGqcYmq8G503+pmacYDvkJRg/9PVd5UnIBrFY6dTk67bx94UbtxddaH/ZwF706QiQn1bnJELlJr1Yxv5kNPQdAJzaghhBDRsnU7q8lFxYlXv5ZJhzq5+5R1uneV7Y6cqmG7yndyO0cwCewHOLDNqm1DXFwkC9wuiGsKRILOZ0C9g7OQKIlp/Hkypw7MYnXWSq4Xh9T5GAaog6fxaJkChit0FrC+Cshs8h+H5eyw2qJ0YBE1+VujyZTRr/LfDtX0I9d9X4ksV/dX7re4Nh8IYmwPN/kfqe6O9RH0ekwuZK0MwBjGZtDhqdMIewgIhVWtKojOlQD04VWF+wsN9pjug+dSsKBLvJR/IoafXx/T++aO5R6Qs7pUlvDTNStHwvTtx74XcLh9OCg9esw0AXH6/TpzfrXzojncf/kNVbUXDrg02pHGSZ7/7IWHAQ9TgEUv+BWWu8d5TA/JsSRp3k/J3UDAhj6nxgS5mV3b9wqQPfhGrb306Qc++vJR25pDZJwYm7WY0Y8YTcNxUjBDUp5Tzl+A2uOm5JxmZynfZni/BucPN7hQydZ1945zpWjR1LJu4l3u9kFe/43jRi5tWDCJz0o/HBRN6kXpSUoYlCZ9XAY/YfuhsbGQf+rMWQqM4JT1C1u2JjOAUS7VDjqjaCFCikEdCtKfmkin1OlT7aq67sP1wLGNehePY4Q6+37nrNThFUMaUZ/uVjtdJ47QOJYWKnYTVPZwsedWf8Wlba4kIe9fw3lCcsPc0pxZXlpok0Z2X8X9kjWL3O5z+MoFqux/B/GI7XfxOFdlbRScg23E9kY76LF7VUzyRfnVme59ZdF1tRsNKDo7hi7Sdc2N3i5rpMf5UH315G7KbIZS22NCTrwAtOiEQCmqdYQ/5bb6hCyU6K11aHlZT+2SOFPnQJQP29vfBzjT9bX+IYtzdxVR5bAvqBKFi7FrtSqzO5fNRniv/LE897cWIQuXkGV3i+RT+3DQhx1TYPG6PN6uT8duPJyTvN6zy3dsYHG4gRaQoXgihYs/qe8E6clFEuTReIoQSQMpcuEKDJTG+VHyTeyHrEJnnBCN0fp9HkxeH99BrnipO7skK7GFiH6cVlJ1uj8kwZ8QGUkefB669OFTmhDqmAPs9eieoDNF4zdXZ7GMoCc/BLkYxcAiO9U0K4icrCenAM7/m37XrMzpkcVImYXtDe6ov7rFMh+e//mzj/fs3Z68jmObKl/8+FMyONUlQx58AbNAOy6FlfAQ+2sR0NA7Ds47WDrOdtGegQgFqVP//Xd5Y5lOeFGszGcJ9ND7P4GPzYfLmwhyV9/HXietq+h6abPotEOjLne21ztgynKQWlWfjlp4qKUGFsgn0pq0J0sjnT+OA3SRf50hCsvgMBVtX+f4+Ih5B4ejGlquiWav0ZbqNrZXa1ILOuygzrqaJNBCoiMI2rh5r7RUV+myat8ilxP0nU9ChllPmWKW6A2YRByVnV7/zA3T6bBe/iXxSNyp9tQJd6JVvL1kfpEF+NcNhNPzKOnas5Tn6Le6kXY5n8kNZhJCizUbUqawiC1EO6gu1Y3rVK3JaTZnVSsdvd2u5UD6kZEGvZ7aHUZZNUH81mm+6Myxpc+JqwavfUPEMmsDxVcDjrrwUrsJ4hR83iHQK6QtbqD938U2yImE0TJyYLQM1MYPRoraz4qTi1Oinc8VUvhVE4THYfjAGnLitFQGJU5diw0gz6zILrDleqrdtPH5cXvVWo1SRAF8O0lLtsX749Gh4KNiyoXlLeg25blBTt97XW1lT3Aqg49FeCL4/AAgu26ap6Vz+8xIa+F/jUwsjiRw7e5p9RDMfU82FMWnH+CsmVOHiAVUmWvKAYayxVloP+wnaKLrizfXrnQFrqALcY0GY2yhD787o34uMCCL8LY8fMEmh5RHdoGaF/7P1YY/GMwn5XwUSaHgRwV21CI75v0UOOZVPSl4NF2oFc+gsUDYD/Pb2Ge6/NepZjMacfFpQnOGRtu0QD81vLFEvbdYLMwzVTfRL8nTObh97SKjDe5eJt7f80/LrDaiEFaT1Zj+YBBTdttngXkf09igwa6yANvn0tb1i8C9go8HTCBrmeK1cmxOaPN6IUHH8AApD86OiHqeerDleK/Hncw2ZAIlpbXitEjuZubneK/IoUOrcA5dpx1zb1X4Z7GoTTQgIkrnGmA7JMJ+n88a1ziQigRXY8KcNbx2kTHgjqB8305vhFPdp7sJVY0Qbr9MYSsbc5xImm32046D9zt6uonpbh64jkKHWYamcQ2+XRf9rz67Xh0QeQIT9YCuVVnIhyjDhV7TEhoEEeBjzVDj0gVMjCFvNC5Q7MDuli/x8C/c7EpgJS67HGgKbTV4MMxUPRqfzVXH9PC5Oo6/f/iC5PgymLSV6r5WSvl6iq6KaZPiZExSRU39rzSIlq5QzRGCSh8nWjSGipiLfqU3e9Oql2Nbvc2sD+R1uXsgHhPQ3JaPw6N05T18RvZPMZnjJ3NIdon4KY+NLwjTt2gODtS8rQFX9g3dLcon9Qtge8YR61rdA1qp7aMBoBxI6OxVCDMXnVv5OA6f4PiQ974sVAuDnRDDKPy2N2is9PYSEmCNRj2zbhQeQjp6yHM6wZw0l8Z1OLiWMrMd9Lw1mrJut/L95me9pgGbDcSxKLLNFmO6qWudFfiLGDNydhiswcrg+4k+r3Fg9zd06yvGmGOCPucgTYo+/GX1ZgEdXl4D+n0vZFiUSzWNTbvkoq8Z432UAXmKfZvxn0MVXw3Uc5L3mBiMe8xvCLeBhxLIVHjYPPTO3Z8Tn3gzhmNvuu/ETDvJ/ash4gba5o3LAvuhvF0QuKaNnxiK3PD+pnW9/LdQreigu724wmTAAOD10OirNRL35ppHkPseqlyDEIGPzJXQ5K+ArcDsKo1fsug3KVGCmtIiarWhLMZwM1RTbYkoSpy3p8Jv5MiLGkHM0MMHSZqvnebTNgF9vSzvU5PiKraXA2StG3QA3G4Dj2C+omWBYPXIAozaNyPa6Twz5MEx/R9yopXEvEUf6Mn3Gf4K5++lhW4GJqvuQzPa3LDqFPIsOy1eaaFphckpRDBC0WepXy9FCLYs/KMKADmeE0942g2KcnRTQ6QHdj/oVoqTcAEqF2dTvhWbcOGwqRhAaByuerWuzKBIIlg2MpStK2aZG0Cv07yvCPhoRN7TrIoaZB8q/ra8u0Tpul/tIQxHqK2BfdHi+46xdoNe6ZdpQx82/hp3udsJxGrWFVV2kEVh5kD0Kdp+lC2Z6r5NDugUkUT8m7LNcmlM9A3zgqXrEOoQvjkzO2k7Y/fwvDCNKV/RyrFOXDXqUylOlthpvLSmdDzS3wz2Dmock0ao/BticUtN+Mxn+Pd7UUzm8wDFs4D/9/NFBw+Xurj15b0/uCwp8RO+eTs+wvq6JpKSMdDWGqWC7pGS+X20MYWUyTgmVItVFoxXsTxeWPShDnTJ4MUnAj/mpFZLWaR8oHCa1Q1O4cv6bJD76WYPUQwY9nz3zUcVGGGQuErwiXFNqFT53IZ2ZgyOf+N00O356R9rbejG2i+mxbPiTRiRC6jhmxITWggCrEVvcWSk5gvPvTwl8GfVgYNjp8NHk8uxawZeRZU1su9FpM22or78+AHCOEPdz3g6fRjGeX9VhMsm+EX/MisDKFy1a/rubUkhWlJvHe7ol0hpeYDq7V0wa3ZY2FXTCB77fDp3G/HWTM75Z/IjnxW4VNsuQ3AGQ3gS+2IAT0XYW6lFMJ0hf0g/h3LMylyhNH6JnrJ/FSrrK/8s+/Az675AS34VmSsw5h98tmU32ruEanWw8dvL7gWL6wYfz4eo3F1hYFFYrVags33jnKmcxEPXLxhRIAjp19vVqP5DvsmcYf5Z4bXKNVGM5wAWjKNaH4E3l/K7YzoyVsmY4JxO81RfjOqeYl06W+squzhPx3eYMOs6i17PP/s9zufD+0fbn08nss55ZYUrxquN5Be174ouknDBdMWGWuPPRTjf4PfkouiMvsWa5N26Gy/h9RlxbcVN4L7FxGMBNp9ka5N+nlj/B71YUEbbnGJasWa+vbSspsHNPwWU/2ljQgE80F9HfOHP1cXo2lMrRN9XqRLc5D46V5Y98AFNWVaxcfUa2AAWuHgEE1t0oqiIIianTVRQg8IJlKPuKyMJv98FFbIHedJLlN6joBcXfXdXYQ3TSlEWaEgCyWLSXC4M8UrdVsDZM83dVohfwaGj3I+Yl3phMWWtCBpjheWHpgM+ZfMWpWREJuK78qlCDcDCRcMHkWF4OXLPrLcg3qe0MvQIbS5dQ9aznAAONPXdTHZZUaoVFkwPNgVqeTnqlNvsQWuLDVzEn/O0ZCtELZr/uGlrxxfXLnblLYjfBeUdYPn6qWxPQVXmvRmsimig+KxpSnftHaUbQxnGMo1hrA524NJz2Q622xCr21ALLsSPB48U2qklC7oqohtRDut5Xj0JBj7dZk0fDwbHg9q85OHcdQcy2INWXImUTKDita/i5JypIN424dUKcONiZ3EI5dEv/ybvoNCM5+rlBbS4AJn3+teSH6VAXQPYcsFiWp/ze2ZeIGkaKM1lrzvorztIz/ERDiAW+XDuKQjwkV7Az4C6fIeEwQDJEQyjIH+R3qaZPw1sXrgPLBBIewQYfdyP+U+k+sHXVQ5OGNTbNCRy0z+JqQqbO4r9tCCeoF293GZPE2oHPkkaCIYdQxVUXhpaTicg6ezxE1RCnxnmC9Kp5ClXLzHA1tb7Eu1/BiQyqOy5VNe32iq6aVkMvDKyaPjBsbSrNKjT1gf8bOL3jt8dYYnRo68GUuVLRcSA7CIOyGYpUp2lyCJwTRQupJX/KV6XJYjceaoD7B9AtlGn4ecb642v89Tucgg5RX+bDde/yn0pgy12fy1spYj8mpiyCjMFqrluYKMSqZhvQnchrGn3UevKYykbVPnI8M4lkFDnVVHLawyf5cmSUqXNuoVqDu835asg/XG4LkfmwRHM0d1b3tiILClpGesxgkp8kuHqRfTbc9ukrurrhoO5rlH9iOqMpllPwFD7tA889Wz2XoUNGv9JHyHVtqz9sWQwnWs0bxCqFgwAzhcrMZC/a+LdQdd7w1O6lQdiP43tYXhZsbTpEMLe81G68Whr8O4iYwHNPI+s4+0PfD/s/514HlHoQgoKQdRGrX5c2+GYiWOb6o+r2L08NHIp4PFKbvRJ3WvtbxFaKqj10u+kiTTSpcqKHIsGHRtktzwdnh/CvpRA49HXlKpnYHYQ8mJx8fUzpreBFUSLBbHDHO2Pa0kCDkkUFBLmWIEKMgLhJeyKSaj38ZvJO8m78Pux1fV9tQnuGY8Hw01o1k4yvqdH6HK9FugSy6gXv3HF+6CrCR6i55ttTLW7q+U5gD0hZtKRLMdvp05+LOJI6CM0my/sBnsAV3PQu5BELTTRkCu9u7pzLn4J8Oa9V+aVV0rCgknnsn6AvhWVpOY+u5NwW0WwUH9XTBWvQ5vuSY8kzMnO3hpS+j2jrJC8q950ZzmkkaldxntSkcudIBQ/tCPC/LXQBv6q16mE53D9dvve2fewv9kwFE2e9ubJge8HdOI5Wxp5KKmsC9oz7sjnWG2AC9fQZVupfHnvf/66m9fZTYMQkc4EIVY9fJgdrjm8N+5hdWwG3LwSQbJDvFNhmIyO4KDbEpvIt2w+W37YeEJWQzmze310gnqr+yXVZiZaPWAcWrVwSBxTLvwPsSUCmBqs9MrWJ0YIM0StHw76pF3q5KVKUUYRQhmRlRZ2c+h7uNNoPUvfy/zYXsOrEEdi/71uqdoOaqsseDYg0up+TcK9OIK8VX3aPBzcxTVLSoVNHIGaK/Z2xDJ7enpGpsb6zMGdFLpHrDSYRwBKQhbTO/79XsbyvL4L205Fg2+5r71ujJUTywXbseDcBqxTOdCwoFkh9TZfGGgMshtiNJAEeRNpFoqdkWBpwlNpgzafYFvAUJcOZ0V2i/fJgYyT/cuYeyehtoJfLJl4LoqfJ4u1ftF/Ncq7XFOYef5wXEKMSgetUP0yaRuqjZso6cQfuOVDOoWqYmg0P/4YrRbJbceou3JyTENsaBVEOWQRs96X5hBuilnaxYVJbamEvYgPA9QJ0r6RmLqujCQFzSMN15BQpG+MOnrFcrZnZ/8d2pCaFUlmTjuGLaxf1YmqhxeSdR6HHn6aanK+ZEtAtNMRusxXjiADdrHxJYbzxkF96D0Bt6Fg1y1czOU2EufbZgx2EZRs9bQT1eP0PbrUQ/4a/IA6sIo59kniQHDgEpHtmOaE+6m44K1KqDR21z71yWqI5upsT7ql1WVxu25iPvQcBDS/yIH4elsYorBMTi+lLhESkky0wNt1BCDtkzS67toy5NJs/pth5ksq0P9hu58PrYwYa6/SSAKgWbF5mUI5Kv3qQDyeUM8u/ag0+0oozkJb5OTJ8zm6O4xrRzmzevMqkPGYIQM/gGAWSdnS5hrGWYqBOBPyT1ohz6/lsLvTozz6VZKi0/vhGJxmL80DfusdQkBGF8+4QBUU3Bh5IgsQ3M513CVs1+Kh8X61xLUJws7WG3pKVGL0TLApw+1+d7o/voE6s2S6L23in+/AgSub0NG7JAA66PNXOe+xMic7reFOYZSZJAt2jxUotTJfaewzO36+imbIDPbomIn0LTjs9BORyQGmGqSce6aJWad9S8yQw67n5eBc8lakSqHQehFUXytwelzHw2Xm/sdz3E81kuTqNLG3/fBdzh3k6Fl4wCv4mGCGRA3b+8Ay8gYALnqGQcmBhMco8tmg/vWIn7n1Yg7Q9XNJjI2wqrDY+5KrtWn/TOgbRg9yJ5ofj6FwpDC+xM2errCl0FdBXHwD8zdnDbUhUe8+83+YUtmDFL+VKIPgtnjaHxQdrG9EFOY4nJa44Kkj6TfAQG8iDY+NjEiGthH8TmvIwDsbh2/aJQ5ocMiwL24l1o2O4P/4eEYXFj/Zp9tlIYvs22sSdFPiex1K8ytpV7H6+617tV4if5YjNr/28gdSFDfLgZ2JPWLGq3t4EJhveiSHaUiHq0AEKFzVvyPOgj/jGJydMp0r0r7HmbDfzijR+LPxq8uRqgQlMuwkten+5vpWwN7v/GKeSWu1j0fL1BBIwW2JXeUVvE2KyFO+VSWje6EUyedVh4V2PXoTAfytB2euAGKzsxE9HC8h6LbQuKLZN+mF1mcJ/alvqswQzl0URPReyFKX7KE22cLCVG6q16xUb9+BkvODboiEwOvmQBktHzHqmtJH+B4IzYaPHxReULB9FImUzZ3+gKx8G3QHFsUr9nk6yD9a0ecfdeROGLju8K+SZmjNjVnbtbs/4QqWByMgQ4IzI+9f+8ysA3m5ph+qO5Euje/UYDk43hwk8A8YNR+cHjdW+7VB3S/ev40K6s00Zvc1U/vpS+DlE0Ku12EMRcETwhHq4OanYFPW7g8qW6C1Arsaqqi45SXVD6kxpvOaa9dH/f+olU9GKpxZ9SgLWW52UbeLZBFUKys3Bmf2KRtacnP4CpaDx27yA82ylUoHrqAG/HI+Ug+5BN4iXEjxYJTHhgGOTyZeEHO9m4fIKxHxPVVJUK5ewzDfzMzU2ndNtOTJ2OhK3Zkk0v3ezhwlZ9F5cMW8kRDLaHbb77QNr9Uvhjj2UPQcR8oNm6/cJRJItZOcOc9jd270d6xl1QQuLilO+djjXBgBN93+a+vHJNAa0nH8Shj/oFjQyaK3WKjZlr2Fwq+kfJNcn/Y1U4EfBn0WDibMymbM++An5fE9F3/d4YPjIAHBBsC+6fIDj1F8xizyrwatp6tjDBvLb4f4MW9WZrvTZ5Lv/d5qiHuPUjwOvwjTg0LfUL0+fUnDd+Y6QU93fpP5sdOZTJNfCYJ33QHVVg2/UoEo/U8QrqZgzuVAqjIqK9nBSA1HdyBPrMfTs/lPj56S5SACDh8wtMriXw05faDpU3xOcCnF86MjzbC6mSRbCzTHIS9LSaBLfLN1bFoRb7C4NfQ7jnJA7fE6u/KRWi7rKGIigd3B6az25gIHHQxfI9BSO2dK0RN8SB9+XSKe0HohUf/V9NAEbQXFHHbSHvLchr2XQtbjR23QagYbYS0nVCktGDTXxIQ70o3lI0sx8az7BVJnvfjU54H9mIh/0ouTZR0KkX6ltasR4C4iBnZ6xxMACpoZqzTCdjYU4rWkhhLiGsGCTs75jNj1x3kBb8c3kQ6j5jggkeOX6sZZrU3YsCubL+UcY/gQ5phf7hSJQYMjnGi+A21MC0KS12fb6xCXGNMJwvv+S/cKsUPh3SQP+xFION2LlL3xo89ayv+m4klQPKUQkkedtLqRL0a7kjDF+1JInkMBEaTvbkMRvT2LZ+MVSRsZoyTlcJgG/ssyt3zkgT0Gq4P/zEach/rWejmbz1XtW3cqbeDt4+2O43EfnjSCUWmQdVyOqXHxhltZLdmXUamxuNe6tgi/X20e9AyVe94CXqJPw/TtF959zukmhqiHBkuKLsQBiHKU3W3u0Tp9D8+Vo07g9scbHOQu2Vf2ysJIk7EPK8rDD51R6/ZHQZqvPH1+AmQAU0+X6CeGFsO2iNGTX1dCE5ub0FWSdIxPJ0doKG76ipD5h1ZtFmV11hC+XoR2rzn5TgKs/y7MI29EvZOPTJgmcoYyndLrNg6ceHSyyAwTrdepmbUN+oNdYuOd3cgBGwxcYoCIwHG4yk2DzkzdaimVqM9sF0+HQW51PBxhMBVhkUuOu5dAdMey7Js1QHcxCkgxxX4S+zsXJYAXYw5qazm87Q1/9F+Jb1pRYtFOPNjzxoZLUWzR1X+jIaNL3jfXvs+SIUJ/oqam93QXtGHewg8j29FS6uYpOKpMoSx1p5plp3bsDrpCRBKVze7Cjvag5OvyuBiQybZT0UhsnfV1SHCV83Ftj0VVMfKxiYXhmAxZIzAuKzAaWKluSA9i3aP+Yvtxo8yC5DG+d41BHyZmbKGBRi9IboGi36j9VDqvFYNGR+OtW/hOOxPQ3MzxF4pt6KBehHlyecEC17IAPXXYYZqlzskRqApCoQNn/dZw9IqoqN0xD8HmnOjdgCB1U31zXjCVENqlomnDUu6qAQQUCdkpyCHenz5nLkQUnCSQQBJzuGfVKXLMu/Ws1TBAWmzPd4EjKfZeMohay5zfgpeK/ZAPCPrWA2G00okKfFxq/pjc/1gk6y8lK5/NbNkI8EKwX1S1mO29NKM2oAS4izI8qDPbOw1i5eqZov3+0TE/SbfDvKL8GTZ2/+MoNFPySRR3SdwPWhA1pwxcOpy9txCMbv3z8UW3ZPlwtD6h9m3MMQi8Luvk7qv93M50i2p7kFidxzeRqwTDw0zhjr1aQiGlXXnLOy2Mt1C0jCxxkQwl0tiBlVI8J13DjUmnTZX8v9nmbzNsVYGidKB9BbK7UXpFK8rUnqUUPydZrbl/teJtpC+dAEy/EeYGG1mxcVwDHADOegUhh2/PgkJHqSN/9exwDLBx8WUq2zMWqYbhMNxf8t9j/TqhwMgW7n3eVuFrDB1vCjyFPhl0idq3UrNQr449JOkBrMnB0DLwVIY4rDRk6nTm1aj+g8lF/7++7lPDFcOe6vZdwsPbuDARKN34BTdrkLHxByhuQpoxtMV0tdmsNualTQ77TxLbJcHAFqSXn6QPdDMCYev2EwbXpxy1dsC0n6XO3lINS6q9IhOrSHMUsWfE7lBeY0Z1B5xWjarTgp7lJfB4CTO/ZA1uwi5aCnSfpLGaZa3TPL86jfA/IqgRdjk80M6MHH/Ila6IKd3hNYB4Q+kqlT94Vr4+D9QVP+1IX84j+J8mbur49jX3wDlcJw4JfLeY2Wp6CwjAH/TN03C+7Oa8AeodHENQaleH+3AIF+ZcdacSl4+y6HrmzctvXTGuq1/tkkxzmpLgq1sHcbz0OaAmK7gOoeu7QNtvSwCNOpFLrjC8rfglwQ6qa0y1w8p/Qyh4VxIC59RLVgq+E25b8FBRH/iTA4BcgEJGi1LYQY+aU82PR5VmmnhuRmOev/4EPxoyX4TdLDX7wAw++mG84FUcdD8TTqyoPYw/v20w56iVHLgevzZT6sXBbnd9JLtqw4KiufOMu5N4OZ0AZ7jPqZ6lyz4KZajaC4vL6ajLKyT6R0Jzd0PoRtTKzDtmrJluiQamzodyUF4kefP8/+oUaI3c+ikUHMWpLKIzhXJ2jXep8VnnpF/91VW2zzsWzLSbJvh6VDkROb6YuB/q7wa9hSEiU3ChZw3VRl9Y0Fh/y3py3/OrUiDcN/FuAVd9wz6ysAdBrvAb4FkbRhSKDUIA/vtYwaQJmZihgi2Y2qb8AvWy6y+vrRQcmmzBgYW7fAjBH4qSR05DQI97epSv55SJjJvnCLBOEHdYwlSvoGlCs6oixPwA0MN8rFpiLpE8c/brdYBgzDCcgy2/B09deSRlYz7qO9+UnJsRJn/0Md9uhbO0tmQnHXA87aA371TJV5A3TBRe5s3kBDUIo7LFPYr3Az3icHzb3Tto7b1g69hyYjrLjHpZ8ziAOcdx+6QQT7edz8GNFbFO6pE3d4H5nzRIEPYiobSHDKqs91nP/DvA3B/DaZIWwWD3sBPItSxob/I2kUshsz1o+cJKFJ/Upkl0qClR59npY7+881BZ9cs+zbqpqYVZcGhLwSYAAclEW5GcNYpLCl3/6BcuBSpsB50fAgzUsvAW4By3HdZkzSLpjnMwhah4ZJDybtu9NESx29V16ggfhkr3rZijN1oilfcsrKMKGjzL5/dvIUBUi8tGC6Z5MJxIEHnK5IkMEMufzw2RwaT169ZK8I3ZJ+e+MOPKbWWbgZU4n8FuHCGb3JXYM0VWI5mxKd1EsXh30LALPSms6YGW0vppNf+kgSCuH5OGfgj5iDq3duFuMzT0Q3vjXCt6jMwcIf1U2cOTDYKsqNFajOOpIBg+qaM0Fu9qD/nOIjExPoo6xOB/VoNmobh5Tg59cjhNZWMN2WuQCNazZYUO9p8XrY9WZlZU3q/u1ufMiUBIc4+RcWEdxBuvFJrSiZGSq65zZtKjT7Ko+SW+m74DGJWYAyoNSFnCBMpZbsqB5lQ35zUYIB1UZGathxaIGINKKEcLbGPE9Fjx22e1PdTzmW2KDUL3MNdfI3Ww5M6jVzu2/iy4HE4mVr2kD8Xpre3dlg3KIdgdv4GeJoJz7tA9x2nzkBC6niOSWpEFoF4wfyU077iZmHo9HqZWOKtGvNZSL1kUuDIH2aQ/YuanMY61D7913yKMBlTwsQPkMHaSFOxj0/2Tg0YV41ei/GvKMZG4UqrKR7vQ7qL8JkxF0fJYfnVoGVLbic5EEaJGFDJBpofySle0r8ZjWIij7iByhPCG7Urydqrv3VVRhQu3cjJr+gfzdlJ48ct7D8cLEAPsD8sahIk2SqwZyANZQ0gLQ2+fnkWMCoOKFL8ChN9uW7s/svWQTE586HJ+N436BSpuw8rc05HtLaETe+laYFzFSA41+eZ1xqrMpvgwXtPxOBMHJZeQBvYSkN8Uht9BePHqj7tunX9UYwMsa4TKnKJ9nilUV71ZyE8SGJ1WQhgSDjF2FuSRkT8VZAMEcmpOvQvf6Y4961gUHT952Yv3Sl3FnFI1nGF5Rb2ivej6ZF1TiJlmgMR9XcI+BhzN6EE/jjt/4CYNSfAmNBiiRC+K6iVdbg/rBRonGAE2xjOVCFgkP6HVtdwxTU3tOePbyc/9REX4sjRTFdSK/nYAr1uxmvbn3GU1E+Mbbut++d5BXIXQ7dnMbMlUImWAEGPNn501WJ9pQcW6U16O8VEGBqxp4IKiSe0BvrXfR13irsGW6oNkLxCOPfT2qefOv3HM7BWNX5bwrUCTd0BMj4R5qs+F3Q1wt6ilGaIyy1mSSHjEQwEZXI457ZMYlbNHbH017ZGeTO9YlocSrhrx0paIJ6IErreyPbaKIrUsMGvOxASQfV8rjmK/D2gPn7uQ7PPSs1RHWbjwn8e/0XPvfcnxfvvG4IsV9RUPZAeaLNoB0UZOfMsoqGBhSNhmG50TISH9gTUdfN0Q+afGukr3aON30z/c2bmrRz0Hvf4/ieiW+dXSeH3MeK1BmwxUimdMw3U3U/gjFN0FV9qJISOEk+JKM1sO+OgUprAeKBkGy1Vh9q95tv04hDRajOwyBxO/tp1nL3jNb8M8i32JBalfT6qdgMLplqAWUC64QH/BTaXT+WYyQRAIlmbxbQwSZf/l4lBF8LAIC5fFb42Vowg3uQVcX7wQjeie9py/W1Yl2gmNLQaCX4wpZHPR2aTFBkfEkr4IvaUcYuF2TmCK8fBwuYXMPndbtJFH5vGDfBNOc5imsWzkiykccZe4mfPjljPQ1mtaEvuH9ljqNuZYmTZskiltCl4m7mmHsEdt3gq8YnTHGhLK25TCs6V3GU+VRvL6GQzZ/iN/fZ6DENSUnrBdv7UxU1oWmR/J8QgICOQAe+8kNYnK0vMEAyK4AowdHpuM2e3XI86yoVduEkd7gjgfmieAeaikrVVQ04q2RZbdXbe9H3VCxKwIaSA2E8/lEUtkZxdheh4ZR5A011Ql5fYr9RtpDm5pHYhCbUaryODVJlpW1+DQwwnBLUT3+YonAWFZ/H3D0wTR/1UgVADrCXFiUiUUybynMt1MNXVh9N6jsRzHX4N+O1Gmmv0PjTzWkRb4CEVck8bDnJYX8MlLbXdoem0gswmE4BNnpTyH4fpZgJr87LXqoYnk1P9pfrGAUecN1yxBNVGEVbWys4HXGAJaWdSRs06jzweWyveGXChXb5RZYtmp/FBq4EdXOLQJ4UvLhqHko2BjPpOffDqRca7GVZttBn7Rfwu++0wfRVrIF/4MH11r0Vdt/579e+VAj4Vfqb5j1h9VuAcie2QByzcUcIRcl5qEio1JvUpQ995DV7g+hraMbQxGkfKJT5gDqKK3JoGbeIGkNG1VwJMsfB6qlw2vH55MO3ikNYCV7B2y1mUWCf3SJ3a6cYFa2PkyREaPSDSHjNOOzY9DMTJP9wimXX2ZNVhWx0KLf3gUk330iqHDqUXHRdILLa5t8M8y95KQmV+d/1xhJHq1NyHjiNs7F5d7nExelolhfY3+Tq1nwos09oJZXPXmp2P8RY2HTVo5DV/ys9vs1ohlAvzjZ9i+x27CAlEEzmfm4L6Bh8G/WJu1ga2jhK44Fx8lhxai6IRlCF2r/KesN72vZ/+gJ+6RmPUrauFFnBmodJ64eL+KZwCyUIWm7ZUiYoYisRmJCdpsa8szN9SJhE+tEKmY5nKVmavw0q07XcM1nSjkFTzSBs7hPiCmXTKsrKpfTA2daGaGl/1mzWb+Kinz8pcfMK7VBUhRkRPXviWaBK1RRbHWyaWhnHnxeYrjRYuy4LJzSBrVP/t7k/WYF/vg8e7yLdedW1bRLsU5w8aotp2pc+hyQw50+PKCqBJw8M4Jem/QWKlrlL0gMWaQgiGaBJ9REX+2JwT65nihsw8kMsbEexL+J9C8/58bz8WrQBUxn8Y+5u5XuHVYSW7dl9okiqYEIPEzaNIu+6ycggkW/+jrlwAX0NKF5+3ZiiScH8YBrIAR4GlreizPvFoWXLHXWS1I0UZQRyiRYOwZ1h8uM36ksDVkk/LddjpeWool3LAbMeTIUSNIWawNOtGJ2WhSDNJ6uXm59hkn54KQtbYq+c3QbtjFSJNduVHTJ7Unkgx492QHsy2M7mUv0PiUre0LGqC7HRyie9wgtfg1jQ5D10y4Blx1c3Yv0LESNY6XOnAjroK/7R4velvK7lI3ryye7DumAT/f0ioTFtL7AbyjxnVcABIKbAPMMIjAkLsQW/0eV979OkFpRtN/OI2xWschNZyrK91roDxjotZiK3SbH7GVxnbDkpo9+n+ofkp4/FHuND8lGvirKkNnTERxRNhBU0MUtL8aDHJEsjCoSz2rjmKK/tK3E0kik6zdeaOTQvuxSTd66ngafjjJ9bGil0QhPFSzbalhLXBFQsnkuEYwSTiLGPusD6XMskpqc7dK3Tr7aDHXqLxNLPtB+bpzhNeFHQslgaNfK6Ht6/bPn3nrwYYDsItf5fQh0L9aZ1WIC1Fs0Qje6lSZQDF2S24VPfv2biInooJN+LnlTvQaL3sNzAr4ioU6rgJwiD1i8er8XhHjECfjdXLJJ5K5VYLIDr9Fq/9THpyK5dSK0a3jxNxoT79yXC6VKvluc9it3gft84P4E1+mifLLF7ds7+utk2/uN9aq1G6yqyFl6NJ/CA0LzFVv60mxI/1D2y8RI7Is3HT8Hh81Mxyi5DtgZubyaVUiQ68PbeWBANBCVmauXFLa+i8kbvmYd0cw0yYhVi0S2ys4W5GfiOLoUPe4ZGcw3YFbnEKPnW2JQKBC0049LpxAISGAuS4OpogtbbWjj6HLBzQz5XUQRbYknW+X+7aY8+kUzcUEMJVfMmQD+D02BoX4DKWxlEZcjg4WSCL+l9Gya0UWto7agV59VVMVAAptJw0B9XvJg0orFUuUljWn8te2VB2HRgrrs+pgx5f/3fL86cRUBvykIEoVCovnqux854mLdA04Cea+tvKXiqUuNpc+foORHNyAm74RRKUlNKMrwkqqAmRJxSY9sSS/1u5BVPwUvXPPgT9wZMfcL+BFuIeH1Yc86pTa90htSitDEsBipMZtWqKL3eR8QjmzeLKFHxYVNnLxyikzW2U36VfUY09XnmepX1cz7pc6RtbqkgSl1aI2HAtf1lmUSngv01Z5fsspLDoxde1cRpshwnz1Qns/U/qYLjvm0JaBDZVSCWNJ8a/PW/k9+OK1I++u7KgEAWnMTvQNXi7WPLXYUkoyTjjB8VmD3vtVrcRQzYjnRXCnPTOkCdaQ42mYPpuon4NA1ia/eLS0wSZvHa25YUyOlOx3S7Zo9u7P10wPPVAQFTbkIM3wntrudBoIozWqJN9G82TIUiSV0zV9OsSA9FRhnq3+WhTqCkKMg/cPlGG3zfXP8x3PDksdHIXSCRbsAXikXBERb53w5tvNpQCpHJclyCirCL0nOJc1TSl+yOhKsn18EbKng9XTJHkKGrCX08ClSeXwKGfuomqLY4oSnnvAwDOHEFAu+Q0wGp8s+lzrvkjwXzJiBBM20vmfrJR+Z0muJ6PvanLFYNxg9IDTqVFw0pB6CtVp/8Lc0vYpw9wwwGZlAWK4pUyo5JThDCmd3FTj61rzx4VlL8sNQlqRKLrUzXKRjTg1fY/Sh/S2zACoab/7VwrVUod/qHG8XUkZNmEiKGumwAY0iX5c4axGlQPoUqraMT8LtanZnwCzw0TtjBQVuoOSVoL5j8AkcHxw3kow+M5Eb/EkE92xOmeMxubMZorEA/tQS0EgxDxLzNlLx/b5WwjxJwYcK9KWQoXJdyf8DkQf4sPZFL19PXARl7DYVsfvr1QQiAMCFaAHuWza0RDeO6fByoDU3EtHEbUX7ZsXygDfRtTz3oLy8CQ8Hxt+9pq6dRebkIAgEwEXZpv+6NWTu4PwtoyDL1k7IbSgC0Yb5WWorHF0wywT5duq38VCkpi4MOUSIqOt7z3O1nf6Le6l+V13n0lMo1fsWSRk7WoCLFe3mnOQK4sQsZ1gHKPrW1t/gAnlNhnbvTP6Tm8B4d/HaWnAGfleVwUtBYcleBrhlszwcHfzRIcsSu70GNr5urpQbxXzJvZShj8JAZig+QMAUzWHd2x1HKWR9Mbln8oRKnrckGCL0Nltb6kf4I80i35Wwbb/RvRK/JO9Tb07ffizjHcfaat3NIkclSfT90iwEGjKxiYPzJNjZzlsUYLqMIRvIINLOiWR8Xb4dLpJ4rt1+e77SKJOYfbf6NZhR5MGKSBASiAbCvwceRRgrSC5c0gD+xgOxOgaovh2x1Og8UBySOxdUQmw6BVMH7Ty+6zOG+Zc+ElPCx/MSyMZIzB6SnzUWd3AKxTez34xigJMVtOM7pFHjcEah1vdwWSQTCj1oOX4H5E/9pIhjPhcZ7oK+t8uPfVEjEW/62TtvkGsCQ/jhG3auW6DnuGTz6UCFYKLExpfPcDcJ1xCoCRbFyyoNXb9A7u6XpDog5lLJRPy1mKgG5D1aQVVnGLGSW8B4ZS2CadlrHMNKn+MNQcJBXMO0OU1OeX8q/cFDmEWVONvqlydTV6bevgf2un+o9CDhnJtcnWnSGpucHzP31O4K4f9G4HP72vUDlqdXM8ePWzKGufzuOVSgyP7nNDTVvwDvH2fKTiOqtbuwId7fufmtluun0vy1irTk4T/a+3S8THi4H70TrTN5fgVta3+fo/sQ+MUoAecXIm39fe2s68VH6GQY1HHvQDT2U4JCN+2COF1WLAEiiz/liURJ+I6Rzt4Uc+c6rCW1vu1EuCF78ouONOUYgEZKHbz7ore7c4WqC/z11YKtY4MFwwJ7FSaOVvbg0FT1yg+wkZ3K8EF22oXL7fhrDxBlHBYU8mBXXAn67b5rutojnMUSL/+GJcvPHRwHPZEhKsA+ms5nLq4jAbNxJd04MF8+Pzk88HKu32lLecMNfpsf27QZEpF2Tc9TqecHClbl1HRmOZFOLbD55O0D1TC2TqH6Dp9+BB+YxatR7d+fJHEl71ClPto9Rbe+LvfjBO0DEm4nOxntfm25FnrIX3tv1p3WAzglDe5jwCkwuRQ2vGfGE7Aq1wbEhpalWr4SZGxR10eD8lrI9Rp6gLxHgYhPRkWL7FlJfr26HdVerRbOaYEAiWcjE5zHLwa9D4K/DJrHgweu3VXA0h0J08o6O2IE4eL1IeYy5iccbo5htXYpEWpb0Hbsp1zzu5+iKK/zolAUDnIO4EbHYd+b3l5R2/XWWbFMyfholM7hnUzvn+ijYI59XZ7FRZUamiH39l+nqzedvoulh37HfwVrUnzay/BMjjzzkSR7E7+JFd31AAAcH95jd2ZdWoUt/s8nI2TuOd99i4KTI0aQJRtyYYyO8Ec0k8/c8l0OQwQcIUXFXzoGpuX3UvuBGVc2p0KU4ae+YUi9p5DE8y1A6djEtA0GPxcICoawblgIEVTgTBrWvU0W1M60aB9tM6D7TCtrEdVLNTxwL1fSSKdxfTudiblq4+ie0nAHksC++EVG68dUtsNxmYuM/obMYgl3n0/Y2ZNzEgM9LizH52hJ4LlqP7iTyx00IW8JAfwuoMQye0rQPOV/NY7MP/4Ig0CZXA/QVMv2bdZsLZSqv6nXyqeyNnkp68UkJzuzO3Fo+v0sQDq+DyIk+VxUFrbZ4FTtYKIDUG9/V+Z6hmmL7VABDbyTE4mivyEwtKwSme0iuySvQbIQOmAOtenGzmqH+HM9D+9UlBdIMu2a6uH/o/JW5/z3EnWLRkc7Vl0XItxisxZ86ENN37KDhqKXKjXPkQ4X6EtRfXzU3vo5oD70e3AajHDQ0bcI+akoVjIDqi028e53X2h6UrAu4G0rDGxgAvonI36KDnFqkP5Hn11IPphGV5v+o3j4lggbossHBFNUw0RNQsSBc/VebqwTWaxfyiHAyPI6h2IhoM5tEdd64J6iCyPOwy6IlO/HWtWOdXQtGXtYV+Y8kkYE/SHSM2J/m5XB8JKXTkwVgwy/0LrVuvlH8kjK1ptw+ufP+NoAkU7yNMEV2Uq/07Qip5vdN1ITRDTsPBuEd5pIavw24MFaeZM4eXpPhLpMfpcpGyd0SOdXVWKq4W+XJBHx4WW4RRvQkpMoeZOtV0+0O96XTjrR3m+uOsSnPSdBWW5DxPWnsMvSedDekTVXDcNs+XqU8baJCg0kJnzM+qttvomKM4+l8kJfqyQT3/yn/Zi98OYlYhgZ5yFL8m3teixyc2HZQUY3HToZqPbn2Affx4Ag12FoX+qnZCEJ3Pjrp4fw4ahbTDovauDaGOzlq/msHA18VAsSb3dbMPwWBWB06/7GUU987gXYTB3UdV8LE6qbpF76OXYo5KLL7n8BHI8Ap3leOwGpACA2SJuNYSjSIfwWvY7TmnVGndqKn8k8ex/yzFszNHiN3bt85GoyaBCoJR/W3bgluIlDmRcDSiiPcztG2AKABpdpdqB0EhVHSHEtc7ZDQRR8B8U9962eoWezeUHNipl5kqZizHcSyC3YxSBewyPrStfb/pZpyplswD/Ofl2yY14Tp+oQcNrVJ6MD8wTmt+ZCZaKXXDcKI0GiHe/gWNvFiO2cbjo8IdAhJ6eyg3mDLj7IoloRBckNJZJ7wk10fHthBeEr9WNRdfCPSYredzq6xG1VkxdBHCv49yJtUnCj7dQMpnGDWS+n8uew2z5G/YbSvnjtAZYTjVGSeccN3ZsDyCar53mEux/i0kJfhlk2n4lFUkfswWbiY1MJh4VNPVfmcewYTWbFlBBYU7R9x3blWmbTvRj+GIvWnzwN9WLJvh0+I8rSNCfduA1DR9e2KcbB30aTleoNNdZ4JED3FkhG1WERrBDn/GqHGaI9LLEK8YxA2EapnnKZYbh3E2cl8pUdMlJ5LJBrSLp2jywEclZLUfipP0U2Wdgsd4XamQ7nG3kprwLM0n/t4ZPtA0P9Y/Qty3objt5QK87+biIu9Qjr8LCgIExPdOZE6Vtz+CqESjK66Yfzhyw+x+rU6IxhMQ6h30WKak4HAbUKwXSUEqLAvXoOjwHuAYKoritleh1WDixHaQEpCg24LW7j5oWCpCz0juxdE+SbTQuL8Ixwd3fVSY5knYjj1GRy/kWczMlue33azbTSGr4UuhZerYm5DuPB1Aau2O4WXGdwVZ2/eKcoc2C8aCLA6UOzLQvufIkE7A/osv1itygbsYa1pKPePMfFIkvnSaDeP+yNKebt9nBOneawb+YjDzLfnYbHAK3KP0vUsDU8J595r/l442lkiGCDMzEwtqWGl3VHwZoftyN5Fj3ylWsA8Z5wpkyeiwmkKBZfzq5XjF0bO4P/nAAIivP4EcgxBm0d+qOYHYQ9cpyennjdkgCJ0qeYmyacEau8MpbCFeBY2cfY5D+NHp127xX0U1xL3ajlqjaWu5v2cZPiRlslrsIxMeo5td4riLgrH6xi7nkt2xphm8YuRLQjDLuR9JZuH8PCclmrDl59IGPanJ1LuIwM5jclBpTNZUngsX4WmBFh+saJx7xf/oglRry6zsTbIOIedGRH+gRelz0hKcso8PHuqQ9lS94tQfaMR1Ym5zeWlPpKPs1GoMrkeQqo6TSxF2gWtCQ7NNkxzx+eY0zg8APhkDz5GoOfVx6fDtomL7iFgNGRupiMX89EQwSZtpk43snTN+enDkJzVUmGclMKnQdsDoz5n972tUh9kYC2kTCm3DcJpfOViVCcGvi9ICGTDbcWyxlygtwdRv0Cv0HufJi5HYCeYtzVVjIzzL+mH7LjOYb9Caraasl9hVhYLzGpBQ5EJIwLmEiH0z4eU5/1xRqYTEXwPAdxBZUFYtjLgfAo03Zls4b5iJnD9SwFvMMaQiF4ZdSEynM+ne4eyK5xuw84kE6uY5FAzN4WWm7pcn8HvegdkGccpcbR5tpiYY0Ho4WxSO4S9R+bsgIQnStya72KcAQoFRBOOu1rbjahS7Rw0w6Sd71YOrbnY+OTO3Bb/Oqd3xmtxRJbNN9fV6UIsG4p2TrSDNzvHj9X0ZLvkfqj/ij++L1Ppurv1IhR4/h+/yw5WQyyRKn5x33VLiP2w/6kZOoG7QmmrIV/8u0R4t7aX/Va5iAeE4AyOQHBOaezq9pGK5lrQHPZOlizNanzSp9USSksTlJUvnkvsIRfnyNgjBzJt1HeRcxD02hsawOF5iJwFFz4BMkkxfdA+SkafF8JJxr4pjf9Tb0AdLHFCo4u5AvpVfwSry1tTzxOzmzPSHqftSCJqiopu1bU9if6sKwEIH29IoOX1f+o4d4DPu12fSvMXnU/z+1jkYL3FeBzNmB5mhfQt7hF7sT3U1/MbhNh3JiBznBhUL+/Jxev2cM7BUXRETkyDhMSeSEfdSvobYzJzOIe6PspuC9scI7gxne6Q9kPhnozErn9IV4arIG7+9pXcy/IK6qYeIqrNgLsr41TCqcj4OpuD+7kKzcWI7MBgNLsNYWLxQLIvw6u9dkUh4JEYVT63POcbLA5uVGLszB9YpQ+oKSRyKuZPFPc88qVRkiyQk0lIX6p2GfCJ2cXzJj0s45zhMV/V8taIAQiN/xc88lbZll5V/IlwyL/hfDTY5YW4mO+vL/bGe6X3/08u+crxBRgqvsCydAsbkNJsLJRhkt/svy4f0RfCxTEhLUL/usaXtOin9ABoCoGhBXqCvaXA05fXGwQO2wASEEV2MyPPJE9xfkuP/8ORIQ7ENMQUXu/4/kxZhyntcGMokmA5NXPbK6bmD9v51UQELb01cDviupYTg/5OJUxTOOQBgGwD8oFKxoAtztuyFkLwV7UhdxZexfIjTu3FSmopq2OV9Dck4uLgmCTgH0xv4NhShIIXbigBpM5It1sgioUmJBxLvB6AZVu04mHh8WHrEjRjpAlpwpzFs7YJnpuxCwb/IQiwzU0L3XKbTKoavNd37UFXvc6vNE9DcbHAd5M69AAT+159pFZDNGqd6rR32B4T0W/AO+R2LXoDQyW15GwhcI6ZcoPG9+I/3kskYwVQOECR2Y7FtuVIs5vaC/+6RL26u2wlRNdDJoqZM1/rBakfU1QifzHzzgiNPqpNYDFLjDt6OPcuHtPUOfL/5eZfjv373Yru24HTQDptTt6p6Lusw91Vvn0XiW2Ucj97bczZR4nVszX4hmDCkKAQtlSE7DXbUhHIsV8dKjEfqucb4Lft5M3K+5Q4Dle/SkZtL6uazxbqsSdM7y8LaK/sFvEH5KN32kjHNYpDLK5DEJdVNdr8uKGwBnKuZdE8pM1xSzOEKiCXFd6bOXhSLNeMIjCfdSZzlE+oxk3XeAAotuGK/13rXV6dURggiz+GiIaf3V1WMSZfqCvSoq75Y+UHt5RqtKTlzAdrqo7BXNKkeRRJdliRP2XzxS7NyTGURPkZUnOqIrVdc1gRNcNRJFs5GXu85IKsX0RzVsKaRu649lvtJto0gOrJc3eD1P8m5exR7JDhZGkHdLKhgEl76q2wA25maytnBq6wlnaQ7VQ4gjDJ0or8JcmmTGGDok+cUhUN8li5FpwmMZVW9P1GbEIuSibGHGOtFlu5qNSNsXX2gLRGagh5Taa8Mv6zMi/lr2ct5f00S0PMGAfpW+u/9xjZ8uPGZ6A221HBljOsDxrMFwueDMpXJKmfTxcWsCqzXIuoe6qwp2lnDEAk+sdevsDtG1VP8b7TSH/h38zLFPwqBG74/sNemSSqqE3wtSTaZYfUz1NzCZBbhhC6P1Hc4UIn0WGc8h4d9CVX+5F0LOCq4waP6pGRfYmMtQM+zsIRQfrbQU1usSg2k15Dzwbvt0VmiaFm6VDreFndC0RpZI0+z0i7iamPqtUW5Intb5LrSxOMVJa/hkYWHBtfuPrZeYOkNGVelMjxuxdeJyyR3rgoHXWePJROiZP85C7zSHX+luPSrcVINMiBH7wDKidqXo/WBPIdkeMu57YUjBHdqp0wx666h/2SjVmWsXn7FvSnbIPJv/dh4WVpR9oxZvSIEUk46cMQqIVUCAktnL4DGNEtfc8KhHkeNCexFSQF35z7ymOMgFTdIDcB4Lol9xZ+I8zo2ukUTf1gs5Ohz+84CHzqOWEeLpKyagfLmDIxmsPo+Fu9RmesTAdXZh+GAsRu+JXlObJzArfbk6lFM32Lj5VFoKEnKWFAGOGQhmQa/V0H2RztsVwuumI3b1q9c60DkZAaAHAfxUpwcpG5Q7Dc5r/02KVQMfjjDJnYGlAhbR9b9SuwAYwqr43LMNCwGSK3iKmbbCBsbOzWzG/j/ctpk3SXrCBRyquw8ekjkpHW2kiTPUxsTLHeA1VY9Bk6gCBbKYTjkBbpsCmYucpui9gnStdEpu5ptwfZIxKSpjzbyeWdObE+8v+BHT+L3/A2TOBuwhjLF3bY6Y5f6+E+mYWRNnZxCVCmi90any1QP+EhI+I3eYizVE0iwNoCzso7j7e5K6XlJ17CyOp2hXITdQNSB9bUZxEXiraObvJlqLtw4XxUovzlcWPByrBXe49vLR41ocJmwV5rhz0GrA3FGKQe71jaEWFFf/Kw2iLv+ZHl2zntl6uez0hJkp0OT6IgXY1RzfwYCEVZ8n6+J0n7U+o3rtW2T6uZSswE9FdEJw0kSFUZNT+3Kt3LRlL2V3s87tF6hXuVQEKq+Ujk18a9in7cAAILS+YvWZ3anvjXdaZRRvHkjXGUxp+icrWg+tLjo2YyusPvItFWpyFvI7YvnqkyOdOJzN/VBvLbKBEbM7qXEk8pZY8hILB0gmpo8JfuYBlZcASjJaYdRolQgvWGi9ZJJnL2w3jAy/8SHb7fsDpaPIl9BTRRltySAOZaLMrcnsC32Q7Z/I2sQVgDLCEwZw+dsH+/dImhIA5yHslFZw1t3v9/WT7VX81uB/pGriSEPxQa9voryFF0Aygh5GqEXCw8bWYBKk9CRn5Gly0ZuKLofcEkrSmw2yRdZJR1hWPg2zVEb9ys0Jvs7wO0A7V1ByBgVcUUFyow8EP+c6qlH3p/IXb+iQN5CbCxLwW74CFz9KuMUJfIHIWemkIExZHfUsX8oIYsTMisU0y5bHK+RKDyZkkBT3OweBWEv2NFnAahlPpT4H6eL3VtAblhGhT/wUgIlu60j78srEJNdIGVkG3QK04QAWIEXkKStrcW6wuK1Le+jwRApH5QkIpGUaLbQCCSnhU4cesibursirV3pqhiiflSP+lk2WKbEDPkA2gJpMnzGkvXOsdZ53UP4gApjlo4mKms6fSCWWRzJ3ckov75LUkqmes9cSTaonTftyoTdRsJhTH/A+fLUYvap5p86gOP+i7eqZCKCokB4eOz7umbi0qptGJuJ3ar7tXA1JlNEDWDzcdnER0QcH2X7wofJ6zneiEDW9T3jCy1tqrsmmps0j9g0H5FUGHLruvIjhijDlWfzxHevX4m7n9sUE9UjgSZdd4xE8Y9R4OPdpY88MzQO1VUYLDbuI0EWogQUUwD0j022TD/I19WJV3F9PTMMNwOA0LkavUVeeNz09gBSQux7z947zoj1SSFHF9Y0uWdeTFpO25ycT4Luru/EnawvFZFhVqH9dJN6fKPUOnuBqBL5p9z/Ff5WtlgiWR+SYCKMqCy5MeCskynq55RVkQz1NhO0YSx1eGqzODGSB3RE5G4bIRJspgQY3ZTSZadPRlmTa2eTkBVwJu1Yn1vKuMl94hNIv0W5QVLxmBoENyzGNrmDZ4bueje/K6hSG4xnQQkSNaSrG2SoqOg78TNRM4qkIC2SGarpW57Ywuu1djwaxwwY9cuxXvQIlJ0i2xPf102CX9Ktjzu3ONHHFb3gv4UJNnb+QogLEoUBn0JnMhi5bfLIBnFNlnN/sq8jTzae5XB0mCgYlEKkOGSrdjq2BnQ5Wmslhj2tFjGTNeGwer7oULKToKrXtSXMKids/W/EUNKR3RvJh/QXXOYw5Cg8MoVTYAB6/i/vkJ/TDbLKTltibXVe64oH4tu/z6QJpsiFdTLQnaNGcQzGBQCOPbXaQ+PdDSSNNzT+NIQfpAAZg4Z+PlsPkkCbnFoxBzDZmDT+/IWaTwaEk4S7J+bZJDkyf3tBseJwcXWdQY+9d+TF2AkKuUCZPhWgwi/kafk7l9ESn14TkmfeXwm31GAKE3qo3Z+wbfAHJYpcnx4bUGcA3n5qJ/Xsoee2+XS7Nu6ZVidGjH3Ort0ZZjtWbbvwh0iVvgKqF4l6GSUd4RTwp8PddQdEckZr2w4WXMskl463bum0A3CLdUu17ZCjmWU5YH9rQ9r2p4onhw84vVq43e2MOPZgLGtRF2eW769Wplbdz/+CNLDTSZoYGHojgA+Bu+KMg6L1/wnaD/kpU+aSrU9wJIlq2d+rmPIhqKOE2pQUteRat1L5AB0S52OAu1j+OIf3hcAmOiGIKjGxPG4RlTn8BOxo61juRd7yiR7hn+QnMsiwNCnzrtS1IB+S2at0KSlcN4itXAkTXCSucyV/FdPl8DeiDL+sUJ7BzKmNxaJuz8c3PlFCgm+lgZ7lCyvhZprJ8U5yEqJbWriEwrGqA9VQQADzDXUuCFMpu5c00+K6Vth3l4ADwHHfhGgjgk9ZJkWWLOex0e4MQZknyp1TwVcPn5OownqLFL5kkVZ6/EUAda0PO17Nvt9Pk0ME2JJ+x8+o1naToAx+QQQzSrZ0lj+dShmDiWsJbKAkcwNnKfnT/ItrQ/NuT22l2xEGN+4awn82qEYUQamJADPnnZ5lwxWJXoPjjW/FsuotMuL2iLI4Q1uXZzdI1FcwUtQkYRl3chOYCdinTPsRLMk/JxGDFOTTqahqcMlSHcB9my5Lopj8Zfxdjujo0EIoL/DoFRZxN9xuFEVLcTKT0XB6I2iAKbSDQSz1tZeeo9IFupLym7NTiQygNKq1nsOUOmTtPOem0uZnl/1Src0DyHlDYC2HMK9Is6TwcuUW+9ifyaieIuw6FE8yryrgrQxn4cJJIOfswj3GbsERBgGvjrnNCuPAhzx9D6oV/gEmUMzC1elCm014j+3R2Zh4mRsVEj/Eg9C91gUcjgLFxiDteTCM0jBZqGlCtbQRfSttfnGlGwdApl6H0hfikezprwDK0YqpWEiQTj+1ZpD/fVvmondFugOTmXUyeE1t+Dugs/VSYKuGq7l48W9b2ceCbwI1MoXNegHnKAbUiBIjWyu+W7K+VpNFHNnSqIOXASgVhb/gZ13v/E3V2AoVCpGs5A62lWNymIrFX82TDvv2MoPT4odAF45ujQo1uXj4rV/sZhfBBQgk+gt0TH/CCOSvfEr6XsZqYCUrte5++7adIN8Lz/YJyCIg+RGp6FHvRrtcWzqjJIZkxO3VjgrRLBzLvyn9V3xzysLKuIsXHL1crjXHLhr9cHXv+aI78JgP/09EAAcLWumpgtc+8UeoH1Y2Fi7uaDgxPN25Uwdf1E6Avy1PcRD+18p2oCYxuLQbj3sQYOBC8b2oPsleIV/5CjZ9RihkisgU9R+Zud/AUQRiwuUcjjzupLCHJjVrAuYuuTuSgnD0MIGmPzEhubn2saosmuGGQHylr7+ut+b4vLeiLV/ljbHoofXwlsPFIeGPdwEmzWMf9lv4qbPRSxblNtphtRV30LIitXklqRaxfB/bVtjFyvxOmQqKyz6BPzvRuCIryjJ9Kvb6rJqpwSiP8M7HufZ3RZeHVqC5/xU/qDJUWfURPPg0WQ4pK+vFUfcy69Ju8/bcfxVAnssGVIdwp867U7yFaMDIGbjGLtRsOHz5/vbozlxv8sPFw5imF+ZO94aw5rhPurzNEQKHUBLomOQMY7yjBzwiBWKkVpvIEoxWoHiOkpRc/R3U0CFX8HPNQKzTP6YCbK6oqFyEeqeDlL7nlcTuLpockjh7fRtJ1+nLbzOx1qRkeveJZczYD5XOJ2KDFWa++RJjYFvYAdrIOG7fXhT8Eh4AlDPoA94bigeRrmY2JlU1BXiQyZfDVjQUANeUOn7oTJWJuB5bFInJ0rpkDD5+i26ZhFmkkJwtM+JiY3XsuG1IK3Nffx7gQGjOx9QsxGC8NqlfB8jwjhsbXsaLBnxPx/HWGTPAHxkp/RImtkQPgHM3xAK8KShy3EHG8rSgspo3rRalfCf4OmIeFN3lcDditjZKsSUfn8G81aeX4NH2FfLjhzI7XDoEL7haIbGO/s/qVGiyZSjqaS3+0bmWhctli8Cl87HKZ/YvFwg4qdOjuk+EcvAL42XHdC2GphmSVl+W9o0S1ADXtBUCh2OOQmaHAw4Eo1x81V5ZXp/LB5w6gQ294Rwy+52PPgFDazuLkcChcgcwVe69mAzXm34hPY5MJtlbK1xdO18wht3WchbFTCw2HpWY5LKuKrAZJoQgdDBRTyQXIP1d3jkL+3mq0fMxzOHkPuUc6K/5Ka+4vsK9is7l9GRmZRThO1irffVTIBNnZzJLtfvEgIcufZVmjXY/3eu/bF4vlXJUG+VMoIQJc21isb912KyxO/6R0oHG3C90H6h3/rPsa1rcrF/sekKHGaP4xsKdX3RttHYVgrol7uEL4N3T6Mvri96MUxB4Gr3co4L/ZYYQ2eFJYPLy1p4jHqMGUS5eGpufJ9VHx+IxIiWsEE6yNmxuN24enV/QgjPzwJPQYSszHMT4c5P0Bqg+BkZApNYR3B8ErRc7FFcYnyDeme40uy5igG/V8QMqBgYhu7NDvQ3InlNPEJhLjO+7m+oaJR3N9HpnYfDiwDBh67UortywXK4X/WK4PE65ZzN6qzyxe+PYvoqmZ0LHKeQtSlV0s314FLhY4xfeAGz/G/xd790tpbsjNC+rR8wDC4UT6KWYAW+C3A7q5CKZ+TW+iPbqVRCRVo5W1IblL8qGQNk7YLrEinRrLn1pFPjBoKnAf5zZ3wHH37u69mcqM36TdzTWn0Pedukd2EP686Nf720FW3pv+qrX9/GDCxnsoVvunbbGso/LHRaNfFyIV3RrdSf7EWvSffJkoN7r1Awpsjw2eLUDM5l5OzB7jCRrbR1SPjAsTaSXDkRRpbdjPTMVQI5ux/cey/rudTT1m0QkPwAiN6K0eq1wBvn/CxvST+BJYFU6y83nHKmem2eiuFIbBP3D4kWR2UbOpYkzYoU+HMlSgnJ/CqqBSwx9r64C3nCxRuxEMKl7coTadM+Ue+Xa8RWR+YKRRo9ciovI56yrB6Rp+WY8sOIhF0fxbD3ZHx2tAiveUjAbG6Dfo251QWlX3dWN7FhGo/ITlHo4x/+HEHA0/uR9Wn8NP1PshtilpBiKVeNjxDC4ZbTh7lCQGN/dCVLwjcRlkiFZ3d5TYN4TTNH1G6LyHaxqwajXkCxapId6n3f63IRY82YmcHRC9fy7WwKwMoEJVdniIbRW3GXRee54a1Fqtzpn4PgsbV/97jI0LLyGwS1jswkOQtvv7icON43/q1fPUN2+EsCHB7ZpQ9owuu62ZrOuP6OB9F8xk0l8skfiiBDCTk9KWi/opo595Un/iZ/PzJrcJyqg/tfKIBWNHy9PTD2jDFINv9oIKA8uhv9l8r5piqHzXJ2VngA+t3rn79gwJymprM3WsYlK4WgJfrgnGoIuWIuiu2PiXXjitMTXdTiKqSwmj2KLSiyalJY4nYO6lRUgRL4XpqIM1Ls0OI4ZS9PsqyGZk+CI9DtBAmdArmBkc60Vjbw983Yyy9TOQ4/g6gFkaPViB4EQ/tYZCFcTS8p3QzQ2kdFXg+3UoKipi/7iaQkabK31RmgXsrnaf9I8wXV3GeEUGucKfezZYpR0uFfhwx+HuGfTaJCTxlbzRq/ul/3jNKPtOclKI+PGLeD+R+cFK3xfS+uAyjTKuVi6OLxbTL9MSg6Dp9WOKLB9hB5OSfrDNPLd12QHLbEZGEiY3rn8yN7KgAyeDP4BcxsQ5gLqMmOuHzoQk6otCz8ZLD1l1z6+6sz24BfdB2S5nNThNJysqg68/dn7ijbvW6q/k3qm/46dmIrJkMMbuxzXDRs2Y/zC7eDCloFhgPPRMfYsE8iV9VYVGBjskf7sMkY5pBwhmTD/x6YP4JVbs/gWpwf+rsIs9Hd/sfJSvw5L+DZWwEQY5Sy3xWT4v/cYKYUbHYTizcWMZZypgUxsFp+C6Z2VHzd7v6cDk87buU2Btq5bICr5wG59rHpvNX0dQK7sv+pobaNbBkvrnOigQPFmDQLnozsa+WzcnRCB63jm9eFMMrL7UhqZK2MZRplfiOJzL/l34+5w5YObpIaEx+vZG2bgnyll2WkOQSBUviHmpJE2qVjY+MKD91eyMhn6Xxv+sh4rozD7V8J3dQPSpme+ANttDQH0CIDx+vcpwUpDsS2ROFs6uztqOrRzxBehFqrvmenl6L2+Zuy+/irkxjpshj1XFbzRLi4w0pJhElfflQpFv8HC+oWIjVrmG6E+9hAQCkUx2rmq0AlQU2aUDTM8fvvYOWh5sMN8nbHGD5lJdIcAxwexelhPZzCFrjmBkOsYE0kXXUBB9X+BmtwlSnSu+m4Y5+RNFfdum9ti6Oam8NjfloYldZw9HvYyIQlV3SU9MsPFKZK3z9ZVkJSTJ/NMY0CCVuptgrvx2s+Apk4LP1d0M0rN2Xj/VuVP36lgBjB7c3GZ1aCJXDZUkoibWxfaqH4xF6ibCfLer3vgd7coFGsU70co/y/Qwmd5Nc8xzXxDGkpOVOAnETfXVQ3pqFspFZpY97NYsHJ5Rr2AbBbpb3bOIAwn4jOFsddxAWAJVgdlQgsbLgAq9zr+HtlATodC11iYlWWG8dE034oLdP/7a9VxdFJhvVU6eBa5YYqaBA/DhmKi2u2zIVXIUztqjpLfIt2gqPFXek6r7vOiYvABSYzxQ6SlxzFvXsWVopmIBeKAyn4eyULJSQnY4CJDR4fnKxH6uIgAG/dTRsS0210pY6Rg49E88PQZMYbn/iifwoIjk4xbjv52/3x6JQlBsDvLkR3NbmmCw9LC9aCP1UASqMLi54Ma3GF4zrBAVrBdtu61W3NpEKEdkLP3onoTvG/RXPLgqijGw0qF9kUOzf3Zw3R6o4fSwgTWNWArkuBnWzf9ZLDhzcy8nivVnxqDhJ0bIGaXA0JdGrJdV2Giu5JReIVWvbW2pCBdXSViqNOL4mRncAAZtODK4zRwXuaiRzLguLdgAhmK2wFHKwhH9+uD0kVz1crCgTOUUbTiTdV113dwVWs/RN5J4dHorjXOOyKw/KcPtez7vnlvgKxaKJlhGqEAKDlSeOR9dTakaO3IBUqUoMn2JsYnjbIkRGYhG+zAGg2UkS+ckjfoB0hWmyE+UlkEi62bIUiGiiM225OHX/88YROTKwyXsGRDig/sa0y/IBAanztnfQM3Qb4Mk+3YJlmxdDEPMGQtCocVNZwWtZfEhWDoETb6nlkz96VzGd72NDCtna+W3qP5F71RNyiyfiIyCssAjs0TRyAVgPm9Z/+ItP9E3qt3S037CdvMnFoe4x17TU9rFxIhiZhPuUImr3HrhS/9tuGmiOUCE7wi+wAg1L4btMpsrkPUUNNM0E80DZex4JNmyWF2h2tIo8z0XeVrqfuHYXklSb9Ph8r3NCcUcZw3rG60dagq4YB84AvwvCNufzqO8daEtKrIWDL9DbkmFyoyBcvzwDzSokEC99+knxxlvJf+eDl8K8FmXgYeIzzMxGCr36yM2Fs92Lqh1rh/PeV7ydG2hdHGN9STx6fjaYRxYcYTs+LlZCiHprFRiCKgNA6zVlcbaQOmXbMd3Lrv2Guu7YwLlnpJtvPH2XggkkFurpkSmFSGy7sThldaGC/AAi9d9QErf49CJg+x+4DdzQVxbaATHYbbZTxRyvWibLkJqhxOoH8uJs8S8/yeVXNliXtOYBIbvIVG3UnU0vHg+TKB7ul5EoIkAoF3i04R2i7EANqdn4R9kNkZ9N0VSApn7lOZgA+9t8i8P8cCtRdlNXCq5AQyOr/5pBE9ewufv0EpcNt3Qq10xfN5dyhhhHFcw3djFRDymWLfXuzyThsmwCRlnsNVZ0t/ObvHWH+ndJseLsti0/twsapICeCaCYTvnXjLrAC62N6Tz8vUHVG3Z2ueSPVOu3+r9p9+xqoP4VyJdkp3UxS4Fi3um8GQgyJetfUQX7fhTDPS5aTeIboY36KqDkPfHZK7SH8EPWaftCkNtlHj3wQd3FW5IyopMLT9U60oSdKDfkVx71Q3exrJfShQW3LRQpcJq9tFMaAZllHVxAQHpBAZ/tugxr05IISiZfGYcw5fAZkNON7yQU5Wtw328T+/oEUIQAtBWDc5QFAt61gUo806f5I76Flf8vsOAIMyZ/icut/kHBJBEeNukSV5Red6D24RkhzMgWvfBRYVY1fGv710vMfU5pSNB6TZjN0cgrnA2UlVj7RORfhOClpvN9QBhnPTu2SizLS3UpBxgalOwFdkEdBmfHcJ8O1Z1eh2ICQlYhRlEc+m8FOBLnWe2ICxg1VVBKT+uCLgHMOzEgK6yYaY0U/AH7Vz6/KWsP7SZkWnLcNcg0YU8rlSRYqanR3koHevZIvB4YHEKM6QT5DWT7NRGdLcK/C+BDW7kyJGgNCUjruCz9rlnH2W3hhAelt2Qlssw+DYp2OfyXD5vKXGEFk3D4SUYhpNEd9n2qk7w1DOWkXeh4Rp8SLr4sdVQ1fHneJrKMvIukukS6t694grvPqgkci/CQy9kEqzlGawXY5y8lXRULMImEdyfyFUD+VPdmi2rA9W2fwNG/sfVuWL/A7Cdoghob7YqtLPX0K3NFq6UBrUvoVj82YsjiVUp062Q7VjVx+oKX+Q5sER6DwDAuJURhrdR6ISfMTqjvguCjoU7C1UELECcbUDDa4aQF6WTWd8XbpvOqKDuq8/vK8KC+QT/3DP0QuzGvqIS9vaZdkkj9MhDf4txzoBZRqMdKOkEjkF/+0ggqb/Az8HKcleEdrgKd4kxlxjymIxJ37KzBk5W3ENpBnkZRn4y1fz2NWSPJdOTKne1uw5IUh2IL0QTenKipqQnbklBNh5rRljvBGTESV2GSStbrsy1sgj1LV+M7sGSvo6Vz8xMH/2Pv5lYSevPfceacgUbqzXocfEeRK+3RAf3qNJZa5nGAx/5l6gBGRjnsAHuCHo3MSVY7tJQX6ePIUc6G0kuer1ca8eQJWxEp/xh7pIp10tqm2E19jlRLH4jrjrRgg+f/qBVd7qSCZUwXdLcdCeagtdsdK2JROlLfEqnwXN5ONbKbrMTCvthwTi0JNI4asLsNdhwiGz/WD4oA+qkc2stfeRQE5Wf3FONIxV/v2Ytn9r5X9zvAwQ9CHZLtDNbdkBZ49L1F92s0a+paIziDZUdg7GNlVPNhrfgc3djoqBzuyUAECaknukYB7U6paw3F7P+jE3ys/3DCmpFek9AwnHJOjqILJDh3r2XofTgejdcYODxjaKw7xQWAC4qY7miROharFbg0Rp2Cs9hui8/D963cscZMUvOtI+k8DNVdgZVk6DFQM6FisqJ4MWM+YEr6JpwEeDTCE3tNFSfqjWa0adX/kopAGoxmfcrQECKYLCAeBbBExmfBvOa+O59zdS9GpwKUZyAZIU+SrNeuU95yAZvgmXIBeL/KLqlzJynh0ZtJy2UsgcVyPykCzo0HhoD79MTd+/oQrc/fF4g9fXxBmwVyashrmxeOVbmOWym0ac3JdciY9LuC1jWkiwdFLdD8yUKNykY8oXufqBK+nQlok5DQk+PZFXxCYUoM82lljYXtJOT8ec8vtQiQ11JNFpDLsbrWVeM6esw3BRy/ji4joXYAaC1eS+JUchQTPsnCwSUDGWph3cRwnV+IARpfAxaQf5BUjvPSYTiIliRg36vmsIMjyRmvqV/kRrtCEBS1bZVRRbFrm0FpLswtWAeqbevg9atOuesxtpsJbYT53Hf5GFm5dzlbaXPFCrDL4OnkqD/DPxa/EE1/VfGMuts2kz+dd6ZKfg7UGSyIVc6x9xnvuRUQedR6S5uB6oG9waIVHQ4rEWQoNewmwCnUmyF9l8ez3Z7BsbPWhugATTinmFNyLuN5z1n4/13NHDFBi1mXezn9L28ck1cV38ofcswNS7Bmoef8CcaqTO/DTUIM90VJEU6gRpUiNZcyyweEFPiURmhp83pYB9v4jYme4Y66TtEx2D16bUkJtdGy7a9/sPqpGv6B9gUhCT2iaM15sprzQYGanwQ/ddJNz+1r4Up/o2WhyIrLiF+gA9vnEr69jbJWAKyrtopnJcW+w3sWCDDTkG7bj1MhGHNMpZHN+UrTRIrdQryDY0V1Ag22EQcana0Jfk3tFSSVzu8n9V0eKugLSjnvp4fl8w9yHz4LoHmt00kA+Ra5wfbp/VO0XtC5H9Z0ngMc+xKKHCSGCe7mfbGZ6dlawgu/RElutY/1NQ2jDRPwT1a4laUuW4zR64nz5UPzdtpZrKglgu6Z70OX9hLujIb12FvR4HYu7r/6/ltX0N6PI5d217Bfas7cFFjArUtKJomfZrU49HYFwa7RR8610nGD4Psr8x7JZ1g47VoXV6mloD0lHZNdNYFcxdY5kv7IZjY5jOU935mbH74aFhbdKUmy7krkeQTri7SOt9AfFUCckoWp69j9syO8C2hGWFVPAn372j0thZSQU5d9gEDXbZdu02PuV830w2fLqdsQVi0fHR4rVtZtrqxr6DWIU8ISFD9ouQURrRagmkwk2/P9DXHsVRqiuhqvj/nwxCkBVQi90uQ1mYYZf+J33SS/h27omDOPLsjz39q1mLTOX/AxR/YSMsMx9zSBc/rsYXPc5OJTeh/ySKNcFI/CztaMguw2dbhzBEe71/ESQK2MgJqLHbejG+7xP6iVPr4Flz+1rvQhpfDwU8s7vE2w3A2+w+H023yVNzRKoQV/pyUC3eKrBt8V9L4+IbNhmatyEFVzY8ELR7ENwNLpAYecKaTr83bss6FKYeZTkaYEmQM4PZn5rSq+ogn0tzY+9QosIAJUzoUof69Hfm9F98FPcTubUK6hUevKO6rvYF0PSifAayQKA7M0494Xs7vgeSyNf2zfiSRm9iUcNA4WtGAuyFF2PzJmfTlChBV1csoI2OYVofS/tGTurV5FTjRjPn7fmP48UzT4aXT/2WqzPWRVdExUVohfF+krKlUxNRGP5KzjQrhoHQSHtdbUwhf1R1f0DQkWrXWotCs9rk/l8j1jVjlbLm+oyWeoQz8yM6brZNNbjthuF33YkN0XPXzn8euBqsmsRdX83z7QP2OFDlqDAZZWODvdv0+AndsgkwPftZPsii+fs+dAVQrmAdOmg8hChlMe9XYAVOo1l1UQiVhP/AD2ZmW+ww/bKm8SMV0qdb0vkNPq8nTFFUJXq9L+s0E8POizQFoHgctMqjt24JkYWC5bhKgqwS41aBOz5cH0PnOUCStVNn5xPQCX4YQcXWEy5EBVcuholBp7cqo0MmyQx+2EvTkwxrDTwlqbNRzyyJyp7OY+fNg2UjzSq5+66nqSDsBzDCLM5eWyaNwXI2YnQj3r+BkRnYAeU5Ti2/tc/Zh5NKtGUi4vG+K127RFc7UXcVt6MoWJZVB2LvX1LGuQZwn9MhP2UrVI9dAVmvkWyrgvETNzPBuYxkANZGiqlIGT07A8G13hCXb+WfBZRVjW7YE+QL98hY6kV7FZuHJKCi/z6WdxGhpurh7EwzA1qcx87EhD2V9WJZ6AhNZh+eR5QqPrL7SjZEm2txORfdi4/+GUbPPz4C9td5lAtmD4VgTZBzN8jCZ1yJuxjurAVNhUyH9I4hkK/B9eSlbaTApNN7eIliS8E94/XaMZ+IB7xeUft3+xHBnIQjWzIoJAj9Lqhot4RJuaBSkOge3DW6BJcSYd2jdfFA3wdvpFnQ11FGbDXFECdqD0CqR9xu/zhCdUtydGVYrj1kt5ykQF+5DGjgWLNbEtHoA0Ws8ooEFbgG0wtzm8bbfv0yV4U0UXCfvvcYDgN94L45qG3M/s25UOAx9JralGltLZ13xVXPMSRfDyBlAgBfmTB88P0xALjpPI5M3W6+rAnLTUUdzL4tBLD2fCax3mKdDmENGD/5pOZxRzTFqjoXoGcMNrXSFUz/8712eOWaUgHNLFKm50dTFamHtIkdQaj9ceILkNzwFMMKANE9ENDsEkSJnDF2eDkF/YLr+HNitNP5dqa5UD5/Eeyho78Bj+vBT4k19iTm1Fd475ofMHn5WUYopQtdrk3SVPxohKs+GQRAKm14FItQAR8YBVnWUHu14uf25gYamKik4VEFsvNbPANgeEvM0C6qGBgQSmTQp44NwF9rwZMc1FEBWbmx9T/M8XB5XEkFqxNXND9Ea0FQ8ZPt4OWsOpUn67fEQKdIl7YO1wD3YYrEeYJKwCIxhfLUCrdGI2QEuUqkRakSwBBY3y0vfdTOuziQJQIAEHIp3owgbKfexVjKW2EV8326mDPpsogBLePpDVpFDwMQoAC9ZpZ3tfU0XD9dOIa70LOTo7SCn57GpS59mbCa35ssjQbfbRvAUL+nm5+7kfJhSXLqMtv0OcpxJ1E/C60g5UtzPL25PYsd7TLdTBbsra6233wwAEclRTynjwwn3FPUrtkb9lcTMMCPqVc3UJ2kE7ECA7Loplfc5MWUsgaO/OEwsrr0nWybPYy5zznht+6k/wI+5o6a99CfdTbj/eVIunkPcTDvcznnHe17g3aW1H1EMnOA+RbJZeVEvoR2ACvVLWiIrWIIK8Gm7cZ3M1R3aHjTuYuCtI+mCr2KsvNynAvrmdk+ExTJF1in2/URgCg3nW7qpLxSVNShWoowHQj2Fju9LffDoU2uqahUbl6TW8yl/yXf4F/M5/alIcYsYTC/uiD7fdBqJBh1wSg5qt2koCZn8CxQbG1dg0HDkL0b/o6JNwSnYQSHUjp1TtMaiY2IL5ZGhQh/BeeFr1MrcwQPT2mLzJxm65D77a951xKJUoOoESfBhSa0zTk+tlHJEO3SmnVil6MGEewCzQhjXaTm9CD4Q0eDzs85m6xct6ccGFDr3VtVuVeeu7HzOIZYFs9dd9vTBLrhZu2cVNbUhyhSoXf+wvJZ2yYd8QI9ZIz0wZG/wDNT6mdjASFzDpZhAmoq9YZW4NNnoOT8V3OrpRzYf2MGNpyN6EsEFR9cucy91edbPRvgbktJzOS7y6EXbjVzJgx74OP7OMJ5P8R7iPhtTSh6rd2my90UrZnQOsY7FtkNI4jizKn8+K1XBlSuquM5onJekk2/sgqIgyIimQGTGUqx6fYuNxobIfEAs1ygFZNr3JeFSD4bZas9of6fl25MCIJMGywaTlLYUzkfJZhFewNoOJC0Yd6Vx+6uefVc2AdUZujhzdide4lM41jj9Qed9Ps8sGrkPDJ5LNBZJJFja2eYQEJb6xPvLIvOT+KBGt9dGWijuEzSX3YqfnVF+OMwvPB4oPycXvfKs3AvKsaqDYEz7/yxI9XfJr8K+Hosjg1Z08Bqg1fIMz7IsebW4wLewm3Rphx906nKcCc+ioBQ9xWrpzxgcQVJOY+4+942MPZ92A7vYQABXmtcUfKovg70tyxJUF4lXt9d3xDu2kKhDJosv19PgC+OvDtqRPOfY/kVIrnmioLdWFDvLfs00v7Es6FAyC9AobG/NJAlbfWQzKrIaOKHqGEMbs3jl1nBRT9Y33mgFSyPPkQr6MJjqJApzct9x9WSAwnKW+r8UOj4dZ6yNIO8NBfGgx+wS4XlkJg/YGf6hSyXHq2HvplY9M36hk6O3IPdL7FRVq+dATme+PU0ThbtSUUHAWMAavKLbidLT+eQcaxvg0jg6NP+klImR+eXU2zKu7xIKm3HcZbcblNmMyMKHiYdR129qfGI2geoQ+tv8NAY60COttlgpOhPXDgSGdukx/qaPMrdl2bXQX8Zh9W6eAtiwYnxLv/pf23UPkRwDpXR678Djo3dhfDX7rgsXPakmjsumTWYA8I4klD79049Dr1Rr9qGqDulgd8+nL2oTXLkiIM9kIKfGv3v9NU5qvsHX+y/MGb7XIH7QnFlSMtZjcn0Deg7a6Mgf00aBDXqH2B65d2/wd5DHgl8hJdfo+QwOusYm+qABmTipDv7/J4M4XZIds1UAwJ+tMJG5rvdT3s8INoA+ET9FonhqaG7fclQcvn7IP5rKmiZqiDsv3BuFHmc1yNwUeEvQLF9jn3pxiY1CUds+YSD9uJgnhW00FCg8qHfUwiSMq3bKc56Er5Y8WJTQo1eAeOhzpaVRwD2QJmyPLT2bTGpH++APw7qDE90HUcGdICzKdDgTP6Fyy42j8ep87sAiCGVuoLLMEVudh6EQlHgKFTWeXyJCSUGTtrzn1HMoAoaIllVBCw4Ta5bIUrOdr9og1ZL0os5CZDnaQ7tLPQ/qQiNp0n5BRBtYKCTCmp0IQp6qSdYOdC1pkhzurxipsBet98hrByyTaWO2pMj6frXtfuzTw/5V3i1R2mfl7tDRq1gWuklyv9Oc5ar5gbdplDPSDL9wqAeW/uVU+Hc+aqCWnrJRLXcmyr8kj+UEd60DwQnQJbklJT4k5sJG53KqbqxV1GrRB3pzgKF6b6uijbZ7vxAkOw268M/s67681GiVU+dKizPz2PnTzmUU8eXVGxxhblRh3J86GBFMR3A8AcVt0UYSf1G0iudj3Lbnjy9NfRNizhtMYMqeP49RVZJDSavZ6/D0miEIUL4QeQD7JKKP4V2MRHilreLXKUmAd9yTQJRrhBEmOzvGb4QUXTjR/m1EBLbcJmuT8oginPm61PJHmk3m5yZ/7p/7fLohPloqelKXVbLny4k9y8bu5uK2JFzOOgsl4Ke4y2Yi2otjiJ2Sf0A60r6mao8/HniqKJwwJVmFxgu3oQzji6pb+l1AhjkF8dwH4YGaI3fvzLyzfmaeK+ffAHvbHKyXy16xjB7frNItyrqSBVKUkEWJjf7S4w082tX4I7O+AaitmqfIkvq6BhUx74lbu8DnsexvmCRVO3xTCj2ZjLnS3J9hVB0wIU/Mozg8d93WtWHG6o37T3o0+QZtvnBGbogLTjywtKhnHOaxcGmeBWwt5yyLwVt8kK7WWkmRu5G8uY/5NQ4dkLgzuVrtaRWISmKlwcllxcfL31XEEDwJhuZsJZRb7QO4hbbGETpgdQpDqqk8O0BHfyfY5dKhpA4o8+1HlwIn3Y7k/IDcBdKS8EBG/1Ri5ecezzx4zpEW0gcRC33rr2Y+FdDsbEO5QhtrmgGIfUmjEDWb8lT8SMgXMzHiZuSykxfVWvkjPje3Lz5roQIW8K9kLEowKjMwkuifq94p/yDhRta+oX9c/cGw/P71DSxM24xz9O5GMFMEjykOLxOtVaRN/3d4pwFX/Iz8/rg9xG7hAcfOWGSWvxf+Tt3U6qo5dxfxJuGrF/bnPUclz5XnDl5sdhHbaLdg5oTcmCnSygyrpUeEANw8oua4RvS6qE82vbYO28rbArPo5RRNP2HSp1ghfvT61Kc0+r9fimlplZQTvhiFzVcbYwi54iWmeXYHtbjkwi0+Qe6OEf7OwZzMw3Ufzjuvm6Yk93Z8ULPI12sFrfTySFVvjsDVvgInaphKXhBTFDdumt1WFVnZ3ixT1Exvcd6FRF2zKqxZfavZJD5mCMKZXTgzL4svHhpzMLbxpUm6M/5NZu/k7AkImfmEcwUEehHUuprS0biXyGqcj5deeBS3U9LrkW62jt+V5lyy1ZKfGgnpr4vQulDw7W4FE6unMRYz1bxEC6waZ7CTs+JkJXXBLLemzPFe8Wg6G3r0k8WC08FddLgCE4dMGPb7sCB/hyCN4XDI6/CWqaMa+o1ZIar8lrYt3nhQxMbgVktGg+xC2iQNVTNajiMpKBj5+70BbjRYXvufb6Sz2ugIy44/XyYWb9OD0ywiWWHgy1JvHigFxjrOMDKyi1OJozN3AT54EZxhhvFIILrwvn0utUqS41YTtva8CN0smB5kQP0azGVk59FdatwtEQoh3JQF4qHSzZZsMLqCmrvaxFlPLH3J39huF/ped7Un5i5EEJPYd0KAYIWT+5o5bBy73RMVdjzmzMbuZPz6PBCKTNOmjcFkq9GGLauxRD4b6h8UeZswiU165GAKEAuIKvJbD+11REb6gONPKfcg7Y/w7uVS10XnnJfB1ACLaWKW1HL28mNOYJomk9nuSG6WR4fiDGWrxpfMLEQKouEB10gc1SMOSbNHMNERdf2Sr2OL26J1Z3NgtCV6b4onDtFr4s7n01EsubtrvUYCsOpGl+uBOeyxohSZBAVW26hPbFByBD4SnfNPlZ4JFXT8ZklY5PLA6XcPfIYa5Ekw+2TbdK7SHyhXqlSaeD0IopzBvZEZDrSDAum9B3PHwXjPH76imueBlr1TKY/Aw1YnUJ+QRFDtrliJTUfvoEy5KA/SYMxDuow6Q=" title="Mekko Graphics Chart"/>
          <p:cNvSpPr>
            <a:spLocks noChangeAspect="1"/>
          </p:cNvSpPr>
          <p:nvPr>
            <p:custDataLst>
              <p:tags r:id="rId4"/>
            </p:custDataLst>
          </p:nvPr>
        </p:nvSpPr>
        <p:spPr bwMode="gray">
          <a:xfrm>
            <a:off x="6390696" y="1607720"/>
            <a:ext cx="5440766" cy="4845539"/>
          </a:xfrm>
          <a:prstGeom prst="rect">
            <a:avLst/>
          </a:prstGeom>
          <a:blipFill>
            <a:blip r:embed="rId15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b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/>
              <a:t>Demographics: </a:t>
            </a:r>
            <a:r>
              <a:rPr lang="en-US" err="1"/>
              <a:t>Vigour</a:t>
            </a:r>
            <a:r>
              <a:rPr lang="en-US"/>
              <a:t> sees strong engagement from 25–34-year-olds and a balanced gender split; opportunity to strengthen appeal among Gen-Z audiences</a:t>
            </a:r>
          </a:p>
        </p:txBody>
      </p: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1775092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1931611702500629 columns_2_131989508005190946 7_1_131989508015426342 13_1_131968953442330782 15_1_131968953640384281 24_1_131968954512020041 9_1_131969528283625217 26_0_131987879336486040 12_1_131989508015581765 16_1_132470767004752368 23_1_132472446058439024 </a:t>
            </a:r>
          </a:p>
        </p:txBody>
      </p:sp>
      <p:sp>
        <p:nvSpPr>
          <p:cNvPr id="15" name="btfpNotesBox562984"/>
          <p:cNvSpPr txBox="1"/>
          <p:nvPr>
            <p:custDataLst>
              <p:tags r:id="rId5"/>
            </p:custDataLst>
          </p:nvPr>
        </p:nvSpPr>
        <p:spPr bwMode="gray">
          <a:xfrm>
            <a:off x="327477" y="6336981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Note: LHS chart is sorted by the highest share of female visitors; RHS chart is sorted is sorted by the highest share of visitors aged 18–54</a:t>
            </a:r>
            <a:br>
              <a:rPr lang="en-US" sz="800">
                <a:solidFill>
                  <a:srgbClr val="000000"/>
                </a:solidFill>
              </a:rPr>
            </a:br>
            <a:r>
              <a:rPr lang="en-US" sz="800">
                <a:solidFill>
                  <a:srgbClr val="000000"/>
                </a:solidFill>
              </a:rPr>
              <a:t>Source: </a:t>
            </a:r>
            <a:r>
              <a:rPr lang="en-US" sz="800" err="1">
                <a:solidFill>
                  <a:srgbClr val="000000"/>
                </a:solidFill>
              </a:rPr>
              <a:t>SimilarWeb</a:t>
            </a:r>
            <a:endParaRPr lang="en-US" sz="800">
              <a:solidFill>
                <a:prstClr val="black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CA15AF6-4A13-2CEE-8C2A-D8D48AD1549E}"/>
              </a:ext>
            </a:extLst>
          </p:cNvPr>
          <p:cNvSpPr/>
          <p:nvPr/>
        </p:nvSpPr>
        <p:spPr bwMode="gray">
          <a:xfrm>
            <a:off x="9578672" y="6298569"/>
            <a:ext cx="2284903" cy="2877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25EA628-F67B-FCFE-DD3A-4866ED1E3954}"/>
              </a:ext>
            </a:extLst>
          </p:cNvPr>
          <p:cNvSpPr/>
          <p:nvPr/>
        </p:nvSpPr>
        <p:spPr bwMode="gray">
          <a:xfrm>
            <a:off x="1784680" y="2312721"/>
            <a:ext cx="430543" cy="3343505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b="1">
              <a:solidFill>
                <a:schemeClr val="tx1"/>
              </a:solidFill>
            </a:endParaRPr>
          </a:p>
        </p:txBody>
      </p:sp>
      <p:grpSp>
        <p:nvGrpSpPr>
          <p:cNvPr id="39" name="btfpStatusSticker983020">
            <a:extLst>
              <a:ext uri="{FF2B5EF4-FFF2-40B4-BE49-F238E27FC236}">
                <a16:creationId xmlns:a16="http://schemas.microsoft.com/office/drawing/2014/main" id="{37BC9187-8392-50B5-9463-4B7B96270893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102664" y="955344"/>
            <a:ext cx="1759136" cy="235611"/>
            <a:chOff x="-3097003" y="876300"/>
            <a:chExt cx="1759136" cy="235611"/>
          </a:xfrm>
        </p:grpSpPr>
        <p:sp>
          <p:nvSpPr>
            <p:cNvPr id="37" name="btfpStatusStickerText983020">
              <a:extLst>
                <a:ext uri="{FF2B5EF4-FFF2-40B4-BE49-F238E27FC236}">
                  <a16:creationId xmlns:a16="http://schemas.microsoft.com/office/drawing/2014/main" id="{90FD9815-62A1-C173-8FC4-181D6EC44E96}"/>
                </a:ext>
              </a:extLst>
            </p:cNvPr>
            <p:cNvSpPr txBox="1"/>
            <p:nvPr/>
          </p:nvSpPr>
          <p:spPr bwMode="gray">
            <a:xfrm>
              <a:off x="-3097003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38" name="btfpStatusStickerLine983020">
              <a:extLst>
                <a:ext uri="{FF2B5EF4-FFF2-40B4-BE49-F238E27FC236}">
                  <a16:creationId xmlns:a16="http://schemas.microsoft.com/office/drawing/2014/main" id="{95A94EB9-42C6-3DC6-489D-0561643C0DE7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3097003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btfpRunningAgenda2Level600372">
            <a:extLst>
              <a:ext uri="{FF2B5EF4-FFF2-40B4-BE49-F238E27FC236}">
                <a16:creationId xmlns:a16="http://schemas.microsoft.com/office/drawing/2014/main" id="{B9A9F3A5-1F2C-CC5D-5210-0678F2F16607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-1" y="944429"/>
            <a:ext cx="5099404" cy="257442"/>
            <a:chOff x="-1" y="876300"/>
            <a:chExt cx="5099404" cy="257442"/>
          </a:xfrm>
        </p:grpSpPr>
        <p:sp>
          <p:nvSpPr>
            <p:cNvPr id="27" name="btfpRunningAgenda2LevelBarLeft600372">
              <a:extLst>
                <a:ext uri="{FF2B5EF4-FFF2-40B4-BE49-F238E27FC236}">
                  <a16:creationId xmlns:a16="http://schemas.microsoft.com/office/drawing/2014/main" id="{AE38542E-8E5D-B8A0-17EA-275AE214A0F8}"/>
                </a:ext>
              </a:extLst>
            </p:cNvPr>
            <p:cNvSpPr/>
            <p:nvPr/>
          </p:nvSpPr>
          <p:spPr bwMode="gray">
            <a:xfrm>
              <a:off x="-1" y="876300"/>
              <a:ext cx="2486479" cy="257442"/>
            </a:xfrm>
            <a:custGeom>
              <a:avLst/>
              <a:gdLst>
                <a:gd name="connsiteX0" fmla="*/ 986067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86067 w 1816204"/>
                <a:gd name="connsiteY0" fmla="*/ 0 h 257442"/>
                <a:gd name="connsiteX1" fmla="*/ 931347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86067 w 986067"/>
                <a:gd name="connsiteY0" fmla="*/ 0 h 257442"/>
                <a:gd name="connsiteX1" fmla="*/ 931347 w 986067"/>
                <a:gd name="connsiteY1" fmla="*/ 257442 h 257442"/>
                <a:gd name="connsiteX2" fmla="*/ 1 w 986067"/>
                <a:gd name="connsiteY2" fmla="*/ 257442 h 257442"/>
                <a:gd name="connsiteX3" fmla="*/ 0 w 986067"/>
                <a:gd name="connsiteY3" fmla="*/ 257442 h 257442"/>
                <a:gd name="connsiteX0" fmla="*/ 986066 w 986066"/>
                <a:gd name="connsiteY0" fmla="*/ 0 h 257442"/>
                <a:gd name="connsiteX1" fmla="*/ 931346 w 986066"/>
                <a:gd name="connsiteY1" fmla="*/ 257442 h 257442"/>
                <a:gd name="connsiteX2" fmla="*/ 0 w 986066"/>
                <a:gd name="connsiteY2" fmla="*/ 257442 h 257442"/>
                <a:gd name="connsiteX3" fmla="*/ 1 w 986066"/>
                <a:gd name="connsiteY3" fmla="*/ 0 h 257442"/>
                <a:gd name="connsiteX0" fmla="*/ 1146368 w 1146368"/>
                <a:gd name="connsiteY0" fmla="*/ 0 h 257442"/>
                <a:gd name="connsiteX1" fmla="*/ 931346 w 1146368"/>
                <a:gd name="connsiteY1" fmla="*/ 257442 h 257442"/>
                <a:gd name="connsiteX2" fmla="*/ 0 w 1146368"/>
                <a:gd name="connsiteY2" fmla="*/ 257442 h 257442"/>
                <a:gd name="connsiteX3" fmla="*/ 1 w 1146368"/>
                <a:gd name="connsiteY3" fmla="*/ 0 h 257442"/>
                <a:gd name="connsiteX0" fmla="*/ 1146368 w 1146368"/>
                <a:gd name="connsiteY0" fmla="*/ 0 h 257442"/>
                <a:gd name="connsiteX1" fmla="*/ 1091647 w 1146368"/>
                <a:gd name="connsiteY1" fmla="*/ 257442 h 257442"/>
                <a:gd name="connsiteX2" fmla="*/ 0 w 1146368"/>
                <a:gd name="connsiteY2" fmla="*/ 257442 h 257442"/>
                <a:gd name="connsiteX3" fmla="*/ 1 w 1146368"/>
                <a:gd name="connsiteY3" fmla="*/ 0 h 257442"/>
                <a:gd name="connsiteX0" fmla="*/ 1146368 w 1146368"/>
                <a:gd name="connsiteY0" fmla="*/ 0 h 257442"/>
                <a:gd name="connsiteX1" fmla="*/ 1091647 w 1146368"/>
                <a:gd name="connsiteY1" fmla="*/ 257442 h 257442"/>
                <a:gd name="connsiteX2" fmla="*/ 0 w 1146368"/>
                <a:gd name="connsiteY2" fmla="*/ 257442 h 257442"/>
                <a:gd name="connsiteX3" fmla="*/ 1 w 1146368"/>
                <a:gd name="connsiteY3" fmla="*/ 0 h 257442"/>
                <a:gd name="connsiteX0" fmla="*/ 1146368 w 1146368"/>
                <a:gd name="connsiteY0" fmla="*/ 0 h 257442"/>
                <a:gd name="connsiteX1" fmla="*/ 1091647 w 1146368"/>
                <a:gd name="connsiteY1" fmla="*/ 257442 h 257442"/>
                <a:gd name="connsiteX2" fmla="*/ 0 w 1146368"/>
                <a:gd name="connsiteY2" fmla="*/ 257442 h 257442"/>
                <a:gd name="connsiteX3" fmla="*/ 0 w 1146368"/>
                <a:gd name="connsiteY3" fmla="*/ 0 h 257442"/>
                <a:gd name="connsiteX0" fmla="*/ 1314682 w 1314682"/>
                <a:gd name="connsiteY0" fmla="*/ 0 h 257442"/>
                <a:gd name="connsiteX1" fmla="*/ 1091647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415672 w 1415672"/>
                <a:gd name="connsiteY0" fmla="*/ 0 h 257442"/>
                <a:gd name="connsiteX1" fmla="*/ 1259961 w 1415672"/>
                <a:gd name="connsiteY1" fmla="*/ 257442 h 257442"/>
                <a:gd name="connsiteX2" fmla="*/ 0 w 1415672"/>
                <a:gd name="connsiteY2" fmla="*/ 257442 h 257442"/>
                <a:gd name="connsiteX3" fmla="*/ 0 w 1415672"/>
                <a:gd name="connsiteY3" fmla="*/ 0 h 257442"/>
                <a:gd name="connsiteX0" fmla="*/ 1415672 w 1415672"/>
                <a:gd name="connsiteY0" fmla="*/ 0 h 257442"/>
                <a:gd name="connsiteX1" fmla="*/ 1360951 w 1415672"/>
                <a:gd name="connsiteY1" fmla="*/ 257442 h 257442"/>
                <a:gd name="connsiteX2" fmla="*/ 0 w 1415672"/>
                <a:gd name="connsiteY2" fmla="*/ 257442 h 257442"/>
                <a:gd name="connsiteX3" fmla="*/ 0 w 1415672"/>
                <a:gd name="connsiteY3" fmla="*/ 0 h 257442"/>
                <a:gd name="connsiteX0" fmla="*/ 1415672 w 1415672"/>
                <a:gd name="connsiteY0" fmla="*/ 0 h 257442"/>
                <a:gd name="connsiteX1" fmla="*/ 1360951 w 1415672"/>
                <a:gd name="connsiteY1" fmla="*/ 257442 h 257442"/>
                <a:gd name="connsiteX2" fmla="*/ 0 w 1415672"/>
                <a:gd name="connsiteY2" fmla="*/ 257442 h 257442"/>
                <a:gd name="connsiteX3" fmla="*/ 0 w 1415672"/>
                <a:gd name="connsiteY3" fmla="*/ 0 h 257442"/>
                <a:gd name="connsiteX0" fmla="*/ 1415672 w 1415672"/>
                <a:gd name="connsiteY0" fmla="*/ 0 h 257442"/>
                <a:gd name="connsiteX1" fmla="*/ 1360951 w 1415672"/>
                <a:gd name="connsiteY1" fmla="*/ 257442 h 257442"/>
                <a:gd name="connsiteX2" fmla="*/ 0 w 1415672"/>
                <a:gd name="connsiteY2" fmla="*/ 257442 h 257442"/>
                <a:gd name="connsiteX3" fmla="*/ 0 w 1415672"/>
                <a:gd name="connsiteY3" fmla="*/ 0 h 257442"/>
                <a:gd name="connsiteX0" fmla="*/ 1567957 w 1567957"/>
                <a:gd name="connsiteY0" fmla="*/ 0 h 257442"/>
                <a:gd name="connsiteX1" fmla="*/ 1360951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567957 w 1567957"/>
                <a:gd name="connsiteY0" fmla="*/ 0 h 257442"/>
                <a:gd name="connsiteX1" fmla="*/ 1513236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567957 w 1567957"/>
                <a:gd name="connsiteY0" fmla="*/ 0 h 257442"/>
                <a:gd name="connsiteX1" fmla="*/ 1513236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567957 w 1567957"/>
                <a:gd name="connsiteY0" fmla="*/ 0 h 257442"/>
                <a:gd name="connsiteX1" fmla="*/ 1513236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736273 w 1736273"/>
                <a:gd name="connsiteY0" fmla="*/ 0 h 257442"/>
                <a:gd name="connsiteX1" fmla="*/ 1513236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904587 w 1904587"/>
                <a:gd name="connsiteY0" fmla="*/ 0 h 257442"/>
                <a:gd name="connsiteX1" fmla="*/ 1681552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1904587 w 1904587"/>
                <a:gd name="connsiteY0" fmla="*/ 0 h 257442"/>
                <a:gd name="connsiteX1" fmla="*/ 1849866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1904587 w 1904587"/>
                <a:gd name="connsiteY0" fmla="*/ 0 h 257442"/>
                <a:gd name="connsiteX1" fmla="*/ 1849866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1904587 w 1904587"/>
                <a:gd name="connsiteY0" fmla="*/ 0 h 257442"/>
                <a:gd name="connsiteX1" fmla="*/ 1849866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2056873 w 2056873"/>
                <a:gd name="connsiteY0" fmla="*/ 0 h 257442"/>
                <a:gd name="connsiteX1" fmla="*/ 1849866 w 2056873"/>
                <a:gd name="connsiteY1" fmla="*/ 257442 h 257442"/>
                <a:gd name="connsiteX2" fmla="*/ 0 w 2056873"/>
                <a:gd name="connsiteY2" fmla="*/ 257442 h 257442"/>
                <a:gd name="connsiteX3" fmla="*/ 0 w 2056873"/>
                <a:gd name="connsiteY3" fmla="*/ 0 h 257442"/>
                <a:gd name="connsiteX0" fmla="*/ 2056873 w 2056873"/>
                <a:gd name="connsiteY0" fmla="*/ 0 h 257442"/>
                <a:gd name="connsiteX1" fmla="*/ 2002152 w 2056873"/>
                <a:gd name="connsiteY1" fmla="*/ 257442 h 257442"/>
                <a:gd name="connsiteX2" fmla="*/ 0 w 2056873"/>
                <a:gd name="connsiteY2" fmla="*/ 257442 h 257442"/>
                <a:gd name="connsiteX3" fmla="*/ 0 w 2056873"/>
                <a:gd name="connsiteY3" fmla="*/ 0 h 257442"/>
                <a:gd name="connsiteX0" fmla="*/ 2056873 w 2056873"/>
                <a:gd name="connsiteY0" fmla="*/ 0 h 257442"/>
                <a:gd name="connsiteX1" fmla="*/ 2002152 w 2056873"/>
                <a:gd name="connsiteY1" fmla="*/ 257442 h 257442"/>
                <a:gd name="connsiteX2" fmla="*/ 0 w 2056873"/>
                <a:gd name="connsiteY2" fmla="*/ 257442 h 257442"/>
                <a:gd name="connsiteX3" fmla="*/ 0 w 2056873"/>
                <a:gd name="connsiteY3" fmla="*/ 0 h 257442"/>
                <a:gd name="connsiteX0" fmla="*/ 2056873 w 2056873"/>
                <a:gd name="connsiteY0" fmla="*/ 0 h 257442"/>
                <a:gd name="connsiteX1" fmla="*/ 2002152 w 2056873"/>
                <a:gd name="connsiteY1" fmla="*/ 257442 h 257442"/>
                <a:gd name="connsiteX2" fmla="*/ 0 w 2056873"/>
                <a:gd name="connsiteY2" fmla="*/ 257442 h 257442"/>
                <a:gd name="connsiteX3" fmla="*/ 0 w 2056873"/>
                <a:gd name="connsiteY3" fmla="*/ 0 h 257442"/>
                <a:gd name="connsiteX0" fmla="*/ 2209158 w 2209158"/>
                <a:gd name="connsiteY0" fmla="*/ 0 h 257442"/>
                <a:gd name="connsiteX1" fmla="*/ 2002152 w 2209158"/>
                <a:gd name="connsiteY1" fmla="*/ 257442 h 257442"/>
                <a:gd name="connsiteX2" fmla="*/ 0 w 2209158"/>
                <a:gd name="connsiteY2" fmla="*/ 257442 h 257442"/>
                <a:gd name="connsiteX3" fmla="*/ 0 w 2209158"/>
                <a:gd name="connsiteY3" fmla="*/ 0 h 257442"/>
                <a:gd name="connsiteX0" fmla="*/ 2209158 w 2209158"/>
                <a:gd name="connsiteY0" fmla="*/ 0 h 257442"/>
                <a:gd name="connsiteX1" fmla="*/ 2154436 w 2209158"/>
                <a:gd name="connsiteY1" fmla="*/ 257442 h 257442"/>
                <a:gd name="connsiteX2" fmla="*/ 0 w 2209158"/>
                <a:gd name="connsiteY2" fmla="*/ 257442 h 257442"/>
                <a:gd name="connsiteX3" fmla="*/ 0 w 2209158"/>
                <a:gd name="connsiteY3" fmla="*/ 0 h 257442"/>
                <a:gd name="connsiteX0" fmla="*/ 2209159 w 2209159"/>
                <a:gd name="connsiteY0" fmla="*/ 0 h 257442"/>
                <a:gd name="connsiteX1" fmla="*/ 2154437 w 2209159"/>
                <a:gd name="connsiteY1" fmla="*/ 257442 h 257442"/>
                <a:gd name="connsiteX2" fmla="*/ 0 w 2209159"/>
                <a:gd name="connsiteY2" fmla="*/ 257442 h 257442"/>
                <a:gd name="connsiteX3" fmla="*/ 1 w 2209159"/>
                <a:gd name="connsiteY3" fmla="*/ 0 h 257442"/>
                <a:gd name="connsiteX0" fmla="*/ 2209159 w 2209159"/>
                <a:gd name="connsiteY0" fmla="*/ 0 h 257442"/>
                <a:gd name="connsiteX1" fmla="*/ 2154437 w 2209159"/>
                <a:gd name="connsiteY1" fmla="*/ 257442 h 257442"/>
                <a:gd name="connsiteX2" fmla="*/ 0 w 2209159"/>
                <a:gd name="connsiteY2" fmla="*/ 257442 h 257442"/>
                <a:gd name="connsiteX3" fmla="*/ 1 w 2209159"/>
                <a:gd name="connsiteY3" fmla="*/ 0 h 257442"/>
                <a:gd name="connsiteX0" fmla="*/ 2310149 w 2310149"/>
                <a:gd name="connsiteY0" fmla="*/ 0 h 257442"/>
                <a:gd name="connsiteX1" fmla="*/ 2154437 w 2310149"/>
                <a:gd name="connsiteY1" fmla="*/ 257442 h 257442"/>
                <a:gd name="connsiteX2" fmla="*/ 0 w 2310149"/>
                <a:gd name="connsiteY2" fmla="*/ 257442 h 257442"/>
                <a:gd name="connsiteX3" fmla="*/ 1 w 2310149"/>
                <a:gd name="connsiteY3" fmla="*/ 0 h 257442"/>
                <a:gd name="connsiteX0" fmla="*/ 2310149 w 2310149"/>
                <a:gd name="connsiteY0" fmla="*/ 0 h 257442"/>
                <a:gd name="connsiteX1" fmla="*/ 2255428 w 2310149"/>
                <a:gd name="connsiteY1" fmla="*/ 257442 h 257442"/>
                <a:gd name="connsiteX2" fmla="*/ 0 w 2310149"/>
                <a:gd name="connsiteY2" fmla="*/ 257442 h 257442"/>
                <a:gd name="connsiteX3" fmla="*/ 1 w 2310149"/>
                <a:gd name="connsiteY3" fmla="*/ 0 h 257442"/>
                <a:gd name="connsiteX0" fmla="*/ 2310148 w 2310148"/>
                <a:gd name="connsiteY0" fmla="*/ 0 h 257442"/>
                <a:gd name="connsiteX1" fmla="*/ 2255427 w 2310148"/>
                <a:gd name="connsiteY1" fmla="*/ 257442 h 257442"/>
                <a:gd name="connsiteX2" fmla="*/ 0 w 2310148"/>
                <a:gd name="connsiteY2" fmla="*/ 257442 h 257442"/>
                <a:gd name="connsiteX3" fmla="*/ 0 w 2310148"/>
                <a:gd name="connsiteY3" fmla="*/ 0 h 257442"/>
                <a:gd name="connsiteX0" fmla="*/ 2310149 w 2310149"/>
                <a:gd name="connsiteY0" fmla="*/ 0 h 257442"/>
                <a:gd name="connsiteX1" fmla="*/ 2255428 w 2310149"/>
                <a:gd name="connsiteY1" fmla="*/ 257442 h 257442"/>
                <a:gd name="connsiteX2" fmla="*/ 1 w 2310149"/>
                <a:gd name="connsiteY2" fmla="*/ 257442 h 257442"/>
                <a:gd name="connsiteX3" fmla="*/ 0 w 2310149"/>
                <a:gd name="connsiteY3" fmla="*/ 0 h 257442"/>
                <a:gd name="connsiteX0" fmla="*/ 2478463 w 2478463"/>
                <a:gd name="connsiteY0" fmla="*/ 0 h 257442"/>
                <a:gd name="connsiteX1" fmla="*/ 2255428 w 2478463"/>
                <a:gd name="connsiteY1" fmla="*/ 257442 h 257442"/>
                <a:gd name="connsiteX2" fmla="*/ 1 w 2478463"/>
                <a:gd name="connsiteY2" fmla="*/ 257442 h 257442"/>
                <a:gd name="connsiteX3" fmla="*/ 0 w 2478463"/>
                <a:gd name="connsiteY3" fmla="*/ 0 h 257442"/>
                <a:gd name="connsiteX0" fmla="*/ 2478463 w 2478463"/>
                <a:gd name="connsiteY0" fmla="*/ 0 h 257442"/>
                <a:gd name="connsiteX1" fmla="*/ 2423742 w 2478463"/>
                <a:gd name="connsiteY1" fmla="*/ 257442 h 257442"/>
                <a:gd name="connsiteX2" fmla="*/ 1 w 2478463"/>
                <a:gd name="connsiteY2" fmla="*/ 257442 h 257442"/>
                <a:gd name="connsiteX3" fmla="*/ 0 w 2478463"/>
                <a:gd name="connsiteY3" fmla="*/ 0 h 257442"/>
                <a:gd name="connsiteX0" fmla="*/ 2478463 w 2478463"/>
                <a:gd name="connsiteY0" fmla="*/ 0 h 257442"/>
                <a:gd name="connsiteX1" fmla="*/ 2423742 w 2478463"/>
                <a:gd name="connsiteY1" fmla="*/ 257442 h 257442"/>
                <a:gd name="connsiteX2" fmla="*/ 1 w 2478463"/>
                <a:gd name="connsiteY2" fmla="*/ 257442 h 257442"/>
                <a:gd name="connsiteX3" fmla="*/ 0 w 2478463"/>
                <a:gd name="connsiteY3" fmla="*/ 0 h 257442"/>
                <a:gd name="connsiteX0" fmla="*/ 2478462 w 2478462"/>
                <a:gd name="connsiteY0" fmla="*/ 0 h 257442"/>
                <a:gd name="connsiteX1" fmla="*/ 2423741 w 2478462"/>
                <a:gd name="connsiteY1" fmla="*/ 257442 h 257442"/>
                <a:gd name="connsiteX2" fmla="*/ 0 w 2478462"/>
                <a:gd name="connsiteY2" fmla="*/ 257442 h 257442"/>
                <a:gd name="connsiteX3" fmla="*/ 0 w 2478462"/>
                <a:gd name="connsiteY3" fmla="*/ 0 h 257442"/>
                <a:gd name="connsiteX0" fmla="*/ 2377473 w 2423741"/>
                <a:gd name="connsiteY0" fmla="*/ 0 h 257442"/>
                <a:gd name="connsiteX1" fmla="*/ 2423741 w 2423741"/>
                <a:gd name="connsiteY1" fmla="*/ 257442 h 257442"/>
                <a:gd name="connsiteX2" fmla="*/ 0 w 2423741"/>
                <a:gd name="connsiteY2" fmla="*/ 257442 h 257442"/>
                <a:gd name="connsiteX3" fmla="*/ 0 w 2423741"/>
                <a:gd name="connsiteY3" fmla="*/ 0 h 257442"/>
                <a:gd name="connsiteX0" fmla="*/ 2377473 w 2377473"/>
                <a:gd name="connsiteY0" fmla="*/ 0 h 257442"/>
                <a:gd name="connsiteX1" fmla="*/ 2322753 w 2377473"/>
                <a:gd name="connsiteY1" fmla="*/ 257442 h 257442"/>
                <a:gd name="connsiteX2" fmla="*/ 0 w 2377473"/>
                <a:gd name="connsiteY2" fmla="*/ 257442 h 257442"/>
                <a:gd name="connsiteX3" fmla="*/ 0 w 2377473"/>
                <a:gd name="connsiteY3" fmla="*/ 0 h 257442"/>
                <a:gd name="connsiteX0" fmla="*/ 2377473 w 2377473"/>
                <a:gd name="connsiteY0" fmla="*/ 0 h 257442"/>
                <a:gd name="connsiteX1" fmla="*/ 2322753 w 2377473"/>
                <a:gd name="connsiteY1" fmla="*/ 257442 h 257442"/>
                <a:gd name="connsiteX2" fmla="*/ 0 w 2377473"/>
                <a:gd name="connsiteY2" fmla="*/ 257442 h 257442"/>
                <a:gd name="connsiteX3" fmla="*/ 0 w 2377473"/>
                <a:gd name="connsiteY3" fmla="*/ 0 h 257442"/>
                <a:gd name="connsiteX0" fmla="*/ 2377473 w 2377473"/>
                <a:gd name="connsiteY0" fmla="*/ 0 h 257442"/>
                <a:gd name="connsiteX1" fmla="*/ 2322753 w 2377473"/>
                <a:gd name="connsiteY1" fmla="*/ 257442 h 257442"/>
                <a:gd name="connsiteX2" fmla="*/ 0 w 2377473"/>
                <a:gd name="connsiteY2" fmla="*/ 257442 h 257442"/>
                <a:gd name="connsiteX3" fmla="*/ 0 w 2377473"/>
                <a:gd name="connsiteY3" fmla="*/ 0 h 257442"/>
                <a:gd name="connsiteX0" fmla="*/ 2486478 w 2486478"/>
                <a:gd name="connsiteY0" fmla="*/ 0 h 257442"/>
                <a:gd name="connsiteX1" fmla="*/ 2322753 w 2486478"/>
                <a:gd name="connsiteY1" fmla="*/ 257442 h 257442"/>
                <a:gd name="connsiteX2" fmla="*/ 0 w 2486478"/>
                <a:gd name="connsiteY2" fmla="*/ 257442 h 257442"/>
                <a:gd name="connsiteX3" fmla="*/ 0 w 2486478"/>
                <a:gd name="connsiteY3" fmla="*/ 0 h 257442"/>
                <a:gd name="connsiteX0" fmla="*/ 2486478 w 2486478"/>
                <a:gd name="connsiteY0" fmla="*/ 0 h 257442"/>
                <a:gd name="connsiteX1" fmla="*/ 2431756 w 2486478"/>
                <a:gd name="connsiteY1" fmla="*/ 257442 h 257442"/>
                <a:gd name="connsiteX2" fmla="*/ 0 w 2486478"/>
                <a:gd name="connsiteY2" fmla="*/ 257442 h 257442"/>
                <a:gd name="connsiteX3" fmla="*/ 0 w 2486478"/>
                <a:gd name="connsiteY3" fmla="*/ 0 h 257442"/>
                <a:gd name="connsiteX0" fmla="*/ 2486479 w 2486479"/>
                <a:gd name="connsiteY0" fmla="*/ 0 h 257442"/>
                <a:gd name="connsiteX1" fmla="*/ 2431757 w 2486479"/>
                <a:gd name="connsiteY1" fmla="*/ 257442 h 257442"/>
                <a:gd name="connsiteX2" fmla="*/ 0 w 2486479"/>
                <a:gd name="connsiteY2" fmla="*/ 257442 h 257442"/>
                <a:gd name="connsiteX3" fmla="*/ 1 w 2486479"/>
                <a:gd name="connsiteY3" fmla="*/ 0 h 257442"/>
                <a:gd name="connsiteX0" fmla="*/ 2486479 w 2486479"/>
                <a:gd name="connsiteY0" fmla="*/ 0 h 257442"/>
                <a:gd name="connsiteX1" fmla="*/ 2431757 w 2486479"/>
                <a:gd name="connsiteY1" fmla="*/ 257442 h 257442"/>
                <a:gd name="connsiteX2" fmla="*/ 0 w 2486479"/>
                <a:gd name="connsiteY2" fmla="*/ 257442 h 257442"/>
                <a:gd name="connsiteX3" fmla="*/ 1 w 2486479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86479" h="257442">
                  <a:moveTo>
                    <a:pt x="2486479" y="0"/>
                  </a:moveTo>
                  <a:lnTo>
                    <a:pt x="2431757" y="257442"/>
                  </a:lnTo>
                  <a:lnTo>
                    <a:pt x="0" y="25744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8" name="btfpRunningAgenda2LevelTextLeft600372">
              <a:extLst>
                <a:ext uri="{FF2B5EF4-FFF2-40B4-BE49-F238E27FC236}">
                  <a16:creationId xmlns:a16="http://schemas.microsoft.com/office/drawing/2014/main" id="{E1E2AB8A-1DC3-AEA2-C646-C55789D7C128}"/>
                </a:ext>
              </a:extLst>
            </p:cNvPr>
            <p:cNvSpPr txBox="1"/>
            <p:nvPr/>
          </p:nvSpPr>
          <p:spPr bwMode="gray">
            <a:xfrm>
              <a:off x="0" y="876300"/>
              <a:ext cx="2431757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Web-traffic</a:t>
              </a:r>
            </a:p>
          </p:txBody>
        </p:sp>
        <p:sp>
          <p:nvSpPr>
            <p:cNvPr id="40" name="btfpRunningAgenda2LevelBarRight600372">
              <a:extLst>
                <a:ext uri="{FF2B5EF4-FFF2-40B4-BE49-F238E27FC236}">
                  <a16:creationId xmlns:a16="http://schemas.microsoft.com/office/drawing/2014/main" id="{71BC1ADA-4D81-B6C8-AD50-4FB471F6C5B7}"/>
                </a:ext>
              </a:extLst>
            </p:cNvPr>
            <p:cNvSpPr/>
            <p:nvPr/>
          </p:nvSpPr>
          <p:spPr bwMode="gray">
            <a:xfrm>
              <a:off x="2351636" y="876300"/>
              <a:ext cx="2747767" cy="257442"/>
            </a:xfrm>
            <a:custGeom>
              <a:avLst/>
              <a:gdLst>
                <a:gd name="connsiteX0" fmla="*/ 960419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60419 w 2313135"/>
                <a:gd name="connsiteY0" fmla="*/ 0 h 257442"/>
                <a:gd name="connsiteX1" fmla="*/ 905698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7 w 960418"/>
                <a:gd name="connsiteY1" fmla="*/ 257442 h 257442"/>
                <a:gd name="connsiteX2" fmla="*/ 0 w 960418"/>
                <a:gd name="connsiteY2" fmla="*/ 257442 h 257442"/>
                <a:gd name="connsiteX3" fmla="*/ 54721 w 960418"/>
                <a:gd name="connsiteY3" fmla="*/ 0 h 257442"/>
                <a:gd name="connsiteX0" fmla="*/ 1120718 w 1120718"/>
                <a:gd name="connsiteY0" fmla="*/ 0 h 257442"/>
                <a:gd name="connsiteX1" fmla="*/ 905697 w 1120718"/>
                <a:gd name="connsiteY1" fmla="*/ 257442 h 257442"/>
                <a:gd name="connsiteX2" fmla="*/ 0 w 1120718"/>
                <a:gd name="connsiteY2" fmla="*/ 257442 h 257442"/>
                <a:gd name="connsiteX3" fmla="*/ 54721 w 1120718"/>
                <a:gd name="connsiteY3" fmla="*/ 0 h 257442"/>
                <a:gd name="connsiteX0" fmla="*/ 1120718 w 1120718"/>
                <a:gd name="connsiteY0" fmla="*/ 0 h 257442"/>
                <a:gd name="connsiteX1" fmla="*/ 1065997 w 1120718"/>
                <a:gd name="connsiteY1" fmla="*/ 257442 h 257442"/>
                <a:gd name="connsiteX2" fmla="*/ 0 w 1120718"/>
                <a:gd name="connsiteY2" fmla="*/ 257442 h 257442"/>
                <a:gd name="connsiteX3" fmla="*/ 54721 w 1120718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54722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54722 w 1120719"/>
                <a:gd name="connsiteY3" fmla="*/ 0 h 257442"/>
                <a:gd name="connsiteX0" fmla="*/ 1281021 w 1281021"/>
                <a:gd name="connsiteY0" fmla="*/ 0 h 257442"/>
                <a:gd name="connsiteX1" fmla="*/ 1065998 w 1281021"/>
                <a:gd name="connsiteY1" fmla="*/ 257442 h 257442"/>
                <a:gd name="connsiteX2" fmla="*/ 0 w 1281021"/>
                <a:gd name="connsiteY2" fmla="*/ 257442 h 257442"/>
                <a:gd name="connsiteX3" fmla="*/ 54722 w 1281021"/>
                <a:gd name="connsiteY3" fmla="*/ 0 h 257442"/>
                <a:gd name="connsiteX0" fmla="*/ 1281021 w 1281021"/>
                <a:gd name="connsiteY0" fmla="*/ 0 h 257442"/>
                <a:gd name="connsiteX1" fmla="*/ 1226300 w 1281021"/>
                <a:gd name="connsiteY1" fmla="*/ 257442 h 257442"/>
                <a:gd name="connsiteX2" fmla="*/ 0 w 1281021"/>
                <a:gd name="connsiteY2" fmla="*/ 257442 h 257442"/>
                <a:gd name="connsiteX3" fmla="*/ 54722 w 1281021"/>
                <a:gd name="connsiteY3" fmla="*/ 0 h 257442"/>
                <a:gd name="connsiteX0" fmla="*/ 1281020 w 1281020"/>
                <a:gd name="connsiteY0" fmla="*/ 0 h 257442"/>
                <a:gd name="connsiteX1" fmla="*/ 1226299 w 1281020"/>
                <a:gd name="connsiteY1" fmla="*/ 257442 h 257442"/>
                <a:gd name="connsiteX2" fmla="*/ 0 w 1281020"/>
                <a:gd name="connsiteY2" fmla="*/ 257442 h 257442"/>
                <a:gd name="connsiteX3" fmla="*/ 54721 w 1281020"/>
                <a:gd name="connsiteY3" fmla="*/ 0 h 257442"/>
                <a:gd name="connsiteX0" fmla="*/ 1281020 w 1281020"/>
                <a:gd name="connsiteY0" fmla="*/ 0 h 257442"/>
                <a:gd name="connsiteX1" fmla="*/ 1226299 w 1281020"/>
                <a:gd name="connsiteY1" fmla="*/ 257442 h 257442"/>
                <a:gd name="connsiteX2" fmla="*/ 0 w 1281020"/>
                <a:gd name="connsiteY2" fmla="*/ 257442 h 257442"/>
                <a:gd name="connsiteX3" fmla="*/ 54720 w 1281020"/>
                <a:gd name="connsiteY3" fmla="*/ 0 h 257442"/>
                <a:gd name="connsiteX0" fmla="*/ 1449334 w 1449334"/>
                <a:gd name="connsiteY0" fmla="*/ 0 h 257442"/>
                <a:gd name="connsiteX1" fmla="*/ 1226299 w 1449334"/>
                <a:gd name="connsiteY1" fmla="*/ 257442 h 257442"/>
                <a:gd name="connsiteX2" fmla="*/ 0 w 1449334"/>
                <a:gd name="connsiteY2" fmla="*/ 257442 h 257442"/>
                <a:gd name="connsiteX3" fmla="*/ 54720 w 1449334"/>
                <a:gd name="connsiteY3" fmla="*/ 0 h 257442"/>
                <a:gd name="connsiteX0" fmla="*/ 1449334 w 1449334"/>
                <a:gd name="connsiteY0" fmla="*/ 0 h 257442"/>
                <a:gd name="connsiteX1" fmla="*/ 1394613 w 1449334"/>
                <a:gd name="connsiteY1" fmla="*/ 257442 h 257442"/>
                <a:gd name="connsiteX2" fmla="*/ 0 w 1449334"/>
                <a:gd name="connsiteY2" fmla="*/ 257442 h 257442"/>
                <a:gd name="connsiteX3" fmla="*/ 54720 w 1449334"/>
                <a:gd name="connsiteY3" fmla="*/ 0 h 257442"/>
                <a:gd name="connsiteX0" fmla="*/ 1449335 w 1449335"/>
                <a:gd name="connsiteY0" fmla="*/ 0 h 257442"/>
                <a:gd name="connsiteX1" fmla="*/ 1394614 w 1449335"/>
                <a:gd name="connsiteY1" fmla="*/ 257442 h 257442"/>
                <a:gd name="connsiteX2" fmla="*/ 0 w 1449335"/>
                <a:gd name="connsiteY2" fmla="*/ 257442 h 257442"/>
                <a:gd name="connsiteX3" fmla="*/ 54721 w 1449335"/>
                <a:gd name="connsiteY3" fmla="*/ 0 h 257442"/>
                <a:gd name="connsiteX0" fmla="*/ 1449335 w 1449335"/>
                <a:gd name="connsiteY0" fmla="*/ 0 h 257442"/>
                <a:gd name="connsiteX1" fmla="*/ 1394614 w 1449335"/>
                <a:gd name="connsiteY1" fmla="*/ 257442 h 257442"/>
                <a:gd name="connsiteX2" fmla="*/ 0 w 1449335"/>
                <a:gd name="connsiteY2" fmla="*/ 257442 h 257442"/>
                <a:gd name="connsiteX3" fmla="*/ 54722 w 1449335"/>
                <a:gd name="connsiteY3" fmla="*/ 0 h 257442"/>
                <a:gd name="connsiteX0" fmla="*/ 1617651 w 1617651"/>
                <a:gd name="connsiteY0" fmla="*/ 0 h 257442"/>
                <a:gd name="connsiteX1" fmla="*/ 1394614 w 1617651"/>
                <a:gd name="connsiteY1" fmla="*/ 257442 h 257442"/>
                <a:gd name="connsiteX2" fmla="*/ 0 w 1617651"/>
                <a:gd name="connsiteY2" fmla="*/ 257442 h 257442"/>
                <a:gd name="connsiteX3" fmla="*/ 54722 w 1617651"/>
                <a:gd name="connsiteY3" fmla="*/ 0 h 257442"/>
                <a:gd name="connsiteX0" fmla="*/ 1617651 w 1617651"/>
                <a:gd name="connsiteY0" fmla="*/ 0 h 257442"/>
                <a:gd name="connsiteX1" fmla="*/ 1562930 w 1617651"/>
                <a:gd name="connsiteY1" fmla="*/ 257442 h 257442"/>
                <a:gd name="connsiteX2" fmla="*/ 0 w 1617651"/>
                <a:gd name="connsiteY2" fmla="*/ 257442 h 257442"/>
                <a:gd name="connsiteX3" fmla="*/ 54722 w 1617651"/>
                <a:gd name="connsiteY3" fmla="*/ 0 h 257442"/>
                <a:gd name="connsiteX0" fmla="*/ 1617650 w 1617650"/>
                <a:gd name="connsiteY0" fmla="*/ 0 h 257442"/>
                <a:gd name="connsiteX1" fmla="*/ 1562929 w 1617650"/>
                <a:gd name="connsiteY1" fmla="*/ 257442 h 257442"/>
                <a:gd name="connsiteX2" fmla="*/ 0 w 1617650"/>
                <a:gd name="connsiteY2" fmla="*/ 257442 h 257442"/>
                <a:gd name="connsiteX3" fmla="*/ 54721 w 1617650"/>
                <a:gd name="connsiteY3" fmla="*/ 0 h 257442"/>
                <a:gd name="connsiteX0" fmla="*/ 1617650 w 1617650"/>
                <a:gd name="connsiteY0" fmla="*/ 0 h 257442"/>
                <a:gd name="connsiteX1" fmla="*/ 1562929 w 1617650"/>
                <a:gd name="connsiteY1" fmla="*/ 257442 h 257442"/>
                <a:gd name="connsiteX2" fmla="*/ 0 w 1617650"/>
                <a:gd name="connsiteY2" fmla="*/ 257442 h 257442"/>
                <a:gd name="connsiteX3" fmla="*/ 54720 w 1617650"/>
                <a:gd name="connsiteY3" fmla="*/ 0 h 257442"/>
                <a:gd name="connsiteX0" fmla="*/ 1785964 w 1785964"/>
                <a:gd name="connsiteY0" fmla="*/ 0 h 257442"/>
                <a:gd name="connsiteX1" fmla="*/ 1562929 w 1785964"/>
                <a:gd name="connsiteY1" fmla="*/ 257442 h 257442"/>
                <a:gd name="connsiteX2" fmla="*/ 0 w 1785964"/>
                <a:gd name="connsiteY2" fmla="*/ 257442 h 257442"/>
                <a:gd name="connsiteX3" fmla="*/ 54720 w 1785964"/>
                <a:gd name="connsiteY3" fmla="*/ 0 h 257442"/>
                <a:gd name="connsiteX0" fmla="*/ 1785964 w 1785964"/>
                <a:gd name="connsiteY0" fmla="*/ 0 h 257442"/>
                <a:gd name="connsiteX1" fmla="*/ 1731243 w 1785964"/>
                <a:gd name="connsiteY1" fmla="*/ 257442 h 257442"/>
                <a:gd name="connsiteX2" fmla="*/ 0 w 1785964"/>
                <a:gd name="connsiteY2" fmla="*/ 257442 h 257442"/>
                <a:gd name="connsiteX3" fmla="*/ 54720 w 1785964"/>
                <a:gd name="connsiteY3" fmla="*/ 0 h 257442"/>
                <a:gd name="connsiteX0" fmla="*/ 1785965 w 1785965"/>
                <a:gd name="connsiteY0" fmla="*/ 0 h 257442"/>
                <a:gd name="connsiteX1" fmla="*/ 1731244 w 1785965"/>
                <a:gd name="connsiteY1" fmla="*/ 257442 h 257442"/>
                <a:gd name="connsiteX2" fmla="*/ 0 w 1785965"/>
                <a:gd name="connsiteY2" fmla="*/ 257442 h 257442"/>
                <a:gd name="connsiteX3" fmla="*/ 54721 w 1785965"/>
                <a:gd name="connsiteY3" fmla="*/ 0 h 257442"/>
                <a:gd name="connsiteX0" fmla="*/ 1785965 w 1785965"/>
                <a:gd name="connsiteY0" fmla="*/ 0 h 257442"/>
                <a:gd name="connsiteX1" fmla="*/ 1731244 w 1785965"/>
                <a:gd name="connsiteY1" fmla="*/ 257442 h 257442"/>
                <a:gd name="connsiteX2" fmla="*/ 0 w 1785965"/>
                <a:gd name="connsiteY2" fmla="*/ 257442 h 257442"/>
                <a:gd name="connsiteX3" fmla="*/ 54722 w 1785965"/>
                <a:gd name="connsiteY3" fmla="*/ 0 h 257442"/>
                <a:gd name="connsiteX0" fmla="*/ 1617651 w 1731244"/>
                <a:gd name="connsiteY0" fmla="*/ 0 h 257442"/>
                <a:gd name="connsiteX1" fmla="*/ 1731244 w 1731244"/>
                <a:gd name="connsiteY1" fmla="*/ 257442 h 257442"/>
                <a:gd name="connsiteX2" fmla="*/ 0 w 1731244"/>
                <a:gd name="connsiteY2" fmla="*/ 257442 h 257442"/>
                <a:gd name="connsiteX3" fmla="*/ 54722 w 1731244"/>
                <a:gd name="connsiteY3" fmla="*/ 0 h 257442"/>
                <a:gd name="connsiteX0" fmla="*/ 1617651 w 1617651"/>
                <a:gd name="connsiteY0" fmla="*/ 0 h 257442"/>
                <a:gd name="connsiteX1" fmla="*/ 1562930 w 1617651"/>
                <a:gd name="connsiteY1" fmla="*/ 257442 h 257442"/>
                <a:gd name="connsiteX2" fmla="*/ 0 w 1617651"/>
                <a:gd name="connsiteY2" fmla="*/ 257442 h 257442"/>
                <a:gd name="connsiteX3" fmla="*/ 54722 w 1617651"/>
                <a:gd name="connsiteY3" fmla="*/ 0 h 257442"/>
                <a:gd name="connsiteX0" fmla="*/ 1617649 w 1617649"/>
                <a:gd name="connsiteY0" fmla="*/ 0 h 257442"/>
                <a:gd name="connsiteX1" fmla="*/ 1562928 w 1617649"/>
                <a:gd name="connsiteY1" fmla="*/ 257442 h 257442"/>
                <a:gd name="connsiteX2" fmla="*/ 0 w 1617649"/>
                <a:gd name="connsiteY2" fmla="*/ 257442 h 257442"/>
                <a:gd name="connsiteX3" fmla="*/ 54720 w 1617649"/>
                <a:gd name="connsiteY3" fmla="*/ 0 h 257442"/>
                <a:gd name="connsiteX0" fmla="*/ 1617649 w 1617649"/>
                <a:gd name="connsiteY0" fmla="*/ 0 h 257442"/>
                <a:gd name="connsiteX1" fmla="*/ 1562928 w 1617649"/>
                <a:gd name="connsiteY1" fmla="*/ 257442 h 257442"/>
                <a:gd name="connsiteX2" fmla="*/ 0 w 1617649"/>
                <a:gd name="connsiteY2" fmla="*/ 257442 h 257442"/>
                <a:gd name="connsiteX3" fmla="*/ 54721 w 1617649"/>
                <a:gd name="connsiteY3" fmla="*/ 0 h 257442"/>
                <a:gd name="connsiteX0" fmla="*/ 1449335 w 1562928"/>
                <a:gd name="connsiteY0" fmla="*/ 0 h 257442"/>
                <a:gd name="connsiteX1" fmla="*/ 1562928 w 1562928"/>
                <a:gd name="connsiteY1" fmla="*/ 257442 h 257442"/>
                <a:gd name="connsiteX2" fmla="*/ 0 w 1562928"/>
                <a:gd name="connsiteY2" fmla="*/ 257442 h 257442"/>
                <a:gd name="connsiteX3" fmla="*/ 54721 w 1562928"/>
                <a:gd name="connsiteY3" fmla="*/ 0 h 257442"/>
                <a:gd name="connsiteX0" fmla="*/ 1449335 w 1449335"/>
                <a:gd name="connsiteY0" fmla="*/ 0 h 257442"/>
                <a:gd name="connsiteX1" fmla="*/ 1394614 w 1449335"/>
                <a:gd name="connsiteY1" fmla="*/ 257442 h 257442"/>
                <a:gd name="connsiteX2" fmla="*/ 0 w 1449335"/>
                <a:gd name="connsiteY2" fmla="*/ 257442 h 257442"/>
                <a:gd name="connsiteX3" fmla="*/ 54721 w 1449335"/>
                <a:gd name="connsiteY3" fmla="*/ 0 h 257442"/>
                <a:gd name="connsiteX0" fmla="*/ 1449334 w 1449334"/>
                <a:gd name="connsiteY0" fmla="*/ 0 h 257442"/>
                <a:gd name="connsiteX1" fmla="*/ 1394613 w 1449334"/>
                <a:gd name="connsiteY1" fmla="*/ 257442 h 257442"/>
                <a:gd name="connsiteX2" fmla="*/ 0 w 1449334"/>
                <a:gd name="connsiteY2" fmla="*/ 257442 h 257442"/>
                <a:gd name="connsiteX3" fmla="*/ 54720 w 1449334"/>
                <a:gd name="connsiteY3" fmla="*/ 0 h 257442"/>
                <a:gd name="connsiteX0" fmla="*/ 1449334 w 1449334"/>
                <a:gd name="connsiteY0" fmla="*/ 0 h 257442"/>
                <a:gd name="connsiteX1" fmla="*/ 1394613 w 1449334"/>
                <a:gd name="connsiteY1" fmla="*/ 257442 h 257442"/>
                <a:gd name="connsiteX2" fmla="*/ 0 w 1449334"/>
                <a:gd name="connsiteY2" fmla="*/ 257442 h 257442"/>
                <a:gd name="connsiteX3" fmla="*/ 54720 w 1449334"/>
                <a:gd name="connsiteY3" fmla="*/ 0 h 257442"/>
                <a:gd name="connsiteX0" fmla="*/ 1769934 w 1769934"/>
                <a:gd name="connsiteY0" fmla="*/ 0 h 257442"/>
                <a:gd name="connsiteX1" fmla="*/ 1394613 w 1769934"/>
                <a:gd name="connsiteY1" fmla="*/ 257442 h 257442"/>
                <a:gd name="connsiteX2" fmla="*/ 0 w 1769934"/>
                <a:gd name="connsiteY2" fmla="*/ 257442 h 257442"/>
                <a:gd name="connsiteX3" fmla="*/ 54720 w 1769934"/>
                <a:gd name="connsiteY3" fmla="*/ 0 h 257442"/>
                <a:gd name="connsiteX0" fmla="*/ 1769934 w 1769934"/>
                <a:gd name="connsiteY0" fmla="*/ 0 h 257442"/>
                <a:gd name="connsiteX1" fmla="*/ 1715213 w 1769934"/>
                <a:gd name="connsiteY1" fmla="*/ 257442 h 257442"/>
                <a:gd name="connsiteX2" fmla="*/ 0 w 1769934"/>
                <a:gd name="connsiteY2" fmla="*/ 257442 h 257442"/>
                <a:gd name="connsiteX3" fmla="*/ 54720 w 1769934"/>
                <a:gd name="connsiteY3" fmla="*/ 0 h 257442"/>
                <a:gd name="connsiteX0" fmla="*/ 1769935 w 1769935"/>
                <a:gd name="connsiteY0" fmla="*/ 0 h 257442"/>
                <a:gd name="connsiteX1" fmla="*/ 1715214 w 1769935"/>
                <a:gd name="connsiteY1" fmla="*/ 257442 h 257442"/>
                <a:gd name="connsiteX2" fmla="*/ 0 w 1769935"/>
                <a:gd name="connsiteY2" fmla="*/ 257442 h 257442"/>
                <a:gd name="connsiteX3" fmla="*/ 54721 w 1769935"/>
                <a:gd name="connsiteY3" fmla="*/ 0 h 257442"/>
                <a:gd name="connsiteX0" fmla="*/ 1769935 w 1769935"/>
                <a:gd name="connsiteY0" fmla="*/ 0 h 257442"/>
                <a:gd name="connsiteX1" fmla="*/ 1715214 w 1769935"/>
                <a:gd name="connsiteY1" fmla="*/ 257442 h 257442"/>
                <a:gd name="connsiteX2" fmla="*/ 0 w 1769935"/>
                <a:gd name="connsiteY2" fmla="*/ 257442 h 257442"/>
                <a:gd name="connsiteX3" fmla="*/ 54722 w 1769935"/>
                <a:gd name="connsiteY3" fmla="*/ 0 h 257442"/>
                <a:gd name="connsiteX0" fmla="*/ 1930236 w 1930236"/>
                <a:gd name="connsiteY0" fmla="*/ 0 h 257442"/>
                <a:gd name="connsiteX1" fmla="*/ 1715214 w 1930236"/>
                <a:gd name="connsiteY1" fmla="*/ 257442 h 257442"/>
                <a:gd name="connsiteX2" fmla="*/ 0 w 1930236"/>
                <a:gd name="connsiteY2" fmla="*/ 257442 h 257442"/>
                <a:gd name="connsiteX3" fmla="*/ 54722 w 1930236"/>
                <a:gd name="connsiteY3" fmla="*/ 0 h 257442"/>
                <a:gd name="connsiteX0" fmla="*/ 1930236 w 1930236"/>
                <a:gd name="connsiteY0" fmla="*/ 0 h 257442"/>
                <a:gd name="connsiteX1" fmla="*/ 1875514 w 1930236"/>
                <a:gd name="connsiteY1" fmla="*/ 257442 h 257442"/>
                <a:gd name="connsiteX2" fmla="*/ 0 w 1930236"/>
                <a:gd name="connsiteY2" fmla="*/ 257442 h 257442"/>
                <a:gd name="connsiteX3" fmla="*/ 54722 w 1930236"/>
                <a:gd name="connsiteY3" fmla="*/ 0 h 257442"/>
                <a:gd name="connsiteX0" fmla="*/ 1930236 w 1930236"/>
                <a:gd name="connsiteY0" fmla="*/ 0 h 257442"/>
                <a:gd name="connsiteX1" fmla="*/ 1875514 w 1930236"/>
                <a:gd name="connsiteY1" fmla="*/ 257442 h 257442"/>
                <a:gd name="connsiteX2" fmla="*/ 0 w 1930236"/>
                <a:gd name="connsiteY2" fmla="*/ 257442 h 257442"/>
                <a:gd name="connsiteX3" fmla="*/ 54722 w 1930236"/>
                <a:gd name="connsiteY3" fmla="*/ 0 h 257442"/>
                <a:gd name="connsiteX0" fmla="*/ 1930236 w 1930236"/>
                <a:gd name="connsiteY0" fmla="*/ 0 h 257442"/>
                <a:gd name="connsiteX1" fmla="*/ 1875514 w 1930236"/>
                <a:gd name="connsiteY1" fmla="*/ 257442 h 257442"/>
                <a:gd name="connsiteX2" fmla="*/ 0 w 1930236"/>
                <a:gd name="connsiteY2" fmla="*/ 257442 h 257442"/>
                <a:gd name="connsiteX3" fmla="*/ 54721 w 1930236"/>
                <a:gd name="connsiteY3" fmla="*/ 0 h 257442"/>
                <a:gd name="connsiteX0" fmla="*/ 950801 w 1875514"/>
                <a:gd name="connsiteY0" fmla="*/ 0 h 257442"/>
                <a:gd name="connsiteX1" fmla="*/ 1875514 w 1875514"/>
                <a:gd name="connsiteY1" fmla="*/ 257442 h 257442"/>
                <a:gd name="connsiteX2" fmla="*/ 0 w 1875514"/>
                <a:gd name="connsiteY2" fmla="*/ 257442 h 257442"/>
                <a:gd name="connsiteX3" fmla="*/ 54721 w 1875514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1111100 w 1111100"/>
                <a:gd name="connsiteY0" fmla="*/ 0 h 257442"/>
                <a:gd name="connsiteX1" fmla="*/ 896079 w 1111100"/>
                <a:gd name="connsiteY1" fmla="*/ 257442 h 257442"/>
                <a:gd name="connsiteX2" fmla="*/ 0 w 1111100"/>
                <a:gd name="connsiteY2" fmla="*/ 257442 h 257442"/>
                <a:gd name="connsiteX3" fmla="*/ 54720 w 1111100"/>
                <a:gd name="connsiteY3" fmla="*/ 0 h 257442"/>
                <a:gd name="connsiteX0" fmla="*/ 1111100 w 1111100"/>
                <a:gd name="connsiteY0" fmla="*/ 0 h 257442"/>
                <a:gd name="connsiteX1" fmla="*/ 1056379 w 1111100"/>
                <a:gd name="connsiteY1" fmla="*/ 257442 h 257442"/>
                <a:gd name="connsiteX2" fmla="*/ 0 w 1111100"/>
                <a:gd name="connsiteY2" fmla="*/ 257442 h 257442"/>
                <a:gd name="connsiteX3" fmla="*/ 54720 w 1111100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2 w 1111101"/>
                <a:gd name="connsiteY3" fmla="*/ 0 h 257442"/>
                <a:gd name="connsiteX0" fmla="*/ 1297051 w 1297051"/>
                <a:gd name="connsiteY0" fmla="*/ 0 h 257442"/>
                <a:gd name="connsiteX1" fmla="*/ 1056380 w 1297051"/>
                <a:gd name="connsiteY1" fmla="*/ 257442 h 257442"/>
                <a:gd name="connsiteX2" fmla="*/ 0 w 1297051"/>
                <a:gd name="connsiteY2" fmla="*/ 257442 h 257442"/>
                <a:gd name="connsiteX3" fmla="*/ 54722 w 1297051"/>
                <a:gd name="connsiteY3" fmla="*/ 0 h 257442"/>
                <a:gd name="connsiteX0" fmla="*/ 1297051 w 1297051"/>
                <a:gd name="connsiteY0" fmla="*/ 0 h 257442"/>
                <a:gd name="connsiteX1" fmla="*/ 1242330 w 1297051"/>
                <a:gd name="connsiteY1" fmla="*/ 257442 h 257442"/>
                <a:gd name="connsiteX2" fmla="*/ 0 w 1297051"/>
                <a:gd name="connsiteY2" fmla="*/ 257442 h 257442"/>
                <a:gd name="connsiteX3" fmla="*/ 54722 w 1297051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0 w 1297050"/>
                <a:gd name="connsiteY3" fmla="*/ 0 h 257442"/>
                <a:gd name="connsiteX0" fmla="*/ 1474982 w 1474982"/>
                <a:gd name="connsiteY0" fmla="*/ 0 h 257442"/>
                <a:gd name="connsiteX1" fmla="*/ 1242329 w 1474982"/>
                <a:gd name="connsiteY1" fmla="*/ 257442 h 257442"/>
                <a:gd name="connsiteX2" fmla="*/ 0 w 1474982"/>
                <a:gd name="connsiteY2" fmla="*/ 257442 h 257442"/>
                <a:gd name="connsiteX3" fmla="*/ 54720 w 1474982"/>
                <a:gd name="connsiteY3" fmla="*/ 0 h 257442"/>
                <a:gd name="connsiteX0" fmla="*/ 1474982 w 1474982"/>
                <a:gd name="connsiteY0" fmla="*/ 0 h 257442"/>
                <a:gd name="connsiteX1" fmla="*/ 1420261 w 1474982"/>
                <a:gd name="connsiteY1" fmla="*/ 257442 h 257442"/>
                <a:gd name="connsiteX2" fmla="*/ 0 w 1474982"/>
                <a:gd name="connsiteY2" fmla="*/ 257442 h 257442"/>
                <a:gd name="connsiteX3" fmla="*/ 54720 w 1474982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54721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54722 w 1474983"/>
                <a:gd name="connsiteY3" fmla="*/ 0 h 257442"/>
                <a:gd name="connsiteX0" fmla="*/ 1652917 w 1652917"/>
                <a:gd name="connsiteY0" fmla="*/ 0 h 257442"/>
                <a:gd name="connsiteX1" fmla="*/ 1420262 w 1652917"/>
                <a:gd name="connsiteY1" fmla="*/ 257442 h 257442"/>
                <a:gd name="connsiteX2" fmla="*/ 0 w 1652917"/>
                <a:gd name="connsiteY2" fmla="*/ 257442 h 257442"/>
                <a:gd name="connsiteX3" fmla="*/ 54722 w 1652917"/>
                <a:gd name="connsiteY3" fmla="*/ 0 h 257442"/>
                <a:gd name="connsiteX0" fmla="*/ 1652917 w 1652917"/>
                <a:gd name="connsiteY0" fmla="*/ 0 h 257442"/>
                <a:gd name="connsiteX1" fmla="*/ 1598196 w 1652917"/>
                <a:gd name="connsiteY1" fmla="*/ 257442 h 257442"/>
                <a:gd name="connsiteX2" fmla="*/ 0 w 1652917"/>
                <a:gd name="connsiteY2" fmla="*/ 257442 h 257442"/>
                <a:gd name="connsiteX3" fmla="*/ 54722 w 1652917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54721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54720 w 1652916"/>
                <a:gd name="connsiteY3" fmla="*/ 0 h 257442"/>
                <a:gd name="connsiteX0" fmla="*/ 1821230 w 1821230"/>
                <a:gd name="connsiteY0" fmla="*/ 0 h 257442"/>
                <a:gd name="connsiteX1" fmla="*/ 1598195 w 1821230"/>
                <a:gd name="connsiteY1" fmla="*/ 257442 h 257442"/>
                <a:gd name="connsiteX2" fmla="*/ 0 w 1821230"/>
                <a:gd name="connsiteY2" fmla="*/ 257442 h 257442"/>
                <a:gd name="connsiteX3" fmla="*/ 54720 w 1821230"/>
                <a:gd name="connsiteY3" fmla="*/ 0 h 257442"/>
                <a:gd name="connsiteX0" fmla="*/ 1821230 w 1821230"/>
                <a:gd name="connsiteY0" fmla="*/ 0 h 257442"/>
                <a:gd name="connsiteX1" fmla="*/ 1766509 w 1821230"/>
                <a:gd name="connsiteY1" fmla="*/ 257442 h 257442"/>
                <a:gd name="connsiteX2" fmla="*/ 0 w 1821230"/>
                <a:gd name="connsiteY2" fmla="*/ 257442 h 257442"/>
                <a:gd name="connsiteX3" fmla="*/ 54720 w 1821230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54721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54722 w 1821231"/>
                <a:gd name="connsiteY3" fmla="*/ 0 h 257442"/>
                <a:gd name="connsiteX0" fmla="*/ 1989548 w 1989548"/>
                <a:gd name="connsiteY0" fmla="*/ 0 h 257442"/>
                <a:gd name="connsiteX1" fmla="*/ 1766510 w 1989548"/>
                <a:gd name="connsiteY1" fmla="*/ 257442 h 257442"/>
                <a:gd name="connsiteX2" fmla="*/ 0 w 1989548"/>
                <a:gd name="connsiteY2" fmla="*/ 257442 h 257442"/>
                <a:gd name="connsiteX3" fmla="*/ 54722 w 1989548"/>
                <a:gd name="connsiteY3" fmla="*/ 0 h 257442"/>
                <a:gd name="connsiteX0" fmla="*/ 1989548 w 1989548"/>
                <a:gd name="connsiteY0" fmla="*/ 0 h 257442"/>
                <a:gd name="connsiteX1" fmla="*/ 1934826 w 1989548"/>
                <a:gd name="connsiteY1" fmla="*/ 257442 h 257442"/>
                <a:gd name="connsiteX2" fmla="*/ 0 w 1989548"/>
                <a:gd name="connsiteY2" fmla="*/ 257442 h 257442"/>
                <a:gd name="connsiteX3" fmla="*/ 54722 w 1989548"/>
                <a:gd name="connsiteY3" fmla="*/ 0 h 257442"/>
                <a:gd name="connsiteX0" fmla="*/ 1989548 w 1989548"/>
                <a:gd name="connsiteY0" fmla="*/ 0 h 257442"/>
                <a:gd name="connsiteX1" fmla="*/ 1934826 w 1989548"/>
                <a:gd name="connsiteY1" fmla="*/ 257442 h 257442"/>
                <a:gd name="connsiteX2" fmla="*/ 0 w 1989548"/>
                <a:gd name="connsiteY2" fmla="*/ 257442 h 257442"/>
                <a:gd name="connsiteX3" fmla="*/ 54722 w 1989548"/>
                <a:gd name="connsiteY3" fmla="*/ 0 h 257442"/>
                <a:gd name="connsiteX0" fmla="*/ 1989548 w 1989548"/>
                <a:gd name="connsiteY0" fmla="*/ 0 h 257442"/>
                <a:gd name="connsiteX1" fmla="*/ 1934826 w 1989548"/>
                <a:gd name="connsiteY1" fmla="*/ 257442 h 257442"/>
                <a:gd name="connsiteX2" fmla="*/ 0 w 1989548"/>
                <a:gd name="connsiteY2" fmla="*/ 257442 h 257442"/>
                <a:gd name="connsiteX3" fmla="*/ 54721 w 1989548"/>
                <a:gd name="connsiteY3" fmla="*/ 0 h 257442"/>
                <a:gd name="connsiteX0" fmla="*/ 2149847 w 2149847"/>
                <a:gd name="connsiteY0" fmla="*/ 0 h 257442"/>
                <a:gd name="connsiteX1" fmla="*/ 1934826 w 2149847"/>
                <a:gd name="connsiteY1" fmla="*/ 257442 h 257442"/>
                <a:gd name="connsiteX2" fmla="*/ 0 w 2149847"/>
                <a:gd name="connsiteY2" fmla="*/ 257442 h 257442"/>
                <a:gd name="connsiteX3" fmla="*/ 54721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54721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54721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54721 w 2149847"/>
                <a:gd name="connsiteY3" fmla="*/ 0 h 257442"/>
                <a:gd name="connsiteX0" fmla="*/ 2318162 w 2318162"/>
                <a:gd name="connsiteY0" fmla="*/ 0 h 257442"/>
                <a:gd name="connsiteX1" fmla="*/ 2095126 w 2318162"/>
                <a:gd name="connsiteY1" fmla="*/ 257442 h 257442"/>
                <a:gd name="connsiteX2" fmla="*/ 0 w 2318162"/>
                <a:gd name="connsiteY2" fmla="*/ 257442 h 257442"/>
                <a:gd name="connsiteX3" fmla="*/ 54721 w 2318162"/>
                <a:gd name="connsiteY3" fmla="*/ 0 h 257442"/>
                <a:gd name="connsiteX0" fmla="*/ 2318162 w 2318162"/>
                <a:gd name="connsiteY0" fmla="*/ 0 h 257442"/>
                <a:gd name="connsiteX1" fmla="*/ 2263440 w 2318162"/>
                <a:gd name="connsiteY1" fmla="*/ 257442 h 257442"/>
                <a:gd name="connsiteX2" fmla="*/ 0 w 2318162"/>
                <a:gd name="connsiteY2" fmla="*/ 257442 h 257442"/>
                <a:gd name="connsiteX3" fmla="*/ 54721 w 2318162"/>
                <a:gd name="connsiteY3" fmla="*/ 0 h 257442"/>
                <a:gd name="connsiteX0" fmla="*/ 2318163 w 2318163"/>
                <a:gd name="connsiteY0" fmla="*/ 0 h 257442"/>
                <a:gd name="connsiteX1" fmla="*/ 2263441 w 2318163"/>
                <a:gd name="connsiteY1" fmla="*/ 257442 h 257442"/>
                <a:gd name="connsiteX2" fmla="*/ 0 w 2318163"/>
                <a:gd name="connsiteY2" fmla="*/ 257442 h 257442"/>
                <a:gd name="connsiteX3" fmla="*/ 54722 w 2318163"/>
                <a:gd name="connsiteY3" fmla="*/ 0 h 257442"/>
                <a:gd name="connsiteX0" fmla="*/ 2318163 w 2318163"/>
                <a:gd name="connsiteY0" fmla="*/ 0 h 257442"/>
                <a:gd name="connsiteX1" fmla="*/ 2263441 w 2318163"/>
                <a:gd name="connsiteY1" fmla="*/ 257442 h 257442"/>
                <a:gd name="connsiteX2" fmla="*/ 0 w 2318163"/>
                <a:gd name="connsiteY2" fmla="*/ 257442 h 257442"/>
                <a:gd name="connsiteX3" fmla="*/ 54722 w 2318163"/>
                <a:gd name="connsiteY3" fmla="*/ 0 h 257442"/>
                <a:gd name="connsiteX0" fmla="*/ 2587468 w 2587468"/>
                <a:gd name="connsiteY0" fmla="*/ 0 h 257442"/>
                <a:gd name="connsiteX1" fmla="*/ 2263441 w 2587468"/>
                <a:gd name="connsiteY1" fmla="*/ 257442 h 257442"/>
                <a:gd name="connsiteX2" fmla="*/ 0 w 2587468"/>
                <a:gd name="connsiteY2" fmla="*/ 257442 h 257442"/>
                <a:gd name="connsiteX3" fmla="*/ 54722 w 2587468"/>
                <a:gd name="connsiteY3" fmla="*/ 0 h 257442"/>
                <a:gd name="connsiteX0" fmla="*/ 2587468 w 2587468"/>
                <a:gd name="connsiteY0" fmla="*/ 0 h 257442"/>
                <a:gd name="connsiteX1" fmla="*/ 2532746 w 2587468"/>
                <a:gd name="connsiteY1" fmla="*/ 257442 h 257442"/>
                <a:gd name="connsiteX2" fmla="*/ 0 w 2587468"/>
                <a:gd name="connsiteY2" fmla="*/ 257442 h 257442"/>
                <a:gd name="connsiteX3" fmla="*/ 54722 w 2587468"/>
                <a:gd name="connsiteY3" fmla="*/ 0 h 257442"/>
                <a:gd name="connsiteX0" fmla="*/ 2587468 w 2587468"/>
                <a:gd name="connsiteY0" fmla="*/ 0 h 257442"/>
                <a:gd name="connsiteX1" fmla="*/ 2532746 w 2587468"/>
                <a:gd name="connsiteY1" fmla="*/ 257442 h 257442"/>
                <a:gd name="connsiteX2" fmla="*/ 0 w 2587468"/>
                <a:gd name="connsiteY2" fmla="*/ 257442 h 257442"/>
                <a:gd name="connsiteX3" fmla="*/ 54722 w 2587468"/>
                <a:gd name="connsiteY3" fmla="*/ 0 h 257442"/>
                <a:gd name="connsiteX0" fmla="*/ 2587468 w 2587468"/>
                <a:gd name="connsiteY0" fmla="*/ 0 h 257442"/>
                <a:gd name="connsiteX1" fmla="*/ 2532746 w 2587468"/>
                <a:gd name="connsiteY1" fmla="*/ 257442 h 257442"/>
                <a:gd name="connsiteX2" fmla="*/ 0 w 2587468"/>
                <a:gd name="connsiteY2" fmla="*/ 257442 h 257442"/>
                <a:gd name="connsiteX3" fmla="*/ 54721 w 2587468"/>
                <a:gd name="connsiteY3" fmla="*/ 0 h 257442"/>
                <a:gd name="connsiteX0" fmla="*/ 2747767 w 2747767"/>
                <a:gd name="connsiteY0" fmla="*/ 0 h 257442"/>
                <a:gd name="connsiteX1" fmla="*/ 2532746 w 2747767"/>
                <a:gd name="connsiteY1" fmla="*/ 257442 h 257442"/>
                <a:gd name="connsiteX2" fmla="*/ 0 w 2747767"/>
                <a:gd name="connsiteY2" fmla="*/ 257442 h 257442"/>
                <a:gd name="connsiteX3" fmla="*/ 54721 w 2747767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0 w 2747767"/>
                <a:gd name="connsiteY2" fmla="*/ 257442 h 257442"/>
                <a:gd name="connsiteX3" fmla="*/ 54721 w 2747767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0 w 2747767"/>
                <a:gd name="connsiteY2" fmla="*/ 257442 h 257442"/>
                <a:gd name="connsiteX3" fmla="*/ 54721 w 2747767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0 w 2747767"/>
                <a:gd name="connsiteY2" fmla="*/ 257442 h 257442"/>
                <a:gd name="connsiteX3" fmla="*/ 54721 w 2747767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47767" h="257442">
                  <a:moveTo>
                    <a:pt x="2747767" y="0"/>
                  </a:moveTo>
                  <a:lnTo>
                    <a:pt x="2693046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2" name="btfpRunningAgenda2LevelTextRight600372">
              <a:extLst>
                <a:ext uri="{FF2B5EF4-FFF2-40B4-BE49-F238E27FC236}">
                  <a16:creationId xmlns:a16="http://schemas.microsoft.com/office/drawing/2014/main" id="{6960A722-2544-49FD-4E6E-2E21E6D58742}"/>
                </a:ext>
              </a:extLst>
            </p:cNvPr>
            <p:cNvSpPr txBox="1"/>
            <p:nvPr/>
          </p:nvSpPr>
          <p:spPr bwMode="gray">
            <a:xfrm>
              <a:off x="2351636" y="876300"/>
              <a:ext cx="2693046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demographics</a:t>
              </a:r>
            </a:p>
          </p:txBody>
        </p:sp>
      </p:grpSp>
      <p:grpSp>
        <p:nvGrpSpPr>
          <p:cNvPr id="16" name="btfpColumnHeaderBox830211">
            <a:extLst>
              <a:ext uri="{FF2B5EF4-FFF2-40B4-BE49-F238E27FC236}">
                <a16:creationId xmlns:a16="http://schemas.microsoft.com/office/drawing/2014/main" id="{66441FAB-58BB-281A-8297-A8F4C3F1191C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6366272" y="1226248"/>
            <a:ext cx="5495528" cy="559753"/>
            <a:chOff x="6366272" y="1006684"/>
            <a:chExt cx="5495528" cy="559753"/>
          </a:xfrm>
        </p:grpSpPr>
        <p:sp>
          <p:nvSpPr>
            <p:cNvPr id="7" name="btfpColumnHeaderBoxText830211">
              <a:extLst>
                <a:ext uri="{FF2B5EF4-FFF2-40B4-BE49-F238E27FC236}">
                  <a16:creationId xmlns:a16="http://schemas.microsoft.com/office/drawing/2014/main" id="{F2ACD668-F131-273A-38C3-12C1DA3B01F1}"/>
                </a:ext>
              </a:extLst>
            </p:cNvPr>
            <p:cNvSpPr txBox="1"/>
            <p:nvPr/>
          </p:nvSpPr>
          <p:spPr bwMode="gray">
            <a:xfrm>
              <a:off x="6366272" y="1006684"/>
              <a:ext cx="5495528" cy="55975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>
                  <a:solidFill>
                    <a:srgbClr val="000000"/>
                  </a:solidFill>
                </a:rPr>
                <a:t>18 to 54-year-olds make up ~70% of visitors across brands; </a:t>
              </a:r>
              <a:r>
                <a:rPr lang="en-US" sz="1600" b="1" err="1">
                  <a:solidFill>
                    <a:srgbClr val="000000"/>
                  </a:solidFill>
                </a:rPr>
                <a:t>Vigour’s</a:t>
              </a:r>
              <a:r>
                <a:rPr lang="en-US" sz="1600" b="1">
                  <a:solidFill>
                    <a:srgbClr val="000000"/>
                  </a:solidFill>
                </a:rPr>
                <a:t> largest audience is 25 to 34-year-olds</a:t>
              </a:r>
            </a:p>
          </p:txBody>
        </p:sp>
        <p:cxnSp>
          <p:nvCxnSpPr>
            <p:cNvPr id="8" name="btfpColumnHeaderBoxLine830211">
              <a:extLst>
                <a:ext uri="{FF2B5EF4-FFF2-40B4-BE49-F238E27FC236}">
                  <a16:creationId xmlns:a16="http://schemas.microsoft.com/office/drawing/2014/main" id="{AA182FCA-E4C7-03A0-AABF-0BAF2C3EC440}"/>
                </a:ext>
              </a:extLst>
            </p:cNvPr>
            <p:cNvCxnSpPr/>
            <p:nvPr/>
          </p:nvCxnSpPr>
          <p:spPr bwMode="gray">
            <a:xfrm>
              <a:off x="6366272" y="1566437"/>
              <a:ext cx="549552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btfpColumnHeaderBox599825">
            <a:extLst>
              <a:ext uri="{FF2B5EF4-FFF2-40B4-BE49-F238E27FC236}">
                <a16:creationId xmlns:a16="http://schemas.microsoft.com/office/drawing/2014/main" id="{02093DBF-F588-1003-3F6E-1209C3A20495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330200" y="1234796"/>
            <a:ext cx="5495528" cy="565217"/>
            <a:chOff x="330200" y="1023780"/>
            <a:chExt cx="5495528" cy="565217"/>
          </a:xfrm>
        </p:grpSpPr>
        <p:sp>
          <p:nvSpPr>
            <p:cNvPr id="20" name="btfpColumnHeaderBoxText599825">
              <a:extLst>
                <a:ext uri="{FF2B5EF4-FFF2-40B4-BE49-F238E27FC236}">
                  <a16:creationId xmlns:a16="http://schemas.microsoft.com/office/drawing/2014/main" id="{6C2F3D42-C7CC-5B48-2BEB-22F9CA53947C}"/>
                </a:ext>
              </a:extLst>
            </p:cNvPr>
            <p:cNvSpPr txBox="1"/>
            <p:nvPr/>
          </p:nvSpPr>
          <p:spPr bwMode="gray">
            <a:xfrm>
              <a:off x="330200" y="1023780"/>
              <a:ext cx="5495528" cy="55975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>
                  <a:solidFill>
                    <a:srgbClr val="000000"/>
                  </a:solidFill>
                </a:rPr>
                <a:t>Gender split varies across brands – Vigour</a:t>
              </a:r>
              <a:r>
                <a:rPr lang="en-US" b="1">
                  <a:solidFill>
                    <a:srgbClr val="000000"/>
                  </a:solidFill>
                </a:rPr>
                <a:t> receives a slightly </a:t>
              </a:r>
              <a:r>
                <a:rPr lang="en-US" sz="1600" b="1">
                  <a:solidFill>
                    <a:srgbClr val="000000"/>
                  </a:solidFill>
                </a:rPr>
                <a:t>higher share of female visitors</a:t>
              </a:r>
            </a:p>
          </p:txBody>
        </p:sp>
        <p:cxnSp>
          <p:nvCxnSpPr>
            <p:cNvPr id="21" name="btfpColumnHeaderBoxLine599825">
              <a:extLst>
                <a:ext uri="{FF2B5EF4-FFF2-40B4-BE49-F238E27FC236}">
                  <a16:creationId xmlns:a16="http://schemas.microsoft.com/office/drawing/2014/main" id="{B5640C49-1DA4-E94A-990E-E4344CD4F118}"/>
                </a:ext>
              </a:extLst>
            </p:cNvPr>
            <p:cNvCxnSpPr/>
            <p:nvPr/>
          </p:nvCxnSpPr>
          <p:spPr bwMode="gray">
            <a:xfrm>
              <a:off x="330200" y="1588997"/>
              <a:ext cx="549552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9" name="Rectangle 168">
            <a:extLst>
              <a:ext uri="{FF2B5EF4-FFF2-40B4-BE49-F238E27FC236}">
                <a16:creationId xmlns:a16="http://schemas.microsoft.com/office/drawing/2014/main" id="{1649F143-451D-46E4-4ED8-3D70CD2D54CF}"/>
              </a:ext>
            </a:extLst>
          </p:cNvPr>
          <p:cNvSpPr/>
          <p:nvPr/>
        </p:nvSpPr>
        <p:spPr bwMode="gray">
          <a:xfrm>
            <a:off x="8851197" y="2312721"/>
            <a:ext cx="430543" cy="3343505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b="1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0135257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6" name="btfpColumnIndicatorGroup2">
            <a:extLst>
              <a:ext uri="{FF2B5EF4-FFF2-40B4-BE49-F238E27FC236}">
                <a16:creationId xmlns:a16="http://schemas.microsoft.com/office/drawing/2014/main" id="{C083F7CC-AE09-C0DB-B2A3-AAAE9F6E7559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14" name="btfpColumnGapBlocker658988">
              <a:extLst>
                <a:ext uri="{FF2B5EF4-FFF2-40B4-BE49-F238E27FC236}">
                  <a16:creationId xmlns:a16="http://schemas.microsoft.com/office/drawing/2014/main" id="{2820E260-1750-4A49-A83D-5CD9C0FCEED1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112" name="btfpColumnGapBlocker451157">
              <a:extLst>
                <a:ext uri="{FF2B5EF4-FFF2-40B4-BE49-F238E27FC236}">
                  <a16:creationId xmlns:a16="http://schemas.microsoft.com/office/drawing/2014/main" id="{0BF1A5A6-2B73-7867-8FDF-0C8B02A1F0FA}"/>
                </a:ext>
              </a:extLst>
            </p:cNvPr>
            <p:cNvSpPr/>
            <p:nvPr/>
          </p:nvSpPr>
          <p:spPr bwMode="gray">
            <a:xfrm>
              <a:off x="884376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10" name="btfpColumnIndicator647292">
              <a:extLst>
                <a:ext uri="{FF2B5EF4-FFF2-40B4-BE49-F238E27FC236}">
                  <a16:creationId xmlns:a16="http://schemas.microsoft.com/office/drawing/2014/main" id="{EB5CAEA1-BBBF-F87E-BF91-8BBC05C4AA1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btfpColumnIndicator506736">
              <a:extLst>
                <a:ext uri="{FF2B5EF4-FFF2-40B4-BE49-F238E27FC236}">
                  <a16:creationId xmlns:a16="http://schemas.microsoft.com/office/drawing/2014/main" id="{38DC9100-1B97-1C37-0AA8-2477D46A128A}"/>
                </a:ext>
              </a:extLst>
            </p:cNvPr>
            <p:cNvCxnSpPr/>
            <p:nvPr/>
          </p:nvCxnSpPr>
          <p:spPr bwMode="gray">
            <a:xfrm flipV="1">
              <a:off x="938430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6" name="btfpColumnGapBlocker829828">
              <a:extLst>
                <a:ext uri="{FF2B5EF4-FFF2-40B4-BE49-F238E27FC236}">
                  <a16:creationId xmlns:a16="http://schemas.microsoft.com/office/drawing/2014/main" id="{81C869ED-5D2F-A1F8-83E2-53ED62CDCB05}"/>
                </a:ext>
              </a:extLst>
            </p:cNvPr>
            <p:cNvSpPr/>
            <p:nvPr/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04" name="btfpColumnIndicator174143">
              <a:extLst>
                <a:ext uri="{FF2B5EF4-FFF2-40B4-BE49-F238E27FC236}">
                  <a16:creationId xmlns:a16="http://schemas.microsoft.com/office/drawing/2014/main" id="{A10DB74E-A303-2331-07E8-F589EC8CFE24}"/>
                </a:ext>
              </a:extLst>
            </p:cNvPr>
            <p:cNvCxnSpPr/>
            <p:nvPr/>
          </p:nvCxnSpPr>
          <p:spPr bwMode="gray">
            <a:xfrm flipV="1">
              <a:off x="884376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btfpColumnIndicator860149">
              <a:extLst>
                <a:ext uri="{FF2B5EF4-FFF2-40B4-BE49-F238E27FC236}">
                  <a16:creationId xmlns:a16="http://schemas.microsoft.com/office/drawing/2014/main" id="{AC76734A-AC66-45A3-CB78-171162768AC4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0" name="btfpColumnGapBlocker105556">
              <a:extLst>
                <a:ext uri="{FF2B5EF4-FFF2-40B4-BE49-F238E27FC236}">
                  <a16:creationId xmlns:a16="http://schemas.microsoft.com/office/drawing/2014/main" id="{6B6E5066-C531-1986-A88A-B6AAFBF59DD6}"/>
                </a:ext>
              </a:extLst>
            </p:cNvPr>
            <p:cNvSpPr/>
            <p:nvPr/>
          </p:nvSpPr>
          <p:spPr bwMode="gray">
            <a:xfrm>
              <a:off x="280769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98" name="btfpColumnIndicator437978">
              <a:extLst>
                <a:ext uri="{FF2B5EF4-FFF2-40B4-BE49-F238E27FC236}">
                  <a16:creationId xmlns:a16="http://schemas.microsoft.com/office/drawing/2014/main" id="{7DE233AA-34D9-C41B-2836-54E8ECDCC113}"/>
                </a:ext>
              </a:extLst>
            </p:cNvPr>
            <p:cNvCxnSpPr/>
            <p:nvPr/>
          </p:nvCxnSpPr>
          <p:spPr bwMode="gray">
            <a:xfrm flipV="1">
              <a:off x="582572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btfpColumnIndicator736391">
              <a:extLst>
                <a:ext uri="{FF2B5EF4-FFF2-40B4-BE49-F238E27FC236}">
                  <a16:creationId xmlns:a16="http://schemas.microsoft.com/office/drawing/2014/main" id="{2E2D625E-B763-0E9D-A8B2-CC07694986CE}"/>
                </a:ext>
              </a:extLst>
            </p:cNvPr>
            <p:cNvCxnSpPr/>
            <p:nvPr/>
          </p:nvCxnSpPr>
          <p:spPr bwMode="gray">
            <a:xfrm flipV="1">
              <a:off x="334823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btfpColumnGapBlocker178602">
              <a:extLst>
                <a:ext uri="{FF2B5EF4-FFF2-40B4-BE49-F238E27FC236}">
                  <a16:creationId xmlns:a16="http://schemas.microsoft.com/office/drawing/2014/main" id="{F9823235-BCB3-B9B5-6EDC-78AFFD3329A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91" name="btfpColumnIndicator730941">
              <a:extLst>
                <a:ext uri="{FF2B5EF4-FFF2-40B4-BE49-F238E27FC236}">
                  <a16:creationId xmlns:a16="http://schemas.microsoft.com/office/drawing/2014/main" id="{F478747D-DFA3-D82C-F08A-0FC75D158382}"/>
                </a:ext>
              </a:extLst>
            </p:cNvPr>
            <p:cNvCxnSpPr/>
            <p:nvPr/>
          </p:nvCxnSpPr>
          <p:spPr bwMode="gray">
            <a:xfrm flipV="1">
              <a:off x="280769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btfpColumnIndicator183320">
              <a:extLst>
                <a:ext uri="{FF2B5EF4-FFF2-40B4-BE49-F238E27FC236}">
                  <a16:creationId xmlns:a16="http://schemas.microsoft.com/office/drawing/2014/main" id="{D68534D5-0C43-74CE-33D1-97C555069DC0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5" name="btfpColumnIndicatorGroup1">
            <a:extLst>
              <a:ext uri="{FF2B5EF4-FFF2-40B4-BE49-F238E27FC236}">
                <a16:creationId xmlns:a16="http://schemas.microsoft.com/office/drawing/2014/main" id="{8357DE09-F104-3598-0F74-9D25C5C20A04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13" name="btfpColumnGapBlocker393310">
              <a:extLst>
                <a:ext uri="{FF2B5EF4-FFF2-40B4-BE49-F238E27FC236}">
                  <a16:creationId xmlns:a16="http://schemas.microsoft.com/office/drawing/2014/main" id="{E6C04F04-882D-708B-0715-57B4D3184E54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111" name="btfpColumnGapBlocker348920">
              <a:extLst>
                <a:ext uri="{FF2B5EF4-FFF2-40B4-BE49-F238E27FC236}">
                  <a16:creationId xmlns:a16="http://schemas.microsoft.com/office/drawing/2014/main" id="{67ED441D-694E-0BAB-73D5-9B26D014C492}"/>
                </a:ext>
              </a:extLst>
            </p:cNvPr>
            <p:cNvSpPr/>
            <p:nvPr/>
          </p:nvSpPr>
          <p:spPr bwMode="gray">
            <a:xfrm>
              <a:off x="884376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09" name="btfpColumnIndicator469642">
              <a:extLst>
                <a:ext uri="{FF2B5EF4-FFF2-40B4-BE49-F238E27FC236}">
                  <a16:creationId xmlns:a16="http://schemas.microsoft.com/office/drawing/2014/main" id="{09871AA9-0428-B8F0-4063-29EB14F57EBE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btfpColumnIndicator945999">
              <a:extLst>
                <a:ext uri="{FF2B5EF4-FFF2-40B4-BE49-F238E27FC236}">
                  <a16:creationId xmlns:a16="http://schemas.microsoft.com/office/drawing/2014/main" id="{BFA3BE46-3611-F193-9EBE-2EA0A52E0D06}"/>
                </a:ext>
              </a:extLst>
            </p:cNvPr>
            <p:cNvCxnSpPr/>
            <p:nvPr/>
          </p:nvCxnSpPr>
          <p:spPr bwMode="gray">
            <a:xfrm flipV="1">
              <a:off x="938430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5" name="btfpColumnGapBlocker823105">
              <a:extLst>
                <a:ext uri="{FF2B5EF4-FFF2-40B4-BE49-F238E27FC236}">
                  <a16:creationId xmlns:a16="http://schemas.microsoft.com/office/drawing/2014/main" id="{C0814C94-AB54-76CD-90BE-1573AD2C8E04}"/>
                </a:ext>
              </a:extLst>
            </p:cNvPr>
            <p:cNvSpPr/>
            <p:nvPr/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03" name="btfpColumnIndicator164813">
              <a:extLst>
                <a:ext uri="{FF2B5EF4-FFF2-40B4-BE49-F238E27FC236}">
                  <a16:creationId xmlns:a16="http://schemas.microsoft.com/office/drawing/2014/main" id="{AC5DEBA5-8E72-4C30-12EE-C399C05E8341}"/>
                </a:ext>
              </a:extLst>
            </p:cNvPr>
            <p:cNvCxnSpPr/>
            <p:nvPr/>
          </p:nvCxnSpPr>
          <p:spPr bwMode="gray">
            <a:xfrm flipV="1">
              <a:off x="884376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btfpColumnIndicator986765">
              <a:extLst>
                <a:ext uri="{FF2B5EF4-FFF2-40B4-BE49-F238E27FC236}">
                  <a16:creationId xmlns:a16="http://schemas.microsoft.com/office/drawing/2014/main" id="{93C39C7D-EEA6-A4BD-10DA-D80544272B13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9" name="btfpColumnGapBlocker933680">
              <a:extLst>
                <a:ext uri="{FF2B5EF4-FFF2-40B4-BE49-F238E27FC236}">
                  <a16:creationId xmlns:a16="http://schemas.microsoft.com/office/drawing/2014/main" id="{378EE1C8-806E-A8D5-4C50-7771EA85E5BE}"/>
                </a:ext>
              </a:extLst>
            </p:cNvPr>
            <p:cNvSpPr/>
            <p:nvPr/>
          </p:nvSpPr>
          <p:spPr bwMode="gray">
            <a:xfrm>
              <a:off x="280769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97" name="btfpColumnIndicator343260">
              <a:extLst>
                <a:ext uri="{FF2B5EF4-FFF2-40B4-BE49-F238E27FC236}">
                  <a16:creationId xmlns:a16="http://schemas.microsoft.com/office/drawing/2014/main" id="{BD97202F-7EC4-AF47-D681-EBCEF76AD765}"/>
                </a:ext>
              </a:extLst>
            </p:cNvPr>
            <p:cNvCxnSpPr/>
            <p:nvPr/>
          </p:nvCxnSpPr>
          <p:spPr bwMode="gray">
            <a:xfrm flipV="1">
              <a:off x="582572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btfpColumnIndicator556032">
              <a:extLst>
                <a:ext uri="{FF2B5EF4-FFF2-40B4-BE49-F238E27FC236}">
                  <a16:creationId xmlns:a16="http://schemas.microsoft.com/office/drawing/2014/main" id="{DAAD1431-CF1C-A47F-CF4E-1ED6266FF6F5}"/>
                </a:ext>
              </a:extLst>
            </p:cNvPr>
            <p:cNvCxnSpPr/>
            <p:nvPr/>
          </p:nvCxnSpPr>
          <p:spPr bwMode="gray">
            <a:xfrm flipV="1">
              <a:off x="334823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btfpColumnGapBlocker752866">
              <a:extLst>
                <a:ext uri="{FF2B5EF4-FFF2-40B4-BE49-F238E27FC236}">
                  <a16:creationId xmlns:a16="http://schemas.microsoft.com/office/drawing/2014/main" id="{0044CAF6-6C87-2794-C11E-D0D256CD8C65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90" name="btfpColumnIndicator356755">
              <a:extLst>
                <a:ext uri="{FF2B5EF4-FFF2-40B4-BE49-F238E27FC236}">
                  <a16:creationId xmlns:a16="http://schemas.microsoft.com/office/drawing/2014/main" id="{6572F611-4B24-296C-0A76-2C67D954134C}"/>
                </a:ext>
              </a:extLst>
            </p:cNvPr>
            <p:cNvCxnSpPr/>
            <p:nvPr/>
          </p:nvCxnSpPr>
          <p:spPr bwMode="gray">
            <a:xfrm flipV="1">
              <a:off x="280769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btfpColumnIndicator458876">
              <a:extLst>
                <a:ext uri="{FF2B5EF4-FFF2-40B4-BE49-F238E27FC236}">
                  <a16:creationId xmlns:a16="http://schemas.microsoft.com/office/drawing/2014/main" id="{B0FDAB85-B7C8-6086-E3DD-4A1F5F95B6B0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50" name="think-cell data - do not delete" hidden="1">
            <a:extLst>
              <a:ext uri="{FF2B5EF4-FFF2-40B4-BE49-F238E27FC236}">
                <a16:creationId xmlns:a16="http://schemas.microsoft.com/office/drawing/2014/main" id="{7F737721-E740-DD1C-DCC5-02A3DCBEE65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0155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84" imgH="486" progId="TCLayout.ActiveDocument.1">
                  <p:embed/>
                </p:oleObj>
              </mc:Choice>
              <mc:Fallback>
                <p:oleObj name="think-cell Slide" r:id="rId16" imgW="484" imgH="486" progId="TCLayout.ActiveDocument.1">
                  <p:embed/>
                  <p:pic>
                    <p:nvPicPr>
                      <p:cNvPr id="5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737721-E740-DD1C-DCC5-02A3DCBEE6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z2dD7pS103gZfJ6l4USC3jqtWOPR/ue0umjYEY9KlLthURXCUyUuZbmGDPUXB2idlVQc+R1c0j6vNnMaKvr/AghcgjyTjoGcS2U6lyGcWZbvoYqQsrFJ5DN1RdHsB5gZU4BjQJ6xKwDUEsW8X/QQ4uIPkrhyjIfLLN7ZR3puqzBiN1rMnctBA0J594at1EN5QJYMsPufr2eabAYzIDriNpy1GurybA3KWqcTPRKYh436jQqOHiPaCJtAtzpRgB7Igk7tw7BcBhai66Lc0jpyzFEK/4NRoFF+cso+ThI1HNgDMZbpFoCsJQtilLqk9nQPGX6RXGboCTf8hOOcHaKoTUKF81dro10jOa8Xb8mBGZBE+xk1l9MAy6INl4AKPS/xvQ3JR0aqwpvNtDkGosyYwWymj/vBrLnyXbJgwJXiwBMArpWNWvA46tM3UhSX2a7Bmpmgv1jDLffPyIi7M6JmKkGREiFzrMfZjcH+8MqcD5FImHbYZJqbOnb+fesaWYS3zsI+yoNngH2OwivnVN1X8H3wWIc9JzBj8iomFAhvvx8UNyJTY4FAOPniGB8lFqEoAlWw8Gowia/COzBoo2KZUA9lpmHa0Uy3rwYhw6wCL6neCbBStwzAORWBIqriCE5haYi8FIbrb0Atc6gAJc0QVv5cvdnwRb/qOseT5bJ70NEDotZ+0L/eFkzCHJxyG3i7NDSnMHk8ksh5t+1FuyhVcjshGX7QFueVTCQwLaFygerRvptghjXUkKIz/5AUWvRgbOeDCYzb5kvRtRt5P9yDDUrn97gQKUUtyNNoKY0yZ8Q+sJxZhAEGbuimPmtAe9DeOJlcBI0pNRg32CG491vQPvsSjJV0SZQNxmzVKK38FkuwOJqc6e7pT/Z4SdWG/E38AtPvwMcoSLqXsHEJ75Lf3NEflmdPIPu9/ztUZ8j6pbwRd5Eiqc+1QqqKtQcw2dV9yfWQpGpDDOgfZHxf8A/NWh72J3PafHcsLDYitium5QWQTm4a0LBPLLoXW8BRMihCs+GmEkgLTSACJpdbImnafDM7BrjddJ3woUtufpYMYguxLqP3x8Ip7BQARYOaP6m3CNOCsTfFQ6GtvAu7wQWXZLGIWZ7MiXV+w46LnCxuA8QFfwz4xWPK6FKOIIlWOZam2OExutY5gBfyjYLZD4z/4XvzWqBGMBKl5GS33T3LGXcQBXgPEnbkqeXob+OFcgYfw87Jyg8fed13fa7T5FxK/ynGrwyLRLGj3L5ko/mTZFebs2kMvSVNFK2a9TQsBDVvjNsLAZJnKO3SlCvnpzr/2eT5GwxGHYEb/ajv1XbVxLm1Xwtxv7JJwR+I5z9EF5ObJrznvSpfIcQV8il+x0bbLAuj2ErVbIaG3mtgf8QCVvBlpX5AF0ZCcmEytapaeW7I+ZuWGiv3xGtw2hXPaZUNfMtsKS5f2Fn4ialSD6AZ1syZgkqA9y4qW7yl9ahKsCklUbqDJtFll50Kj35VnlQKnP77t11NER4ojQBcrQy+/6zOI8Ht415Idjtrgflym1xB02loan4Pb/G5AJ6BN8658ra5S2QJhm0BUdrfiJsTMyxecECWWyDom/XtJkAVK+/6bWBijzaHz26LJgYmlvS7t6HHI9jOc+bOKEnPipxf43oOx1JwPFZR2nvG+CmzcR/OQtyvy8iL+UIf+eDdrgDzBdaj58ICU72+G3JdRaRqeCoLYCfWUDMsEIrOwUJe0gzF+xp7rSaeTmcCFVmbtuVQQjwdsP7H7GJ9HG9gSzzZjCzYUIXfye5QyeOI+8H/fjwPR3ZCd4a06TWPSlgc/aUKjQSkKTnMn0+VVVZ+HEHF22er6hbcmG89HPFBpIzwNTrEp+Lx4DcK+KD1G3UYTCC6rSZrm+yGZTgyLjylZpV47+ExcBqLR07xlpzkItviG5do/TAv9QLszXgFKFrjFO6uM+4/5jPIyF+eNCRRzyzvfuGpaVQQGXO0mCOXI3J185slYRXMF2YHPpYwZ0LbISvj3tLwKiKh2zQJSLSFRqzeXkVhNQsbC5O00h/ClHYSJNb3/IXNWxayKMGaZnmnJpAIyQQMALqpJVp1go7wICm2gAQKGkzDMkQjkiQMozoIyOHzulL8mDIwne7NzzvRHFg52XKek6gbt533MfuHk8FZa6/otAG5ggqO+x7ya6wihZZ/hJ4gbMRCBbpcy1cnHv8JX0mlQFTlI2/kuN8/r3mIQCbTspudRVuKeDurPCWD3y8INWfrNEPxXukDba05NogGzSmF26i9LNQ5PZy+UPlqwdJfGk6vXD6jb1XYqb98Rpc80FQBMEQweOHQj6IQ9cWNyQHMUtVnDrz9tLKdx2b6KFeK0SH6podqxGnDk7QzcDLD8qXETw2wj/kljUz1+2ldeqKBlcLILVFS4SFnQ+LLi5i5tbfPAFLrV8yrdT/nHTVuZsnoDqhOHgp42zYV5q0Q52NvoIfo74vqxiftpGhtv0+HcRA2eIOF0nru7YdTWD55kn0d6yWaBSYRNIrLDppmHtTuTDNuWuoaV9xxNbyQMoHsKWlmR1N+NenV3KBQs0oNSVx5qsN/55wlJNBxdM/LQK6F6J+ZDyvqAXsII3fwa2Vr+4o7jZPvKpmdTaeyDQ68r8TKh0UoREltU5mNM/wqLgQ2pw5oP6D3dE+J1gwSyXr1h2uTbi2MgtpNrxT2UlQXw2/bxX5dBXPKY0d0OsKxjvgLKtdxKhfB+SdwLJeD83/9GB2BDsP1aEvg6pHW9kwAEAKsshrnMI8W8bCJL4j+4YGcSe84Vo/aiBLaNFzxHjDqdv7s+AXvKyfMgaehualOncePXVx5M0lsGUPxl2de8NNfT5+kVT4HEgL7HGalfRA/u1Yepzxpo5OEQtDfCNS0AmTfYTmYsyziIyapU+sVKh+CVwcvqNxJxewuLM344fSqTEEKlfj3YQudmP1GqloSR6Ghk+eBBBbupQdHH3W8r56SFQytwcbvQpVcvcxPJejBr2Wt++3dSZ15bkUgts+G7dd4qt4Er+AUxJJuHDxeWoGUgBPKv9XVikYtcs+MsfxKmHkPah/KQINlzBWvtv5Afsh0OgRplnTx8d7BC6A68mt9z99O3wfcd1gB/5uj00b3RqL1Jwng6p316F1WGwQm9Gc1Xim0MxY9wdHM4EKjwQplSZ8I4ZF9KZRVX+r+Aidep8b+/tAvIm/pvEV4X1ShlXxBdfFXGjKFiGWRImcev00hT1Db+o3YtzRax7x6qjqZjtDDWtQGXxpogrRjbzmZALGkkoASl4d3yuGgSKNyrcE/EEUdQ9nvqlAAXUK46sD6wRaBOZ96lEzv6kmF28mMwKJeBRYrVELLLYEksH4ntcbJrOZSkTOfihgPXrG6Vt/BLEZlmyUSmIxmCg7o5iMJvFsIkoRwUo0XA3m71el+WjwkpUdSXR9VDH0qgNkeFRe1RQVHwx0aWd5VgLSKIBeNOepqWiuOFXis7xvUQWdDwBPOIXNCT3sULoZbxwKQPUi4GWtHn/G/tKn1tvnZTcbg92DVbWKJfezOTUZ8c0+t58sd669B0+GVQOiDQfp9SnOC3iGWuG482dKHdzcr9//vh+e3crbv2sjS2hxkqzi8V29PIXZ+/cOllyskvbO9jzgttjIBxgQRF/qmOBHSE0IErrypPNsw2XSOXsJ6i4ldyEyeIt6HIqCdrBzZNLIrSCyePNZAj9gG5YSwUcNnqkulLip02vn0NFY91ZgGPWiQTInqU6fuUzeul+wTPht3bSeFZYv517c70Rg3Nte4veruwAkntGNYwNvFrlhp4Ea1byLAwGQjgalma0uHgN5dU4nXBav0kZoD6GpNtxiqot1Bmz4TZKt0c+Q3tgyjLCkfsLYx4LLeCZB24Qc+64+vzgSZ+vSnv/hRbh5I7SX203SjWtJmZzvJIYzBrJTOL5YzkH1csA88Biq0KmetmkV22qz45qZik4coKNDpAmXm6nf7Z2sjhRBPBQT3cR2/8RlxOumzCmFWlpA55UZqJ0oOkuSf48wK7Hr63h1T9+BgVPLF85oIJ9a5iDqLC/QTTzAsae2UUeK7aPBSpP8PZBOFqzKae2K+Rc0PSPT1SKIT2UtFcCLQvXwvU9Fcu7GZdNyWBP0dT6XCyd/D52fivEZP2ky0zqnz4SxpLgoHpDzZGKKpo99WLFRFclMHF2c+bi9atk3XV9IuCITb5a6YKIBwyfeLMsB4BhXnuqL4g6eDQjv3XmskQy4AUoyJgdCIdtCUn1NtGCMtH8r2INkwVLB/XPoJ8R35wvsq/YSUgF1Tj6flhhTnWxv1fhC/t/PyW7Dt9lJUgIg1JOpDo7Jpr8R7w1T0CUqnUZmQINhKURI5HKHS1wQShxEt2HHJf+VHwrODzAI/S+mGQZBoUnc5CSjf2RmAJQX3ustIwO+e9xC0a1f0fwdsbZrw6/yDJl7JsBu/MopT0VFsrN0zI0kO0heH3fg4DCoH6htJ7mg3t9+BuK3IN0Nleojb7X3MNwYAAPOpNg7gu0bSWxr3peNzcfQTyhqgeQ56Uk8ciUYoZjQoCpC9ATrDFw/ptHmbaKnnzUIm0OZNtE9r4zJens5NnS17TshGkx5extb5qjEeFmMyzBDF9fo325VY7kWnqffo3DAXtOBFXhGMa6tA84LtT2NSKIpYOONCH0EjnhHhksR9bTSktSIr03pBiukHSslORe8b0QiQsWOb/laDhj+exTlMv8Y/j9P1ajpIevmJp5dx7ZBl2cbtlPlHqT78SrIKTWQo5cznwJd11cOHIO4YtWuPdWHAZGBm/tUcRymUG8Dqv/aPlQKUryC3e64SE2e2iSx7ys6j8fnGkRoDer4SCM/t5mO9494bbbfQG8lgKC3qbGYuDk18BvRpXoNnb6V9inKIMhBUYgsAqDvs6HE8Y82MRdYIB0Bbl4KX763+MpMBrpJHDo0Rk6EllEvaq2x3sp0o1QZFLjksNbbngD4+sr602bdZJbtbvoso1TIqsgtDe+hZeHTxDAdeYZFwdwU7+/htk+++YQMZfJmDg8F49OtajCx7X14+lRFm+O8nxHFIijKuyDo2uvPWqR1EyLrd6LsOzxAkVIbNnMaumIao+WIsHb+NEHho3c1jI/UumaCejuybO3FRTFU+KpZzcaBmG3XRCMxXKdjemUbgN/ZFbuJHF93fu4pc3QRER4EnGyb9lJaLlzx7rnBM8j4zIkw3kubAv3slaMCDJVsS/2KFJJ4qKmstk3QvXOwj7WKXLXMpnEM1fQrskOxHnsOiS7M8FG+hVXzMytAcHraGrRn0nc9hlvgFq3feUu7uZmbuRD9vUeiU+zSM4UTGJWnHRImYO4vIFzqjRpxKsWUTE6tydGsorxWPjORnSo7NrdFxpYMo8ckYaTcI1ZDVMqBlYZv7LxtN38fCc1SKTfNMhsw5syaUGbXsudR2XY5p9UEDaDOfUXOjrZDWMMvTEzWsBDJ2vyNLbD3MUpXAcYGMAD/Q1/v5WlZyw9OnCmDOsWbQMICe5ZR9YCHRlDpOHsu7bobEsVs8bCpFjZTj+mm0bIqUdb6J4V4Tr1xTFNS+lckkeqafqNmsTJ3u9cdGOW+VCyt+qLzR4SqLgf6sqHiJ4mfARutx2O5+GcIQg12WRvWeS2rug7RImkUiLN7ShfNt+yTI9L9iurDGKXdZCfgdGNhmfpO2E/iPSvv3m4DIDhYBgofuDdYaoHp66XLZBy6UD0XktvrtXwksUxPlkFjijiwDbzcPBNhLhYRSgSi83zppwIjU9NIH2cNAgLb62OMuLs0G0TmgmYyOlCWkFzopcawssUKXgroU3s62vIpQRe9kX12BHsf9tOGhZk5y0jWANDj7RSaYnv7cXh6K1bTJAY0TkzBgdHWBZsV3W4kdCANKsygsFmoj2bUgpF83UayEgci23BMpbK2bYSeOVcKy4WGa0RqyiJfJmd+DmhGZCGyqqf31dpN+I7oAXwhO0e+nE3dGCO1eVjHCIuZNr+Ndpr4Zf2AiFzD3jf1/Je3iSkc+IO5qoQVvUvSH8SfsVZ8Is7hW0g2Z2nKff/5eSyce4d7rKIQi/YD57LtC3LPY3U5kH3neXk+8L4+lVTzgeSkVZ7RF5VLd+darA9OQn0DDqgF1TREMbir1AqMMtsJMj+c6wOib+gKGSI16E1V21uZgX2ghJHuuGA7ZfiLATdHxoKmGpOku5oxKIkC+FaJeGBtpITpW7fbrkt+U3kTLqXijHLWo/eeC/dosbdr3P52B2Fuo5H1LLPlXSOPKbjOIKUkWKq90MQ1sOVZWGCGu7uF66KDuZcBN9LksMFcqDROn/Ze7kyClFkZKJG50pzaLFKV5HJUvSAwIxLyB+RI5gq0e6Js6oFTlPjZFNJbDz2mBMiitVO1fx7fJhTvjurpLHQJJjf/1FLzm04tDyi1xF26kwCeAaWVLUAG65gakLI77BCrt36EjJdvqBFLGIj30NVG2rfsdpUzu8AVRclVX2HyzxrWl9uWQHA+gJk70KWRVv+3/XyEhd5LHVE8RZE+EXHtBK8XuMkICnhd5cvTsxbDx/U9M9q0pRO5l9NPOSiXoWyeFY2EooemRN7+zk3vHtFljjoXz3Fu5uBfFuNmlQS9FqlS61/tWfGt/X5nk8ktt+uCv053LRR/Boa2RbjFTNfhB6/G3tX2/bQUkUtV08FHEWnBJ1sT4AJxjUI680R9KoDZIMgV5EATk4nIRTyeRa62So2pfzkUJNocMqF2/1cn8S8crIZJRmwOd4lj7mtAUUiFevJndYOFIrwtv5yo1i6Bekp/tItVPrkgEt6ch+cCnZZvZdrv2XICveR/Tk0WOvIg7E01jJHVS6Gbkp4JtsgFyYB2HFadKLRSKtIUYPkJBWKEHScl1ayRE9gtVchHbNmoozxwix5LgazY84ghScNghw45zno1oa/7zDtXaysCa3w8Hy/omzuW1XjigV2rq/h5an5h9hiV3DmxqFl5crCbykLby18OenX37S/cSqv1GvWajvTn3WIzDmfz7eNr1mRTu6F8GbbdJttI/9AT8Kt1ZrTzpwixGCpnvzFxXvGGd2V8XgtM0epQuj1MO0NqgK68l5L/3ikZxTvL6eyRWbmWYRcprLEJDda/4T8paRDpSOjur4tizjS+NUTkYaIOF59fSk1NgdlwSFZccH01slpd9zlq9cAuYZ5j3vVTMIFjD2DxbXhKtDlstmuylIM57keDH3zcK4Dxf/v/bFedaIgE+rZSGrWqcir3kFoYJw4OBsDY9+iFGvAwY3vyiXSLqVC9CEO7G+Ig1qC/mPR65jqCMWAJwcIGT0g/AfN7RnSKfiA6iAB4rVBG5oRd81wyGRxo5/ngIHTYNrcwz4eGfzAqYb+8WJOFg/Mfki5V6utawE/4Y148PiSKsX8zi7SIcucfsU9MYJmVc8okfb1PohzDBOscuXwNI08zf1iRuP/Y9SQZmJlneqrT6cqcflKn8rkUOZZxQx6/jWhrOS5uxUKAB0A4ZACCHdNg/4N6OffZwCVuZk9A5fiYb3NpTHFJao8XJ3Lea6Q0yS44Nr5I2zymBgeRoQs8pi3wbKOhhtJYAOSnnu84zGUThohIwQy572FYiWrSENugrbukTWNisBvGJGuh/i6xMbPPzRiCxpRsjRR7geVu2Anll+R62AalTVF8nBFRtjRJ9BuVSMPva2XCMdkXohna4kh9Iq6qHJsrPNadkOCtZU1dSl2IcQkl2ZqQd4z1YCjeOAWZ4yPs0/JijbDSir1ZL7UOlf0zRYGzJp3jz4diXYb4ErXUgjDxGaXuiXLKsw6xtQM4fIJtfwUgoIsb3ZP0hKBiYzhVOE+N/LqHM1qEwqeqd0C3GDk9mJc1+3/+bYRcGnZ3vACFWh4gpc4mC63pjX+k3rSeok/rckYKXZJbHVX/rJdMz1gTNeovLIs1xkHcteOY6p8bMZlUSLG6aA0Xd6/sGR+/ubv6O3lbVp3Vk+ZltLr3UBSmP6MC4ejcKHeeN07Nm2gfaBwBplbIMaNmZJlMeTP7hL0b5mesPDbkwzbg1TL8Vz4HrWc/2PDgQbkfQ0HvmeUgtZK8hL16Kl6D7AjSyRRv5l22oBpS35ltEF/oGcPc9sZoGF0YnYKFxVWpX4rBnDmb+wPR2a7juxSb7Gx8iEOLOO1fJpJvxJAB5wGBXmdr0VRusZBUyfjpPQYKHowCrByRYDpjCAjmF1Gr9H6eRa3GwxBaUgWIRniTTm9b63FA1W1ii9q1NkQeWra6kgeAbXUh3uR+StZPjvgkWRB3YuD6sgIXjhPdw8ieN3FuQvOM1JxXW5Df/1bhg10gJQnXid+EcuOkeg2hHBuU4VKHK2NiTBaw9erPagbZBC/wZs/Rbr5uronGpW16QSt+XZuQgYeRSX9vT3Hol/IMohBHECz3cJj8Hb2hcXStAONe3LOkJBNbS5tZhi2+OLI0OgLJYSkvP1hrkzDr6EoXzLXquuw5V9+kdKr2USE9hqaGsesI43bCeHLFn6Qj6vd+LJcUCZpgWUFphbvOHtdaskzTByvl7W8eniT7/zyTOEIYKIZiMlpbqZVPHb10TAg8xZZFJ2HF7cLeRpsOTHaRsjWXebKDKTVv/qdP4K98lLKDI/lIF6NnLuIgCXl9O1WubWD7WfCOIINhOoipV+Q1q3TzXnOHDXsuOkL5F6hOeTC9c75qewblgI9LFcHnfDg3ajPSIY/1ETMmQ1ZbCs6P01JyfK3tra0IRD0b98ZYY075FvNlXjOWYnl6s32ULMX7ptu16Cg69PFgjazBcWdhOFJ2nNplXLhM4xKw9Tjgi+xk4qvNnK6DyUwuSk83JWt8Cl+1uY/OIj8repQobBSr0zam+tCJF7RBDa5IPXnStSEQVmsvmaPflCdxosgYTl/fUpM58POhgZStBv5U2IBDnhbEx21CddX7u0nasV0CDebLAG1J9+WWgnhaWQTnXzNgDL0NPjg7DYEsm+9YHjtJBxh40Sn7qqoUONcN9+zilOCau0oA+UO9rdwfM7Kk8rPtfC0uUu1t0ppH8GsGhgckX9AeHMpOdpXdz0staWblN5uNDzvX9ixz0kramiPqg5BiS3HexHraJDDJMmaOZ1zsThu1y77j4GGhrXMY3K25oczlgluhfdynmY4LTcLi1UWcsBRYwuj9cTnQZS3aZ43sD7YgNeZg7/wlyw/0L9nPVvEKEzmSchvwErvsQ5uynWGbNcr6yGMKMeneQ/dTcwODIbLqQZsMPwygJavvKwwI8QnllSGh/6nRfmExr/mLxEEc8KdHWlPQKZVThtujRjMuUVti4QzkW4zXu+jAnA61+dossJugiSMfOOjtTMFE9/3mHDA/5ZYonP8wpKlyZwAvzugvreZW4RciKvzrPdMgCTKdi+uML+bz45k7bHOj82W1my+oYZEQQtEhYgRjwDu+cICrG1ORIawsfkdNBew1PwL80kfBR2QchGcm1aSLC/EEIfZjY40NQZ4ggL2mEj4oVt4+tnZc+wc5CMd6+TzepJdXAx/zXVmVHLJh/1X+q1qvdFoFbmYN8wMx11cmIYMAYy+nn6mOMmGNcS816WoyV3zjtgnx9JpqueYh3xZ+TN+CgGEWT2OBfZKSeSJiOH6Ldt+QFbWTIVgnhcz1tq6nHtRsxKDpr1mvDGgtw+dXfrBWZP7Ntge9gDBnmAKPXy0/RCVBRTPKazJchws3Q7NFtQKJRoNXH04qhAbJFMWrB3rz/71SdI28MtaG403PP+9Xc2ULH5H82rbz4bSpHNMXzWCCGkIFa5Zw8TFJv+v2K+WwJT5g9z7BDStwT+qax71yXoBxdRageJzu8cHT56HpcQH7o3Dhx3ZZloQ9guydy3aTgxdcB6htPXNiJd/kUPD4ujGRUffEJmv/FebiTz0OXubjbYMTGMluKSNvazz+IuUSO9ccDwDJtc2eH1J3PstbfhqcrzpX/p+aVBjJ6Ya/+/WQ3FVZDGEs/wmV8FMCs93D4Mubxh1pCBzeMnWX60yG5Z/gsZs5RzaUWpCY6FzDhQ3Cvpa5iMRpDsxafWdy3vFdlsHUL6lwZp77TbpfBrjeftGe6clneG9wFUVjofxwctgYDMS5mxG4WgIBKUwj8nFMa5KYLX8D4xf7yo7FeXkh+TvVktDWlDanpeTsI8sxjvZ0fHR0bDw5hPZR1EnaGWfWALKnZS6t9AvCiFjTWfoRd6hE3qhMSn/nNNttjAJCxyNuJz8m7fKI8wD9BRp97u1buqxrU3/C3rYkBd/dJ8tH771ZENx+86Krvu5BMWopRkimUevWhFKqgucPa/DpLPJKH9CDvn3Ip3PUVGZ6Xe9oHrc7WNl1F7WNPNjE+79srVDfw0slyhQJAHLfkSVTroP+7ZkTNKFR+uQmvwsWS8YLa5F8dA1jLUT16SgmOBk70WDFwkGBuKMt1MIopMY+4Rw9aWq5kQ3K7gsIR40a5OLYWzN2wQ2HTmSAAz1qgL2e9lpHJqBGr4eTgjGGQgwuLDmqQ9k1TjdTO97pnDQn6/ceilHs7z9nk4SmYcnV9ajO3r0Lb6xSjfkd7x7143YnO76HGpLbT5gEeL/DExkFzp2LzG+hBap2im9RZuAjjZCoZt9whqclvpB9XoJzp26Pt3J5/dJSqsA2AG0xTGpdwWkbLVD2CLbz8oGFDNPVOJGSW1HZ1vHFaBAKJIVoq/Fi/mQx7HM8kFEikaMex2dj0ngu9FB/HdIHmzKV5lwf0GZxYd08U7lKV3T/JeGcaSp4BlFASdWE4nArS7iBBRGIm+/a/D7dY+T2nvjlEz559HkX4kv9D2uQlh+4/9vLy86RV9njFjr0slQPh8oxdBNkmcTywSydFrVSwOzu4zQL1UeGlxQ6TFYZrDjxcWcbIs5VfmCamYNwZC/H9vrI6IeXz2U2s2a0dlWlM1tsF2Qj21dPEqMOtDiLcjsfOQB70CZDyuNuIEj9YvNHdttlybgVDxUieaTsgfAV0HG5iX/0J/jkifi8YIpxoHxgNEDVOOTSiwQyGdR+ysvsRBihrZh47zr+WQE/QaGWgSaGB7OavuwTpGaIg3tDBrcMJiVW7qrHPTnyMm/UVA+4LvHUqXwAVKAAN88fn7IK400X6tl4oBOh53Y7yemjePQHA77Yeu/LnWcK+tm2v2rj6mnXLrxm1n4/qWFdpmTOJYnW1FPZeTzde3sjft+41/AplIJUkdofwJFVVtnl/5Yr5Zo5YZbMMyADVodOi350atcr7YhBtKLBEhozBtJQG6rtMdIA39FaKq48tZy4iWrvZxTNn2SP0R7UWstSbn1444YdMp/j5hpzut6VUwnoRf4EQPhOLGN2VlhAx05dzY5GXRUJgdK4zYsWgoZd3Gj2HmwGlw1TMYq9jV/UgbWMcLyIGTvMJa6QXlQrvvWckG2orWT3SeWleVl2S6niUzZKeXPX+w/LLB6ITL+y8wcF9hCy6HD6Jteqpl0rA1bHpFe7//pyrZhUwxNtRYUXqYKJZPZSKxQ2V4CKVs8zxqbV543G6L43v1j4w+RU95NaOomQaCs+XTkCfPOB2svjvt6CTGIv/cS7bHIpHA3MRmzCcx9GDYS8unH8kmmM4GgxnsxeA9BU7aZ1X9nfmNVgiZSb+hSnbAuMtYY1G9w9s3S1K5RcZD7BtwAwChSrvyY8MxXp8ToQ60iLH8eEUBdl79usW5WLxPAbgrcTyYeHxkGcqKxd4FkGxpIJC/xuvubMcvShKTCetbYCI9bzpTg3f1hpC+i7t2j65UQP/wnzFi8/KLi08+hFhU2xf2NI6zDWnYmR4mXaA0rYQwf8hP9rXagSHsvGzUoU5GuaEKNJqUJSKUerVF6gDOW0Mb/nIPWdKwwmuqwFj+JlUgkFJFcoOODUYwPHcI4S1lNLbbX0XLZzg8X0gs91PiXkYMz24BlpwLzSQwJRUSNONbVvNE9NMcH3D+79+kQJoVz8vKv/edTIYrrDJBZVllMH4w7O8W+KU//E7BHde7kxeSKILBIfwwHGXm0LcvrMUez0K+oFy5n+bgZKTfgqGiPDVbl79WgZm0+yMeriZrhAXH/oOhj7S3IlmDxKl59VuZXAaDKhsfb5HP5p0JkB8epXq0Srm6YnI34+eFhmWEfeQAL5rbWTVOFh3uLSpidJbqgG7bcsiBoq/mgIC9VkF0HpruvUVxi22IMsZfx8wqUwmG4uYczILNCqXOTJNbqbtC6sim61FERx0IFo/Ko0PBiOynvv/sw9/IAHetzlTJLYmV/kb47lzpfyqkgcobr9QJw9m8nmMXvYRkZfRjAhtxNowxPHZ+52Upfx81Y1r8Xh+8F2NI9AhZjPQHt5iRV2HNFXix8C691/RbcVU5/kWLzgGvegxPyn6p/w1BG9RMGf2ymbFQXfHVmaNKbp4ZbZKDY4BYXq4S1f7n7bwTMZIAtxv2wAVG++o+kzQd2ZOk09N6mICr32EvdnwS8Z867TIkHLgrd1vJya5MlVBJVIPH9h406cFNVCfSltkKKqysW+ERMgrnUPAINyV0voyrQP3dLwv7AI0x6pTvK1gvDPE0+v0OJHZOZ+qTjFLm7NPuSNF+cmgKXbcZ+LQkJFCvq35pp43/SMWEPZpkIcgxm7vQUPZklCARAcnuXgXtF0Z0RuvrJf/2SeVtsSJ9SqHiyFdTUC9UgPlZKRnVwFruzSTahVhG6wD1vg4R81z6HYoCOHem57m5unjLtVM+WMdmyYXEEHz998jaS5LsnLFV6EWJN+xsoyQPkS821FFrYs777PSApun/NwdS47IACOmbiAJg67O80qM23YCW5mLOJb/AoYiMVb+QxabRDHsA1O+Q0Ec5d18Nv5tTCTZ12h+akfUn/aF/vJWlmPZSL6uBjg8j4sCUgFm4MlAGIp9lEaY0WIwBrKdvkhIHu5tQ16axR/JbEd7HnBmHR0WFaTfNKJhmNkyvaLVUueQee8+3SJKrU4V/9pd4Su1UQ9ARLRJaUdOttkcZgE3QIRwOS0d03ETJ2jTxiduYgLHPvoNpNOVQxrOPrqFU6Lv/ZXWLZ9Kz0BoHtSXZFeYMfpYsECp9PXmcDYJNJzehrnRoD08UV5F4unupcAoWZJ3V19rCCtEyO8n45qIxF+53KyDR5Gg+IzJqVEpkWG89FYlGOK71CWy8HyEAKs7qlwnhxGLzCDnBJgL0AKU6N1xRlG2AcrrPYQEZpqE4fXzZmwIjW3kwPKMU8k0bYR5tEga/gBnCDz5CkazTiacDUWCG8Cf9gsP00RY67hkRgQfIVOeYwqkGKIb8QM2gj6sTXeHfSgP60NFmPpDp6u3DoqdF3y3sj0izxSU6VOn44oScQOmYBK2MkEM/lZ9IRLQb0vjKyC5nghncxF17T57GAewPivEdQFiS91f+6PObx9TT8VneAQ3SrUKjg3OLi8/7kQt77YozH09B9zQ0Zcr259+3XxlnIBAMxyyYMfP/pXKqn1t6noTlDH2olwP/Gwn3zY8FT2cYSuNMCcjZf6UJpb69Ul+xCNifqeMpuZ+2RQC3TJ26i/cBaiDdYKzg6uYsRT7/7gVo9aUMvwN7G4uosLoLQ/kA4WoIiwFlStV01Q8s76mQAF9gDu79s3eFm33BHYlx1iToc9N5A2XDnu3erq4ob9qBXnGvAyQ2ZvWrY6K6szhuAoaWiGVzcV2mE/hx3MWgL73hWQYcl+l9Lk6H2BXSzatUFKRXst+ZMdOIoNdOg9E1L3vDBQ8DiTsCFQg4kq5dqX+LN4EvYnBlQr2SaYf8ApV7Let/qbgHMGQP2EC2InA16XH17lLDcccbDWduCptS8GqWLsGD1LvgTZQ76u5O4YNcxjGFetSWx5L0wVA8HEAdABz/RYBm59Pb2zaCYyYX0coXtGi4mtAAsrY7y48YA3B7BH6630c5eaHQT12I7brWAr2tlxlyXrtVn3iUq2orRFo6ca/KKOa+cbOzx9hj5QikJjm6Diy3HRubj9+jA/ppUO3LfutglHExyISrnt49w3Vlx5N/+mrGwqWGtrRYZt6MS/DumgWtKDj1HKYJQsqH/Np2bdFkKYqUmkK2cCb5LTc3fCZ8xapwddfT/85IoXWWse+aDXKmSVR3djR3HnvJhFRDWipEWYQp88cZ9CDbw/2tsPTiRbWLaNqVhSIpygcydczG6qX9xx8MPRkQgnYbxOwuogGjYoXV8YIse32MVjEqcC46MDFRgtO+h8HDqcutTtJXP834X71Vd2ngwOkhzuJX1HuksqbkeFEJce4HneRUAGTdNZJgH+Rmi+V0IfzPs7w8h1KnEt7PPL8mO6FhqJ2NLXhMFsGFEi2MLckhXvSMPCenYFb/fzS78Nscc9jTp/7NsoNcmKsilPfNwvwUsKVfBvVeAvoO/jeD6AP5wlFdkbXQ6FBoWCC5l+fBW01GI/azmR1gXGA1v+A7e5+0OAdVOMyFHVhM5+yRKBZCwjcOk6TpU7BnZ2ARjTYR3PiAsxoQlEi5WfKuDT48/FwtbaslL3L4a0FE32mCgV3YUcC8/77RH8RbLGgITSnVyi+6Eg4n2bzJNnZB2r3fpu+OcHAmJj0l1o7Szolg7KEsn2k+d1NmwyA3dG+1Zh+Y/8slG+bSPa9iOOwcWKYqJE1+7uuYbbuvLTmpyNoV8f49I+jBAvJT/xzmbsIog4nLcQu+0PK6vjxcU0xGvmRGnKTtBgpCXZw8icgyASma5f4G+DQY6YMXGWaJUi38H0zDZgRTZ0h19/yQHePPoJducOSPNtFarnB+t71gFY78z4+fYCocJtAWX5c2JpFuUA5urnk9oXucCYLkfAVDDL2b40JZSyi8eOhlkgt1BbrcaZKX12lGshTxNv2/9G8lhdl+aLvNtDIcbrJ/W/6tXYHpfcX+jf+4vRQCCXK3sRQzHVpdaWbCkXhrbz4rBeEJHca/C9v9JnW2rLfi8u3RrFKfYbR+kQ3onTgaqhsH5JNDOYna4PeiRl7E6/u7nqWA1T3KaXyrTCCu+mtHKupsEbSTRXDOrlsRo7D60PHDGVpKLqKLVtcQjJDw025jp5SJltWHrPpmMpS18gfnf9IMHwejAl6YqTFiL+LiNwIMz7rMjbSSgEUegXU8E8AwUompgkk1Dfm66p1X6MxQOZpBbWV5NCpnXc58O+x2n168XAd7JVj2HQrrlT4MOKMXbcnqIXqB+TTbxoj631054dBOg1LR/KGbbUCvzEwJdDwVV8+UbiAflLj/m1t9NHQeSbW4VeDwK9/TbCaZRsHCW7CgPkZK2meknpDf1xBBX8iOdfq7H1sj2FCIIQ3v4wuH6TFXXdujVqM28ziWDuQe3TLbYg//FxxsFLdIOhWPg5VUPsb5+BuvFh1mItNo8xbhKCndJUhbbR4rOV79Yvo4ld7DCDn2guU+nElS6diKRe4KyMuXaOGDaKHiSyA2XoDjepKfjwVbrWXmUS5j2gMwrq48o71NriOrLzRiOnu3H/rsDbtv+v5yYe+U5T6CavYfoWxHgbT8lOEGvkOUK9tkAwAwZqw4PIUAixxil9fUJRk1/ADPMaBGi59dmahlHW7+h6zn3v1o2aczqSvHyCyjPz8xSFrGPaYIOoyqIofWswwy0yc7b5BruTlcK+SkO2W/Ss0ZlpIFHZW8ZRzIina9OOQ1UZRdKYnVmGJ+5OIFzwySp0J78rP08cThHXhXR894xfaICqRfP21P0ZSKbNqSltXJDaQa3zs9tAlZf4nQR6jBl2DlkOgEomGQ1hJI4aXg3cqLfWJk4XT35m113bn/NHNfFPKXwZ9ErEA9JnVIPpoJYxPB/XUqFI2JKQVYR6TSIoq2N0dTxnFVsfHd+H5h83GJISOMCy7pUaJxytFp5REgDNiSCz+JRJvFS/ugpTnBs9QaM/+3hRwZ6CzAajvPBURKlSNpUar7F91FuUwif2f729kSG623u+JkN6nkjbXOuCzK7aWHTU0EfQKRiR878OLJSNPE1OPmdeyJnlpCVBJib1ce+1K5Imi6LvQr9mjeJQC5V9wWywQ3jHqUJUXkmpsPZ4q/cqbtAcDpx+ZJ/FPr/jbPeK/wyCnk4DMCbhRf7r0S1D33+j/ux2CXvQQ9D6YzQ1qu56Ny7s7NM39auycREbcCO/1zLIi1IKIy7mExrvIBt6aKzzRAcOjqQO9w8qDIEJc/BaGYeznfy/3QDVJ+2fMTo6pSSJZnjJcCXLJ7IFPrT+4+L6wqjtM6gijZE8MP5zb4D5ufgBvqAc2ydzEBodo7UiwRBoOpkm+4dkPnekSVn070iWDJMhxACCWAv6g59BjG3q6LAsx6UZbgDpudWMAuwtVWXWVf9tWpuhx1CmMNPdxoVVE9bmS2pxH04i1Ozf8RcyJGB/xJaQ2gK40gBZtEKdheO2p0ana4Np3vK/js2s/4A++SBr38ZmNmWoqur5uwBwquqrph74aowXC4qghzxJ8upmIJe7sSiq3jIhOEy/HGyHLOFkymHAu9dsFp4E0t76FAevGxmbdwTkEWf/7wNSu2701YbZe3r7s7Mw9VTUw4tS2HXC8rCMcJvztjZtb/bMfPArMxZeP+6ic5kqBannanG9F6d3YDNrxxmRjYXlhbNXfTx7Rjo973WWwlM5RJvUW71FaPrGGsOh3e7t2UcQ0Oc///V1Ow6Du+d3MqPztsdrXxkMBcJhXRgVzhzoasW1UjLDSMduKs5YCDljsbOc4PhiTWPUDPecAxnxZooDxka8Csdy2946y0iLwv7d40IcCRcOFRV7RmsYLh0vqeZSXM/ec+EJbkKQHAHd6N0izha+KDs/qkP4QpOb8a+bVpX16rBTY5vBrjpODzTn/Yhb7yLZ4EWgU15/vpjX9Ew019wzikWq4XtLJ7YlI4O+ALZqX0JP+BBTmNp5oMUwbhgWuTzx65VNvUpjisNacKaYkRyJDQOX4GKpphLk8rXqS9SeWF2/sgR/QGwadmeyveNHV2giYEdw1fnNduc9gxj90LBJU5TKLXjHJjqMOsWQXwTnygeHqxHN88xvv2cKXSYo+Zb/XfsEQPilTFUPN2JLp3uZ/i7jx3BBYZJuKFH/ax6qPW8kHbyS2sRtQg6532q8wY+ZMyvV2VPEuzzjpiDn8v7kuCzkE5VQlZ4q5gdup8eVctJGtTvYXuDyqcRO5Z0B1iTlgMBD23HdxDE8/Iv8fzGTDKX9mjty3aZTTsY8b67UlCK52Jv3lkHW2qYxnW0ZALLhW/IEQaDGLdXj5ZU3Y7uWWmdlzxOXV93EQFVIKcPLWW3laetGyDstGu3q9XlwgMhjOYL3mmVUL0Beq2/BS8xfFKZcsmt37vUImnXRIl3stTEIUU4U5fBGtif/PuNJ/60d/pXweq6xRHL7ibhFENTvE+uuOUEe/aBNJ2MfgtVw/48IMpzDv1GFASSQm6GPi9W1a8QipYKV1F5/K+5IZKiJ3RCubtLi0j/AxLtSPDNNaLhlwdsOjfSyNHYGdvFwBa5BgCPD3l1+rrud7ZbSl+AzPn38kfHF4IWsGOJ1e++j6BMfSOgLb+vKyJKSbPC9/RycJwcnwt0I4VH/WcxS5UFswmFtKnGJSHt4S7XQPtSIK5BqeeVEBGVVJqsic6PfbMte/lQWUokNv0PzuNqvM4nU6D0bRwSW/X9VwFwURz5QBK6IQ4DP4FhiLzb3UxDXVMvWkR9Nb3hKPWowPmUO+Frw0nerBS8MQgrrHiGEXiVm/9xReCVnqvd3TwSm+QaOIdDjyg8Vyfx7iJdcHPfz3dNIYpyQlOD+DBYEvJ5Nw9860GGM5CvGjIGE8UZ2ztgNEqSVPZWosKBlvhpl6R7DhRzD7PnfktANQymDiEmYCUVqn3V+nb5N0LxTYz0YEhWTPNHB4yTAl49t2alxIZMwTTIeCe5nDahTGe8EhskaALg95Io1pHm8sNmo/LMyi145mWButGxG3xUwYD0LeP4E1Pw1wpEQXlJK38fWSu5f32cn9zaiGTQSpZoxZ6cObMLOCkbd6hg8ht/s7W8OJaoHFS3vfZxJosQ4/VH2Ds2EbxcIbSYjIohXRWRa7SpuEGKdXQLxXKtW3yESFu+GuffO+FABii4UOkCrvzhDn2JtUJCs5/eL7CyHyLiReHMM1X62GUa+JmJL9OMbEjCPWY1zeizBgsSCJ/plD+YTwi3tc0j/E293vU95REaXDG13r5g7SwndsKKiGRYvIKDIu+5N+Owi5xbg9aCLv1/Iiv7iV97sSipmsjHrYs8RnsvQeuSgnrTuWx8KgGGj3IxHyjtd+N+iOkYn55OyWgpAzRBB/To/32SgG2kIHw/0pus/GsDGHxJJYXqnMPeVlcXXhvQvfYJ9Eh9M7hV2W4iiScu9DW/7cT2GtRm0F0zUqUANQMz4vSdtXrwiyLgZSWkZs34shXrO2RO3rK0/UvM4q72ERqVqVDUGSPXLWasB4Ofuq9cnw1xY7tlh9xVygs+rylk9AiCWWoa4FNY9bKw61D1ZETzR8jTamiKd3w9ur8Fi8tDXkHDMsdgzP3UH1h5rjK+FhdLtRhiJzWVbuhR/PKNI1Ddu9HuP1aSSxAZCgjCJVtMYp3pi+sWyxFhpUJsOfCnGa/mm9amB8Tt85Oehnnay81igOk3p0ewcs3lCyDDaCE/N8AykS4wiaah4mx8qvrKh78Boc54pUAzbe28GouYjpJwEm5jHmNdy9DIA3XL0a5B0ZOqW909vbWonVB+GzhhitVT5QEhpqpGKzwJnFPQsjQmKlPsIgSOeJpjYMpf9prIx396U4i0zyyeg39vvE7m+NRkKRs2UNKODehbcPiXKSD/PM0ALCy1RdZpS2iYHvayfyozVA3f55p02LDwGHYThHGx1wUcPW3Krr6bU30pibyyWHmQlwOtfK+T+9GiHNhsmAtIK60+hacvfdrcl5mT9yNTHiGJTjgCeN4OKRbyFtCITWANblrDOhJfJDK4wL2GFuEdmRsUlWe+TYiFftGalgcktqhP3/TdO1F3ku3FNwLyA00kLvTLDjQZgBgebRQKuSnWKs8gK7wId+Wkh5/rt3kJt2cctOxX7D45epEuqoIFlC3tIsbejl1BmCZkdnzy01WHbJz3qH01qmJOQ8XRm2shFsYv3T2VQeKL7RO5AFjhTB5D8+unJTdj8cxDnaazuJejpQ5cDwau9WBGjuw48OX4NgcC9z2FerEpWRDP8xvhV53ZyXLexD6JrCzgmLdphYgMS64tL1Cl39SNDr2YYgfvy6ynFpyN8U3JXVaJ3gT5ssGpORULV4xg38MUwjZEsT/Eu5o/Mtfar3XPJPw96JIodHzv/RGTAuAcEzjKFQgRGOXoPtR+FiI+mRr85lQWmWbu3uVeCuyKlmbvuicRoNli+fdzaAa2aQ6BFptzSdFfLBCFG+7NiGkDsy6XKy5a8K/jCqDMr11cx8jlmCf76fh1WftGadiEc9W+2gTbsppqCMaEl6Q2Mam/40g44xtgHO9yLkwzjgODGGLrPkSkM6cPwBTXxO6t/e0UzOXXEoY9AQfb5G+9kAjzedA/IOVshliI3OgTSt1PiJQaYiFnih5yYxiyq+Ubee539QYFvqA5Cmizh7gELcMbPbI7aQFrVV7MlizFzPcp5bsPPrqPidHmr7BGZJU1NXC5zchM3u2EX5WmvYxKFYGR2adWEb+Gj61cIuffKjWr2SuAc6NNUu3/w8bL6bj+MZPG+lku5QA2/08GuagYC5Hu6Ky7UloadVEksZ8KCweJoF0KKGaOF4I3YjY4+5gd/RtdBw6dqg0iUf6+sHkdjEanUry/pk2gZ6sT7My83YRQahsn8CanQ5rv0KXuQUXKtKg3MYm7mRuTZ2ONguPQDSEciShti8u74L1yb+uB9lUrHfc8fNXFL2dnurJ9Axmluwpqtg5PGh96Eaxj7Y8MdHJ+CNXKytAWekmR3BOo5eqPwDW3X+vKig0fOYE7OUt8VRsS6vW80toq2HMIs4e6nw+zFTcTFJDQvGr056dgMPAvABvSKcCidLgcocwgCvzqkdqqLq8eEx2VpPlc8TPiW5A9qKP3pMMX8vAWaFIPdABd7USb7Mv4PKVVKbYab1+t3JhmKovjl2BNuXywcYNfZXfYNgIWe1a9sMP8eHDzIUJMALxnBoQkdYufaX4NYQ7kaA4Kgz5a7uJPlF1/QNAVS7v9Eqjhhv2qmIPBlXyZ4tD/Sx98b7pWQH33id7GLocUMjxpMpHq30JpkA+/N8nVxxo0L+lJANj9yDTrzq8LbbURsaWaD7IKr/Elxku/nfxiippbDmoU8a/54dkVzXXa8UjzFNRn2gjbYnU2t0jN6DUr144/3fmIu3eje0ln9ndnRHID3EhREavsQRiXgpR2/DWYFn5eN7tObVlwaiY7YP62aWgf+jqR4qDcZv/139GgAbNBlw73uSivzk+qHI0u59CHICxDZcG4/427fwqyoq+D3PI4xVtNrB9jNgoflV6XQqnW5EDc/qRcK4BZTdVg/yYuZOGaZ0FOW4lOwzh0DAZyDdZFyJBjNQpFTARnhxeeDiOi3WYjnZ7GcWomckrCWJvPs4E43LQpqcbtz9l8SEjUzAq9KZrWfafIT8Rb22WnapWx2B0lP2ipmQuUb4ZiQinKkSrB7jOO3esF6YZvShVSJOZtbZi2v9NGjessruzzqi7+N1q59SYr4g+VvCUAi4aNMUGDkHVJm7EqYtgvcUtlF7RafwwoDi1V2BFurLTDBLiDftZeMjWS1IDzYVNZ+giAz4yJS01xHapchgq622LlpzS3gq/R+F5O4EudXRYxZASz+qlOPLX+LcSW5NQdnOfuTHQb9JpeXeFCiA2nythkeH8Gr619exfF+u1YHt5YYwMDCz2eizyMUsWdKQBw2jcXd5w5GShhoblKLmeB7satcMZNzmWjszyCUNLVuBMxEJG8/CbQ4hnMh61T1QpvpuWnsProi4L1n79rrGL8IyzVxtlA5pIRaXdAIfFuClY78ClWZAJ2Q65tY2ObT0TDCC1uxM7v8hCXIi4Y4SovJnFwcl6X3pBnSwTMgiGgclgffyc3VbzmMfweI5iY+bYxmdVieMsrqonTwWxfzFPGYb6mk2sbryI22yuGLeUzjbqsVMUvJqaFZuu3+tEl5yqyfbur+CBoJh0fjjwul/JbppTejEEFWiiNdgzGBFAkfDX90hayTctK1Qk/6QrzLSvM0iV4mrbn7oPEdNoRQ9ld6QV3ss6grBhCaK8rS7T9CiuZ62w1yB32wFFOov+nSeTrLyjNjHcLSwGKeir0OitCyHoZfrP8M4lR6vmD+pTSEJyxhVNo1BmyfrbClJlXqhJQWTR5Z7jEZPk7av/yOOjRZ8nt0YVO+xnIXXjikMAm4nRm//OLu+/HPdxCOZnoC+svM2dc3BlelkTBnLHFrTN3LpuWY6Pe9PK2z8AlrTVrMf1+2yqd8m1vfTFJfet+HmgwXbCGpFFnREM4lOx+ZUYd4S7SkmL2f6IpWhRfagP2f6Ox0F6jgKQC3mmNJ1oDpBwYyH1i1oEhluhXXYumfSSnpdvSPhzD2MnGnuv8wVjVEQ48gI8Ps3ErxUhIeaz3RKXeGLq7UG0HXchtkegh/FIHiN7/4MNR6V119k+tdPp2baRTHcn1vaE7o5dqVoOc+co7V2owMidA/v5p4iSwKCxfSK8xGRB/YfauVNH7hHxUD+9e9PQBhwQFSU0LCyaKmrg1SzwkfFPvjzu/7+3V050Y9LFkOrVm64FNLbOEkOuoLP2uaW0aEIHPJ07sJI4FxIlCf2CZ60gLZQt2urR9vTQEWpXv8qZBkNl4J55axb2vbnNsM9892W/BJE0xbFrsZAkkwXB5SYhivN6Vuv+rEX44+pde8+tv/KgSnscGYwfRwDqVNCvuJPWfV6VZLo6nPe7aP8Od5z2TbDOR4cZRoDEPv+Ax8nxkRfMALB7EVUC8dkqcUmYDOBUPHT033oC1YIxj8sxKKJMF3CpNbzvrKoXPDlNDd4IcRl36qJQxRdW/7EUciuRQUstj25oW+60wJ0Jli9GYmnPW4A8+OWNKLX/VOmiyjfHnt6dKz6BXQZ2dMPIYNBaPDeeuWUjsS2dpeuRBNeQ2zp081FN8O93dKLDJGk87oHgMQtJfnNDahX7/KCVFt4Hfqh5eo/GChFLg3gXUPF/MBBnVnjouLR7OMpX3go2BIoysIHqWz63uTS15UU93GekX3q4of4FEByv2dq7lxpWOo50MiXJWSeOg8rW0EsPRgee7DyolpQUFdzq3razH+WRsZ//vRPmFBMeF/ARtbe53d2D4Pkga9SBVOp5FwpQvHxJgIxMFjWOk5uKZzHgQAwWv9foduvAeFAy9AAIPoHf58+cIKe67HcWVJij6iOMQnnjN4b3BmQFChrwepK4aFP272KWdf3c+MSGqbL+MkfP9a+bNFAchckhpq2c55EZiFnHsTDBpToHNjKHMMKQRsx4BhC9gwYGs99wjn3r2ZgbPbxeZOFpSD2fn2L7ZEsQzAh1cV0hcoMWRAEHhxSNW9hfxvnTChQcTS2ToenOUT9HDVTSDQ72S42WsbRqTqwQpTUrQTT9MNPY2ECyQJpGDC1+5+WZSimcPfwJ6uyBP6tScXP4WDMqhlYXn5HF09EsApIDiI/YgBmeuH5lvwehAcxhUDRtxwpaY3HpHoBaLuN//yrWN1m6EfqAlIIwbSh1Qbb6JPF3EXadryeGNFDzrx8xOb/uvTRWgshDmgkkRV+hxpo9YnioVzN7dmVslw8yRtuPoIasaIEWaDxc7naMb2UzGWwKoWsUYrjIjgh5oYB3u0xYR3MFzhsN9uROC+Pudtcq3ZBYpm7/59x2hMfetvOhpehK0VU7WEj3xlsO5HK13hIrimHGhTe8oGCIH2vExr3Po0JJw7QQPunVBDL83KT1qXek9LwfGzITIIYh4xc68PQ/th+JeP98RORVbpSO4T5EkCPA4LU/9orSmDUKUPacgYO9rYxNQtr4fqsfqwt8juz2ADNvkBBvRlyevl6nSjaBRVGBMKnkreH0XjtO1E69ETNCGnvCE67spC4uNzp0vx0iTaa5lLrYLP7P2SW0pIJNJPpahJFAdHd7S1YPsTKrEpZ+hWpVBY4X9H5V/P8Qk7RflDtOpeENJHK4hfpw6G7ugX6Udsr6CxkLxfTEZF7l1Jm6uu5SOkZnoPNpfbgUqHGKZswKpNLJTENlXEzMoTKnhjaP+OAtdDKeLl9xZGbWSB3Z9n3EKEHj32NGoyzgD77q5i39UUEMLeWzI1lGZ/wC674Xt6yPdzPe2KnS+oF/1xKUCYr3pooGCgM0iY4I9ZLiOW8dO7wihcDq1qMwmDyR59yCBRtXnIMM0XXpt6Zx3UEkEo98r5YVXLhmECT5Jsiq1ekopfDD7lJ7pMD7uELFc2ysRGbs4sTTe4U7PaeUh8Yu/JdprpysXfSp2bcABKg9MZgGcoFvBsi6+QK5VXreoBBltS/XMukSLS5X8hMJFD/1WWtVAiDNXDe4yTavBgeFSj6/r1Nalpkuo7mLaE/LRfKROe73jTWa+W3ku0d1LLmSD4WUdhkbCCacYvfGAS+g8Hiz3Gx0SlnEIvHFcAUoXmRAXQ1I9WwcNjYotp5wpWytKqLFa64RGqCaOVEdUy91Vlj6vhT/kStt8Uyr9tNtYBWuLetb4BT82lGprveMFZVN93f5HxqH71Re+rM1Bg5KsYShwmt8jPtYsmwVcN88dXVhF0qYTQNRmJm9znl6rR8ERuv45ErCAJi4BQWGbJFBgiHBwx+U5IJYQbmvlSxxY2WdbagWKn1CfrJXw8XJsO/4VwigRVt1o3R9lobUeUoM7zk0cpV7ejCAC8pFJNtwoRWfVMYvQhYY6DltJU78pCf1Jb69jHsyvwTmYOF+hI2t4t0m+YY9MB5WiaGHjFH1m5wd3clBt+VjfL1h5+jqeMFpDANK6iKITafPLn5kmxjFSwji6wgyHz9zbLD/DUqGrLYc4YecqyBrYj8rbaHuF7KRvalKn29YSBeDD8G8jvZrpXb+6tsgGNJby5bI56DfLcP+MajbNgToBdWT8bvkvDhTyTZDKlUrVmIfhX2BF++fp9XwpxsmrDCOxzoWmuFa4EgfABC9nGx2uIPHHkprcduYIla0l4KwesgdHSgJ3vDFpl6GNyFthR+ATLqw4ylgODFxMrw6xkCVPiMNE4N6Wy4x+wrwz2uQYLG7X4kwkVs5rrs1FhOgbAaWZL15ex2xnXYcQOWQVVO0LA9ErZzPI/9U1Pv3sRxwaFsdt6UVcIbVAnVG63Q5LmGIneKNoufOlKQRbizasq8BytHtdrEP5JJVIddPeMYsFEzeFuyEF6z18KQrZZzeU0oDYv1BobY5sHd+hRsnWx9gCBRL0AjftwOOtkOvsMrIhRlTwlmxPBK1cQuEL3deHy+GNM4QsoHAks3Re15cVzoZsxpH6ZvWvWFfWII+wOMtu89ai0NCaqPY8ZQyYLOguef16GnFrW1epnflwlqhAjMFdFoQupuAeUcsmNWeZVt6y6BYvjgyjxGGdwW3RHI3+k/C1X25+ae2eOw+hHlBlz8cysO4kExqF3U1y3IObnuA+zrewuOJ82D9zsPN2Li38+HBSbAijtXSmgotjq2p7nLuiwwy0S5M4isSSWEG4AbhsYVEejcg0mhpCxpMnQN/oIiY4LzwdwbSoshuCke/bkXCDisssubf5B9PKLM53rOy64Jv5MIDlRnrsECp3ZSXeekGWLcyqVigx9O8MTOSxe1V7xCIxG2/BJfunCa7/4o7HJ7vuNsdNt4N5N4MIyHvJ5uJKM+JUFedqjuwl3W4y3/uoDofLnVJpqP6uG1YC/7G6dbjPjwWrYsnuU5j57w47HNTW9NK7nIVjZkhg790PnDjSjZsJL3y7gMx2DEPJGACL5lAqcTBxNhZFTbzEbniJL9xzQR2Ix+O+aOM7t0213UQ8Hyzf6JgjsqlS7Ipf+8o5MCWQyj+LbvINmFNtr4LzmDDFJvRVAVjJbkoeVo0lKy0OMRUEHZn5LSGkU1C6i6VPwEW6798yFtC47XlrH2UqH6jCVK+mF1By3xHv7eq4UZaov1FuMVbBa8n3047+RqMp4dmgNNhCfT4htEApP1+2R5pIxsHFOvJ3fwxFF/zus1oiyPOiq+6Xeh5Wqbp0MKQ8aBP0RR7Bhj6ayP4XhzVao0uqEtH43Orzvi2nrH3XeGa9EbslNsLWR/xRvtxxTyx7xTKHY/bOJa27+fkJPJ1C5K4ovc0jOCx8XSOu/NMKT5I5FlFC/0MUAGYMKc01++gax4jPFmRy9IXCBopWkttSy/sSDBTAIPiFslwl3uIgMoCnKy5om8OY6TJvIRXB5YjUXUrysUd1hpPYijTRcFHssVBgX7AfUiYGA9Vr3w9nCHm5+TssA8cISPXF4SaEa2cZIYQgAOsin2WEMocUuj0gzqObwGdn35iWUNztUI3S4NLL3lOBuZBI2Q5wCcd9MLwHLkBRoADbTJPnfGWqEt9KEz0gqDPeSs8Bgt6UhPGEvRgtfncq7YxBGVhyy5XpqIwZn3xG14UlhfCH/lOsH8TuyAujIMFOLko5gYwsEn50KczHQ1jHU7Nlfezn5h3R2FLNsl+b6h1WMSiLmpuiruWXHzrXwlXBxWNyEaoYoJaYCjJoVx3CZZVkbnUaFV+4JEtgXvwlNARFdCOZVsD+dD6jn/7msQjeu0Fu2mXBQS+k++C1v57ej/tG4UGPvoxmNylpZCOPh8Ud5kXBCNMzPG9HItRNknh0/HaSpFT1IkfEYfi5KMRhSihAHSH5sfBX2ozaRRgbyjce8txiryigo6KpCGYwnp+m0wOagQv7J+c4pgaYNU/soMTzg9WkyRWwNKq94DpCD9ZoP4yabzHbVn4DFsB3S/7LwxlnV7YFbrLNkeFRpTlWcJygImwcMdUA4mLj1wojqNojIIJn1HwPL5LHJkSrXr/jXslYJKrTYsj/yAYx4j3oYOIJJeLcC8syy5FNc4tAQO1/jXvmB7zoJzK7oCy8Ran/yFBKzzorzuYfBH8mcLyQJ8nfihbDjNvtPyE8aTFUlAEANGv421r6IHqrytLYHhPVIan9Zb5moQHI2HrjM+sWdsM17v6joYyj8Yv1M+JgN5vUV+p/GVzww0tD6euI7JhKafnNFF4xhA7JgIXs9YrAg2qE5JNBFTDlIktu3Bv6PImJbz7AAEc4SU6phaz8fyEBG8X6U9g9WORtg+w3BmXqqy98fTkSlRvfPCJcmelQDyQ8Yirq59MDTmFTywBQZYYyyJCTgxz7YceGEXtFtR+GM1wCPgdmPjM1CXiAEF+MGJJZbaTUUB6hGIGqS0w4HNyEM0PKH4SIAwRrt4zfBbjCrWBZa2Auxa7MwFsTmcdckCD1A+ydlsIXxMMTqkahvPPHDoyY95oGHAfHO9/s46BmQLDDgVRm50glzAAYRDsuUVvxtZXIJrWbTQJ3dBVw4Ok0hivMCb7o8DnuMFxE5r16w3Y0NltxpL/wZLOi7Jfvu0dr4SFpN6+CBWcgxHSjxnlaw1SdjVH801OktW6qYTh5ILH1ytrF7gX2cx69a/H9UqFi1+UVWj7VyroF+7Lp3o+4CehPGZex/ZcOEcfaEJS0z1detLZRvFnc7YrZWO4pwHEmtJyEuUyr4/LzhHbdAWGO9BYGqv0FgTUlQMwIiOH8J03lpjLgPCmM/UztGwCAan3jR1s3/RprdNlj88E6I59B6OGhOqRaaUgtkQvHTSDhJszdQyJBbo5QJff62S8dJS0MvDOZXxtaiePC6ypZeJcNybI2srQgGRZnuQAz9EUkQ4qS3FIgv7zBxWpV6+uKbohV7nGdH+XKvncz58yEAb90fo79xqqB3Ma/+w16LCvZ1buqQKhFLfxkjav6ulhEpVKlv9XdUnotLAO2B532tLhR61flwBBdyGEofoMvkYRSdnwcC+8VfUFQ+yJ0k/fPJto7pCkvf8ZC2iv5Ee1CfDb0/QH/0Z2xh+wGYoFRA/5XnIhILaSrd4CEI436CG0IGSO9ekQxneVnHTqIaQEOuG2h07YyQkp27EoMgcuWFC3bOdamgn16z0HfBGQNMS9xNlOYeMRdDEZPDNhTJ0iyLBoB9Afc0POGqM+REjJqr8LdrD/Su5e0f0WgqJNWbCSj4/U1rFpL+yztLuiYy30C9sDCgBG7rOZLvGOXJFmto6+QmVvSQt7BmIr7XseIiB2sKuQCAodMpnY6VDpJkRgojiWgVKMR1EOWfeCrm/GRDP99v8d/U4JejJ8plTH6UejOky0yZi8CNHNUGDBI2Mf/BalSYzCQvaoHZj5vFUpmKzrCmM6SP+nIu/+aM0FijTPnTMVTNCjwzhqsX4uYVHTfPgTHkNs0mw/50+bAbuYaRFu55Alh1C2zAmE24Xmp52UVgVOg38hc2gAlR7v9S4jU26n0rGiyqbF266cK5vb1FUKxGTUC/+uZxYJmhVA7zhg0S99w4i+TNL0UdyjvIdU23nLDs7ncxevPYSEuBUjTmsFSV4LDc9WcPB9bbEX2m3HakI2WHjB+QtV5h265wETci9kr67GOTdBPmqOcd+VTgQcMmBIxyhkg1ORVw73kwv+wgwlgGUEJEvHSK/BPd8h5GNvLb5RtTjKy4mIQrBNLT9pl6raVEWm9BhRy5adPGkLQCNGvwIUmXeL0v0P/itWGDz9zrJsIKIrgL/dz/WHuZvq13R4G2xSpVctDvfRBY2advmvSdvWgaapHMNCDsAd+7F+afkEKupu/YMfSGjmHuEDM9a+hamamuj1G7bJli7E8lQNMSmuXCsVEiDtWXRst16ZNKyJ1DUKk8M5z9HttFj0CMaOhXqzOeWWMQurQ+MzxY/0E1IdellDjtTF0OicoYa91bByP2/euBFHD572jLzvRSDBfuiS8JEbRDhFB+xGYqJ0kaYjd4QAWRRPbO5juanxR2Jk8refMvO7vpXg3I+mS+WOMejNPeKFfEeoOAQDOvx8oYmMhRObiruG5po0dnaQlAATqyqE+fWVRYW3Cbb98o/OqfONkR+cMaOJkq0brAopqhljxTDLqh1qxUC/UaqBIpHsJs0t4j+h5YTLWq6+T59abSSunGesPU5TTDyVjyvnM2cssCjpDL3NNk5p3mPGuuAIkEUKQ2UqnPwh1qLt+QXwYusY8prPEDTOeZEAVyU37qaVeMMS0ThAkLqVntj+//dEWxZ4ILxvIWZmcQfw8CQjW75kSr3P05SRLshWu9AvWfkaUGKKt9IvrHwDD9AbfOuTGgony8L0b3ElnM0oitufr2xvnvmCFcWzbDyJ/f5k+DSQEVetG8SPHuAsI4LBxQk9opEYAONgH/+b3TweKXqqgOrswaOuuVrpA/7g1meJWWkY53m2Pqg2xg/+cHSvGdz6ZfhVAMNJ7Nnoy6m2gX8E+1E+LPglAgOH68ucGIapQYiBtW9A1xbw4UEE4PpbjiyDhiQMhUxMbXCuoXUtWVrdehgYYEUyzgyVamYd99xq7nEfQPIcNM1FnIn0dDdhJcFDVBo3XArqveh/D/j8E/81Sq2GGlsKJE7v2Gu0U+e/PUrE5muq/aNO2f3zX1gNpgv5p17bEnlzVSthdy6QL9CZqxh9BEXQVIkEd6hVibqmE2nhh1Tl5YMY6OVlzeckB55luJx9mw58jB6IoWv9OdBtgqXIzI7f8Zr5gz3Y1z1DGUa3ibxaiH9Ks0vd2riNJQiFpi7saHNE68lK8CysrEdE4SY5vL1opqcoczLmHuiIdAsxYR2Ok/2yFUIy3O5ahPLn5CFlIYcsFhoUp5nvuuG4vYaAL/SEprVyg7AOjU0nII49C8x4e9ORH0xF7DqYBiMgHQgU+ZNhCB2X1sxXIkfjuv0Ocpso6dgDyOEjIvqY/DlL91cTnLvDWvKc9PQk4Kukob2tTRGumNsWcyAcGpTapNtwP31gL4H+qaMlxaguk5waxq0AQo+IiAFtgcBj9RXHfIGvhCDcY1U7mU3uRLy2sLu2zhw7j+2Zo8XtY7cumxF7twXBYrkLmDIGEOUTh17IHp2q1YEgde/8gofboiUJsHo+et87WPf/SVFMDFMWTzqXy2u3bZQ/wGsScVqvXJivAiHIIZ2DUNhlDYf7mm8ISlFSXN/EsMac1yq+ljkUtHwgjsTZ+rqtBjykmpte12C/qDX/RIdJqljy/fjSrJkrG2ImiibPX5lnm7nlqLOv/+wLiL/1X8i3P82o+4Wn+EUjfcAMJLgr40kx9mIkfU+ynSSGWVQzGBQMoruq55cQUtRWydQCrTqlLiocldCBcHE9HftgzPPEWAnZTZvUL/2C/m7t8oKU0nni+kN/jhZegCVQRzzGNLL9AsiSc3++tLU/QxYVqG8Tf6WWzvcfMDzHfxPvfqTahphoFOmQuokYprIq92GrNaQMIOXMI/IvjMPa/B0vY701W/8jpg60YHIxzvDwHOvU1IPqJT6zbSW7wAM08pqL54embaWO3R3pt96pq1L8mcNbHGSfuGfMdKLFyrzCrJqEOGHYrROXQiveNCCeWeWjZV21gGSvnaarvH7ChP7YI8ty271ad7CTaAR/pGMJIXOQ8etu2KbBNkyepkALm5VX1PJWCtVKDmzB8JCqvWqH/8bj5q0Xq+M/YHqwZ9PfSFNRi4yeSPPCI7tTlsyyd8YeIo0UaAJj3B2ugh/P602NSMzPKt+MEu65xVTge3DIcPg+7AjDQBlajWHbHlydK0Xwv6XbvVCKNfxQ3K1X6J8iyPpoK8cpWBjW0GuXPrfKU0KMwFsUxQK5PxwrtVI0HJKqTgNvtpfEtfvPax4e9l2zbDu/1QdvD2idfBjgye14AuzDsLsj7nCP9iA+6pnb5EkgCYAguxHOe/M58m0R89jGXtSIfgDpHPncCEo97+Ezi3rCRDoHo0CzJNsPhKgcbRxuX39sh4O1xH8UiU/5OzblbsG4oMb6knVtvy/BHNJLoR6v0KfGECnPmIprA3Afa+hcawoktnL+gOzaKGd+iunL2bvYE9qWFijKWDjPgMQ0MGRUSDZUMaHgv545HsDsBLGnZy0VIVhv+0kRJ1vNp/NtNppWlInPdbfCCz081Dmd6PKYihXhIXvjcBoJ12Ul9ISo/sX95hajBlHO8tMHh/NX9TUZd/ijJC1x5/Xi4JatYvSMLyoiG/mCpjgACbxW7/ft6BX7amcmKTT/w15rsAr/vKqLsbplrD6/6Mv0Gb0NScneBXBoY928jwKC9UIGc8KOONS54Fe8OdYEactNDh8vEUn+glnmy1ayzfS7LFFiPvHh62/vwLI1GEJkf4RjPvUegL/lfHIQwbAQUMhyy49l+FQFfF8hanX22SVk/HOziJyJIU9oZEbGTOLEKRMG/UGXduSQfoCYTazWUtwRGLzEpFTKOUjl0tj7GPh5OvmeCw0M8N21ZMtSB7Y3oRtXR2RSyLTYgbJ3chdj1/wa7QoHV87Y5bxiOYzEM6ud/XZk/8JmyiaAOeQVbGN/xEIyWVSaQMYF13CyU+23BDtVCXTHZfNafW6R1rnj5fAXsTbSFu6g+GN6dTPLK0+tNYQgNVf1KY6E+CC48CFX5faHL0gR9ClUOOhkEoGaJLPKkFHdmopPke+or655yFZZwNy/kvhsmx7vItYUCHq4WpaqH9r6p8LKApWDZL4epjhWG+J0y2IspLsRWIJ6Pb3nNMk6ZxU1PBwGscXC9uZIJxqsnfxeOST4NB5Ltzkt+xhZWPLkRbkODOGO837DyMaYhf1Z8Mpp6eaqrSOrATfcGmRS32mnK4ai0qf0fIeNWhM69oWl1bdSJrWgOYf5bUpSw/kFPucIWwC/z4Sta3p966m/7D2CpFroSKBUBZAIJSbZ7w2mI3Du2XoZhLAA+vymVL9qTyRSz3OAZ5/IncTSfIMFhWZAouxrGA9JGjsCPMHa56UdcY0gsPgWtmnv+cHKRL/sk9rT/NqkO2vywfLiQzjAS4CkajEas+QVKdgQIBRfrPKGVVFtlaqLy99gJ/g42SzzKNvWuFfSewQrNGDiH/aaUwedjqG4EMQO9yQWLJqzTr8wTky+ywGvB6//AQhJqf0RokAQX+5GQyfPqvWMHozeWfiE2vE9S3JDyuWDV6rSn1fIKqnbL1uHhmUkkqsA0348aiNXp8347B+sEBwA4Zct5RalblCqTsMP69D6lq1L2Lxm2+bXb1VCiuDfSTp4F4D6xSRD5ZMXmNwx5Sq+teihPYpw8cOVFzDsLOKWNI6KP4Gnv/P/kJAx6wqcDZG7t2rq91ucMC+GxTPa8IjdrQnS/4Pi9/o0Jq6ME4ZebCs1WZZjKmzVFoOI+Za3A01Ei9VuM34Uj4ocMF+vY6SHu6sM3Mb5UKGiT6i0/8puTMcgc7sL5NNcXSU284ax1s5dTU7h/9rkQEmenfsSonLACytrqfCKI76ypRQiL5X0juI5i7h55asz4TTu2QQJSVMbDHKDB40NiCpIbzKMWr0Bf9A1vEvKp1/sJ3HIy/pr195zv3Mj/gCSYJAJVY7GF22V3B+4LXqdX0HrPbtway2Ft1LCLKfW7Nuy2gdootA5f4JwLmAZsC2wfgbOVX+vz84a+fIYJApesFsBzarjvumTjKMvGOxb/a2UKAyFXW446iic4wZeWkdsIayNFBWzyYsHdCOC79uuHdDz7MkgamtGgADZxenK0ILDlJ9AYwRYM4YQhzEBAVRTiSMJQtHbl3VVr5c5/qYIv+sOp6uPXOwx94qrVzj4p+9XSIlxrniPxb66lsME/FGaUFsZBoTfWb5+PhKqrxUfN9JhPRuIDRVAnm7pzFwDmZtgwDW0TLcqjdUKAPqz7JhtCJEc/EKEw/XTEUijV/6oEY9uj5u71+hT7D8XPFpix0b7AlOahtQUCyDicUR3HECpkyH7UdjPUpZTpmzUrXP5fKCPlpuR923p/MfAw4DAqkBN/WLrfxTF7QAi3DUOSqx/5sHbxaBPJ3uIVMgMlq9sQaHrRT8jq0eD4zBq6R6oOlB+/VgU26RW5Bh73y1nYO3GXYpPXlueV7wCRgcSRgAsxrDO2vdvuRP3/DUPuggOq1t2jJ6k/5eP3zEXNUt4L6drdrqvuXYWqaa//6PQTL3YpRn8AWvoztICDk8aXtor42QhMHzgXfKnX4Yk3ya8IvB2lT+rCnXjZ13xp7Pt+HGewy/Su34X/LkVuXXEap8zLBc+mn9JuJpC0BkbGip67ip56bG//xMmvHA65PoccadlXsxredTmX9SeYAFuY8Q1SYlt2O//VlSsigzYIH0Rv9gWLk3s8jopXXbFFFa3rV5L8JUkInra+wInp9E+f0EnXshTbk35mWH/FEX9grUdlOlmQux1tF/LXkWaJ2PI0x9+1s5nJyqeMH6uyTG1q4KnRliR8Qa/g3GHBW0WCM+tIl0OPHaRWrFxQNizbW0d8s290WBraMAdbFkCmLowXXyOstCOYUSU0aezEapkOlSyhknXVJC3EGTlaUDvzGYJfTSVMmS63ev2VTz/wVEAcUIKr+CdvcwrbFuESuvZ+18/LU4Fv4CnDbS+lKX7jIy4pSW5WaokzJ69lCGg6LEqGcGAQ8Au7UN+mkWqUSordKIrI04cn8Or6SLv2uCy7uTH5xqeGIyI6fS6J7MnOJUJzHZwpF7IRAnkrtVzVcAiSBzB/SxuTzhXgB+r7VmlfO4jcFgQhTH/BEviaB1HxLgFDa3+IZJUcVocusNY4Y3PzKX71KL9ZUkw2ClG9vHJpk6H5UOtNEEgZKGNyf+4IYmBbvhnd+nmYcN2o0lNqyTNg7H/nwI2IS6Lj8XAcEYHmR9a2egqEt1jMagD23NKyzR3azWIKOs7wavt0C9QExSj9BHtOoLZQRXA8I5alNaMa0O9phFykfBZPGZY6mYlyt7HkxpNSnP+Vku24gffbIqJwfSUU8RhPBprT0dlx3Y4Xv6bFN56BMHMJmJ6JR1JkJu/JCqYI2yRz/qnizy/9UqL5TRA+CQISUQXnsvWqdQkmfswZvpOh47pHY8wUab+FfZHuMajYwHVrkzyrk83voym7jubOBG3ugZaBwrDIZs9Q++ltqhBaVz6C1EhZm+Nek1oHoayuWrXiRe39xcJDizKFWntj63b673axLH1PVH4XANfMxiEocLAacBzsRkiPegjzjkAlZAG7iN59KjEYWIUHlj74jAZAZiX75G+xvaW3ncwXTiVNNag6ktDWC6YbFOFWQndUBs0m4h4xRYhFM4M2nXtZE6hR//fLmp29kojSLIyaUpV7qqjbNAyNtbXhfIt9/rlXTtecDJqljwjrLWQh85DR4LWsD7PGQFi2IOg7uWEW1aqc3OyWSheHw6SW9F6lyh+lfBarbB/1nfrVeoNNxhsNZu7IzVA4FTXFtYwEOgjfezaVDNWhSG8RwDfJ53e0FX0SrpCfmKCFQrmzzOSyasQhSh3B3dyWTOMXcJkR+GrJgzZWKBa0MPivzGjzXQ+lyYotWm7vOHIX3rqXthDXKosyQ3yJyQGKInLODUFMYu9Hutk+mkEThEYRZkrGsXcULw+pa5yXL2ADjU1IMs9KOavmhAeuKSYp0QC8/6zBt0qmdi7KBo01appckL6M7pOEyzKt3bqGq+56byDEjiiJNot/iko6jJe+qq/+fJc8rHr6sbu6zkQnVEIz7snbNhzHOBsP5Bv5IgY19vGuiFrLe08sniyeIGcyfeee1IFeLqXxFFfG/5Z/7K/CMQFlL2v/XmqQnmbQGtX+W/SfYdyaPizZN/feLqLPFszpWZRQaeK8r5bOKzHGvM6uysGY7JgjaU6ZyYi3m8Y8aBOtbw9N4Y4oFEWQMynlOBvAlXg9bEe1HdEAkfydzE2FvTXlQX01LPYKmxKtvoA/TUcKNFD8QFF+7Zw0R78FiMHQ3RPdhJcA5SN1hw+JQf/9HRFUEfAKryoTFnvooH+gJAoayE8l/Uy3x8tW2uL1RHXLc758s05IMK0SnlBHth9L3yMDfWKGRyXoyRdOeoIkfx9A710BRiCTH2nydrQJ8Iwp3WpalFTmVXx0TT1mbVEpsMcoKBy314A0GsjHKYqpP6Kbn6P13/V0rNxQGFbWlHwN6+oHmRCsFuvhOF53HUQvlsm2e1vAvdF4q1J5+rHyoNlOfQWZUg138br4RO2PZc22/cbecWixknofnKSzkXxozLv5kNhDP7WZpaaXa5jEfo1k6b72e3+cE5PfxXeeiIFiK3CELS4wdRYtvz01G3akHtZc15rS5pPiU63l1Y6QbSI3iUNwOueT/6X2ZiqONFwXGnRdFKVJm+UzB/qrtJiU/+U6rJ6Pn4T4U2enRwdHI6sYueV0Bm7WkDxD79XtpWfzRpiY5ou7RvLsCQ2PL4AqIh9ZdKcW/NgUFZ+UvQIAaTE7OyrDXmRWnmngymr39lNUofwEgwzgFwhnXfj4cjeVrcpKodtTjvPlle2eWhR4NljJQH8e9LJm8zPDxpC4rxhZxJ2EHlFspWHwlD8UFZQ3OzJ1hVtiCrW6tid+cmdPPgPBoiQ7mtD77keuTK+MmLK54ATwoAS//tjXHnhEu8T5vsUWvyTpKMg7eCdgXH8x1vAfTbQ0UKlaGYK+TcK3dnjv0VcezmNwhWcSd40BR4EyzxcirvkWBuabBa0rZPDcWjRnWJkEhQ/8xwg6aNCkDpGM/NVvfDmzWhv7IDi/8nEX5MvL0wWkuvdh8haRRSSl4OV6BvYrOjmtckPpTCC7E0bwG9+03Cg8TH7VhSe0DOS5MmhlN6NTWRtoWY+UGwDuwZ6jllxtRFxhpxzNDaEP7n5IjPlnW1SGI97WMLWKXGug2vzEEQGq7xQ4IhIq9xohIn6gyalBu0Wx7nPHZdTQ/ezXZ4IB7XclqTIOM48iiZzZHk6Eb4R2/XtV85OV/InVoQjiBTDTOaD1vyT4ko9DrY641nvVsrWRHXV4qdrEm9BvG6iu+qiRsS7i8hfY8SaNxgjdd+JbDZ2fVUcT5VVkM3pTdfBNKjMw4qwv82XcjSDO3y+aycyLsuaeViJCCSzOmmk4EaMkZjerYunTPvYfoTe02qJ75Va+ALYHPZAKwivuvmr3bS8dCr0FQXgvOvF5jyW8qCxIMVcKinra1xAjncqBmIANq2it5x2JGdRI5lqHd9EGCVzy6m4I5Tfdtf/OY7SU44lG/7PIY3PrgW3TvD9UYkJNDapYMXe9dwbkBanqi3B8TH8cNch/6wTTr3sMwygOYfWOibclc5zpv+xnZkIxKIhjdb30g9vCiyqJcg5txkMBPzoFNX9+DijL/idUUW11hG7nS2n0y/vCgwtOW09h4QDu7guYlXytSFrg6OYmx/wNRH8oYzp8T6G0JPY9jZQ2dWtQhnFExVcqqQZP+upo5HypewFPYpz5mA21b9YAodblej5qIxNQsIzcmsOHM5OSzq57XHKWNuoXjm//895vSJBp1987WL/qhz5GVywTLCpc7RqqOkEwjKsZuYi4AtJjsKe+VHffwHOOyzRRAx/TxjIf9tmTNPjvl5OeHSlC2M652oSB6PB/pj98a9vAA3UdDvs8m9OL/4u2d+zqjES0IqrcwNzl+5OH7WOR6YURp6rYeh/LgCADucDBnmJkh8df8tyOCDlhV7Mp6iSeSwBhmhjm93WendZFgGXjzj8B5u2Xy3LOS8YwTYFq5nAxTuen95pqx7Dkl98ohrNmcTUbANzlSkmDgQfH/6nXqbuoX5dYyKQ62qyBqzT9YSB9y4Y7VtpK6yQAIlCJaxILbtmlomcY4Sl5SuDJJKIuqaPCykWAa4ygq4YxwQMiwzTyL9RNr4suWtGrbWiJ5tbnGH0DHaYZ4Vt+HMq3u8ND+QACf1P1CJQCksdiUtxqb9ri8Z35sIHgtHShMqPMLM5Cs4IuXbtt8kkenng1//b+4XsQDs6k8CSiS4Jxa04WMowhyyyNbpckX/ML4R45GI9rgRCI+1Kya1wJtcVkxP18vr7RTcE9f2zYA4TVAfrwC+54PyBs7MPa/9eK5Yp/wWf+T5qUe/LXk5T488Gua5RXQqrQBDk29mKToX5okYJFDqfXd/Xt2emIgTrie5Gd4OiDM5Mw+Qmdz3bMHCYC8M+edqqRlUgN0OpafNeJ7RfWCAUgiRf0kBAq7ykJRl1J/kC9Qk9O3uhOACda+uwpOmYbX0t+26BQq3uaDnz7zaMvx7RVvSSB/anWMKPSLgjUYyZeegjB5tv9iERt6RuKN7gBY7AorfPssS7JqpnB9R1eNkJPKokW5I1q9yjyIyCwo72l1w53X4uDbhwWZUMpIdOdVdQ5emaoEBCIDiVZnEEyZZvj/+EopNeudwSc0SoR8jFirr4EHgcticCM4I6huCRH2lHlR4eoTj1m8A/3/9MOLVaPGi0gGPO5XxV/GNrTSqCYGFymI3dSGkH3YV0yzpqqnWcf7qWHFjha/YcBifxw9E09+bgdwlPRJ9mdDQLjbCpbwkiBCHfUAe/iofQ2eCzo4fcgUOQvi0bk3gBVCObecDVYbbDaQdTlzTa9toe0xQ5Vd/lp/u/eTIoCjJyseAa6YZbeIChMhmBR5zVVum+kmJayy+r95R2mKDAC4Is0SHINbqU9EPaLJtOcd4fJYaq6aKqy8i3sx3uBDPG8NLKZToW7Bo/L9JauCcYZZ1yMIbeqdb0L3DBl3K7scUPXScx7giKeOjN2+yD7y47ceHaWL6hbW22td7h3LRjBkWR4jiytsMcTntv+xZYlWJAlAXcGnYT0F0xxsULCnXrQDlUj9XSJbk3W0ZbvxRKkaxhrU5+niZGPPitjVSceVHSuIdCPFrMDhDX4FNX+c0rZJECKngMhbC4w5v7Tm9+jA3YtnVU4zO96TvvFIFMTa0xsfAU0Ri4ZmtoHAdsWtSTmvIybI42k7AlUf7QVNawW8NWFBbjpcMktxz/JYSOL+W7lTts4sv+mk5MeE3xUiQM/zD2uYGA5fijZR0dPy1/Dq0RZu4h8vYwc8nuNk/h0nE9eQJNYyDDClxCsfINP6t5pnJH9K+A7NjOBazZ92Mh4LCBW5aV7fuaDJvm+/Lhp6YaRQLv6kzD5NIcf96pQtPmBGOR36zh3ACmyczZfJEhT2xEua89taapzYLHfLPqK3+y+0Rcw3O2D80vjZ7iG/EIrtXOK8mKVLWVlDk+0prKXbT9dqsfdetKcv9zFE1NOHWAi1/glKZVS/jBZSQ6mwcZ2WnJkF3S/Is5Y2ANQc2GP9hsXermYeyr5GJc8mA7xnRDsUA8rou+9f9AgoQ7gp85Bvx7B+EAGRoD51Z5hGYCi4js1KAksA6g8sYHzhxzwaHfxbjizZgTwGcRpUjj8vlF65f8Wd1m0KZEBMaYpu36ZDDYIvczy9/tplbzO6nvFIri/YErClJApOQi/hen1XRhGzncvfCmv3HLjOMa9rcX8UrOJuqbe6nYm0JhYvWwC+cbQZx6K/f6pdhMOcOVxQ7F58fBcnHD1mYHgRYOh+QZeDswweVf8HgnwWVCZAWSGs2EVwQZJzhlMqlHyydpGe7q5qm3Bo1S+tngAs/R+ONzbUPUYA83P4LXQ87wk3FU88A7fLCHIr/EoBvYbELxzhQ7V2cZ4+3BqoCl1b3Ht/ebTS2372/T4cloy0lylDg4mUnCA4hBDx4v7cEE9jxF+8bh7klA4xuQFoIOJQU6etKCm/Axf4Ko+7mxApKfSYPdebhBRlRcY8nwljWXHUPP321S60XNkqe5Ec6REEpsbcfZmtWAO9MZl/cda/x8k4oxgOpyUj6wrNvObKT1rc/FTP8f0B6Di9/hWryMWe8cucWrhkLzo9UD2PC60elb/RIcbFsaX/amCx/PaHPkOY52xdsHdQthvPgPxVtPvm0NGaZ+vvBxIaWHgz37UTO6++Fuz7twPELLA4h6thu41zhSusTaXDLmnvvsxPIdD8K1Xf1iYTpo6Vv+QEMxX3WU6oMcS+/RH2VAvNHSFag4g55qtkis9oCClq5GOnbYrTZIfWuIZpKNYIswoDL2tJUBPTCpbSmytkadd4l8MA4ZF1Z8MonnFgRYH/UC6WRVwnBtV0qpL+BE2WEnrLJX7eQ951Z+pcr1LoqKAdTWbLQLL16g7sgVkPbHpOk4DsnpMIOJSqN/XLeogTU9KhCGDjxN+GeJs5wjcXz75WFy8TkYpjd5FGjpnF4J86ORIH4mlVu6NcX+kOO+lX6yqNaAdpG39CoL6WZ/a6wITyEUvWg3a9PBO369g3M18RE89eapCPupghKpUq4Cqh5ykE9J0WgBoW7tPXcqDDd78PizihDhPlVgvWLiExEFXpQaBEHvfOukVgdFMo984m6IIaTaNuVQ/FuEM0ANGJII9bQIDmXp+PtIPC/yE1l6a54FoIDhkVA40UpGOAgYXUGegIOv7gIr8rkwcp7qVtZPQz5348sSkeEawlcR8vCkma/uQE4NOxxN7YcKjcBMWshnt5ylDrVplMcjzymKJ2Zxp+zJfKJ+2ldQrh7o7JxAa93PBnna+lYEVQvALvlwyJWzjOr3zFh24zPvpKcaj11NzWe3EnptgMu3z0s+fUZExaKBGA06t+aVuP7BhAWOooX4HLuuUbnvGAflydb4vlz3vuNc2lgHnZZT/DkdTufpoDZ0gPrhE8lpcT5OeYRbXDb+mSwujuu8un/Bc45FAcVnOWoLSj3AiKcQ0Jx4O9nWoM8Gq6+9ho8h88rxGQq1lIq1zvGpRfUeiw6Gs5ZFe+sbwzA8sp4nnzN6EHniIwcHGKhCIYIQNrQwThwtePaWSfqJ2eS44lYNFsrjQOMrlW2iSTIBKy4bxMu/2tansDmKSFQnwpVwPVWa65kOll8OpHcGPbZN6ndb8wUNrl+R730w5HLJxqTnefhZ7r1quH79VdEjk9Cg8HD7MSqTxJHnlFKOGCxaY6OCkICq8xQLuaCOpDCT1sPZcL2tXkFONdiKmTohEBYmNwudwVl8+qzaLDmLdBHjrwJU0Hs+g9i/G4fkpu3sfLKMjBA6zPTyyie5POxM5jHTC1g2/UbaxRNrmOtfQ2tRtoWPvvWt03v85jubC+cfDZvS850H25tvIR36PSdcIG0sqGR3sVlI6rOVa7TaBSyUdwdff2g3cCw32B233qsDx4dTvEFJLRhKn5uaDTCEqmAimKZoIUADRjGo6C7urtkxsWaYExAq2UjJWO5zrUQkToT6tv+2B4HYdjAVpToW/6YmDQEiKxm2JBNvGMPlR4US4YyhjTZZnKwYKP4bbWcLE8qQzx4xAryu6Vx3H4mOXAZ1SqwFN+obzIvra8r+HLEnMx/Bbv8j0XbPCjyrCAZwF+KMtZHVoH9JhdkV0BhID32o3Nlz/Cjk+pWGWRYB7XXb67f6c7WOjPFAjhpF4JQ9POSZ11nnyVre01Q2IS+LHLdwzKGvCsjqUoGdfjXI55h8qwOhOozObzEXnwbwmufBCj+exnPfyuWDn/e1B440wbzeNJaCI6z4mSxiiJzBCJqe7OU/lrqdiXZc2D8PaZpukXYwetMJ1CeG2kdD4qsI9Y9w7iA+FUfFuQGbwBtQOutGp1BK0FAQLkUFDBk5GhJHzgKOswzD1njS20sYPYvnFELR9I3XNcMga0ZD3btFnd5WzNLQm36KBFmxYFMxtjsGZJyb+c1Og8ak8GzrGkZlGMNTxjgictxDsQn59/8rtClVBNKOh2oN5psJvgY4NC63mPnWw4HXZNllZY9YccwwgxfOmptilO4CuK5rPmqhE+Ml+WIgv8pM9WSUgq8iF32/ubFyPB5Y9YZhHxZJzBrlF8I0bBOixh7zZym5LfOfr/P8LxiyQG4BbmzvcCFmemncsQYDg6n0fELu3G1RATbHJxF+FChG0DO3Lf53t1JteKfnC1MqSVqPxSBDm/9HnZBxBbf3pj13ttLzqC2bHKfnS94wNcuLKdhaWEgyq5QJ01FSIZPfMIQ0Wm8BEjXdneLC2Q2mbSKU8BbibeVbrON9J/r02l6K0DT1Sd/fDeRNLGCdYndg6WAo275vF5/WrWlhxsQMi9QnZ2n6fCj9Y82dEYFr7XxSL+hNxtlnNEbXe1J5dUzdvpBa/mAw7hChq64rD3z9SE4u+b5BeGlBOfPOAjTfy7YKgfmOVi0zW3ia/UGM3l3a48Yj0ZydoInMkAC0NVlQviSzAWh8oPIbbftnswqK+V/5TJtPlfCLpq4eo/mfcYcdGU3jIq/+syq41MOIM7M/m1zy98KewZ+KcCv8CXptvuhk5YqZy3vApEpM/uIqcBNDypbTXf/gRkRnv423cfyjSx1djHwnqM2jJ4DJJ82uOdNMHrs4wyInpR+kDmN1X65dILgNDCx+bT2gVcu03EXctsEwDtjzGfB9QwYUwQCVvU8Ue4yeFpTAHtx5rSHOzpfPPHcmK/WJ3RkdSkCHH3VXEGRM+0YS5SwX6saSweqUSIt81uYa5BG4+9R+FfWxJNwDIg1F/3nDOjnAsOm5cZ7hjpb0zDgVJallFPO49W3qMMxylo5PEPqahhxiUhHSkQ4op/caQ/EcMXOzYSU14u5EV9u0xlCPigvIa7vkxR4nl4IAP9LhDKEOUKQez4hiApXVdAwRVnthvA8z0xeIKm4P/lIaOQCf9YIdiHnggrDjcRoBD9XPXmKFcSLqUD9RfiDrtXFcPoXWk1FSEje2LJK7OTynjAnYlhcLb4/Fh2UV4vtlAjJo5JKv/aN8REauIQAT8FXf9tpa5Rp4UzjtqtvJVF9UDP6xdqC5cj8QoJDrEr9qfiR9F30F2pK2/9rRRn9xbLLAG0VCq4WVXiOOiY+4W3NCH1y0UH2LMRHLEKnUBrGu/PmLbS3AnIRcIK5IUvHUNVIYjCbX2XJIwDI+tLul/xQmtKTuWwX0Uc67QTTbJvsD8L6fYmISJDpli1cOA3kD2SuKEvmTGNxS+t5M+FrJWPNHa5ZtT2baSBtSr57bheWiYCHBRLHEG1Ix620V7V+dKrpFx/cZWMNV16BRaiwEpSr9S5/Xq89UAO/sMG/LrL8WKT1qRfXtzZK4Zihj0KqVtifgzZjPGNw7dmJ6xn2L/5MT4XUKh8f/p7fzk4rHRf+tSAQLGoJ16J+1VjWdLtVu0g/A0ELs97hR61Cpxq0H1PBFseE3HWSJtcXSS/PqiHfHlKdrumMluRa+Tt76/L9/wzujEzgycRQMfO4Kb9wrsdm+typyjSH5pI99dtdLZ9Hgrg+Ar7fPkEFh+ypq4fly46WeexJdHkvP7E96HWQRrMeLIFpmVhSz9mt4782gd4k9bgga8R846JRxUJGvb/kBYJu/SPdHZ0oCB9d2SJKahH9YHnql+OCKek51GUL4rbQyllT0sNCHFG/1SBLS+vE4Lu0sSzGogPz2tQFlrVpqaDXHhfubOHim0W9pB1zkuUQhy5cABaYX0HRzMWHgIKhVF3X6rqgCb4QFtXUUCrCjrSJ7C+cPr76qvwPhq0TVMmpU7a4epFF1j+8pCeMYwz/9aL0lughW/QeJeGAkGfrL2FbgqckrLchQuT7pCHCTPg4funGoMHmiLO7T8Cj2B5sUMeAd1Hli0fAeiz8rSm4/cHD+hQUywUvTMT9C5W+o5wyuD43nBqiTc7CC4JMHSDLgXaRhUw1uMEa251jLuPfT8cZ2dSDBGMwVqfXg1hCtMkAB0aFvRpUXaNFCS1/u48QnsiUfDvn8x7RN8M5uaH8X+wMhwqYJ8LFIh7T3jDlCwgCYcd35Xj8nkGZu/MztnVb1QFnRTbnFpho1qOl0WJjGOMnX0ProYrLkx1PYJlnO6zQsPFHigPsPuG7IgMthJjd6MdUdoirax6mozoK/LGVpKgBax9j0cjsl+6Dc+Necb+66UVQxJ6rULXN998BikRTLbW1wwjKm9kGiSIPzdT29/Rue/uXi41GxFqPrhv3FwIHgFHBEgm1EtkgGWqJ71qkNuqmBvgonpCizpkkeN1Tqz2BMNbkPaEf5UT/wXD66z5n7nB6+zXUOIdnpG7WujrlLkdcQEH+8cY1Z0l6UwpBkILG1DxgMfo31/BhmWS7+AH3ghqjB9tk0093sKKirTPVUP/ycDAZiIXvGo/ZQK9/5m3e6FXTlGoF5uLWfYznPlMATuv2WS6ADwCDEGCcLlQ8F4mrE7gJ76GcSX+LpKWgSMWrmD3l/0OmAe81eAZJWtZ1YXsSX0lh/lE2ZcfnGQ6a1YMmI4LV9F4TocedCRq3J8h5naspX9P4Z0soJ0Hsikte6xX6L/FKfTkaNDBs24hjSH9g9fseTjOciFl+5GnW2a9ycFe8x+QbBblLY6zeUmzMX3MuzJiSmZ7ls37leGgT5ICsRZtE41Vt92J2iAqL9Jb9fbwUDWtY8UkBSu3Aj1aqcM009y0MML9cHEs2xxkn1pwis5Ub+bL/PUmIOq0F0NxgeATIvVrN8BV0DBwtQKWOkL+4ZeSnwYKfGsTFieyOhVZfEM2Yp+Ni5LOS0dyXx85dxpQOzYN41rUIWcNsAPRfPSDad7fd3qn2Bg6Xrx12qaQsDskwpMA1IGDLuL7IoczLucxD5TTHD3bEeY6GY7yfv8ZP5feBnSJDGLtZnv1qk2tuhD03PFzhfIYavlTY/zWlYw9mbo2oE7QFa7zprfnHJ6YFDZEUXmhU/bA+3UPz/Ay0aH3H27JEuXINCPYOPsWdezGGYIzpYsaC4xrABJ3XTxq1iYrdeq98uB0OYXbtaTiuCheC+sBUQHmb3GXBXTUuSdLEVuOHfjMjI+PXmaukU2uOK6KePmCwQGnzHCiDzzIe4ezsxdiPO8a9mCkebT3QkGAPZ3jA1Sghcu5XgZzjMshrRIi80Ab3rKWtwrekHh1RdSHW+/SyJIue5wtComyV5ijSFDyNZFkk4htKbtxhpYUKNIqWE8ZvS5n5lSMIi8KkWoIYer24BlLP9MvDf693jzTbwSbzcVM7TeAFlBwOAn9j5ovVi7FiaMtSAjkRLdUOWRDAE6Ox2o2AfeEluZHscFILYMEwpet1wYszE75QOULXp90B8r+tIcNvHON6yw499vSLNw8+0z4/5DC3PBFj6fHJODLzTc4wwIrqH+RmiXmUDieA5wJTrCMSbf4HEURSNuDuWrjMTiJQywn77q0BUdqFyqXUtTv9Wz6xT3DD8bRMCBKJPyQAu0KrVGetW4o08HsiOefShcgXYbl1gbsu946CJ8JpYylsJAU73FYKYUgQRM1BNd+uzD36ZYhUYCpYbbpjKxkIL1uqp4jTXWnhHs7MkbrmfJ4UOaMbWuM6TfLjkb1EToA/KFAzU4fGTmY0c7GERifbx4dVTmX6nOHZZ30YNMsZi8RAUrOL4we7q4VECykWIJ7ksEKMSs4OqouPdwpZxPPFoMszE1y29Yp0KHbsfNeM6AXfrcG6Xbwjzz/S3kjcuHjeNQLGbO32MbSMZuTBtpTbsLKmKG61EkSVjTMG77t5EDL2WtWNfOlmzMpHI3lWI28ciWKYeLdDPzdKoHV9MiGhWjDbUl/a6Xo7RNj1Db6w7q+9KaaD0+7nKjMOhOLvYlIPooyiQbbS6abtyNSmYWyYMSWDuPaMP5sycLlbEpXqYasWd+6PfFLQGuqNsGwd6MSLwce8weKa0EwDCijThQg+Bh00/QODCT7z0R8B6venvTV3dSlFYOnGxj97XGIUFz9stEYSZguktg1cP8JwYTG7RGb4hL4UD0OSc5UTM8s7lN0gAjSgSv01JH3DBVju/FZrjxUNXX/7PQBxfTOGooD+mcphCUHbqqEsadRx+RwG5RRJebOe+FmU0z3yb2/VOjJ7vGMPCGW2R88ShZDIMUAfVPuSsCWNJvTd7lUen9me/qCG3V9v4ZmaLXYcuKfqZD78LiTmLym/h09Li0bLo/Gd+EOGI8AQdrl1Vb8nxKn3P1brd7eKZaGZ3IvlzNEwLj1IEeA+qbeMysgz7kvEQLnf9nctj/sblkOSpnbXSoglw35FA/bsYHoWEralKnmiCld/IoAiW4DsufmltprDZJFlF77/ghwlrDzB35+AuW0XKg5j6GHqFeEHagawerqU7E9mQRlhy2jlzXfSJ+++vQed5vZng8qFdtDbzqF0QA==" title="Mekko Graphics Chart">
            <a:extLst>
              <a:ext uri="{FF2B5EF4-FFF2-40B4-BE49-F238E27FC236}">
                <a16:creationId xmlns:a16="http://schemas.microsoft.com/office/drawing/2014/main" id="{852A7277-C2B6-4964-B510-3694DBFDE565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330199" y="1832263"/>
            <a:ext cx="2465747" cy="4616030"/>
          </a:xfrm>
          <a:prstGeom prst="rect">
            <a:avLst/>
          </a:prstGeom>
          <a:blipFill>
            <a:blip r:embed="rId18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6ADACD-6925-4DE8-A425-F595D8D8D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4" y="1"/>
            <a:ext cx="11522071" cy="876687"/>
          </a:xfrm>
        </p:spPr>
        <p:txBody>
          <a:bodyPr vert="horz"/>
          <a:lstStyle/>
          <a:p>
            <a:r>
              <a:rPr lang="en-US" altLang="en-US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O: </a:t>
            </a:r>
            <a:r>
              <a:rPr lang="en-US" altLang="en-US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st Pave America brands have potential to improve organic visits and CTR</a:t>
            </a:r>
            <a:endParaRPr lang="en-US"/>
          </a:p>
        </p:txBody>
      </p:sp>
      <p:sp>
        <p:nvSpPr>
          <p:cNvPr id="67" name="Rectangle 66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z2dD7pS103gZfJ6l4USC3jqtWOPR/ue0umjYEY9KlLthURXCUyUuZbmGDPUXB2idlVQc+R1c0j6vNnMaKvr/AghcgjyTjoGcS2U6lyGcWZbvoYqQsrFJ5DN1RdHsB5gZU4BjQJ6xKwDUEsW8X/QQ4uIPkrhyjIfLLN7ZR3puqzBiN1rMnctBA0J594at1EN5QJYMsPufr2eabAYzIDriNpy1GurybA3KWqcTPRKYh436jQqOHiPaCJtAtzpRgB7Igk7tw7BcBhai66Lc0jpyzFEK/4NRoFF+cso+ThI1HNgDMZbpFoCsJQtilLqk9nQPGX6RXGboCTf8hOOcHaKoTUKF81dro10jOa8Xb8mBGZBE+xk1l9MAy6INl4AKPS/xzqD7OVSYQW/QVjUP8ufbZyz4Ih+5sLiObk2NCt1JMTbXlWVtQdWIxChx9ngSxgozQOd4j0iUmcOaAI4VeYUVguzxQUl98xpLm/Tn6gK5hrXA9hoq9wPrsfJ3k3WD+yXGzKT+ueZlkf3LeX2IkrWZx2R1zFZ9RThgWRmSCZ8N5KsCEBTMukHKtKfMo9yOjhi7uWJiHoHw4vWs0m1CCvS7YvuklN9EVPRH5n+RZgYgVVXGl6Yy8A40mly49vRpgjPTfGJUk8VGRiFvRzKPlsvDyWptbrn9uCUbaMS6aSWGX14nFx0YMAEoXHhlGe9jMItlvohTo4St9vAlp0l27oYjkgfB1hFRJ1hSUdiKYWQHZMkrvZnDTbQA5FgMFShAxZrfDlsWXsOViCohDIXk6JI0EFhAbpOlTkuvpE5DHlrUV6HB0KSLuk/sc6gY7vdYryWzCRdbeZ6jaSOXPnrTLaI4InaVZwzjhq6QOL9dGO6/ChF/K+6rBXekT4dmEE5D3r8GDw9etEaNV/mHSfMVFFOjln5X3jFYZVacOcy9pJ1nhQHQRjzab2tdveIG+Kd27dwdAHJzm2iWUtZltXjp4AEjh18DCkPrTyoxH7XxuvaPaTpr/JFrcFCdVUog32gRc0PoB117LT+AwZJMlcqUJ7KRr7JFlh5EdSIhrYt2t0bvisg6VuU/s5lPlDL5/OnAA92fJ7Uv2PQB/epLw5bd4q7gSXKpzpJ7GWFruW+tnyiFBxVAxrMaEeJZjua1GmdQp9Z3COur6ZAOS+RGpkcM0ZFgvntruU+qCZOwgm+Yd/nNupNqaiZGcBa7F8cGxJp9pFlBs9t8ShrDlNRhIU1gACjtC5/WUl1BHlMjozALe2YnAwomca93JO97871v6oVwoAjTZxtLG5fQdt8DNM2i1hOG8zwblt/64yLWtw4wgmOg/3sAE1TwKang+ARqIOScJcRE1RJiSQRiq6ICjTLTNTQ/wlhTZaIzKVwRslVCxyGl8gHaP4Ycc2G1+cmvzvvdXzLapy+9lZ1fKgNOyFcQPEfBCmzlTKEDM4tEsWgFcaPyX2oPEEZZV0WZIHJJVk4w0QLcND0TV0UioyHkP07U7a8eL2gH3rmqgMacyxCzTrM5aYXJWvDGqadspMA0MUzYUVkORLJbtsI1eu0FpksNbC9+u4ak5B2HTRU70LE+njguuvOusYaGERkgObyxh2aOr9KKNBREkGXiQIDM7syGip9GZiwKqp87BsyBiu7SKePQLCrPq0uJMOiO7JCVHe1Gfi++MVVyBdHe0KKTaoXOczkKotR3vsiHubYhhqeIJpHPk1euFegeiBju7YCbZPHLVNq1PSpIjQ8nF9u2Lk0TJmB2tDySHPyOHpUnoGE34WkItQSfJE95/NwUEleNBx+DRhXRRP9n4WViYEw9cp74boceKZrcYuvNsIAaDcA0oo5jhCF7j5gT6DA0mrTHPI3fpqUf8Q7LTPinSRrigTzVraMQ1vLOw9a9zvRg5QUm1wfsbCPKjNwwdU9wGlQ2OTyfaXII5mOV0GPve2ZSYt7mNocLWezaVCPQMP5lRZpkxEQkonHYVn2NoZ5x/4MywtU3rYyfomf3TfcDENniP7bLDaguIyh48HUPkebNiTy7b+OIrJ24nlyCL2Yl+vSnkAL2Jnnn2QkxUXEdHesfNj3PotNMW9BfKpr8JUF8OS25Rp9IAgPER+0xH0kW2jdXmHh3xO4073CB4rcsWY/kgn1jj21cLNYHx2nFkN8aks4XuOgJSuymSW6FERtIXcBgb7+pMW5B1NnuGbJDVYDDsqtXgmW4wICh48dzfG/o3zxYi70zsyrT/jAZrBjq0+TprNY5xTGnnGz5GD1p1n/Mig4Vs4EpVCnFuUVsvbHvnCtqiqEaX4osPgWDaP2Rxfp74/2v71yrHw1X89wyuGKSet/Vu8Fb+cLPzdh972L9lCIEnezp2Gfg8uXAIxEZZ0dFHcOuPYacqD7OZ4Kirp+kEplcKeUiDU1+5PeFZFJy9qI464MZn6aSzjY0t5qeobGb48Pu7AuCHRTsHw+lJukyQoArquzOgNkcx38xlSaOtPISB7GYGFISVwZ97xoZcbXAfWisGG9wXBPn9ladqsho1ODW05pAHRdGWdjP5B4jonyzuAPreQL1asy/c2kff/fnxiQflO4PIwIQMopTEh8/geL31P6gCHd+RnNzLeDD5J3xCW8L7Op8BXNXbavvN4k4O+GYQ71ci3oYtFicq5gRXIaskMk9YljkXvkJ1NkcYGOx2Ga010iJTy8SHD4KD+U6vd6rjSDyCRFfZ7AhI5kHFKlwUzncJNf+WaBKqaDwGAVaXPzGUKcEO9lCyg7QyJuA/7+ZLFEEnFMQbycdAtUmmGxGUCyc4ZYVUIW04vllHatcrJZmXLCj+4lxqBFrAr9q+tD0jF6TmkINIXXKbV4UZQdWQBvsxQufhif1ot8OYhgensOoD5MngoAoKBF9qYZWw0SOpXXcg0fgwnq7jNc6D9w3PM2BgN0xaEc0WvONnvHkxRoHJ+Scgxv6AhVFV1ZOruSEUjRbW6/N692pNW1tjJJt4dmCObMSv4e4pa8wPpjk7xprK3ZJpZwBdqpw5M4CK8z2L4JHuPDKNSo7buuJKQXpEWJLWsMqRlK7V7nDL3hy0jv8iiQ1TNHTbBBInuaDp7obPIfnE2ceL3Ufd1VRtwCXVvjOKYnZWvuRnuSptPbTMHZKI2mEHHNfGMQWIGYBE6lHqfHtCdjpgkEOCC898wCyqX/0jP7S1pX8LlP5ifJVkjgs6l9hbByEzVq3oLQZTAREGQi1VGXvmq5YSvS2Bizu0kC2YGbB/DrGl8A7W6nsupY0ZwUYGxoNKD010A9ioR9F/oGzyvLHXYTnIdBpXhFkZNaeGoCKpWSJwq+lOCiVuFr3sixXUNCcrfTn3Ep6chZM91h/ZbctdEwxX/8lIaKkbTF2IwR6I049Ud/UNEpXN5mbOBHVnuja/SEbvO99OVzquZAiOc4+8L0ofRN/fy9CDhw9ZBmC+BIDw/eKxzSHWixYVixUbsK3OBcHCP/WOgQsWsPeYH1dWcVOnt88YYyQa9loUiKw80DG66uW3rm4N+vy+PHp2nS7udYx0jUxwZ1w1OwIepunY9PeFRHIaP2JbIKmg5qsgoouH2VnaBwNoOuF9+O6dt4pMVsKspqJx4Qu4gsRsLMGiqImZCRARguBWfLlYSJuJZILzc+cHLiVmKTBWI61F4Rk+w06j8FrUrepC+3wiablAwToCdJFUHvpE+sst1zxUZXyMjVTxLtz/9XlzyTdwK0mrpJt3fZpcLISdQLShvcm+hwyjoY8yT0T5pTI2nIhzTjbqD309VrDEvrygtC/ozZmKh6GrPVy3hMygOblQTI3xBqiT4uU7qfJaMbvVjLKjSVbDR1L+uKa+ZA0LGwqXuZf6vwdE8fkWszOtFprRUffVxbOUHpBcOosV2VR87t6G1lo2uuWXtQVTT/BL0sM2af3Y6HlpkPPefro/ex80IOaP+7XOFhi2P9/qOZ+2XpJyvwHhZIoM2P3PglFsNSasXuQHxEZGLpokMxwajjJmVf0tTjWChbgF61w5C0e6e+Md7gZekmsU7BwKU3kJq97qiS+RvEoKPlerGV78A9EoNmpJg0zG4waaWH9oTijJ7r7MGzslq/UutLYeg48RjY1LErSOuXISKMBg2WHMzAsGwN2zQkSnyfccjzoUJo+Vg/8UThRu94r1yx+fWaVREzU71WI5Ptyl+Onk0TasRlJyIcM/oUKvWHkIobw6b4/z8A/NviA++cgJqHztCEtTD3g3i0iE6q5cNE30KfB5OUwvvGZmQautBtJcSHg3ZcW8Tf6/t9c7BE8KVfEgZkeN1C5I2/kGJXzPemX62UYszyGDphkoezmAZ+Ezcu/U9d4A6nHOK/CGC/aVA15syv3mbLzrt6GjxT4avQ2Hyie1yW+E1orPTkOLwPbc3BgnrCVspmzINUk9rKe+2C17lnz+1pJRcr+e8uLBPIC+XzRcr1lzkFVxirwNtL4AyNhk3YRNWiUGj157UaJkZqdijdNWBjHBLjcV53XyJh/K1YuxYPeBVE/KRdFBGdYjNUNAXm0BvYPbnS9+Jke/tJRwwFvric3BYtGCLTI1EYemJrb7w12tlpTeaXVRIekbsdKi9B9OAT0dg/79hpcfjQZUzxqbQl4WOQkIlZQmXzk6nIWr0SFyNVGm/cqCFNEHWB3SC6hEc9OEfUGxYwdvo7UwleB17vSaXRVzFnCt8NWF+1eS0hdcz2jRcTqh2Vod61mGtFk5CL6C3qWdP1nY/S8yZN85ApTmmvniA7sXcvIbbkT1yl9I9wlUn549h5QSMqZ7y6o9PrEUCeW+XHLSZNhuCEud2F7dt9O2S3ONCW0WjAEDtHIEaLz8E/rgyxpT6jJjxzS5ANakf1VOaGghKufktAd+6VXEKCEm+iMmIcM7qD1fgfAMld/bAKlnMV9g0gsffb29aAgztV3wkkizOF6x6LlY4gto0TfJ6ZezoPZBwiuu1ZMS+A3Q+E8i9SGPf/tosvxvreNoKNLEE4VxvHE4QUfadtitD01WU+vqWlleagkW/sc5dlv85VrGqE2jhqExyA07LHeE3rieZ0HGllm/gdIivBkTjpp0589nCaTVD8gknAtxbk9C+lumbMif3S6DS+3Yp5XZ8ln75nUL1C/9YecYbhAYF6cZUmHUzWs6xrUeaZ8UuwqMd6uoSjk/8zPxLYGhXnGCQfUh5iWxTT9EoOgnx9CY5y7O0A0qfePU5VJOaitLaXE2aDxAhUe7gdWYH2uudWcZ2C8X0P/a7U/Vc0hfSzUzoAe2HtQwYL6L5NJoKk4u+WiyIC9vbPg4cDDc8p8F8YI6HVzrjYK4QxpA1RXdNOJ4ikD216cInvWpJ57yn3e0/roHJ+oVgm4celFrrfI2GWFl2MkITfFsfYqmQo6PthcQA1dDj6MXEvGqISUUuyGqt2Xh4rOw79ZptmYrTud8syk93ZZ7BTEcghYsaR63uCbGb6jybGA0x7NkVHBCEX6d3wDWcSMq6x/UMd7IJyn8ByxLOOD3y8fWq1smVc/17xgV7hPD6mDA2JzePdGryoGUeh9ByHyivBEPTGqf5sdYvTpKjLDx0x8U0NfZlQGX7oRBuqUIGWTd0/P8kGAQRXSOu5CyLqy1LfzDjq6TQj90UEkiQq7I3+tQX/vi+df3SfxgF2+tFgwj2b8F4yoxuMWszJS1Swp1kQ2Xcrv0sCEK4jCByv+bcgn4cUZn7j8GehBcpddh0WFju8x/Ju8WRfkBamI34Fp29jnA943WMHhyBRGKbFh0uS3YwiUocZyQ9pGpOl0X8yzKR6WMCXvFriOYaMLr7mtCptxmIU3OuAlF9m8ASgZVTzJdZ6QikbtSAGw3ASI6vV0/9oP4pfvARNqrbbNPaiuzJQHmYhMJvoE+UhBcjJDXAvata3ENlJk4E7hz40lLfJAY90fZJRcjy8w1iQDpDMj6lqdcOYJv/uKbnp/OFi9wQRTsJcW27NQMZhrjrbNtJlXJGVm71uiI0h+C7PZnEZDi06BSYd/g9TD+dQtU6hX/nV4HD8ccObTOdW+WzNo3qNEACuI9YxRIEpf+6ugDuw8pD0W8Wkv1FX9S5yKDTM2rjwU12mnPJJcls1+rtjGeqOUsjCl+Oi6Q5oS4byB6pNzu33tu72VerYDZR6RkJFLa+7kzxatK/iB1i2rfZ/R2yTHp/lgw7BytFdtzu0AxR2MX4c6Zl7Q7AJOJC7CB84J/o/YX5fIwr0hDz4vhDufoA8c7oKQu+D8maZ47u+qZ0WIeShikMOs4YDRC+dowZEXgTLLhEiWsc0Y4U3gzDy0IvPvxmN2m5iagmRwvfKUUvrRAT7RH7XWN+Es3MYEBftkoC1CTx75nfjAYWJepgU5PSWDUDnLWF7IyWla58OzjwNnjK0FX23O9wfOB7p/31EqP2N4+q4SDtKkK/e/on7FowWWBQdGx5GhUft37Msz3O0Zb6R26V9Kh8MViS9IqkpElK+tLnacxV1FwIEVwyAtUlhKBbAxL0XQio2FrSTcn5CdX6ZF2hwHk1L/hZy/pfuHGFEhaemsc7qI2ZV4NVg1e2+Wa6kdRgqX32Jx3tQ+DATI8GLHZpj56aSilL0OloEcIIvy83PEi7TrRREvp9+aTvoCGzZKv2JDm3DnGk8vCf0AJFGTSzY4QhQeqEp1/uEQOj8FJxPD19v05wZuP5YH6QRecsNLklyCUiurDqB0ta5gB6Y5AWnbnoM7i3Y8palXkivcplBEErRIOQqvckF5UvO0P95yK9pCYslYtn6EPEoNXemekgSmXckCpHAfT0W+o7va0hhCrZMqLMTqpmTyIsoj+nqGURUxdWZM2iAUX9T8usnMJ5mqz8nsItpaLuKiL4SDO5eqV6ISNxMHvHA47NeGdzPxRrc3E0MdyCmCtrn4Gcl1Ve03VvQe7vlkjZvztm4bDQqldJHQtswqcLIEn/sBFxbdBodwMd/le+oYs+E6ZFrinfIbY7rUoio067nrWsAI8e/HiOHdPrLggz2tK3YgPczOaJAD4YAIRqcOjSeYWNW3LmrHzG54LU1HZaPqiLomEtgedcs701FSBSoxrY+NQTh/GGlMqiKyX8ycRLro3MY7OWXklA3J3xP/aQNU1SU873MSSStLXumMuRldyH6QbL879/I6UPHn9eZ2XXaqw5jW1UYajEbqfoKBEioXsZ9lRVvTVJtn0cHmHfFOxIZs+vQfihknta+rDW3tPASyGu9bcmkZrx9+31EwvZAS/dGXw9gQH3aV1PXWPl4uvZcAncfryR8oBAg3Pyuj82igB5QhGmtkV6PEKO9wrLZBSn16WyDy5SouPoqTjcxPHdsVV1DYStUXJcjbZOoKfHciPNo3+0QEJ7Hm2ZJksd/O/GjwssYsymCqn3rn4gXpkCVDpxGgDk8/SMBkXxZ+3XnDj1bVmVbdjIc4DTeRnQXExRUlVIQNlMf3vLQyXioA/7yFMG4ZRzIMH+E0UPAOj/fAyHIWzd/58qEpwpflW+MoJfHr/LNAIGe7ADbnZsnF2iD88AyCHLBLl+qmxrcAgNyZDkbCD85tBTQSkW2+kHvEtfx/HEmeQ8YAN+zX9yWe2ADe9sY88W2yyYGXxVYyqnKRyZoIwpVL6+2H70OycKVtoJcbFC6QjQdmUfXmdCB42WOYbkEzbIdpJi3+281PcpbsWxUv4ieRo0uWo4O/e2E7XIiwVX73jDcY6ApOFBiU+FSYbM0lgUz8lQTlmT7/duz/JXiO7mdlh6D6PSW5V0cO+6Mx1B2Lhy5eFMhYF7rC5JPHHJZLfwVleM1+5tmzI7Q1msDjvNcVZ3aaUqbBY626o/toSb3ZB61LbgTWZm+IJb4fUz8pTDIzSJfTLew6ueWCmxr9FlUFcl5okjOkq/5kEC2pgL7WpSwnftZWxF1U1bpdDcFmT/LzVw6iFFwViJFkKMi9QlDXNE1gxxyh0y63ovaFsaeoqur6MJIO+aiIbzlSZzg8sPFIw5p2uQ/24mQ6JsSJ4AUGAIvdjFDfI5KSDCqp59m8QSpd3A92pRbDFOP/rVwTzMigk/hFZ/ECWK+GMMq0z8zo5qkw/x1WF9MrNdfQPlPGl4RNNBhdhRuLLaivTtJ2tA1coJjH9vFFKG15cOCrFHtjXtv6JDzxRRjOPS1uelLY3wAPCXYvRZKqvuce02ngjavlzM4vZmxKJXkOt6QrsKmm0B7/fENeHriWsur3qN017ggZSD8F3LDNu62JPywslof8IQNd/1yHNEwt6HegIp0CmfhaoRYDJ0090cMH9HtuGkFwTiVCSwm2f0XBEOx8CysbzVF5req0qc8Ht4jlZEb9Yd3q4h6i1tbFR9EuQWrZ9efniKkSYCi3yR7TWmLIT0On79ZBww7I4t3NcFY8yH0m6SwDqYpEIUqVPJIOT6x+2lDq3bQDF1BPHxPFdicK2P2XirfiFjX8MSS2KjgvrMk7gb0pSEmXZNMHHJiQ2QX6Upx55sFAdlMTo3w9W5ZTIdFWBXZv8JLclMwNUgmjtLKDgceNpM0Ra7Aksf9itGEDq1BBWQr06OjNqsmATuojkl+SbQmRG5D0YL5Us01oIeHy16r5KuLxXOXPkQAIE8rHNdvGQiSI6Dos+F03jryw3We2Ung+ZUfIehZVDkmQxZ484Shm1sTu+lLiRh2krWz5fOgEGn6guN5qZ+8WFbexsppWyrZfSWqB0pSDpHhHplmKjHQ1vANKDUiCXUWvyW6/zfT4fao+Zd1+rLhIIsODrbypCz5xuSAwktB1OWr7cA+vyICF9Ce78g6Gmj+nfybtLYZpgNAjqibPvk2tiwsSnvIYvYqcifzbP3BOLFNVb5Pa4+gbYdFAeMbYP2YUqleoFK40i4hKxHZcYSovhgCrUS/9Cja9WqQgU15dPOdvnd+N1r0HrammfcutdE0O/8NCrYmrkEnfyXs0ftaP8CQPb6UN2qFrNAP7CFWOSiEiyDVCpAeQS8tLuvTrbqZWezEauwcoyPKGFD1z4TMNLvjOhJQ4t1cpQfoEG6REBSwu3iLzcPKA7R89Rc0tEds+cLgr2iUUB1/+SRhLtJvDRXBWk4UJeFfvVr/sDWPabuSERACumCKKC9kHzkRsaWPpaA04cNrBnhvxZH9iWYvo3iz1y4+01fdpiwok6A8bAi2aUELeRdz6PCZGf6PzWQXSm2dbATImsYvJjWfNgGBTg5HOY3KZWCXx8iH+CDvOHegSHojhF2vzDnVBi6NxAenOPirYxTlyfoiSL5DQXpKxqMaEEvYvrTECDsVS8f0DI7PLTTcMsWllXcu19FzeLfSRuynKiFARmxRn57R4S0z1ICyqg2ARw9zew6oi7ImWlMqbBQ2BnNMt5hQHSNx6LilfLRopS/2UKOlAK2dBCJFyqMM5WwIR3Dv7JAGBVp/Q/0KdZC8hNo+tngn8TC5NQJP/vOt7yPsy3UtuZ7FJYSXMlELAlLwVDuMedD2Pxz7G4iv4JeULrV7pbcUvEMD625L/McKuaQz14ItKnDcBaF8ltVqhBKW5QRNzgTkc2DCtpXpUfsAgBzmCyKJaZpCV33Z4eTCPiHHh5FJESB4yZV69AZXTXk+4jXqVsJaN14WhRCmVcXprCZ6p+syW/G0G/BtRftvlgUiTPEvI5N+17xefJt6v1GgMoodubf/9oThsZ3nW0XEpk6RMINn7kBIj60KwJ+OEPxkMVVXTGPJ/eDVv5S5fab1dUGBI8caqDWiCEBDZSXz3tlcT5oINmQ9O3fXsIcRHKvw97cWSsvFiUIfKHMAaXJ4BoQB0quhSf1Zxq9Mrno0rRv+ls7/iAOetwDDXXEiARH/4nX2jiETj6RFGG96NnMnuB6BEFSwhrC80aQLH9QqXJLLUoF4nTPbt2o/pu+M0Lt6JhGHj/Sn84cvS2GRA14pfDhKZ6nuvkVo7yPZsGl+c7cNCtaIXERjqapgffW1x99eDeHnnBeCu/R7hUJWDEB2V7/Iu5ozbEcejBANOY9K7/ElCcNDH/ljJpI1wDhv7myH+Y1SQMavfILNMm3IeiQiSC62L2yJEeV3OHsJGQYaD5Rqmom4yv/LcieyfV8NYZ/KjTuzh0e99wSHJeFec9I9T1BO3fHc0GEyR7EBSFSHHix5Sm5eU1BmTjVYGZDVXf6d5JmbE0+eeVsis2yfus6DffwtF5+E+tr/XYTGgXWqMPJQjHY29F/D9/cY7Xl/5L8jbp5mSS0ZuupfRGS/NA8kAcXQ5MpccabTFXk+iOLhGb14t8nWctvxOCHV2rIA34+xxoXyeDYM9YB5QPsYs7fosj43eBDTLarrIzAcrRcxsgQwW4WCqAcDlD1H95cYTai+3CFJGDJ8bA3hHQD1F9W2mkDBwl05wrmdDceTRzoeWV8vIK7WevVeM7E8+QDhSYwMHgo5e2UBlxfz1qt42s8lXY+dUhza9GgD6xMyP4Sp523GiKT2Atrf7JoaterY6glcDZCz5svH5GPp3vPTH+EktjYpHv3PFMrcTopIT6CFAt6W9FZ5YmKbKt+x6jhgXX/5HUJEE7AuRkMFgepFaTsHhWiPK5LO3+srvk9lnifsjM/M9h5UEjYGhJ+lOAkG+CguLOTWZpAmp19S7/ZSFX1fNzbczASj6pbAJNgPz3MCztIJVdZ8T1eS0JhzTLDCJO14D9yKVtNjc4UA5cM31Vq9M60sKXn2HRTCKA2BPZOuYDS2P6OrkGoVs7FRsSkqB6Q8gUfukh+K5BKofHwtVTdvBCo3LMwAMCDUekEvNycV+ZuWtQ8nS8BL5AwlrlGWquUtihYX/XHugGcM3gf/lZqQDCGEhkqklwOOrgXxLO6kUk1nLfHugU/S/IU34HzJUr/y7lBy8rkhn1/pD6mWIRhzUsGQnHWi298YeDYETMY4QvVqaF5yacHdsNiz/PtLv/m6/9NTNCHRoGQU4Yd4iw5mblQPxsmyVZ479F1XkQFQWyyoaCPmni3HtPkshEXe38ZGQRfYBFFA/pAVet9vFYLBzWZBUD0989mntvBVk/ipiiC+QITXYK8HTFZDttb9bNEaMn7D/OlVn4JCypy7i9nllEAEQgIZaTkAxB11bhQQrhaSfNeZJqx5urqsi3EoYgyNLAtfj5jD/9fVHPrYH/VBts0DEbOXR6u8uyB4ufEn5GryamsV4nDfPKVl//MPUETDRroSL2S1BvPVa5aamB9jEOpazH/fJcQAhc+aT+rFeW7qHXmMZv2R6igfH2qKDE/cQlVMBmqEDzDIG1NXj29rWg1UTMSUEic3hQzSXCY6rNXEQUEgttB495/fzMFYZo7MuF9ADZCXRf7lhpB4kFdMIaO48fgW3LSIQROyHcnwNRJtpJXYXK2Zh2m5gQnU5UieRcYbO+ur8EztgWwtha2lJtWyJ4PylAkhl9mvubLNUDJaUsPWJeYPlVHqzUuQmASP3M3GC/vC+6F1cUjP8LWRWiC/ktPRMp1tJO6DXwH7gYSSNd2yFasQ+Vu1mrYWaTHjZZ2oAMjEnypemCwFsjr+GHUGoka1vyzpXNNYeP3Vf3nTRuHCv1Pl/5NDJF9SGT06li5ver8XvogZ0NiEy3Rh5lQqxYuDKpqPjNLfJtZIodQP5VT7a81eDsfDT+Pt5wAWoVzezpnEP+0TH8tzRTfiil/Pq1OIm+j7GggwNtTuQpt2vm7cn1fck0NHLqtwChyNBH0RSwGpt9Bpdtxd9nJQs3XO/9T8qh10IVBId2oQYdHCj60ntfY1Rh+kIlZv8E6B9VsEh7xlgOkhL0y/X5neczJLisskokTvPiTk5Mv7G1rIkfnZ1rgFenXojFuchm5IRD3LuG6TquLoJfo/yIUQAoNUn31tniMJ57B4Mvm0ee8aJIsk3B4UePnJzN3yODoxBcvIGU/U0MLDdXy27pgXCjlDklE952jY8xdr8t1/JJDwpUgKAlr7F8Guz52h68pY1xF6D6yTjEvL3TV/Qo0uarmuAhVAOaCCjxReluTGriCkzCUNKFfyYaeyzcY2pSmWcQYf5hUmKUtW8rQbfESXPoEgen/0mczgwiwILYmxEJWw8ZOzLtc6dij1d47mF+9McCfVFcsWx10PHZVcv5vE1vHeyaURGIoZn+fnyHyKAu9tr3n7yh6HraKGMtTyuSyrCir6v02b1FzIu+kme4Hod2X7vb7R9KFcbZwXF/xHCsv4cDG4xJTY6nlHL3geOU2NebXzttq+ei1ptQ+I8Bu1SQxg6WzIhCFGEl3sLPxlTYy2Sr7FeWB3qAtWdumSHUNn30ogY7qV4fRhAx8r27A2kRt+fa/VZM0hYpI7P1Y3HyhyHT1ltakdHvVcolW8FUbT7qbV1N7a1VPGGmr97baQU9VgbMrI9OYeK/lB/MSQjGruy/GWLSgEK2fkTPPVvTeVIqj8swFkQZLMuvKAusyTKuDKjBwgU/hFfaIw1Omf2uV87ItQVY40kqGrtTDyTwZzcnXiwU9+mi5bacS1Wf253ckX78wqOFmU8WSLqhBmAsYkAciqbOYhVnuBS2k+axHF4XaGf8KYJeGvuXqhWz/d9mN6wKomQwrJCTC8w+Z84HCvbQpr7108qbswFzDI0VQefo6O71I7wALRReuhnlPmSA/4kVSnd4D/ug1f3qlhW4AzbdtSBfvqkYOHu7YfC/9Lot+p/n05qxjyM7rmefFIo2nq/ooNMG4/NjIgWSJCzUQ0amYlObzosHsZJeAz7kxrg3MN8sA62SEHI4U/FSt9OjKYUMXSdWyOG1XpEYOSDMoQ92GKoFIL9d2ZbHwq621Fmb7cpr+0siYyZm7NizIE9GmYsDJmhRx+r0H4wYzs6r1eeFq6xMNitmQfO92ceIn38Y3Ob1KPSWKFRVMuKUIn5pV85upf0xOfNsYDojGRPZR37iCQFbX0omNYZJbygAzn/L5duS8tJdjPJ3+S8+u/txuHlKBndvg9HkhTVAz2aDyW5DmoioeQaueDlU750Mg4bfbzwy1/5Wsq246MSlJP/dAqhJHwnbG+lAwKAWImehL6iEZE9CuS+4t6A4cHMX8Sbx+LFLdJBEnHBjtpBU2m3woZ2nDGm8GUZ6/NkIlJeWNyHfQCmCh77H+L5gtow7PeR22KSRXi/9cWL/nJR+9I7esIrosa+M4nCzlmtk6/5ZO6zCrHuLVTtPTYkU0FYpR7Plna+8IJV3Vj/k223SBcsFfDBdPg6f3rEiPaSNXF47R/qrCBa+4Jn2Wr3sdRx1XpHoEwchvzAkdkkB2rlZ6Nd5O0DBRm40TIWtb8R5ZWUNKYLH1jNdxXUe8XqVw9sAvkGlgOxg0tKTdVPy8KzxYQY43fDXnCJubSAuYhQx4DtuonFFLPe+evefshVRTDCxT1SdANnFQMWYB0YbKdKMlyWiK8EcMmD3kpVF3GeJRrlP4o6n0IN6kV3/DlEaRGCbpL75lG2A70a8XUW6AImtTbfqTwQZ/vcObBj3VIXFA4GiG7SJnVqYvWsyhnzg/KokzmxI90s+BEnVP5/4PqHb04PNLRw0xx8to1dN+/fojMws4NS/VeaaVbIwWYzaP5PUEPLXyf8awRvi4Jg0IcOFc6AfFKc3vzyUPGlSwg6+5F0tJ5mVxgdOwKTFjpTXIOtIAKgv3HQboc+KDvek3Z/la4oTRREy9QYBPMTzoCshRBtZF1nJcMfcEP6Y4SNOSs0ZRoyzXzbcYAFvS5WE7yBBm4UQQIVXGsiFY9NGSqNy+NXwkk3Lgevt8qtZoL5pEylK88oi8YSAtvTws5ee/QTEYdcxK/Rrq3iwciDT3bytd3hmdJb1wjPYX9Bd52HJDW6XXUfL4MgdPpbRdFI7pw4Qi+F3Yd+h6/Kz0sj3SFnm3X4ynp22O/Kf4XKRI0WnBvWtk27ndIR39jAl6bDdx8qaBcPK34D0ikr6xIPqYxbVu72raEIqlo/8bqbM2Ke7ODGugP4UjQ3RXMXmYDaBZ8Ss4bAMkIURZG8fBLvvFsuYMpN5T4SP1sN1oPJgCltax2u6SN0eAAbvsUY8Ap+N77HHcBZee9Oy6U4miMsaThO899osF583oyTJbeiN+69kP+bTDfmfYzCRgd8BK/E624Ocb+eyt6FAHLhh3Yg8TPBCLNrbTjlbDf9FIQlH0kjoUFx/dBj5QQ6xt0zB4kpfcsit6IUfiXuD5fIj4/o4hYOORQSIARdcBKyzi8a0TMDw80x/6NDjBLdx4op0dwcOOb5ZgMsb5U7zHJ2NuETrTewXn9xW/ENhACHWmxJfIR0X5DQzax9S2vBbaf/0vo0nU3LKT2hZBH9qxjNzmQLiH17f5WaGW5gH3Tx1ruO+pa+AKrmWAR5m8bVY9YfirhhoDjEbc3NGwupWCdox2V2v/QHOS1GhvcrQ+oRJaJo/w/LGapLlkyHDXEkPakJ8MMfVOpOi1Ov1XcoXMAFfpvtk5otlpC/v5oQUpzNz6HToo/OStANmoCA6glxvmSFVIprwhPEwQaFhes+xcHXXL8TBvz6ft2atKVw9OUx5B2pPBbH9zMZj+oJE6a3lIe+1MgFcuVYZ+1QOcS5nD9VeID0yYD/s4M4euKrVJmLGwSnWLDwqi0AQmXOpZ1KF7J/WgiSVKCWTiLIra6Q/50c/k6YWp4K3s+JyJnP89BwO8NciWRD3RwT3SisYKVxQGcZKmo67UpI+eJwMr3G01t8FD1m3HKAIJ38+kPTqg1M2thpUjgGo2N5jKjUQOkpDSrmUISUWr7j+QPaEsaFgFuwoPuYuc4ENLF08FwPrj94wdjJ/otdkA4vK5JYCmM6Mr/9OclElvz14ONjvT7pSUTlB4ug+yykydclL1uJjxeJ98GU7qtXiv7F9L/RGH9Teu+GaY1FufNiya454M5bceV2fUNl8GSGHIcoJPCcmieJ5/1IYxJWi/zkLk6GYjvItEWG0Z/ivNWj6a21njOIJtOwt6KFobhcyKk6lFL2OMya6FcSDpD/+Li6vUjGmUTg1b41pGeE0FoPHwqqJctDYdF0gBXXiYxj7HjNGsU5DA42RUo8oLAcjmmgKlNycY1UaXp9Mozw8d0BIMli/ziPsUlyLOqaV8ekBKkutmdno98j5nWvCXW5VBTsO+9LSQ+uKyFnW+y1gkefW9ytlQM4eUsemOWcReCBiu5a73s7Om3YYko5AbaJ1XiJ+8cx6bauIItYK9J5HbkpDKSS9lqIxNu2yUAd+9GSqyb3dTaCoHqNuDoRrdhB3WwM8XqReyo8XtjYdm+vjrw54cV/mn6j15/mQ3yq1Rzv8yMXOqTj/dNCSsArPHV9dL51V7xiPKUdFeyQkb0jIjNOiSEFI/kHjgk56R9szCEqHRAsu10ZEL5HQ/PaEkdiUZM07qDQtArz3H7oaTQG2EfpZ6CptrFXXfVywJibUkhtOlB3G++TB9ggTGnABZPmUfDKMICEyvr62ceJ0oX2S9e6JmedNkf6elz02bMSM9feOGWAj6Q9lsje1AVPhmCTcy+Wuby8B8EBa8Y9HG+B6f3EqCPpCJLIo7peJ6OStLqI1BVJKN5gWdgvw5+eVnX6Qh3d0KMFx59k1wa1rthDhCR7Cms8Ookhz5rcQ8KZZnuZh+lanWj2kgqesvZS/KlNllUHH5HuBuHj+YgARlDX4rMQgE9qDr4//Xb/K0pjRwzLjkr+9H8nOryCr/i6IVqbfh4RM+wF7fEr1KzNqzc0VKjQZm35RUm2QlwpKpunLx6Pfar4uAJCcZQbiMFVYHvmZIe3R0nIwpZdGQXmcp2vGzQWGTVTr9nXYUG651bu8XbiODR3DG95TSiN4iN+PnEywbObWPwxWiKjfgq3XnldQJESj/BHvkKLl7NKNnv5f2tpakBO8ZA3B1NYV3F1iykIbiGM56dJ3fRgQDlb/4KRzc1/bd+hVb3XWeZjeP1BlqA8qRb/9S0mjq6cA5dN4bj7U8tZ10YnsVjrTCjX82FKWzyxKCLR0LmWkUTWKUSSVBPkkZnSq9Q8263Wnowoa6MLvNDRZudqIDBT821obR3zkBdAorNE2aWfJYsl/6pZYfeLRCo+IyeS2nngtVTKfOqTydG8itUEsTbLwsxRDvKsBBAaxQKeZJix9K2rOAsqEkk3zj4fAPx4hS7J5zzcHtsqbm4+aYc81qtVJ02V+U5bLOLhu1Y1zELVw4vEJEIwlXMA1k24IeCCUMrVUJE5x64g81E+/zt+dMvQL9QgzTnQSbLZ79Dq+KqlIJ8Ui/ayppKcaU7a0QzuPZQVdoAbmgGzLgokSCGLiZgJxIDDvg0eHUhg6Ly+It89g9DBYu1C7A2IcYf0IHaJML1IRHXK37AyDbMnu1JicO7T4LTFI/K0bpKMeEfJTDeJW2t+6PkQPimP9q4ZFp/K9g5tLvJwqIBCV0P6YwHvI0Q/aIcsFyDiYHvHuIDL0wEXL+5ZSzt2rx50tUN/XbqO9g7mm8qfSBVnMLp1IiQ7iDDCnJeKy3ZgRuqFOZTGNpHny6L5BB475HM5nIQf5vYbMpzKqYTmVT+gnV61XO/hfN+13oECgc9GOx4SMOiM1i2Wa2BB3Kkg+mCEwT8+8Oap7KYuvG5+FIYedKLjx9hD3iBBb06lnsELro+Kady7s4Vh7eUGljUa3QZ6Hp/GHfYCFd8X9fjGESnJeKTAqVUtgVgTa8PJLjLSPUBiuZ0C0AECRlcWY4qM9Zrj5I7o4lT0p0IS0Bp0DmqQKeAsD0WAv8BS6+q13m8uiPgtS2qTvcxM7nBsEfCBnisxq+2I4S5N7JogsgtyEpctrTIwrDM+ZiD0exnu2ie/yf3WQSo6oqPCxkAZZx5PzplLJBxnTGb7+K7eFmdqcoAm0E9Dz++gpxbECAhO/g6GHqTsn+kSl1v6te5kG5ReL6LpLfz1uHOXT7+W499x87ryoyxOnlzloRsTzKNHD5MIFbHbLRAhdVK8TxTwZR6zLgkoj2Z190d4nKa6BGn+fntHae6Dd/gejiIFswYSAeVWlMiwdFb81SnF83heNM6jEZbG7V5wcLQN6lwbT41hjH2AdpKUf9AeqmGw7voIGc1+LRa9Gf5wSlu5Wt+VTlUNlGlffAhrwhs46XGsA+vYycEHNBNhnD0a7xcStMF+yR7wre1OesH8RCVlUKaaEmL6fZZnbrx6vCUL1VZZ1zZNYpvhj6HA2XVWq84H+gTURWA9sWSoJnAtEl8n4XByQyVvXVakCkCwtYEXDAIlMx4Fh1l5LoxhBTBP9yO/k6+zM1Gnv8Vp0+Kh/9TGszIU1/SVlmN5+nlWGz8i5s+bWKrv4QNjIaEZkAk9LHzb9qe/+tkIr9ZW0hyL3li6Fg6it6dnmQIxspm93OBxO+yoUE5ZH7dUIcbR1X3PsQXnfS2AkpUfxQOkSbNyxplwgqfuYbJohkT7oNzmy5OZZwgTFFztTV5htmPF8FKxy4p5OKFwC2/EmLrHk0dGgHCglSULIYgoTUEeoDQOqg+fYliXsvZ8pCuqX+fGuA/hofDkGBqaaPe0N4HtUcSDWYeK3n+opVBfWU6Y9Huq3EnrNJ4zPdUfNAu3wn3/2o80m9v4leoQIemGidf0E8aF71UutA4ZZTFme93mZOlr1t/Hq0bhGRofI3u7XEXArsf/5A+Kth57E9qvYUDjssYjRam0+ztXbyEsOd+NRQcrjcLQtS9glFFNz+gX+fU3jz0ImQjpSmSwxMxyjVy/2EtaBX209fm+r3QRUbDLs05HBIqmtEjlbu7nMilM6pzXSrRFaakG92+cOjAJBJ4idIUJeNOpxcWfzbpU6aP2tWaF203A1yb7uEf9MMFta35galTPpNw5jfHkN7sIwCEPqjOpZN0jQ9MtE99ytQO7Z3u4TNr5RWE9zQpO0Q8iQWd9VOivjQLlIqI4QYwYMHAhY5alhmo9CR8XOuMYINayvtvUsnAiHGUVrgmVKizxwE/4zB+xVRf3lAmfONCyDlm6lmXI7XUm5tId0P20pL5cAMzfwe/CnwLShlHx0Hhq0IS4JFxiET84KBRdqGLxIjiyvZXJ65DdxWl31u9vWqclzrOT78fsUnxt+8QxT+kcOWlO438XLOV2frUNCc1znb/VeRx/LYRrQUzXXkNXbogCSNQ2SN03QNenaFESE5Pr2SY348rojpl9sfdwa94dy9djppqBobZ241IXGVWqJ6JJEE3pP++DhaTjceVZI6LTF3UORfblT/s3n4+8HYXjiGsSstw4ncnkrYKnnLGtfMlbjTXHcFh28NyEySFrabKOGrwYR/J9hZ9weWcRyj/lOdwAUHbZNe0+L/RfAl5IzvJEeG5zMP1QE87kfIa2ZqmWiq00CdTVkmhgim7GVojdSmooyLt6Mb/bjLtyPiYrR1BrhtIqoB+dkIjD9fnvfK1rC3PJudLNnYxB5HM/8Aqik9onWxKykv+U5jIhkhfSC3hoBXIeWrXqPqKcYuM4CvbtaYXJ+LxJEW/OcPyp7aApFDSI15SsNPe4fLuDK2kldl72XRlmKAHFWMKfTCiFTuV0qk3qs44p5uiV3io3k4YlGFrSIPkIAvwFgALlEKMbzjUlV3wnsjEXOaqekKDWxPyy23Cri+fjCxXu1c4NTID187xiTB8s8luhRJI6gAgdZMJd9uGLjp/VurbsWa/O3YS1YG1m8SnhRamrZnSpP/TFXq599hTB1Rl4YOBQarM1MfY7NEXY4qEg7eyOdu9NcY6w/T7VNoNwWS0XingAQEtIxbbtmfmFCJux7nySvrYQK/EXeK04sItFq+TpGQdk6yZlGzXPH7TjLnBWzzbrMOzUTWgWYfWc/B4mtewlb8DtWr4q9AGtFkaiTvhDQA7lUPIRBHx6A2M4RsPeHuxA8S2EtGiS/PnE53TPVLcPYFsmoCE7oIAlMmGMIZK+Uix/L+V2SGMXVdjIyx/C9smb92ndlWCod4WWxpBHSW2JZLByik6tmZZnCUQwjfcC6b06VT3ZZ6DspZRWsNFFfHG2WXda8kP2uoxs1SlpeefsjodbUuURnf/p/JiAWPKy3vKyXhmxyo5Yymf1yme/RsihSFkK1I9Ry7gpMlY9Kh8Z5QXOLqBZNftId8TQlKVy4aMSNNBjAVHoJdVW+ZHkYcXJZSURH4sdiVKHdJLPyz4GiqvYViQ+mi0HumNIY46FQzR61rGWZn98VXGepPak8Z/9apok2/aoVq/6hD7icAf45TnEhwfHHur4FexqNKZaKjPEI5Ez252+ZvVBjByGB6gJ83I7YFuu+r+JBiTEsgXU6ygQS89nFFT6utLuVeRVJ+r9oBFLE0au5K/YM61wloCy8DDvrsDzCGX4zXk5GsjQra4k7TZYpbh5Geh+fdkKu8acFuSiAiJ0jDvoBV5f8Sir+zTt8mm2Hs2Lwrat9S9BujOGaVUriUAoZulP0DpZIKgOZ71zUDA6C2jfRfuqJzYzvUJqSW00Tv7XSEop3G9q2wOLn60P6F9/wZfEg740SI+xEvWUI51Pv5cXCjzg0vZUoHcEe3CyzlIjWxUto1XTqFarOOQdF7JlR4q+RgATxxzmrI+sOs+6lDF3cDLVKZ8tnTFuzrE2p9UnTW0fBplE6ivdwG8/FQ/9KtpKSVfla5IP313LoXjjaUs6aULT/L7+RTod1VFupOfrKp55o+8/EodfVNV/u+YUlIdAvbK29F4BVGHM0ELUwSrT61/fBO+1MJ4K4zMr4fLTxBF0Tv/Xdd+/Gyqpwe9zHT07HfjBPfLMUz/p09tMPyyt5/ODPKgOAqeW4RO+4T2btKMAMEmHsJTNHJ81+W97cAq3kM5Ay8tSac+e1ZvymMX4Pd6K9tAKxuqrIDAst3+KTc1iqc3YVN0JtIaoW/gt2TvE55NzA8Y1c9Oig6mzBka9mhuZT9uqpAhJDbC4y3CBNLgy7YhR+5bGMgaIcdcSFSZW1mUw9cEt67oTUCgLPR9cyC2B/kfv/G/u3MZzxNK2l4nGbM3xyAi3jI8US9Db7REfOFiES8vbZjh1ytTGpAet4iaE0ycLPPjcu89yuGG6/NjHzvqAIgdwp0p6Ryl9gOmjlrnxGoV75OcIjVzc+nDQ6/2txkoorJ/acItviopTYhuvsDpXE6dk6uKXMedG2Whru8L/0891Ub4Z7dpYt/OstVlG1P22qfuW7dWyKM9CDFItEohdBQEjovgEVTnNjDyGJbcJlj51zllegFjgqsaBK31zVxL+uTYUgd8DGndtOd6awaEjI0W/LCrxYVa8khil0DiIn18P82f96eh3P7YCqSe6heiHDrmlRz0Mcs66PQxrISheXKxOyaMOeIN6ZXS4QAGHkeX+QUo8VjtMcRsFy+9LVYQj6EA28E8pVIhnmCxEcmUowTBJ440GUpQDYgWzZVq4m1vBzaEmdciZFAkOzI744Zp/mSQLS7xXGyinxccHiSU8gctiT3JDL5JeAcc1cy/zopsi831Fprtve88ROCFVO2q00DoFrl3UsHzR/hznsqqPahRjvMLAn9x07Uj26YLwbzeuAKE1ZrgTOYrvpSgCQJQRiWum3apoqlGfY6xaQt5gSJLOPvnTdwtNRsLkGtpA2suBYK1Iaxw9wTZo+zsqeeo+a+zZm3QCLGMzIHRqq3+AKl1bZAiEMor9FVPQ1XOSGDhG0a1bKhd/+EnlVKNIxzB6tFHsUaUSwPI7EM4uzWxv5Z9r9PEmlQrXAO896hGW2u+S9CdLii6Wx2ZrvVfTFVxRgSGdvvBXljb0pLXKNya8egV1SMQn91deOjSI1APN6YZ2ZNze4ypyCN4NuJoPOD/Nw2Yoy0h09DmF1AstK1Bw748jDkfEsGyvPpvB8Ke6V4mJp1LSH5f5QtSGQsb3hDiMu3zlcRyqxNnXrdFjw4YhDbibih8Kp+cvOeUCBy1FUsKjrjdEakn1PEzgSyy1AMhydsmFY/zZCjYo3im/w4Xy+uk9qPYr3KEXVZxg070HMbHHVasWH41uwTaBhFKo8oWn01bEl3xgCOw6zY+e0Y6/0+59bxKVpDJ5TasthqmObpzJOuF8C4N4FlC51FF/+zyKY65OwsptzY7UP/ebV8cARFKoIJu0ev+1dt/Szaf9ni5cmJpNIyso5d+0XHYTs0SwAJlvgDSB+Raf/tdgUHpsAQjwA4jEj25v1IsXnrx9WU0rTFun5uc6bo5ZAkA4/i6YzbtVLwHZ1/7Ngr2CXfilOamLyz0dYyKPbKlJXKwIw4HF3/H++nx/iG78BmZ3OqyXg7v+EIzY/MTDU5sSzELmXG/n92bIHp4esk3gJBeQ1E/DkX/0xY5eq+G1oM4GJ03JiW2vwb6FR5XLdnGG7qlO19T19EBcVDewwQkh0WQDv7EsoeVO6C9hFSrivcj5ktMdeEwTkHJkLyyu5U0F8IuoSnsDG94zUSCPbI4q6OSc1qKfP6OlDAyrD5ZJGU3zN6Wc3Otzyu1fdgXKuo+58tUar46R66v+BAsRQ5YafnNvFVvorhD/Zgw6dIy8arF8Tj0E2yE0sOkVu1FhvSxtqFDuzfvclHWaZdqNDpYsqFRVwQzyyQBEruY/vZbJANMx2/SW3qIoiOHDKujhcQfaelgq0RpzKSaM4Pgp36CJ/GevmmQgUiovM35VeZmft4Ac0FL/1GcvRA5NTYaXKMT3oA7AAuswXFKqiZwV5XPC8h27TG+UWc9hoY7wabaQim15sPd6rlMioZxqb4lMBTqyRuEa0RsBqMAJgOvUaXGWZI6E2L6lG3BvBEVMh+jyKfgGWHRQj4meBAR9nVSlhtaiJXbVMITqZjmF0zhwXxrq8sgTpe3Xu68ZLgwtvuwLujgw3//VB1V6DGbLB+9FGr/nFZLPhCit5TPGorHgoM9hC40xLZUW1+nCbDRZp0ZnRIYjpDOBT+jMAVKhisil01mSnpffX99TAowcgfZuv7w2ouvFcOdNfG26JdA0sKWwT54r4s7Vvsuvo2XJiba3vFrPd5szpyQQajl9PcD71c+VYFcg56KAvqF1xgIIaDtVqM2+pdUpd+IzMrvRfXW+CTHsl1U3ArPGrrKrQF7LDaMgCdZrMClE+9jEiK9ckty+S1agjSc/aUVjclCVINDGFDamt8x+/1AlYUGG7J8tJXhyV34OwC5JCarD8omNcKNqSUju3HRvgsTDHq9/urGlVu4uplBAqMKlyuhUWR78e6cBRM/bLLZVeG3a9pvl8Jg1eggJ837AR5SRzrahbSmOdv436yzNvAXHaaAhNHo+vRsiQZDj3OcbxPdjYmUjkI630nPRLOr1zFC40opXGUkNrDF9SlrFJ9jOl/AaXUzn3yKl8MjjGb7xRJ8J0h9qqiIV1yaqySEMqpBKED7CPq4TartZwSwXJqMNr2SHUbGJX29+MnJrF3VpklOMX8YRsjYS1qhRawciQ5T8ZrLxzX8tgqHCZzC7cnV/inOSO4LHYAuqXz877xdaEfTX537JLUxiXOyxzKuxJW00aprm2Tu2rAQzM4SGZeRsKmQENBc0ZObP+8tgtA5w26JmosMnDAJV83nfwUDPa4OqfWKZzzQoYJR/dtpOBt9+E5CGWLpL5VoHPHN6zVUO3WpPjEAITLpIl/HOpiTCI6F52PlkdpV4yD1SvPuHP96x+OZP6PmhiLRnrf13sh+l6Tkp/aSZyDz2UYMVVLFBGbT+pHH2WDbS+pTIBSsOMIL7aJ4NZm+JswHws/RXQy0/f/sfvXy3P43qlDXdZ3F7RouApqXl8EpeMo1+SR2TJSG4eeRQkO2aHOb3meR+5mDgNSG0Z8VsPVTLvblrM1XK+sMjWqtl8TO7T2A/RcHlAmhDKz6dwSOwzOdRfLi2glnRBjl/CUbKSeViIPOgANG0xa5tLbPLvReXel7+lVg//jKeP5s+eX/yFGlJ/f6xeWHppL9sZuCIMpKQz+AmBkfFe30woHo+kN8gW4Dri6I84arkVavyE7r8BkKkx8UdjJo4YPXeW3nwW2rVNeHwbRIXde7iFCTCgyTmcjxLyW78VCO/4qm2kjG4U9tU11Z2f5cNdActnv1LS9xHLCfHp51rEkYdpX6vKdOdLiQfJvjWXRprev89hwSs/xqM7rmscWrkDBNbnw88MLs0U6povqv0P4M/tabQDJ74Gd9YiaNyfuytTaaBzatxnqUwKD3a443wFnk5A0nrmLV78fXO9AyytJjod7wsggbmx6UeCHyTZ96OwuWLZknViuOIOM5PpjbZkTGzt0rzbzJeFVbidLWOmEX0CcJiNtwz6ay3RhekHmh35dUMf4oBIlaB8dGvSuJ5OP8ggawk7hIv2rcVJfxJPxGw8IbEhus7I6sIqRMC7YJr0l7of36Dba2EfggfIY6pfNqV4RFVupKOLmHNG47eB3tHty1hIuOpDIpc/X7voI2BBHx+kpeIlBvptUe/6RONzKXBqKw+6LWFLvJUkBIIcz4r4HDjpKBMQg365As9tkyMsIur9t3xkzzQM89Vv221CYfc6757kGpNm62JNQWiOHr2sQzPiE3XN5bJhw1edC82rGDLq1zXPAFr+2FxkTfjsPYx9sn5+hqVUd+jOQOKRGb3fSHpYa40FFvwAwBs6KFhKGKAwPPGLMGv1RM1YHpT2hhKVlh8M19/7Svore9OsHQTkiklpgioVze2MkWXXrvBAWU1trtI4AhYW/01aiq+4NOAVHjzULmG4sQqDTkj5Fvp9TzonKNeuwvTbG+zlFUvlf9VFRaGR/tN/GbkJ5WAKllcAzcwU0rblXN19qaB/sw+BiPcggcMGkviVZozymoGi3LB3U7e+OdkDkVpbs/rn9ARHzvq7xLOu9sVnbJW7osEr3Ozv1t9HoY8CPEH7ffZ5D4llEt7DSWs+YMJopxqkbvcIwzT2I8WfvpXlVVotUPcHoCZOgv7ZFZpWpxiRFouOqTlNuq2VmzeS4oZf/kzKYhx7Ivp7HKM+k9eO2htB24b7aP/sb6s/Wb5o1r+9ypvUv7YYTQf/QwSwwpHs/tRvEdXIwD2FpA38FzDDn1ghoKLKPLHqFJvYrOLm9ZznbD/8BDzVS4yv+r8lfcGzsT8AyzSzv3RQXzFUw9ILc6Hnq8+8nYe6zZUxX76dgzfsHwijdC6iyWkd0tVretDUlJMN/kOOZyz7qYo0gkwQbZ3wKf7muV/oga39Vmw2WeMz6pTVncMSuc7emEIWJOEbXBWodSReJ81kVJqrHBofWQAa4c33AmLBXHskzBJfXhVe+c8+OT+NffuT8h9Np8UTc4wvo4fqknz3iukO7GFpavJMQgx7+os0DkSF5w387GzJO4UXWABWmlZVxGaiPGeCKU6SIpPIqLyBRqtCjQL/N/Hle/A1rooW2D8cQH2P90oxr/JTRdIHCT7JBJs+b0CWsUjA/dRYAkrpwJXXNhCoc6VpUh77gFhpbZk9AguKHaT55Lt7vdJQDEAEjernullHV0mH9CjrDfjm1w5a6oEmjonWZRepL8fL2Z3chZ7SdCKQ+xRP8/iznlIKsedv75xtY69QyB6zNMFtY0beiE8ivA0uhBlx4vqQ8hRBGY6bwjXnX2bUHkZbUSW87EtDEzCwvNw9lX31pvPEDAVqz42kuhGjjN9XS49rdi+VIX7hVAsYk3W6XuWzBjLFmM/un9X17COPAG9cqEUyr9GxfFdEH3ue394V3ubRZDge3R/tfxiZwIFmTKvE4MNG1C3BKUnbCcEHtx1zA3zfjz+O5y6cHfLDlC6DIFr8ubKChyN/dFZ3c79DXdoWNiLaTG80RY8u+5sU3+lxyFV96+DDMBjUaAhrZja6NAW5FMS64czNZURJS68UcJ8qVrElf1KPveg1pnyia/5iUwt4E34pN00rA5KFUX8ma2jNlMGkBRTkaZuoDeYZ0ku+Hr7n8mgNvB8dilVHBe6OrcgZdphKX/cf5iZ4SHylceGrJhNMaoiHRQ6LMOeVhcUsw8OjAzf+1J7JwbW5/8EovxojHZkLAUshDCHWo+BSFvaKEVapnb6121D+q9FdD5ftIYM54SR3Ed00NKJFveaFLabeAAKH4piKDCDkcab4KiPMo0M4Egc9bgYtCqlnY/G+kvWUJj7BGnOawTSlZpwfzBMfl6rYUhg30o/LiW9iH9mcJacvCFhBz9KkYkjo+RQYYtIS7aj7FJ5oUZW7ygIy0+o3hOBXSLpDGim+orhB9gXjO2WgNsKl5m8kz6pv7XByJ1fWuLmuZ2xbCLMB45YbWS1i5BHRFn7Cmxq7dRYcJaILIsQnh3SuuGUrdVu21c6eTnxzvDW/Kl0cxHNJO2AX7Ybk4SSLAFe/OekUsU5cewS+SIgHHnd1G5W//PwTvVSvDJ62VziazngX/kCfkmyzlE3pZz5Ts4Jyhb5MsCRIVh03sAJ3tXvAO69pCH6kgGyjbolEN5/z4/RUJVQbaPTcmW9zag52xuYsHJADKh4vF2+rTTOdOdjfMGPp2PzINAB2axDmUPEm2eZ1FjTKCek4+8NwKgo7v/Tq3G3ergfIoAOJ8vmUPPqIWGUthQP9hN7Tg4V+T8K9sJFvWs8VORItLLbVNXhljJTchPXuJn+fPJSCftAv4+zsYZqO58l/9Q7GAmwF/fU4nzzlrAILL7i2k3SPcLQsuYlTOdoC7PK/ciE+2i4OC8a4NYib0fwam2qPArfypDibnHvIWjPhg7fbLbrddrmdv8qItQWeLrG/FxWoS0ZD0JTtZ6qMExCLZsMV/kUQuX1sJga0eQNZp9VcnwLOZ3UTw3uCx99P7q6M/yK9LflcO9J5zwfREklwf/gSXi4Bp2q+nZtU0X3mYIn/dNAE5tL7PPOX6HkG4P0II6dlT5adN9otXaNrsoKhZb5uwZ1rH74z0Oum9N25opYGgqUHEHEUvz6cBR4BsDjt3urspyJ1b8OdB66lB8xs4LZVUvGKqqStvtXNMpOYn0DJDXqUNJirf6VTqCslA+M40gIp7mwLOonOfYzjz6hqFzK1PWLBXSitBVFR8zrHqC9brwRmAGC8JpQTzc3hg4wl0mVFNQ2tDd4x3SjByFxV9NW+orDnpYN0NytOEkJq98hrFXZVIx0nOtpKp1zCrhherDWySTR2L4hztvNvkCR520ucVVPJLiQWym/WPzZ7+AOwQQoOHoUIgFKhoPN8VoKPnMV2+MhLTWjBxZ97+LBPmkfj43xF2OHPmtRwovr6fjtqq/zmuEQeKHU6Iw58nShJb2kJ1nWYfCjaUzidQe4WApWW/XJL/OAXT68SXqHuKmifjMUeQ4+Yt+p32BMrFU3QXoHOkMf4EgFqPzWOVP17LtN2I/ILmMSnyA5bxF475MeL/WUG49d1iNEDxuUz9GiGaDHN1u7crhpNf74lv0ZuByJju67Bf2rhye2pHLHrXrlYyrRgQi6F9F0wFsemSF8vA8LuSwoU1hVW6amUlQp/cvqEX4YKNTKdVzk1eBQOxjZwWmvKPtPD+3ZFrSdtsOiDPfLSJYIwp/HrJLmAIb8pPrDTe2URv2zzdM6d2zqJe3eH/uZO1OwVdNZDo+nOghhoRwNW1SPCg+n5x98Nkag9LF1HBv6var0xtgpjCVaSxzkwpN6/vtj7UHKkwuECVTXcFAZBLVfYFJOMORmRBiJhsbAOuSns4IDfxbTf6dXhcOdn4VhkKhiFtYci9Vtxsl4f8BRpilPqb2HMVm7nxlyGMro85A/kFs2FPSvpTmejxpFk17Ma60krlSd4bSbhu4i95GRXmCa+yPhsVpsyl4iJ4cLc4x7gL+k7ppDXw0964KEDvujTGK/rWmMNoX95JPL8b55fbUYus/S0UWWTEJ9YlM7VVJ1yFRLza/1p1Zzd/SmhsVg6giqoQ9tYYX3voTQM2zVb17tIiWa3U74lq8S1yUL44t5FlzMJjm4lSifMgf+tGzAG3Mva82+hEWYbMLNX5FeIU4z2h6OxakiP+0nzKBenZ5O3EBbdiRDsKwaxGmGG6dMdJhBO1/9Npd3RPkNlywDK+Dc1i/x9guSGQqcSGf6sOjmaH/tOY2leJg40CLFXsuJyagPPF2a/SvE8qdwbK3n+nR6+jgGjwmhhtJgGalD67sB3a/9egsib1gG1u81PROruHVohNFodzUgrrmHKngSqWb4HCZnicDAX7yLgppD82Sv59gSa0IN8wLlPPsLKIVh5trHd3dmJrwW9mHi0C2Qeg2oGLNGvcTeBgchkeVQb7cv8/rUxTforuBaeyPlAkO+MW62WGZonVqaiF68Pquo9s8ZFzhJdQakjAqH+JcR6odY//bUcTncUU/YI2Maupknt+RMuzCFhHzEj/nTds6qtHjCNtBDDyr+7fOKsuwJ7kMgHgYt5WtqL1/zXavUs0bva6+pqbJ+1XoDC0fzcE6nu159OxY3O4dBM5V3pDhkco1JrPGNbHhcTwMMfqErxNGUNzGfZyAEVlQn8/vVsicgivkTYbn11QieH+r0eaHUQumV5dV19JN07WrBPm7b2pCvjHZpcVPvxGRZCMx6p5TYVbpx/JEASLxzSEiWoJQcfZ4Z2V4oHStclAvKYdCpCqTea6rehuA+ecgHDOkvGZHCoEQx3VlRPx2Ql2fe6MlJ9JtNpgYMOF/IJv+bzuHzgcRsZf6dlo0FEuxJma6UOz+7G2jfLAFknUXPYe0GIAtM65AnWxVetft30ZJopi9vzYbHohmVByHQRwrWOBjXpZvqhDJUIk2hySLjePz3OGTf7YeG3m3aqPKMqmvCkV/Llb+OoReS11qhCp+C9CC9YJeCijAYbj2cFnRW5u06MBDaHMe7I1m7gFWQv5fRoxcyFGQCdp8CAsYVdLhOi38iamnI5tK7uOWnNuFrrTvMNUGAh4KFEWfzYUbko0d0waTUosgxNtSb0/40LmbeuZitcE/MZ3XhMlBD5FFHOA3b/LbuOnXF8rlslDbt8KP66xMRARBgOZIz7LA/rlqdzKCVOxO98+8lU7YmfJPekCSV4va/SSywns+zf91o1vU3gv7sAxw7vkhmy61dQqpAJmy6wMf0qi/lCstnyzyuYNUnltfwZwt9ZJGSVLbEkL5M7gWb5rizL7IetIu4kK2xlx+tE00riKUxDBN2fVVRq2IemwLioO+yE/oG/hIqGfPjvYrmLsD4WjiMyxQT6p4weMxXIUrX7Ru8N/oJmzQ6Qvm3U3Wox/bZlXYACppukVe9v7dx/sKtzHbjFbuGCd89Su67LWAhjBZOXVo+NyYLCJ4nnUM2g7dh+R/Y0UP05zwHl4wkT22wcohotyURX82Fg/Gb9gmHRxQMOplYuEwW5ooI3lekLgWtOVOkGAwFJ7m0k8uJCYryFJM87qND2FKGS6ehWAj18QK4u2RVDweLOuXX601FitDirJAhU3zv6q+C+g4cQcl6ZoFOdq+wOewvtSEuiqR8dfjCi6cKLQ71vDRxPXez1wh7uyHlV6e/2h9YbAFb4X36jQKJ89Tirt3LGGtjImqfJWpw+BjOqmmkqwFlxyZEeJQlAR70qUfW1f3mJg3vgU3XMzSkGbNbRHa6nwzWBr2Tb0AC1cG/8cvf/M3K8hJGbms6tJYQdabUoK0So88gSIKu8S3GDIglpzcE2UWREW01i8QmLkbSMhXMT9lmH0uZM/XvVxHCDihZWDokoj46RtccWObPDLB6BbKnalZyKTGGhDjzDH/2HsJThHc7/caeSnERy7+31r07UKqbSV8Xt5VVWtM9TkyMd/H5o7YlF0d8t7igQIqVjnUyQeVH3+eyM/NdHmBWtChQ4T4rmBRj94/5kYa4eKeQc5OTA32EW48JV/VdENOMlEIXJ5g3W0g7LAkzsWmQTtMks2EHWyVksPnF/w7mtpnC0PVRhbDuERF/lCmM7bGJz4KKf+/prhKpswwSzj8JGoOJtThNpmjtO+lgowxmdvyJW+MlTaqM85Gk1Ca6v+MCuB+xsAEZtepcg8NHAeau1qzA5PPRDpcidOc2YReLmbOjU2SXNHaQXw/hfRFiZERqZUAkX7HCvHXKHVHQv/1BA12yMgMKPGY5Qwbd+HuXU3Ck4ijiux/G6SPzh5R6arsOopDrf0yeiSdxhoxEYRYj/+N3wZVPlJHUlnReemWT74voBbQYoGkdWCztZM3uplrQsP4gER5AVkx5x8JFkrqXM830IhCyKitEboQY42jmXtF9sI8E3/EilKyVsvIDc0q3OgCWOOBRg4/Ji7IekAOur0eolFRUKESK2GIzXTp0+YeIupITOVaiJBJae10iEfVbiz2fUNfgjKo+m+qPpKAH6XLw/anCywnURmhNTnee/834KkW/bE3maFKHKqTa87qorpol6xAtjS6hsliw6a/epX8/rEGzJ6NdBXchme4kzCfUPcJAnCfIe7nY4YeBFjoI1FwC+Uwj9A3pHH4NWKY4TOP6w1Eyjs6M6sFYEiUT+6Wz7//j1I37Qcuh3MKgITjbYKyHLWVDixBwwaBWRPkAG80vxEF/woujmT80n1Bp7XTQpodjAhBF8qTtcz3ayd7dF+MogbEzPOZ+3J8Ii+iXCFXOohOTM+ZXhx4BDe54iXCHHe2xySodKRasZPaeoa2SsUpLAdR97/9WvSkoxMUCeYI4ujBxWRMIeACzdyZiFu/2x2Y3FuMHNCX9uE+19tBEFZy2ERfJMP4ZLWgCoXhw2FwPDkcoS8zGAcEWSVUjMuxYBiZNwu0qNGdAfimjuTlwqVhF6GdT+ANrgTX5GcJAvImx9BF0A7P07abXtNUDumWhuUflAl1o/FfghxjOJpcrhDr/QcXFj8ncrEEOiJbhHNtNL1X00QjskmtIIxow/3CHVl4wqRBdh4v+r4PcA1ukl7GZNwlbqSJfXLfJR8kGZo719kEqp7czzVE+hWEQCwGf4ZpVUHsQwbOAIFeVCGOURSpzI51fGB6jaUy/iPuVI8xK26KQKOHylg33aUqEFOwit3uLF1ZDm/UoGD9cn2bTvJ7m+XTl6yYPkQ8VZDgSOMtpUXPNwPjE6VHI0SJUHPk0M0B1dFLHSOGQl/6S8qkd4fUhp5XL+jEZE1qlQGmMRZN632TxMb0nRDeAx3XEKGg1LPCg46ShTZz9gN/sbpLEb7FPi3gv8Wim23i4cmZScoU/ZwU9t95GC5AOtMhrVafLg04BoMZabLBKz4cIuhluSyOPr/w86I/YJGjvliNKSFjZ/HMfYq/xgeTtSkamM1rF9JvwPmhlzSUmN+lBjvi+pAsStlKgbHi23bKSMOiH0nqjBaDuIpVnMYlp8ODQKS5g8r46gnQXLtmBsIEHxoFbqc53MIAjGDeNOkm8E8q0m3KHj1PbL9sY0Ib5PE8h55y8snFNMrYf1mvLHVYAwyZwiFmj86+QEMrXeMhulhx7uuE08DM3FMniSBS+eCyDWvx2ewu/+b2twHA6vCE6FfMLvemX+4cIO8kEa00DYZak+JqPTOuiiHR3+HC38bmYUb6NStjKe2JY88L4WUwzkLAMnQBvXCYMf+RojRxqssYSHRqK5ZQK9ZSfJBmukmZo5x/5JQ+2PFvwkxSRJR561Br8tycWvG56ap2y184fZ4bXWYFqDfd9uHhXQW41aWKP3nhCiNC1SQUv96kqNZP/FZ38nz+3FEvLYftCjsEBSWFiFd4DG/DpiwHC6ge6bfCeIcDWZbp0/EgF3xkK4LPepzi9/MyspSy+N5elvi/M81GZJwNmavZt+xU7sBojPklTXgKukk4y312OhLyr8TuSH/Qpa5D2y0iaZdVn66YziAjuiy2GxflBK4gULasyvJUj9wNY3uhW8AxAlPe8+owA79THRSAFEMEaH75k/kXLK1x2N+XsK6hyIp5fr4kJ8rxqI0uQxzkqJadiOUrXixm2zdeX25lqqT/GuMCQF6fR/hP8FfYqqDe5QGKWj1YLWFm/GH4QwzrN3SIrrbcrDoQEoAV0xseXNgcrXK+Y9hgetHn56D11+AItDAvh4CIoONu24DePsNUs7RgOI9nV0Ot9I8dmF8lCAsNzdABAQ+N8U1cYRTOHhVy+Js1bwncpmsXgrZKYk+3EbWYtcRexAHeDc3ONdE7H58aJGsAAKQWMvvVDd0V0wQeMhT2SjVGT7a4mxL6ZY1liCksy5R468I6hFQMk90ynNYvIGq2mReNad94brxBUXOGXTBFtwqOiq5B2imbaxTIhEVJIvHXOLE/NjpHppJxtMPFZFVvsRsW+lgBw+VelF8VnH8vZvbEDw1cMNGn0/ZkWs4JJQ8BkSgYrVH4gl7Ezt/AlCpETJzfFkuXe4Cj68OVVd3ghCXtNCFU+l4j6qo0/5i2zaPwF1RNnQm/vDEX1rrEVWdrVAgxHhC1BrWMZDcWmyYmNx+aXpvbyqL/Yw0PuDP3haUxFzO8GZOwU0OhU4KwZUwRWjdIgc5a3otv3C7G8oMgPaF37aiH0pdZG9yjjj+sbn+VrXy1eVsu3Frqs5GAWfYgQZH+jK7sQ5AKesKnZbVL/eA+h6KQio7MT4Ko8O4lOffzRjuGBbe44+DbwHUgwvhqOTXAOS/5dqMuMQwub0iQLgdK076Fc3Jp4eChjSMrJGh+MASuEUhYVWzEr5XopnSIIXNg0FBWUeTYXI2llTAfCuGtqAGx22G1s57oRK5vkmdFEIK6FTkWl+gWvLQA2nSmgROKYwCyyO4L2NdQj4wGV7QuEytXM4udRgex9THZ0VTlSUZ88pO++n2XkBsG9HpBL2NFCumLD3X1XMo5ZDqcFUshSI1WkwpivJlj0l9B+ruZCRquh0aEGqfpS3Ze7Pfmv1RnTthgSUPwx3EKhzpD8wfLKKxabaeR5m35JIjYbnRrv8Q2IHiEG4wyHjxb9NUlkO9ET9P0gWECwzILqozEyKe+A0POoXCgPmfDlGVdlokQbfqlac4WtZNclqnNqW6uWbcGBs76hoOZ5wXFcwcM5mDqXYbzyT9/ndbZ1BUxkMItNZhInxkRLR0W5hMVxesGRJHiYXWLH1fXsZXfeUN7RSlrpPTokLohiUaWQ3QlVYNHXgfalBuhnDEGAdOvvNWHC3PUiv0yhYhTNt4Y/0wFgD059wzZqW/zdS6j/xSEdky57Vx+nJyVc1g0jbLLQJm/IPBVnYCTSaX59XS4O4L6cCOd158oLxJg8dndiHjMWrifZ6W4yWBEREL7uHf/5xJy9WUz5R/yAHNNsXEzeqh5Mio56vAnDh6acqM0M7HHnJshhAJ3u1peF5eUVblLifLBiBlF+b+twU58m/98Z0DiiKMmT18F0KzVbKUAdmk8H7nNA/MM6+WEsv9GV7Ch1PB+1scqVGe5ffn9m2pnWIs27BsygLtUhJMFZ8hwZCR98qrOr6jHXb8oWnSP22RJICDhMZN+6BVD9GabkWr4HZo+2BCZdmc3d//aiJQcua3wdQAN2OP9koSv9ST150Q/RGPQim3gStABKNaTcNxz8tuw6Ro1+L8E6u/uwfVI8uOwvzFh3A3DugjnRAiWKFdXJ1t80P/cSMIERfuW1ejbGdWOVlYkeYI9z3OwvbXW+9+8Pkr6rUmxeB1VvITu3h4zRbnuTAKus1Q5v3UzIocd2EGJwr3rcc2DaoW2PmSJTBLKvNa3uCpkdJntnK+entV8gCbQDJhgIGomNd0Q+zIsM8a4XQQFYfEI8cnYt0cYA0jlIisImgP0HxF2sTaH5UwsBXPKEzUf2Q12iSKdaK5GxQ16P4P6CgllcACa7QxCERCfviBnKs3WmNc46EB0cu5LDn2SojgybVWq6pT1oaM44cu40Ex+AvVY7QLLBAypH40vZQGVS7LvY2lXJ1A8fwFmM++rjdOoIlkmm+Cb8U2gOoLmC9/GsbT/1oWBRM4qYK7hkQKcV/Fj1VMC7z66BrcQ6llqcuAUlQe5U/olhRnHtHB70D5rvyId3s2Ez2T1erwWKqJnNr10gTJWm3RJj8egi7P8Ov3S7nk6HQAs4MFdkR35sG8AWV9q+nNeoxgoFoh/HOwUIXL7N89ZCI2IOEm6yeWLTzXlK3mxsYnUEkcmOqcd0+EG/CcyZDynPSmiuP43RSguz15sgfPSV4eg0SenpE7yTTLrYyrv5P6hTL30DNNML4P2lmBv991YZXSXxWt5D6VFeqcUXDvAWzgR/2NgSNlfCmdm4JXpEMU8cOHP8etEclGjMkFIpdXwtPG/8ZgvUjxgLwIIr0S/BwC85AI4kvowvxxtAOY7xI/AEsmPwfpfsL2f1swJ5hh7Zdz2BmpWnRv1VHOLJqVkl5PdcIxArp8atkvUYiSErjO7KB8np/A48eksxx9u24EfmVQmMiI3Ryum6wUv+oWgTGdGQj0E2P3404UnDVTClT8Zw+oiAgpWlbC270KIKN7K3GnrUWL0lc1o2x4qg/2l4Otg4IXQxApL3frYgfc4ceotlNvmqQLyCGX8v8kc9+DxvXOIH3glk1QTFsEUkrihO7ldOiY6E5zFLs3xn7Skhz7/k464Xrhil0lqJehcYqf82lFBKD8OaKoUcSGd8hLgLfBQArOxhwZLefNWwTRfI80ABhJhvEzDi4p1XYEtu32lacW+V3WYU8pCcoxpT039jBG2+DycIM8GRh5RXGFGdmAPhttPWEMcr3XV+oMGSXacIEYHs7uOgZHf7oxAW5fjkpoiolRC6/Vy58EMHCe9o8DF8qObhQk4hiowoFTVzXLhYSwSXafXiYzSJ+cQ5V1qfD5c1mFkUkqn51po/NQBOqDyoG1D5ENP5yMOiJb7+uVNryH9uITqCg3/E2HxQSzib/+01vMAw7SGoNuUik81aPiHdPUkr29WkUCwdA2kzoA8M9t8r+5twTjByGyFqyZ2+rSD/t1Wlf1t2V3FHaiata4uJ4R/AId9ZN3SVDGBGLOoWetr7GcmV6aF/T5dgOi/1hyzD5eaODYIg7AGUBUizQL25EEm/+vMabVgbNthnOA4BKrOs5nAHhbv4ACl/wHRibOsuWJjTDFeKnloLbv3Au/Kr784UoDTxoB7EvQYLt7HEqMYtjHPmZ1/qR1hKKDnM58L5tC3NJo2FNukl8hE30HJqXRzGkSdPvv5kL8XjjzktyCU9Q9gsxuoR7y+imOT7ZihbaYQf9ehK27F5U/NfD2uYxyJ5DVEDUqceY4Zf0LkXOSbmXFINZg7nMZzfudl7J234gRSbejdWCinFt+gxY9MkGDaP71z4FtfwQAM0vE7dkqphSGrSzO6KRH7s9yvZwhZXwMm6wAjhHvsuGwkNcSLFAqvENHWOzB64+mQ63Va4OVHWhp5tpx8ypbSmkMs3ea5gcRJwMP7IJnOPe1K9S0iwvQOhMLMJm7M1ewTLEffpb5JSwDXCb8/LBjusc83/lzv7XfVWB9jHaM+zUg5LHPcpHaib5tcsuIxsaz4dAjmj/BHtjH+Xwsi/VwNM8jGUepLyN1a1itTUXlHR+tBEP93r0EF0Bs2OkSpCxuGJSOKrUR6WevdAPITmgovd/Mp9okF47s1VV9XKwob9rJ5UfYIfQbM1TzZJn0xrm8RWY1t4gDsg/tO0hbjBBBwZ6yOMSAUZEOvZdQOUI+7KraUysOK/mvNpXoiKeglEVSDwVPfiS8fcIUdhdDBEvMJLbJ9w7NjerwMbYh0wbEVZDVWnn1WbRsfhizGSA7XFoFmKLlRmbPSbabPfgp1PvXzR8HrZVoDhOFxpLZCHzKsy5CKJQgvyBUTxYnDxL8JpYTeT6MERdBsL5rNP12ZKR+IBVx1C3QMa9bPUhlgzOygRqF0btPSKtlngmWeYyFPkhC5zRW263a/ZqTZrurOlRqH9E8FE67403ZY7lZpg5Zkxw9c+yFmBkbrE05Q4pkMQiC/R4ZBF1/GxlYxDK4mXslsGRR1STP69Bc4canBASxirTFILioeYdyz6RGK9xQCnSChFeg/1vAb0lA+XOTpt33ZYQsZdtr9VgjaMY0513+t+Rj7zpDojOPFAHSvZk++i/nBTsYFUJmMDFN/QKXMbzlg2XW3bBSsB3krj4f78z9w8mvfwqKXFqRvaAlK+nO0s7xdyWeuntSZzWrPO/maLihECWrTM+rm752szUt3dGMhhf04hv2h42qDqcWoP8rZzFfuuM5qRnpOpXx1qH/4R0+g75GwspBu8igHoLvHr50wCnE8J7Lyh+XslaTpNODRjZwqI3da1TcpLixjLnA2MVxladPHAXbd/kAQHbM2DYN1piNqIf3Z8StawH1GjQ/mtM1MdcdN2KLCMtsGAu9PMQcDtsoEN92qKmAclLeSV4w/7/DMfvkC7dUXwaCEb8VYGL25/+yajDtmP4xmCVtBrqjkV10NRr69oFMTgEsDNGLqEdH1OkoRmQomHr99WOraTT9Lz2c50lMg5QJuorJC4cFow57ew1hHIK4fzmo5HsNK1pHzjfwGDyXtHKp7fdILUn+ZmoA4TfXDoyZW7YUFO6r8v2c9Yb3TviUMFwGgOb2Nr0FPZ4lKi5WtLDKRxicfZrvUI77TeNvSDKY96XfARPrMw8cc1eTdAUTGBjmVHhR8ejCAMydME+cKTL7jkqoCtc4NEAmAiAqV+ioq/UJTo/cvCAgvXIP9wjXFX0ob2aYwOyLc1vtXWPxGnUqnlTDLo/5ZhX7FUQn18A+7bwilgOMrbUrFHljWrBIvbWsUvuOOaI+EdbT9M9Bp5nYs7sugTPnktTZmLzrYSDso5afBfB+8wuzl8oBOkqew3v+SrCxD1azGjZs05qFzaxbE/+be30kqV5bf4hgXNPVL5XgR3WgqV5DS0TvwyqMiKVQuzSxUcZ9iH2VrassP8/r0YK+F4KhFQnkmjjxKze9HhVSBj2kztQhEtVJRMPPLSitnAxesTnXp78bY5fanu8URuFFsz4KHVHUnqgbTPgZ+rDM1xLr/rN3QfDvxFGPctNK9Zqa4v6semnWVEib12lvJRQO4HOEtTF0P7fb8a58fQqeUBnbj8w7V5WPaE5eaC4FxL6yXspHzyxAIaamZSKXwdaKi4J1mHjDm8jiY3DSoFMHoiG165ZZUasNoFwpgDUQkWSvqpB4qbjS1EvHvCVdrWMSiB8fpB2ez5AMfQz/lIH22QOtwZAyk+vYGsdwTFRf9stKtJPfYk8cVVvndJ2WadqIXN8FvhwKRFAGT5yA5R4WEozdjWq0PpJhoO6R8twyMdrlpT98HLa8uS8ZJkwwZTF8hOoeVkuhS0LPTUPwt2TRBZWh2xyGkW6GEO1Feybcz78Pg9+QA9uQI5bf0IlpOMDoeBUJZKW2/FhdNzM6UcOFD5C7e0xyglCtE/QpMPOunecvAymv2wB2yVwEU7pIoK9g/Kqny1C+w6x9vDFI9G8i3u7ZcjyqAkJC7JvH6O7XbNurJjzBEVoRNeDPKIFoET2EJwmAKCuHR3NbF2eB4D9bgQeSLVycZ1WLnkqBf/U1dBWr/57FYH0igGbvLGWNqLoay+eWPVBsws1jpjaUp8EeZebVxGYT7+kkuKH+koYD2rEWUn3ab9n+Zzu9FlHn60GWxv9eeQO3iI9ngS0mwlLW3QH8QzwATKvWe2rm2Lz2NKkeLPZi1yPWbFY55eI+iNMlGn18QGoCT3qeD8ZSg2LooM3Voibd23IwHXslJzLHliZdHM25byU1UgeQUXIr/eCltF0n4dxZmI5mFcUcLMIWzKEChrGJT3I8pNhTJanpIf5cK5jizPyzzvVj1yjj4mM7t3i+8wOQfJW/icji3KamKMkdgPi71CFBTPKEC0LKxVIZxT03Okr4gjlB7lJ1+Lb/0Tm6ikcGgbqgn/OEuYxBb7ueU0mnDwSiaGBCPy2bJZyFtFDufxp0lTQYwI4ZGgJBSsCkVOVXE+wWH3BhGkZNtXFoVanGp9+fNjUxcBWAyGiKzK7N/Lfq4coyqE3roWDMWKn/0+b36OdDYglnlg2mSxIV0g6i4J2z9UtPAWPxkrL81KZBPYCx7aW3gQmLYsF4PVTUCVrNw/dIec5k0gt8HQ3snrocYEgb1aA8Fqopb3NTwc5PymKZn8G8QtFjjueg2t6HRYyDyFZ3+Uwi9QlpvB7Z1HF828HqpZAVsoTMaqL/S+OTAxrOmUOA1abId1wJxqLvJnmT/36T4+Y5+Q7ILYmvnNM0dSuXkabms43A9shg5O1yoTW8/NW1/K9NAiQc28bpQgcweMLxpBJJaNICzWdfHtJPEry+XYVfuXZ/MrpsXTn7erGeZFjVMPqQvdxn5VRGe+2fnVtU5GebqsF0j3CQqhN7TQfrMYfFwf7mO2QYRjdp5N6rRjOtFRLo9NSTMEmyVT29PE15q8Y23OCdRZce6eEJxsNp56gXBvsu2wx9d83T1JpB38Y7HPvLROZhUdjsrm7AWzqqC8A6DLYpBAq5bzE8x1BU4brHWads8TFCVlOLfG3KT/tLGtylL+b/PAwe/lsEgYajbGLL1qAIW0uxl68TulGqIa/IZARCqPq/y3pgAzeMF6zGcPCgtpP0/m5GhW7Re0PqstbtNdCzZd0RGkLzSKRvU0zNLWHJQcASQYLtw+hqF2t8/YaCUA/Bt+yJp8IFam6dhmjZLVQLZcg1oucOwWxmPi3d15/kR9Empnk0oqTW8d3e2NCFBvUVeok19/JfTaYtYfgnDkFddBRyPt95W/WQnVg2bSWDMYx8T2r1IxgNrdJSVNsTCfpVt85O2EhHu2Hbe/fgAib/vutl/wkKJ5EsBGr79LLED/UyOLSvBnprTdk9D58O6CR15xCAEcZGBv4Am+NZ+Oq7Gzw6WLt0hCp8uXzosAt1UrKejJtN9pqpgkYfQVg50KAbuX2agnJ4p86sRNM/KY0FVfPVUEm9JrN4Q2rxZzIyq9zYU3THz5WWDKPP8FN8ebndkeEwU1yx3r3+MnLyiBkbAXln4JTkPwKzrFCM58voN69xlOLs3QHISQ7JS6Bmi7K2gD4qikJpEcI+NSpUzAx7AIdIMHFFEDBXpdw1Odvxw5btSJZlaVHhSZGHYHcyPhrp2i1yKnOi5tlL7GaaR0qqUsl7veu34TLmXi4+L3io4XgLPk2BFIMrenYsfEeLYLwMUcYyphcPGqcGwd7y/4XogLXJDHryLIcTrWVFq8iYNXQBGq7UJKAwozG9m/hpFn0mMAXPZxW7M2GGHhdmrEXQHnteoY9KOqmHiR+CJ1Yd6NPTl71pbukUvABFOrbcxMpcllm785L2GPshDkgwX1ETlpK4AwF8z4O1SQWeY3zrAgQwaFngi70JxkLq8Lg5klQJ+0h4DL90USarX8O0AsgKmEqTfC9UlN/GECaXTAnxvD7LvehBXVbz0QLaPfTkF5SVXyXr7g6W8RkCQQFQYpxy+nPOSTqpJ24Bfxo5p65pNCH14NexxHhs7fd+PqpykLdeAsLErjtN+Q3rqRcUtvtuhfsAQvmHKOivKUG1EHMvJ5QEq+UHwRbdl7UztxpSRYdeY72+gw7QLowUWfpOs3XC1Kos0lESCGXmPIl5JgbDThPFp/voDPef7atF0D1NAYT3P87/Hrhexy8fDyImUwdA5+4NB8gG00uSxXU1o4tBqUEfvK8IXiK9p+7jmgdTs+OzlWmSNRmi6epfAdfOn2dUWBccjp5lpexX/lGGT9jm/jBAB4p90S4OIUaFFvyJ7+4iUovOufr0qZ1Nh5G2nDoGzvvvHo6F1KquGXFWfClrrosD5FHSSUx+Dz12lKkfX+WAIKjuE0R3MxBflyLqouqN9GYjg+/GZNh7gykQmx17yfrW4RdMDtuRK8K1aId9bvzMadVTrVd24/EnvPpOb9nor0hEFnVrVpb3txl6oDPyoUFaqnDSm+7f3jZ8+FXV0ImhxZIJ+fBLpm/vZP/80bH80TjcBSsw8M5jJE245YzJYr+1Of3BAAu2UpuPswCXf5soIDJi6q+0hsl6wu8AXTzxyFAkPwiHVTySC/AARiFDt1o9aRrmw1k+mFrQjGlaDvhncujr7bmRHj1ElLdiLJOMQGt7kwljvQjNiq8LroRwC2daGz9QXcOYi1AIwTTYQ+gwWRmJ6kd5Ap32braYoDT9+r2yQzqw/5eiLrGaPppD1F5UZRat1CJkcH5wx236dOk1oMy/cLbqDsk5HFL6/NNmdMhXvv6rhAIQ2jKjqTO/aq5Ox26E+8TuJ8vFEZuhs1/QSOGPURpJrZ+E2f1HryYn8qiqjdXhURkRh3IWlRUm9RUx98ox6/fg93G0amjmBNYowt6S+jNDLFB5gHmPt5lmm6R/HOidCXh2oUp/l2zO7bji6LIUvvx8ZyXgdVaW4dCPkIbA3ydGc2wHUjGq/BKe19AlqoWvdaJpOEAD1r8Eacs5aPP8NPcWGBmJL/M1Ecx4mjeQNHbkKn6UhqxCHJg9deXWeK5d9kxgrEgdphHcS6bx7tNQpRzbm1njRUQ3OKkskvhv4cWV/9YX/Jrq6aST+TnHuv+/hcvenccdrvYOtn6GHHRKhPOHYtHJsYP0nyR2IZ8YZfnDB4a7psm3oncnsC/SiCzu6Az/3Kq16lyoLBUE0KXU4/ioRY1zbOCjFDnd5VfMdgrVSoovG4D75yu4Xuvyx1OTeUcvcNMhEK5IY8oMyhVIxygxcfzhuNwNupXORH+xEmA05O2wHCmb4ukRz79hSM2cnH/pHTTykWfchA2oBfiQZ5YjG1zwFfHw4xzogdYNo/F4yJAh2s/ZblmMx2xrJYdzWMA63RY7KZKQTbDsgcIiaNKOPFnyc1fkWeoHbs/r0J210dwI1UvYUVYspiOxDqsUVA+iSxRNIp9QTF5nNxYRJ6T9mo0AN7+Sy2zbQCjTbh/b1d6o7zSl3+7HfiRHHRHf/7WKFP0zel75yx3X0JeyxvmeRYNi7m7oWQx4RJEHsFDwHx5QpRddc5LbVXQ3k/pfwvdlUSLzjoL7NpjMNx6ixNSbleR2ks+uglxgAqj60Mo1sY1bozJCu5AYVZ0uzPD/DF+bB+aRzLGMgnIH5zeT2XElz2mT1+MThW8MnP/R+4ywxUXllKEttYrw4lcqbkZsrZ+3QuRLQq3j+cefeKlSEl3CvK1Fejb5BAFOeR0CMWMxnUNJS4GX3R4Ej5rMPtJ/fbfIo4SiyW0RAxLosqeRJEU8BGYenDJ/cz7jQRBoV8OWiTq8QoKh3NBhx84QSnnU5hodwt4Mt6MUcSeBUgr0CHfGKP3P2JTR6CGldRPvPcbgs5bLuuK3QxCvU7HZaIUifPJILnnHlMG+BCvvWTZjt/BXwYZfQHK1XPBGyAEQpkJVCgPPJBuQ7D77ruwNOzG89NZX7YOYBtpHu68VPu1uggI6QqKzICa/BYyWsmz9D0BvYwUVbtEYgRSnptmbPdlbLWPr1kw4ciZfUjQ6vt9Ie0NQUhR1dSu6xUTL/ExQaGZQ9dBT4LrycDvUbph6Y4kvtvwigpJRpAHI0Ps/YeGTm2+LtrR5fNC+jNd50mro62oEv3rBnkn4HvJ6hTS6Zul0/k+OysPtPft47hENtcXcVAIimFeuDKC9PEVN0ETQhEpJ+swT0donTBx2ivzJ26lL6b+bDxgo9/jz9nqRzW/nrX0f91QjlvatCl4Tj5y0ZEDpBndyqbCezRkROI/sO/p9nHA0oC76yNXu99NmgZlegj2WqoU+/HwriO6kp3JFdb++RGevLChti/MBNBZEJkvD66N/iTl58yLUeCi+tdukOEsDGf62ec/VsjY0cl3DPNIKcY+OO/rl/6gD8Hxd65FO31cxY7/3e3LQFrwQp3SHQqFteM81a3y15OzWi7w8qXA34eFuozO3GYOz/f9ymvW6M9F/CQkjhgPS7mq7KU+8vDxBhT2xD74ZBkZr89CVgLlXx4o1/FW5zfax/AjIQiD8LmVazUSrujYSSzNHvfrr6No93ilTr5FJB8ZbE0vAh7dH2Fk/f+pYTyla4eF9+nTf0S5xAJlfLwLCcAJfxQiRlzhPl3vBzhOuQNEJDp2wpm7x0ZiwbpCf5c+UYhGPtwdlz3u7eNIKEwMYQWUoD0hCMC60Xuv7JiNKgtqUZyTGPMewY1yfC6mWY2BRbIi9cJmijh0tHyojJSzgOOkunFIV05SgXzUor0AGzoUBkN9I5jPM+np8xjYWlA5srnqxfzLQGET7A0oX946Rir/fFMwO2GJppIcY5/W01YsilslW0Ta1Npfvo8BkiZENCp/oYv9SwB+bWX2+qAcYgCs7BN3y9fF7uPnOPYawbE2AKNLOtBVl8yHA1vGhlngnaZJhIntfZJMbjSAJo2ITbUq2dPznbTbil8bl0EmFx3qOhtaB1S/5p07b5nk3rtUccghffiTQYXHJvneNQTrOhAWxJKcUTkQEMycTixU/Rq/CxZgkz47czC/lXQA9K3JM8y0cllqytrbdwGP2feyTMg4CZh71upSLM52yb1kz+J1Nd+USzw7CwfeE2IzA65hXsLhRTgF5U/EN3QlVGlPf5ofjPjcI/od2OHnUl3kL8poqWKBNkg7zpEt3ELQ4jYh2aTq881IvuoAG72AR/WW3G4xzmcGOMtF87wNGUQLT2bcKfh9I04ViP9Mt/f+n8F38FbUh8kQPD9gKlbdYXaZfU6ejrIXyGLhEzDpPi+gZdCKmLVzO8UBxRMtbDpABrkslPAHXpRExjixifFMwCJfDSSp+tE1+HYOMwYOzDhRVC1YCi2wAVdSNaqCKJ9Nlxf2ONW+snr7xx7rv7dvxgMhlmfrTvXPFlC7LiNDlSgyKsHV3XgBOOMg+E8niJK+IXVAafHp7aTYz1czaOEEz0Srb0nd9CvSkSwqgJ/IZUR9wYYpZbmuZKRJVHGaauOFn/+jVGQ6XmzNyLGfsZ0W0IXkpR7m42bo6hIytt3gmbyjd+KxPiAm9H6rUggnXrbBl43YsLFIh7KnE7wcO7BXhOrBF/TRtcwDPZmNGneM5VdS41qrBMRlQGVCptDDA5L7k9fkUxCBl0imiSRewzBJoTDQsNOvkcLXgGmKl4H0lqXJbeeXhM/uA9ulEvA1R8joTuq/9I4wMoghN90+8XKWNwtjqb1flXOXFY6HirGBdoib5NLDwbPq+PwaLMSVZzpUVMokGjnXW4tHbsmqGbdcpMEbG7oR2IynTRmMRhzGSTvYcU9dekjoc0KyWq6J8Z3XailOXRs6LTKeg1mhwe1aC/3XQ11+TkEmA2DHNMvrCqnx5UtIhiqY83hu3wwwVl6/slztmUdhF+f+MHnEUcMT2yu4iXZ0Q48UWJRRf/FGv0QJjTiluwWFPR0lme1mrjkmL5z7ZN2crhXTZWzQB1mXAKCgF7R3qQPmJPMUhOMzhQGl4ODuq2I7bf1jmHu++u73YDj0yqoly1+jZsAj6tTMQ4HyyTbgdZRUqC9tBSsV/87dRQVWu64jy6U7rRpODQQeeLPjSL91tEra4F2TcBlgqwSq+WI+kD7O3YjjaUR8Akf4muQeUpA3pZdM56bOsAOQ1aRuFaNG/jfRjZmXJKVMbcB6zPvBAi5WbyjRII+QdKrOJZqW1BKZLmt8p5oXjVtBoz/VhDFFOjMaxhGES4OyQFQLmKujws/Z6lNFmQtFjdJfJf3YafiyJF7IjV8pAUedWsBXkVgBRpoHsa5Vg+Weyqj/bH1V3aBwvRRvRSF/K1J7H6NI1CRdBfFvHCgrz4S1CtZrpd7Kge79/0vbmC59xnWJiu9pdD3TCvO8ea768I+YmEKlmMP2IMSzmNdX/GRYhlqiiTG92bJOfYaSXGzwXzwKeMSI/3V1lwENKvUdJ6FDjBDI9KUvJRZgS0e9HGvHMcIKOVhYi6UhR5W5WdZQvMlSXrokwOGQGQL/+ObFDCSW4HeOu6QGzorxFm7SO+pNnAh1O8IF+Ew45Y3CGaPeY1zIyEPu+KqxRepkW8inFUeU4fkp+EUriStCWzAtvgKBkmO+6W+CrNczhn2Vf3mauGun8mbgvCa6ZsDrTyYhmdkWhvAgSJYgvRTyE9Z4vMFhvWKgOh6s+fvYcW4GmvGPxoAE14IFwy615pb/GftYEddBg9JbcOX5eIpGylh58N56Hphaxht6xyDIGtG8xZAlsUGWCzoraiT0APJpg/nqw+8pQd5QQR0zOUrZLhMmOx8+/Txwa8vzcTk0nvqJs/jGkHFDvkgjyrja4qRFjvnIT6IhIgCVhBNsMxKY4AeJLuJle3tBGG+F7TP9R1GCGWPJcE9T/Ivc95aOb+EJi7pXbw9aVe+sIgxkdZZVgFfGFc8Pv8fSDtKkDGvnPc2U9CNpoeqCN05csjUcU8ALMvK1XPWcG4FGcSg8gtQVaXyiNVbRJaOnbk/sq1dqogYdNMVvPZGjA1uzX1FRZaXNIYfFKi4cYcjNurS0ZLQTwxHZTR9lY0Jc4QntpPBuF069f54BA+NEH3zxxsasMEoAbmeljANRz6bB0wp8NRrIh1lQrdVqmHDQnYxU2XTjzIyUPC7dIatngVNuRoP9f8R14a7Hej3wOvWlXBig+4do4+NUPUQZKJ/LtIVgKOlZgXSdLfeT2b2VIm2pCo3LHSL2FmUKO+ct2FN9+ETr8jFJzCcazI5dMESX7dRvegvzgzMIwJDC72lO+ehJAnLXA5LSOlQknPNyoXhosQweaVd5U7fxvKjdYzk61KPPaOdP0ly6WroPtxCQjkotsya0irk1603ZziRJGNnqYhpPdAOSfkCAq5cCcYavpHoAd4DQKIY/uDvyLUJe9n01U0Jez/6IJgTEOajhRjCHFvdUWG8MXk2pFH7GYrSzqBtb+Uklj9ytFfiQ/MQ9URr0kyeHMlZPzEmtGfED56ol0WwZnBGZYqQHTZDv4lLtYmMeGPgH5nespilL0HrWWqAfwzX0alHWrxWggdTf3xGAntKP1c6OQTVIp653/TTpw5d+YN9jR/yZuY9ffeui+lRoKuZQlLQySfIF0Pp3mQCOvsTgE83WrPgg/9Y26+GgTiROztXeY9CwiKddjCmTmqxvXjeGURv3LP9q8jdnvAsCp+1qgFBf14b7ZguTKN2PHC9xcPS08gDC0AnblkrIDtdYnNG2LQKx4ACieZHKII815vtiuacJDqVOlNzV2qgkb6TvLpoLJUNE+YlbWKX+KGRUq1x9mUUhRBCrn35628z5ylOVK4mT6AnTQ3ynje1tHeR1rKojImQTPKCP979IIIfGGpYmk7ZMR8ghlJ65UHZXbag9ee0W5qKdPHjGSl55i4LwrsqhNO2+RmCKZGh74BpACAqJtcjuUVhZCoUkHBS+r0GkEIf2YqP2OR2e8Zy56+uyhaZhyfCt/4puiYtO0N7Xs7XwZEXAKvMDa2i3LvxwBfecG3UKasvwuzCAYJqvBjbXRsww5WeEX9/ZL5nhgLjKMCucLC+e8hCqaS9Pi746kwSuDOwvT266g11WbeTEMJT7EBhgryAGdWOC4XpwlkVB34Cxaa8EPGwTYOlXwfa61lGfNSQ1BXw6SJasg1h4t+Y/5jwuV/doowxUxzAgOXnwcf06xtSXOZ9P/EN8ca4TtkkPwyT9hm06glY5okOE5aRVM0X6ZzcTAgXrNvCIeexQ7/3lXWQNsQj5u7NGEWPSpOKjavabhSvdtyx3JsY4ZnKQYXLvh/6f2sJtvmVY5hSq2nNyraQjEzQr4VqsMOHQhR1CTFijGDPCfGjOwIpAKtvqR54UNs0kHt91pN9ySY7wCTHdGOv5Qe+GfpGIeRl81e8jzWhRgbkrr/uI5UrD+HHwNwNknlam3QlICUhOClGMLsDQtGCOC5D2ViyJWiDwQ/ghqI5rfFSMWBDpA/MZnPzoc9FcnF6xEmDTVF3W4s+V2G8OaGhm3E4+DdwjKQMBZt7vlH/N2XWB1Uo+4L5nu/RcrJMQPk/n0ws9Gn68HesSbbKAA1t2dheRAywnhbl96nMlKPej4CU7UaCvoEuFUgjhNu/tMniqBgat4FObfDj9sn/nyL8C/sm5jQafoxcIEN/smJFHyLQ7zn1aVKHeRmXMOkUodNkgVdVsCArKSK7clxWxAG4+Eh1YOxkVilWnl72JEee/DJIYtcF9wqwO8gezmy4aSfp79sxxqEWp9FuY40Si3niqFrdppKnnpAJO3HGZ8tFRLrVZ3b9SFUlPfIScJyzyKej0yhpD4/SMj3A4DHWsgLbtfe3GsCmDZIsVsT21W4bKz0tXP4QyJKuZpIZShjVe+stX7kIryxCkedsVvwgna+il/BoWDnAh+OrxjpNBnDh1vBth5FXZ04AW0nUKcrqH2SAhtnlnathuw9np+6GOfTaqkBdQIHofRDRAkbwLd0Q8N84w7SJYmg/bujgnYlYxvh/cOw+EVz9G0TUNsrAmncO2n9Tfz2YMcJfkSUvoCK25Bs2oTfej+yuAN5anhoLe2O39KxiblDp9fkScD69/RP3rw==" title="Mekko Graphics Chart">
            <a:extLst>
              <a:ext uri="{FF2B5EF4-FFF2-40B4-BE49-F238E27FC236}">
                <a16:creationId xmlns:a16="http://schemas.microsoft.com/office/drawing/2014/main" id="{4B49199C-25B9-403F-89A7-7CCF2F086ED0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 bwMode="gray">
          <a:xfrm>
            <a:off x="3346073" y="1788591"/>
            <a:ext cx="2471873" cy="4702587"/>
          </a:xfrm>
          <a:prstGeom prst="rect">
            <a:avLst/>
          </a:prstGeom>
          <a:blipFill>
            <a:blip r:embed="rId19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b="1">
              <a:solidFill>
                <a:schemeClr val="tx1"/>
              </a:solidFill>
            </a:endParaRPr>
          </a:p>
        </p:txBody>
      </p:sp>
      <p:grpSp>
        <p:nvGrpSpPr>
          <p:cNvPr id="21" name="btfpColumnHeaderBox386460">
            <a:extLst>
              <a:ext uri="{FF2B5EF4-FFF2-40B4-BE49-F238E27FC236}">
                <a16:creationId xmlns:a16="http://schemas.microsoft.com/office/drawing/2014/main" id="{61492ACD-994A-477E-8418-11539F023BAF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318644" y="1339902"/>
            <a:ext cx="2560321" cy="444596"/>
            <a:chOff x="6366269" y="762493"/>
            <a:chExt cx="2834882" cy="444596"/>
          </a:xfrm>
        </p:grpSpPr>
        <p:sp>
          <p:nvSpPr>
            <p:cNvPr id="7" name="btfpColumnHeaderBoxText386460">
              <a:extLst>
                <a:ext uri="{FF2B5EF4-FFF2-40B4-BE49-F238E27FC236}">
                  <a16:creationId xmlns:a16="http://schemas.microsoft.com/office/drawing/2014/main" id="{4A9A1881-8E7C-4E89-AB0D-08E4521C15D5}"/>
                </a:ext>
              </a:extLst>
            </p:cNvPr>
            <p:cNvSpPr txBox="1"/>
            <p:nvPr/>
          </p:nvSpPr>
          <p:spPr bwMode="gray">
            <a:xfrm>
              <a:off x="6366269" y="762493"/>
              <a:ext cx="2834881" cy="43783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>
                  <a:solidFill>
                    <a:srgbClr val="000000"/>
                  </a:solidFill>
                </a:rPr>
                <a:t>Rose Paving leads players on traffic as well</a:t>
              </a:r>
            </a:p>
          </p:txBody>
        </p:sp>
        <p:cxnSp>
          <p:nvCxnSpPr>
            <p:cNvPr id="20" name="btfpColumnHeaderBoxLine386460">
              <a:extLst>
                <a:ext uri="{FF2B5EF4-FFF2-40B4-BE49-F238E27FC236}">
                  <a16:creationId xmlns:a16="http://schemas.microsoft.com/office/drawing/2014/main" id="{987FEBD3-AFCD-4F57-B28D-1D336906BEDA}"/>
                </a:ext>
              </a:extLst>
            </p:cNvPr>
            <p:cNvCxnSpPr/>
            <p:nvPr/>
          </p:nvCxnSpPr>
          <p:spPr bwMode="gray">
            <a:xfrm>
              <a:off x="6366272" y="1207089"/>
              <a:ext cx="2834879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btfpColumnHeaderBox271946">
            <a:extLst>
              <a:ext uri="{FF2B5EF4-FFF2-40B4-BE49-F238E27FC236}">
                <a16:creationId xmlns:a16="http://schemas.microsoft.com/office/drawing/2014/main" id="{5B267466-5827-455C-9D35-E7A17DFB9DE9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3329186" y="1343284"/>
            <a:ext cx="2477492" cy="437832"/>
            <a:chOff x="3348236" y="900509"/>
            <a:chExt cx="2477492" cy="437832"/>
          </a:xfrm>
        </p:grpSpPr>
        <p:sp>
          <p:nvSpPr>
            <p:cNvPr id="22" name="btfpColumnHeaderBoxText271946">
              <a:extLst>
                <a:ext uri="{FF2B5EF4-FFF2-40B4-BE49-F238E27FC236}">
                  <a16:creationId xmlns:a16="http://schemas.microsoft.com/office/drawing/2014/main" id="{76EEEE19-08E3-44A8-8993-F096EB0347AD}"/>
                </a:ext>
              </a:extLst>
            </p:cNvPr>
            <p:cNvSpPr txBox="1"/>
            <p:nvPr/>
          </p:nvSpPr>
          <p:spPr bwMode="gray">
            <a:xfrm>
              <a:off x="3348236" y="900509"/>
              <a:ext cx="2477492" cy="43783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>
                  <a:solidFill>
                    <a:srgbClr val="000000"/>
                  </a:solidFill>
                </a:rPr>
                <a:t>National Pavement Partners has the highest CTR</a:t>
              </a:r>
            </a:p>
          </p:txBody>
        </p:sp>
        <p:cxnSp>
          <p:nvCxnSpPr>
            <p:cNvPr id="23" name="btfpColumnHeaderBoxLine271946">
              <a:extLst>
                <a:ext uri="{FF2B5EF4-FFF2-40B4-BE49-F238E27FC236}">
                  <a16:creationId xmlns:a16="http://schemas.microsoft.com/office/drawing/2014/main" id="{422A8356-9ABD-47FB-8087-CD6F72629AC0}"/>
                </a:ext>
              </a:extLst>
            </p:cNvPr>
            <p:cNvCxnSpPr/>
            <p:nvPr/>
          </p:nvCxnSpPr>
          <p:spPr bwMode="gray">
            <a:xfrm>
              <a:off x="3348236" y="1338341"/>
              <a:ext cx="2477492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8" name="btfpColumnHeaderBox896171">
            <a:extLst>
              <a:ext uri="{FF2B5EF4-FFF2-40B4-BE49-F238E27FC236}">
                <a16:creationId xmlns:a16="http://schemas.microsoft.com/office/drawing/2014/main" id="{C5945669-36F2-4FCF-8B66-F6050DF9E771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330199" y="1341146"/>
            <a:ext cx="2622534" cy="442108"/>
            <a:chOff x="330199" y="765705"/>
            <a:chExt cx="2622534" cy="442108"/>
          </a:xfrm>
        </p:grpSpPr>
        <p:sp>
          <p:nvSpPr>
            <p:cNvPr id="53" name="btfpColumnHeaderBoxText896171">
              <a:extLst>
                <a:ext uri="{FF2B5EF4-FFF2-40B4-BE49-F238E27FC236}">
                  <a16:creationId xmlns:a16="http://schemas.microsoft.com/office/drawing/2014/main" id="{9AFC1327-1D9F-4718-99D3-CECCFDD5BA6E}"/>
                </a:ext>
              </a:extLst>
            </p:cNvPr>
            <p:cNvSpPr txBox="1"/>
            <p:nvPr/>
          </p:nvSpPr>
          <p:spPr bwMode="gray">
            <a:xfrm>
              <a:off x="330199" y="765705"/>
              <a:ext cx="2622533" cy="43783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buNone/>
              </a:pPr>
              <a:r>
                <a:rPr lang="en-US" sz="1200" b="1"/>
                <a:t>Rose Paving significantly ahead of peers in terms of # of keywords</a:t>
              </a:r>
            </a:p>
          </p:txBody>
        </p:sp>
        <p:cxnSp>
          <p:nvCxnSpPr>
            <p:cNvPr id="56" name="btfpColumnHeaderBoxLine896171">
              <a:extLst>
                <a:ext uri="{FF2B5EF4-FFF2-40B4-BE49-F238E27FC236}">
                  <a16:creationId xmlns:a16="http://schemas.microsoft.com/office/drawing/2014/main" id="{31E7724E-4725-46F0-B797-D0EFA7A896A5}"/>
                </a:ext>
              </a:extLst>
            </p:cNvPr>
            <p:cNvCxnSpPr/>
            <p:nvPr/>
          </p:nvCxnSpPr>
          <p:spPr bwMode="gray">
            <a:xfrm>
              <a:off x="330200" y="1207813"/>
              <a:ext cx="2622533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0" name="btfpBulletedList109036">
            <a:extLst>
              <a:ext uri="{FF2B5EF4-FFF2-40B4-BE49-F238E27FC236}">
                <a16:creationId xmlns:a16="http://schemas.microsoft.com/office/drawing/2014/main" id="{E739C4BD-2E3A-4AB9-96C3-8F9B4D7F78A8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gray">
          <a:xfrm>
            <a:off x="9363038" y="1915746"/>
            <a:ext cx="2494000" cy="1965529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spcBef>
                <a:spcPts val="900"/>
              </a:spcBef>
            </a:pPr>
            <a:r>
              <a:rPr lang="en-US" sz="1100">
                <a:solidFill>
                  <a:srgbClr val="000000"/>
                </a:solidFill>
                <a:latin typeface="+mj-lt"/>
                <a:cs typeface="Segoe UI" panose="020B0502040204020203" pitchFamily="34" charset="0"/>
              </a:rPr>
              <a:t>Organic search optimization is critical as it helps</a:t>
            </a:r>
            <a:r>
              <a:rPr lang="en-US" sz="1100">
                <a:solidFill>
                  <a:srgbClr val="000000"/>
                </a:solidFill>
                <a:cs typeface="Segoe UI" panose="020B0502040204020203" pitchFamily="34" charset="0"/>
              </a:rPr>
              <a:t> in developing a channel that can provide </a:t>
            </a:r>
            <a:r>
              <a:rPr lang="en-US" sz="1100" b="1">
                <a:solidFill>
                  <a:srgbClr val="000000"/>
                </a:solidFill>
                <a:cs typeface="Segoe UI" panose="020B0502040204020203" pitchFamily="34" charset="0"/>
              </a:rPr>
              <a:t>free traffic in the long run</a:t>
            </a:r>
          </a:p>
          <a:p>
            <a:pPr lvl="1">
              <a:spcBef>
                <a:spcPts val="300"/>
              </a:spcBef>
            </a:pPr>
            <a:r>
              <a:rPr lang="en-US" sz="900">
                <a:solidFill>
                  <a:srgbClr val="000000"/>
                </a:solidFill>
                <a:cs typeface="Segoe UI" panose="020B0502040204020203" pitchFamily="34" charset="0"/>
              </a:rPr>
              <a:t>It</a:t>
            </a:r>
            <a:r>
              <a:rPr lang="en-US" sz="900" b="1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lang="en-US" sz="900">
                <a:solidFill>
                  <a:srgbClr val="000000"/>
                </a:solidFill>
                <a:cs typeface="Segoe UI" panose="020B0502040204020203" pitchFamily="34" charset="0"/>
              </a:rPr>
              <a:t>does not require investments in media buying rather involves development of content and resources to optimize the website</a:t>
            </a:r>
          </a:p>
          <a:p>
            <a:pPr>
              <a:spcBef>
                <a:spcPts val="900"/>
              </a:spcBef>
            </a:pPr>
            <a:r>
              <a:rPr lang="en-US" sz="1100">
                <a:solidFill>
                  <a:srgbClr val="000000"/>
                </a:solidFill>
                <a:cs typeface="Segoe UI" panose="020B0502040204020203" pitchFamily="34" charset="0"/>
              </a:rPr>
              <a:t>Most of the Pave America brands </a:t>
            </a:r>
            <a:r>
              <a:rPr lang="en-US" sz="1100" b="1">
                <a:solidFill>
                  <a:srgbClr val="000000"/>
                </a:solidFill>
                <a:cs typeface="Segoe UI" panose="020B0502040204020203" pitchFamily="34" charset="0"/>
              </a:rPr>
              <a:t>trail across all metrics</a:t>
            </a:r>
            <a:r>
              <a:rPr lang="en-US" sz="1100">
                <a:solidFill>
                  <a:srgbClr val="000000"/>
                </a:solidFill>
                <a:cs typeface="Segoe UI" panose="020B0502040204020203" pitchFamily="34" charset="0"/>
              </a:rPr>
              <a:t>, indicating </a:t>
            </a:r>
            <a:r>
              <a:rPr lang="en-US" sz="1100" b="1">
                <a:solidFill>
                  <a:srgbClr val="000000"/>
                </a:solidFill>
                <a:cs typeface="Segoe UI" panose="020B0502040204020203" pitchFamily="34" charset="0"/>
              </a:rPr>
              <a:t>untapped growth potential.</a:t>
            </a:r>
          </a:p>
        </p:txBody>
      </p:sp>
      <p:grpSp>
        <p:nvGrpSpPr>
          <p:cNvPr id="64" name="btfpColumnHeaderBox279529">
            <a:extLst>
              <a:ext uri="{FF2B5EF4-FFF2-40B4-BE49-F238E27FC236}">
                <a16:creationId xmlns:a16="http://schemas.microsoft.com/office/drawing/2014/main" id="{04D9F802-E61D-466B-87F9-071B0997B12A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9384308" y="1501096"/>
            <a:ext cx="2477492" cy="294090"/>
            <a:chOff x="9384308" y="4858970"/>
            <a:chExt cx="2477492" cy="294090"/>
          </a:xfrm>
        </p:grpSpPr>
        <p:sp>
          <p:nvSpPr>
            <p:cNvPr id="65" name="btfpColumnHeaderBoxText279529">
              <a:extLst>
                <a:ext uri="{FF2B5EF4-FFF2-40B4-BE49-F238E27FC236}">
                  <a16:creationId xmlns:a16="http://schemas.microsoft.com/office/drawing/2014/main" id="{0FA92E38-F776-4561-A4F0-F77E75FDB824}"/>
                </a:ext>
              </a:extLst>
            </p:cNvPr>
            <p:cNvSpPr txBox="1"/>
            <p:nvPr/>
          </p:nvSpPr>
          <p:spPr bwMode="gray">
            <a:xfrm>
              <a:off x="9384308" y="4858970"/>
              <a:ext cx="2477492" cy="28543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>
                  <a:solidFill>
                    <a:srgbClr val="000000"/>
                  </a:solidFill>
                </a:rPr>
                <a:t>Commentary</a:t>
              </a:r>
              <a:endParaRPr lang="en-US" sz="1200" b="1">
                <a:solidFill>
                  <a:srgbClr val="000000"/>
                </a:solidFill>
              </a:endParaRPr>
            </a:p>
          </p:txBody>
        </p:sp>
        <p:cxnSp>
          <p:nvCxnSpPr>
            <p:cNvPr id="66" name="btfpColumnHeaderBoxLine279529">
              <a:extLst>
                <a:ext uri="{FF2B5EF4-FFF2-40B4-BE49-F238E27FC236}">
                  <a16:creationId xmlns:a16="http://schemas.microsoft.com/office/drawing/2014/main" id="{3FF777B8-68B8-49C1-97C2-E71A3B3C2AD7}"/>
                </a:ext>
              </a:extLst>
            </p:cNvPr>
            <p:cNvCxnSpPr/>
            <p:nvPr/>
          </p:nvCxnSpPr>
          <p:spPr bwMode="gray">
            <a:xfrm>
              <a:off x="9384308" y="5153060"/>
              <a:ext cx="2477492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Rectangle 3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z2dD7pS103gZfJ6l4USC3jqtWOPR/ue0umjYEY9KlLthURXCUyUuZbmGDPUXB2idlVQc+R1c0j6vNnMaKvr/AghcgjyTjoGcS2U6lyGcWZbvoYqQsrFJ5DN1RdHsB5gZU4BjQJ6xKwDUEsW8X/QQ4uIPkrhyjIfLLN7ZR3puqzBiN1rMnctBA0J594at1EN5QJYMsPufr2eabAYzIDriNpy1GurybA3KWqcTPRKYh436jQqOHiPaCJtAtzpRgB7Igk7tw7BcBhai66Lc0jpyzFEK/4NRoFF+cso+ThI1HNgDMZbpFoCsJQtilLqk9nQPGX6RXGboCTf8hOOcHaKoTUKF81dro10jOa8Xb8mBGZBE+xk1l9MAy6INl4AKPS/xvOCDdKgdVKSV8iws4FZ6mihLL8BVrgB9M/YEN9tYnc5qKYMKZ25QHzWRrVR+7rPmlUu5WlWyKlHHvudBG7edstvyRKJrksMmAgCAShhW0pP1C91MNyUA5Fp21q/cf0SHScgFcQXZmo3AeoIdSjfj6u0EapkyOn7jBtQlwWM3CMfJdZO86GjLI4G0mbDD6+UL00ITDdWZfkiqQZKcUUkwQg2+4NqLpBvAUSB8HIh+Os39JwQb0U5O5clVF3m19PeCf97r5UQpg7pfZzgVlNgnnvkrBXU8W6fE69cp01fzYF8FYMgnUhFjL2qf5p4CZkhvLqUBoBdkPoIPk5hiGhheMaWoOp2eDUrUgSxV7JYyx+I7lhbt4apeA6wjW+oNoOuBsnd4rQXjeiWXeBTtnB4RsygorZSCmIZ+EhDGS63SABZMPcLRqpwZ23agyWSYCpYvUXU0Hca9CAwTFJyx/LZGo8ze106Qm9uxPUWgAMNMKoonryrwTQFzXK6O2LmJETCHY2MfnEf+8Gq/Ef7oIfuaVotHz9lkcHp4agXqLG3bhQ1FO/ntYJI+zlMfm0i6HihDeOuEj0mrZ0hXaxDxHK0Z9kD9aNDUsukIf6Fv5msMuOWaCGoIJ8eG2czKSxixcpU1VaXHupFGpoBoQMx70upCXPfjJLjAZl0vtk27R2hdp7sZtzNGIv4hHrfHtLJvw07Xlukm2LS3xF6OU/Hkum4iFzLCq16HwOhU5NiT8VupHZ6vA5vppM/vikuFQjeGbYOn4JwN2+B8hpe1M3DK2LiALbXBOwkvNUvSTCXlNRJK/LnsIvv9QpbjUAgS0AVeMn91kiIu9o4UvMDsBw+XGHusJrlKKOSFQdy7ssHdAvtkQxjo6cnBZajpwoqafz9jMjmqqvGXny8qZff+kH/2dvJ4EwWydh2VKTnVxpG49a3JLSqOSGSiImbLfrYWcfr9rodkUBZGR1dTUOuFatoYvCpSHli+pmo+h0iDAohqMaLIe/i3fA6mJ5xlEoXR1Rjhf6j11mGCA2K97h26TdNXK5YLeXnq83jx/h2s4k7Faesgc/h18ZI0Na/BnWHgjNmazgxgLl8M/FWADnKeZMxnl3JZZwB3OQ1/fNzwU5Sti2WmKwIZctoI9KoCOzVSK3aRJJOX0Db1MJHfIYpqwXdAfj0OBl/3livRZzKlCbOSee19XnRvO+gBIUxsDY321+fAgbwpCS10my+EiqJBJ4j8qO8JD7gjaGVR8RhG1gXu7gPW5sDd58j3yZbLmOXohWllso6WnyJ4DgoDgWEg0TPQSazpEOMHZ1jhWnsXzG72te5l334iycxCpwMRt9ZDePuH+wbAaDLUra9dc9i8iBf32LRIoiD1RG6RBvpW4lY4sV7fTGJns6HzckgL4MNzq5Jewtyt5Xu+FfQo6p7NQalVshr/zS5jBE4R4tQ4koKg3L0pof/akNKnEBkQb7p3lO+Kdu3ew9i4TNCoJamJEtsxKiaG9Id/5bJGynGCKrfokxqF2yIaA2K9eggVCseBS2TZRMLEZx+Ns1Xw+/+Gb8+QMkOSccxFIeGup2iwEJ5lUPRmnwXNyhSfUkuLmmBfMjsAb25iRjjb6InwCoupTA2kPPt/v3iAI9jDJ5Osn1FbsX+Z9nL65yMlp5WyaErN/KKF8SMpM2ond5DyMWA8KrSX2FoyLeIaOhweHuIFb2js6p3NXbWN5+jLFCBy/daRz3XAuqlI7NhRsp8qZQwZp9xD3V71WlzKYHn4epCzw2JbSnHio96yjc161iFC3ygzO4A/mk+sBXYviKNikPDVe9eB13h4c7cd6qRaOfqh8AaI1gwUMva0LgojtGOvWEVV463fxgCSBMvx1hcLjuUueeETCFB85ERhvoTkOyv4KngjYBWwFjb8JwlZfwbUVpyOs1GjRYoCLZ0z6yB+86aVuD3EfeE9aTchv7+Wq/Nc/vWqY3dETnNCdPSAUUnf8mzxN0/sSD4BHFxDPqfIqIiGu2Iu4DQuUVK7chVrnGuIOpvT3yxM30Up8Z52KYGHD3OV19Y30Lhu73K1sNSTWe7nXXT8iSvdbspwTl413DHrPYNemBqkaarRW1x9pglpIftZqJO3XhyMyNry9+cl5qKxEJ4jdbgJ/EU1XVOCLlFbVQ9CFIXOIFvYGrgl8zQKvn3aamkL6aMiZRMfCw6yB/btsCSaWf5osOW1jyiuWYj+9IbT9p3huAcdqFR2m6effZlGW6vZSWSj975jmRVgraBjO7/btFXNSMwMqZROZBRNnZFehcijuUJLPCIxm4RVONEecpJqRdhgESB2xUlb5NeQvNfjFLPnIZGN0eK9ZldVo6LntHBbMELSJRjHFziIqEJM2zbC5QFSPDIib0DyluiBYXH2dj1xpXzd+2er1Fld5aHYTMSSwxv2xCu8U17LEAjbrgxbLFOrQbiwLKIbdzcAFAdz+heV7CdfRB/WB+G3aOVdqFjLoyn7Vc80MBtKs3REOKgjx3JzdJyFczBkNVk453sK56zdRpQpis5q4+IqZ3+o+NunZ8uzkcijN3UAWW2hMWTgEYNeirpf9kcoU9X6D7NagWqIY6RCb/VwU/bxhDRSI/tvTzH4SFn3YanKVeUmy+Ls9/35VGaTMgHw/Sh5Ogw1XkG/gfvLgXLijrHZYOe98GWb0HmbR7FX7txYRBIwjUhBZfNISn4SRq8W33IW7LdXyb0k1vwJVj3zuuRUWWPKFdNQp7ufuUoeiMtoXQp4OSn+VpOvQnmZ2NJJFmhsn4OCbVIY4TkSU9pzRFGwP8LMrpLE+4HRTPv4LIDKStftOm/3cvlqFmaAIr7vEbTcfmxZdLVyBAKibs6saUFTcN0toppwoYHjVPieYc/Lyc1MpN3Khr7O6OfxJBW1hJO2VphffL0thui00be4nDMeV0OtU8+qC4tRnSvFKfx/eBgVEToUsNAvEvWqIGx+Si8rVw/gZ/O/1rQ+2qKYWaprrD9nCgrle5uhLYQVQtGY6ebESZjdwofKAyBNNFm8YfK8Dz+MHYwQKzFgX6yhV1MrcF1J2xO2owByCBUBU4j6ySAdtOxLaZzDfl6imvYpk4ljn78UybiGYh1AfOZPirwLGoWFnqgoF1QtqSqqi3MLcgEvezKHmBVquO1YVd9VI4iujKbVWrnv7DPhToGEU5hB9fqFS8nLjG32JRy4gPQ61PpVL+WAc4gdxFaqQg5obqi5f9PHRhlWPFDQFx8M0QjMHOfT3gYjuKDOAiNK0wHpi6EQ8eerT8wGrbsk+QTxh6wT0piORdJSC0rKDK4m08XBm7rGJkgI1f9PpGAuLeiM9ENMSprpVQljZwIupvlXcKdR/WYCkpZ9jg3lHR3olGCqAG4X5d8A7U/dc+ZFM9CSo543clE2VqTyvIcYnvHyi0XPRfaFdQg4FxARKotmIM+k1oDaqWS3Crnp+7I0aK6EV9czpMp3ODmyle2sUdvHQC/q3cEKM8wPbD270BGe+bcIoK1Vsu5U/LoJ/Xgx2D5Es2DTh3PT5GmiRYXBkzo+2f8ZLjLLDsKfukLQmWaBOHWeru4lj4LbZhabzU+9DYkm//pnxZmc9b7SR39nO3LJmW/GAPXUHtyiBKF60skN5jIm8mq3GLiMf5b4sJ5A8DF1g9NE1O9410V7dCJ4Y1cmIxm55GCecuBzSlGkER8WAaexBg8Vr7LwtPLFQAW9TBkOUMerRAOJ/wJcqzqwlzteX7nMSPqQyhCkKJ5Z1c+dzLl5WrtK4+wKifY9m8ftWrW0autnHhX3Rn8RSPu96bnJco+/sWo/qyoRKmqd22tWfKEE4G9bzEftSb2kDUKBDN6jVXdnVzOolRngZDwieZVxNBcmVf2V+paPKWIHo3YkLP15fh3tj2Nt2Zok8ASZPoWL3bTzqx70aUOCpLFGsKwZA7kgNqoPOcM5Ei4j2NzLDHu7vPM/NHkkv0/yDHnpwdCiOzYO9jpkWH+FyKJBYs5Zs+FDMJ9WTHX0nqNLF4CCzbICXKnG7btR8+F3XRncg39EXRGp8oCI1ozmOiCK6748LMlhGsMhZ+IIkiLBnbaZ0lrK2QRc9hU5F9a0rYAqAyvebwZ3HB75UAvLXczIZCiA8uy79XAFcKbZHaW8dQQbSfoPT64vWTqfGULT2EOW5ltwqrg5RlM+6GdyWMDdR6kW5ZKm70V8+1G2gUY26Zy/plB+UQeQ/5VkG78IpMOVaU/PXC5y+1ty1CVUwGdOnZSRtnPSqpaGgH+zE8eY5+iViBoUvN25lsZFlfk264nEYyeon7HHYgxAaOrD6r/JNiTG76FE5KvUrSG+MMEWvCOnSP9yjah+VRUFUHCvcQIFVvGzG93Zxn6TuEvOVSzvTGxfAcIjgx4UNho3k+e+7VhQ3SJj9hCMH6HgKiYwmRfi6Ru7koumtEBw2Aii5uL3/Z5CM/VOx5BFlja1bVSho0YSPYE4ZpTjvJu2pYvBxTdhzyo4fT9IIJmvO8X/nImnzHA9fFuskkZLaEufRb6gFW2axYg42m0JpxF3O4/xXcslQVLXcUDWjTAvJzc4tzPwXYtLjuLtxBEoY3O/eN3np6aBQ1P6HIdnnpTmlH65HOhUM0s1vczlL3drcFmqREb+E/GUZ+NTpJmSNHCJ2EJHAS5+RLdIe9vTf8Oy788Pl6Io9nvbJ/T+2EwrQAh8BdAweZEGFU3WXEeAWU68QLKLqvIwmqu7lLkRONsipjbZVmVab2GP/S/YXTMoHRQcdpKBCLA4uiUHlcWepaKux7IxovhLkwK5ZelDqEST5WGdNw33UBdafdKamx6X8LITYmrSw6Sy5E1phzDaKOf1K1UrOmIQvEUv+caKYK1rjCbnYfV5I1baCI8u4vOzhYEOF0+EA9yCyDWcDyv+qbLNIU0nvw7zk0NwPt83KT8KFjikRJXct33xU+wv5o7WKs8cnzxdPX5mvBenPGzdJab+cXNTnkYJLgktqxm2MAzGbaJWBRob/2AzREitbPzPi1Nue0V4oCKFDSUFJownyRVJRzGbPxwY/VwHbiMNmha47NUlg87S88tFT1t3UpNmW3vOUmREHzdrWbJcw07BXquX8iq282DOP+oIHykr/+qW3AE1KoP2mbOqbYHU6BOsEO4tUSmkBV6//r/3+DJr/OJH55eP1FbyEJyfd7RwT+Mkg/7fEYnS8BQRBZMqN7dLJx3miZxf/o8ZSlcq76ZQ+vGW5SVrO9yBFOfjuyj+6XLMDViVr4rfJJLrJo0zrWpTpewMaOBQ8Xt5bks01iJqwkzUKvX2YSzwv3O0k2AR5UxPEKazJL9wOnPzXNm4wNdGZ0WeGTe30dck5ocpv6XvPt/ZPGvS33+Hzr67wlTLaoTUNCe6mwdpcEItnmDthj6Gwkg95CXzcQaE7kIqVHlakYjm94P3D6Gv3otX6RievdzACFOsdSolwn767albAqXMzqS1eqZiPPJ+MCNvUvcCAHbluSFrFoniC5THc1I3OKesz12XcFCNntF9YoJd3CPskvKOV4IZspYFADawum6nORi99l8DLINgSwfQywHRqxpwPyPzBprZIl9WCRhle2PtK+mZDXnsVSsEXccGgNTRE1rPKAG+tsRbmc0/tHFzw1eFuAyTCtbz9j47R3BdoFTPVxjgra4SY4CUpSpHYSDs65YOv8d86gT/P3nZz6xt/cZn8ML6ZyDZtTnkB4fSTiEyvPaKQ6wu7HN9j53KK4G7/ziddkODbSsMIhmKAZf6Mel0Siu5YWv7Am0TUAIGjlSubh36Tzx3EFef4APzYNC7X9JGG9It64K3WPzGnAyLFS4VAKhqD1OmMQALoL344hZCvEu9/6fxsGensCez4o+8ISDxkO+Vur+PYXJg4U1t09fWmZ6f2VWUglu8ZqhwxvbHYoahNaiAEwDH8zSIDIIDbsm3kYC/FGoOYrFOtmnka5OSoBw9JBoHw+gdVa2PpMcbHTky6Tcba2R+lOJmyXXpKTyIj83aEMTlxAYsyz0uJNAsxldNgZSxIGmyBqpvB8VETAFtyfxUKM06puZSa3BOTIBSXlihCUZIVwEtam9g+GdkU7eDmRXnBON9pf4hltLCKLfDR1TvwK7YxT8vtkED2oHkW9qzItWHlNyDgGzoq+QrRLTdjPuRNSrU3RhKJQYjNbq9MRqpXYkR/cqsAbeebaA50q8d9HXe5ajG7sdJ1Lc/VZJ8Iptvf3ZO2akQ0oXizGXYH9X4QBuv0ssfGLfplkxqUq6LqPrwUE7h0zpmoJCRQ9Bdj0U/+Oy3F7CEaVxQ0KBFtrNaSwxdkqK0AilRBMCMXyN4nuxLKP/2AVwYSbw7p4jjWnb++0XGZLVwRRLjpD8LNSQL11vEK0w187sB9AqF0EDu5DMLeCFytlPqyOwvJp2As9uMz15jReOGdwjruVjkC6dNFkOeDGNtfSlITn27Ncz1NKJKcTAxG+A6p95EQ5M6ylY9g96Pc2ZjMHlzeQ8TxhNZqLbvDWY1ccMXRQlQOLS7sCWJk6WFtwcVy1i87m31P9X3UvFZQF3l1QAO5YWcdoChLYu9oI1j2GtB4PwdhZU3XA0BbSd38NOgRr3c7Ik0qhXCjGsjRGvJGkoG3HM9rOtTJSX7ognpeYGFxpRJgheC0TbxC4PrZQbbVppfL2R140r81PdlKyxR5OuGUKqJ0qIrHOAe+5YLwKn9kkXA6ofuiN3iwt9aNxE5oKOAHTmnvqDpyuChol1zPK40DxqCuMdxqLsB+QOAnO4Dmml0Q4CJsH4u7cTn8/LyNUtjYjMnMRQqfNcuJNVgUt9dF7d448rj5X9giTZeY45Oi30SUl0JSFJR9BuCx2ntp9H/Xj9VSylSeFkvmjgRc0NuaKiO+vB2LzbEVPFKH/N/lWl4E/y1kPP6U0bekPZrFvxFOItobpl2n8WxSF57dDly/5+aF2z+JpFi4YnAUG+Do8stPuF2vQS09/SXwifv7dXXFcUp70i/GIcyAt1g6iiGS4srNj5GZxytOmjrvNBigzAtBWUPAe1BIkWBRZuGBoKZuAH/pSqWBr+ef89hGcFFsxqBuUZyC/u+CJBxcmoDRrrnkXWcBZeFPkJ6P/UzvfY2I5k40fBPk17m0gUbtH6t09rUcolY3ZL2ZPMTeKiNkbrGi8WKQbvf6zfB31eg1mtfEZhFoUdhxqQnXzJM+Nh1BGKYVN8Q6mvLNN6yg/3EPODJ+YHac/yv9wJo7mEKgoEY8l4MvaxbNM6krTogYtNuYUEotITid53G7iWSHIk6tPCEDt0K7k2DcZCaYCVJUcOAJyOJUxxrRSEz+rFkaUTJYeourKYPPh+TAwEniPA7wIc6FjLC4tqTkYuTplY80BB3+Xzbdwwpt0vi216dyJIQfYM2qxOkjZEVeRifUNsqxjvNrnA4Qm0LFDbZsLU55h/ojdng+LMWQhmn80T+pNlaph7tT6BYKjpi30+JaFKS2gPPo8anDE/G0gSDFG8A/64r7a+CT2Oc31TGeBqisv5FMu2S08FSfRRKYK3CF2Yl6VKCqh4HUlfsFADrco+X8jR2i0NJr+iEnCgfiGUwq6lG78qeZDvv/dN5aNpKJbru0AG8dhR6rKcPexc2Y5YU9Vw3VmgtO/j2W3ZcPkpY52z1YCfD2BqnwAZb1b/EUTwlCKntY8G5S9H+bISwAOyX+pSavMLb4Ytua/155OUdX6w6jN43bOipg1jovEA8jN/bFZt82xkK5JEgRJPqwxy9Cmr8+/Yaj+roat3E1OICvRj78lacYFWi5xg+VJc2BPA9P3NfqnTsknvk38+aE56QE6uHTQgiiIipLFZ4nPg3i0mj5937YKhXsAZKlKj+/4r0fPsSg6MG2q5ttG6a8CusQoKR/TJ4xSxweYG71UipCBfaDoJ+iyXdYXaQZPTw5HUacD9tTftXcbWU3ps996q/kb7Prt4+p+BU5TlPP1sFej5IdY+PSOGmz+4TeQWSWKknoFqsh9sjhz/vIpmIaeZqgP7qXN/3KOWcERdfmMeNYZYjTAee9sX4WnG+XGOA/YxYn2I57zU0nTWDB++xXZ4ZBlUvXPOvjeBw4D2Pr7JaIry975gJNGB3DKsEDhpmeiCOsyWVjN5Qk9ouVKBj0Ddw9pztvqBqCZBaOg/ERv54rtqkkAMq+vWCsmNPoaOe34UBUUAMbYDePCxpsgmhUpiLeeBIiSeT249KKxXnvo5m3rrdR0u+0jGOawii/F0QfPd547vMFs/AcUWVfT/kTh2WXR++RwJMWoBmW+rLgfwPKKe0S7Tj1upb8fk7cDE8Qy3F8UIezggOorHaZPJ23OCtTfalo6Axnmr4YOEgcyxxJbooPJuYqbi3/TvCcejWG848d1Yn3FOW8H3ga4RdC3RypQdYGif72lFgxbJx8JSiXqDnRY3FEvtDSldegP5PM/ybwzOOWXzqgN7fA4i7yuw8cZQ37/4mQITUxYUVMzwz0giTt//Y5bxl+p/FfC+D4ocieK27Fxty2mcRJIIUmdF17fAFM9VrWKybOMLa4qg9ekUkuR/SRGMXwe9+as4x4kHZeDS/6cOLQwBc7RB2hXtEoOPOrbZVK/GRdJAOucVQopyjvi0DbYZwkFx3JYapuASAUv+xfmVelkzSxJfJ73vILwBQaokzEp3Dd0+614zqlH0ih3Fd0icwV+8IdiKp4oBHzObbyAPlGPkcO1NjJlBNLPe4kSxw3xBy3xrkTRpG9h9D1/1/k9R7evkMKg6blZX/h49be3Ti89GmH0heOKWBiMFvRKacqmRg142EUyAwXoCP3zWdgGxpSx9aPpDK/UohTiWz+FEVsWjDQ5bzloug1MSbuJV0Dnxzwd3QfaLE+0RiAEwSOUwIYQsNGg8A3Zno4SIOmH5ldSWLJRTsSo87YKlWSHiO4XKX+4D2oaPUQ16GeEMqayp+9j8lF3QlPa8hnWig+09pBF8TyKkt0g2GByAz45R0vMxeb5UxiakWe53VVxcs7sNKR7y9Y987SEDfojng5bST9LP94fbe1zZPguieuYB2a/icwtC+U/OoIAuHA5FzI2VvyPeVmiIkZ0RiJe5sP4a6p3gPCz6PFMgypSmBvpwI/pG3v3hCauBRu2bvtf+iLLp5zU1kxha/zYYZl2tUGK2VbTZNlSb/uzNmMXCoL0NZ0HMbkEUTq5vPs0N7e+V10t/b9DGQZ8Pfg/aCweQAOyhqXpWUkDpUfjjDVcubTuMPjEw6+wRu95XHAWGLP78kbUvXDQmwG+PjvDx9KpmTl/cdJdBgKlCIICOmrzEv3jgI/FDGAS6Rxd4vgH5CrAxTBBNb+mxxoQdwwPnmI4GNo1GFmMiW0S6cQxyYYNiivwvwJhSScTEfd6r21VJelkso8IGThGjAxwx5Bk4c4jzoyhwGxWIw+0na66aKrTIRRjUqU7laaFlEXMvC0okDcLnADJ0yeHAA7/3JkiQVOoE6YuenTC4hiUsHjnsyXf2eLfgRgrJnVZBTfUbcKoSRuE+I8K6wpTLkqvxNetNFd5hnGL/7hH4OyO3l4fW7jklVHw57CsrQqjmbA6nLczpm70zwTxRoWqAxNMd4cv3eBKyYAu3Q+H06+CuUKg8lMXhBL56MZMKiogVVSQGcNcXoTrlfKYE7DFmy5tcuOm4lUJSlNi50kaHiuyA2TGp9G17vNsREuPIanvV3QC60FfLGcmEIqd872SNrOwWR6UeJEpA7fE1L4OxfL+e7svFm/imDsUiI+Cq46YOEBtDUu6UaIwl6nmXAYG2cerg9ctSWIInyf+0JcYLSaglGnbDw64QM3KdC/UbnueG6xgMO7sOyipjkHCLuL7o9obML196QZkxMYu9L54KRq01z/GKqmXcly0ZgGsuuUa0LjVJyuEZSi/Y1q3zhQK/Q/g1Qw6Bcjc3EcBWUFS4mawPvY8ffLUaARB2di+ekllA2vYKN3jVK3vl+QiKib31Lcu/XPIKk9MmYvIf75VzPDPYZXD1wJK4BYbVLymbNj4oyjoWEykaQ+2mdsbnd1555GFuLLyLc3T89Q1qHPLl1edkE+pZm+Cn0+JDDHqcm9swmBb7C945HHMfU5TLmXVhnPvW1xzgixUMLrDHwOxCLAbS1ASbGNj+Uh0q6biyGGZAstrz2ee/RGO7E9gQ7rQIGLkFzYSr4Z4+9DFaXpc+na07GFjpmbjUNTunfQL4LGh0LiDjaAKYqJlPvfLE1mqE1mI0DcMmWF0fVk3BH8JTZaZh7lZVENrFTRQUd01REbnKV0dpKtUe2SCmkX94pGpmYKL0zp6yZpJwBvUGeuiB/JP7SmXmK/AZ1CPX8bNHyodn/dBuFbKsl5d2VBwz4rzMXZWi2OyiukZVO5mSjps6e42H9jrSpfJRavqTAylsyRbd/2nEZWBQwHRPhMAD5Sb4BsmuudLFuIiEQgaAk/ob5YDo9jl7NH/tDfP/qdYZDaCvcoZYHNNSgTPZquRKpDsRt8f6++x9SDED6FVdDT1xcWC6gMSPHOlike6HYjEe6NQDqdic+aWReWpmp/uTtVvpNbdAV4xJMr7STU5E9WiWQ/V6eN3Z68B/Gnuq9fa3YZwVl0tiPmKdoOgt35zIJWMyzeGrnUfXQa8pWIiCgaO3QhuvPYvD3jmJZEvnev1TkqzKAINvEgG/vUn0jPw2w3MZHIPYIJyo5TaKWpSUHfO3apCslIgUXt6dpiQ2Hizcn2uIjKnnzMv7VagSXU7KxF7Cvp8Hieq+47uom+33mC0pLPosXVpk2/7/pyg7jzbGYw9YCHZ0c6dKTSMvnvQxEILvAsDJGgcl0MuY4AD5yjyVFS+q4ozXQLRuHJEDiG5qEnPXymS7w1IoRVoptXhmr8stIt8FeEiyrXmLl7oCSj75GmdPvanHYH/wsWZaMl/7JVEEkEPEDVoku3hPhxajYaTMxmOwzrK8AR3ype7/DG0pNv5Xi6c6hlzuT8uVXm3XStiMGJ59Orc/Ux+bfxuxGeHIThtGuszCOkjPB/btYc3/3/WRzkJlzOYt5rwuvQeRqWqdgD1VALA6qHmdavl1eUxvlbvnpcIaXRYEy2gRG0muL+oSrGXEvaGeEMNvc157tN6q4aq5ojYfyrAVsmx2wpn9/4VX2LEVZlJEbW8e7xXDsylXVBVYxqURva1h+BToyCpSkfaoqQAg4Fse5DzjrL54PxKZc7aFdt7moOIjCCq60YdRBtMWvs3X+almlsSlKC9W1tk/fzDfxJpymGzXPPI0RraXtG8vAdQ7jLMQXf+m1t51CTuwvmiuPJNGmQ8DDGa6HKEvDeVKc0XeRuqfnWRXE7FTrtvpeEEuYNJOkktOlZgPNvYJXWKAtUVMKXzJG20WlLFKeJjBNvX4bKLotP4DgKduv3nwGPc7lTio2/2qns9/hJvuWA95YArp063fbkxsgDtPsKfCQitL59SnO/o7fXYKvd7bsdYV4ROKAHIjOFQEWYBT5s1UNEtV91xbV8QtYUMLihL5d0cK6BhWu94A3PSgZscMY0TNLqZGQi5DL841F7/BEZE1Zbn6q7RKp6ASy3GeRhytg2uRR4HP5t62493aPsiH+tnhNtAnMC+tJ4aYhwm8F/uNqiW3S3+wDlMCVxeyY4Hym1oYzM+6e3/tp9JIUJ85oj7uGdmMEhtYH4C7pSMAkAorMGBM77XKVuOOuTCNw2/o8+IyrtkFBHRL0N/M9VR7gFf/wacDsynQ6S1SPAqBwc4vKlbiwvRgCAbPnx1WRUkmLN4GssAt2M6EC4o55MGMOonQXUpJ65ujp1Ngm5HpojWMjcowf2RY0vCZfGJjExzJtlvQKPSggOtrE99hD6wa43z2z2XTxl7trKYmrw+VP89JS17RwtGwnN1IVM8ETMBzpniLz7niYV1l2RF0yGtjcRJDayOuhMOit+Tg9wvkHn2nO4y5aZkwnLWEvIkTjZHdMTGmt2ed+fSYNMlvVnbqPUVNI62WjnrxHVPZlV2f78QGI2ZtROC81etyputLB6/xMPQDW+xbsq2T/OTkDV4qyEscxQO0PoKaCVhMjtziVYl9EcBVn3xEgP30/sIfJ1hJ7wp7kwZMsnudPoFgsLZS1iGczolsEDcwP24ftKihLBTm8B1S6LgzcrqOVp7xtYkOQNrLOrbfFuTpWQfUZ41fYNgsQ7gNcMlIYdnFblGgr2HP4cXFmLVsCWcZcBIJCb4QelFrPE71IoqbshKmnkxCbIv8mEWmH1fFy69m8znDZIsPlE7W358N7i/2Q4cQYLjV13xdnWyOnOdiFBIwe7GUdg81St5RROabbO5Vqo2tvmLBKzYeuvUJ/Y3PKwFmck4L99/4d3l9vrVJdQq8idh7P7fGZYX8xDc7ArzfbPopgqiKqbdfjfYLzDXyb7BbGQU7kPpl2X7jua/25GbPjJPk/CdehoWGiKSjvcusWkdBakO+IF8Fy5+6j230t4bQcNVaoi2ZY3+b/SYCgifrJXjvEWTNvILOzzPMEOJb8Kv9Kmfgqo0fbupzxDXakrgJmEatCPK50m/C5XNgxxWT5QUszWryUEojqBxNWodDba7VG62gOhjGKUoIgY/J7zwrqgQbFe4K3oq/JUoOL+8tJ8zACOxunx2ycnAVf0wyk4j2AtRkHHCK8tksd0dk4Oc6W7nmWkH2icWaY/RS/8pnP64R1c1Gt2iak66B3V2xrzMeqDoS6iIBvmfkmz/N8Tx85je/Q81Dof+VOk7f0cXoEg9BVZ/i/TBvm6BlFzCefs1X1Nh2LTL1yThg0U8EwfqUcu9ReMz/+hjE9KxGxsFKe5jOv5e4gkyISNW+e3GzQJTZbBeF0rKBFmM80dxeC9QLqa7bZAG8f/IZidU+QWWqSvv2mLtFhSGBIeVk9fypMrNp3vdeXCp5ui7oNmVflaMawpxy07qM+B+Rht1BnJcUgTDyMhbFfElR1P6jHC6h3AHYGv4gE/PG7OW/2aFyZHUivouAqPTk6WsO4SCoIILb6dBjYPsT9Ocbglfui5USikOZ2z5Yy+S6HobHI2L2AUC/4Z71Q0ZdgiU4QIg998aSc+HBT1Sao5v5qE6sJFgiD4JJX11tcHoJABG9GBGP9sJRulq9LJy728NvnixWGfgASgJkdwmiAp3py5WplCThOTCBfrGWnnn5BlsSmzh84wscJbBCXlINGL7JlFkOJOY7iQTcaNCBKHcAiIJh/pjagGMAfMkqq7N4PyWxoBVn6VtSvkysew8smz0W8VnxKdz7ZYIjjpiUkAIYpd5BI4/FqX+8YaDfreONJF6RTfgVL9PTWafuJGBaTbfkhK0tmzF7+9QYUlrL4vPSQcsvt7bVOxCNBQeYwHS+IIZE3/4PROGqzd/jQGF98/RILPZRPFialvSplS6lWD0VYqS4tWkhSofEePsiKJ9yRM79A8duaWE76J63+u4T82NM3tqnEu6Vi5QYL06uOGDEgQ/jv3UPSbUW2SfBdIkj/MojVbqjRKQa2KxZjF50TxyQbfc5wst1ZoB7MUEnvmLcSrH0Xt8kOOBktcFqnoeV/AFIoaLdLaHt3SkYAnRy33/nefPRSsN0lcbxOSs6nwvtpn6p1He9bEVb28f80LcBjnvYMdpD3QQAVevwlRpBDVWI2ffGQNqwa+1ZMR0S2cXgj98ALOFeEZ6DJYKz49/MSqKwEiHQCeRPffbJAUc0s5c+V/YgGVtLTT11q9LOuNHku3Yx0lDgGUXE9uKEHt2YbKd1nxzF4o4zJrTOxSkHhxXBfJfnhVuZlmmbokcznrw0neB50uVxNCp6OGwZtrITQt7cywXrw93s/X+Hw6pIQetZz5h5e1rx41fb2hreYCQJvebRw4kItFW0gvh81qrnQjXU0Psqfnn7vC/Ds0Ip2dFc6d9h1YItOdiPYgwP2XVekM8emJjDTnkCTwFCRukf0RlUOolcWqclbKPRU0CYEa2J3jzMOXBxp+8UoYNG/28ZhSc56C6vS8KHl1qsibHGV79YprnbqjDtOtoUQVQ7iakFfo39Cg4LSSgIvc2aZFHx3VufvmMVOCYLJ3tItNWWZMDUGP2g9E1pSSfEcJxDGhOYEliAYqQh8n+OL4nzmLbezg3UtixzBphhRO+AAePWt9tuK90Uwp0Ar+EzDnz0qoATsJSlrvBp6FvpFgyyGyRW9zLPxhaJMrSiGzq2H2tnMqJzVDNdBtm6B1vqjFjexXsLgWeD9fwtYnmoi1+e/Xm7Hp8YHdju7zvNLrg6ibhiU61EoYlTgGVWugbPYzKdM5MJLosehjJaA38Ms/rKUvRZhTLUxYc+6LivDcFjMOYnA5l0NbBPgdaSqCCA1unBwFpQKtIIPHXSgSwAOxBHitDvhDiK2ggd8xl10w54yF2zfF+9N6dlWFKpppch2/xN+5fXiWpcRxlNYaNpNFkmlISKkvl4xxYxczD+q4+2lXRWOYF5wl5Q5nhia9eEeSVbhTwzd52lhXfNQrvVWsCLgql70GrPJUis+GCFnkmKxpc7VQcmPQU11VIPfsFAXsL6kMyFKjNGZ8YcOy4mRnd1zQujObGELaa3YfBiba4AbHnubsGt7p2NdsvB8M7FKWPCtsOfaWTGK/A/FBheYT+ORRkCSWAx2gS848KIVU+nbMbP6yw8R5mPLGirk+csLWAuMh4Cn3jPwRm3rjYSRj9k1JGiK7cQ2DysIzVgiimO59IjwIMdUYqW14lDwBo0ibn+jo+gAlaCv6kjfCw7Vk/OpInUa+Bwvdy0abhhdmW1jpsDzoo7Gx0osemQ3clfHi9FwO6ZV+LfJCtL5MWlvGVKhLfYZshHDIWZ5n1KXaLtDRzg0loTomRUt7/QiL0CpjTFo980R54yzFSek8FiDNqLysj8tEy9sFnvSdR3G88TmlRLUIPY6HPNMNt5CK8tGn+cJ+t676cTafRXyHpM0Nm6jpjVrrch3i3nk7hFM7ldDV7ol/fchnb0I/Q/C63Ea77pn2YtTbijYdxh4nSmRKkNsWkbHiY0Ysv1nhy1W5Hsdn95+wx4iJdu//1CIfeJumttFeehUk36IG8HgIfosiKeuvZG2DpfYwIdalQTpJlEuOnQUACqBKnytqKnyE97zyWxT4FSk0D5hV8TwlfZWWI8cq4pR6MvWWLE5Q8yEO2uiwgnd6hyzbfaVJttzXl641XxJ5UZ6JLkTgbnrRtEAGavZBKmufHp76Uzk4pWFWdQAOFyA2w0ydvMpAWO0OnLhorOOCzHVwjkKk6lRxoEo+F4QdjotOB5MoYVLGBKH8X6VlMNc4R2XEK3y6Ts3YyAOgJZbS7jPdcGxRNQ0gBFMenyjhV+t2yzlUpYqEl0d1OGmJLvaw/k9uI4se3jVLnR4vZRr/NIeUzc1wmY/1vgexmesjuUvPQwwCc5aeUaJXxVNcgsMmx6o/40CBXHFBwu9S5DkAqdjMYRGpBiz+jUTjuls92BufYp6VxrhbNX9UCo2GB/qjbEaXdQHIQ/6FDoDyLnNEX1x0tv5mzWZr/9HE/RbdI4qYc+qjb5M6Wmi50CwdapqTncoJlx54E3umWIp9dPTlgp98tEaTj1CQpEdwiyLSjkUri3GKAIS4cgajjA5aoBGBjGzg10IsDYkXkbP6T6i509rZifP/sVXT6IBOBRuZLj2sonf0w3okWa5e6Yvw+g/I49Cv3JKbYM8TGs3grmLQCsKsbBa9JYHUL43DwhezMgSgUYlkFFKk6UDz75zi6uvFFAHi+TKGIHuNQC6anA9n3oHA9ljhQms2MuOBs2E5PISMCuICWDsH4ixQMcRPB8GLaXrZ+szr92Qx8oUTPS8f14n1HmIt/BocDL1YZ1lrGFXzcMeOrmfEP6HGcxmAJLonmoCJWtfBXBSx39geM6n7J5jGXjvArpJmdfznrHbIgLSRR3bAppN3JO3eTy0u9sxzVsu2ktAlLIsFZStB4UHfdy7vApJjbN9R4JI/MVhtABHNDLvve5S9c7HcpChjy82GCLk5PYLkmkQl+JtByzhdR+2qb+rh32CcTwmgyXGzumxW7qfpBpqNrcAflRb+VTFMnErO3FtLTEC+lyW0EasYKJkQCWuZ5Man7HirpobwZn3ePyYM6Mz0qDtqqUaU+qWzzxHgwVcmtRWHP/1rjn000MIklBEW9ZZFHtVAwjvb7A4CuNdijTzOzaY0VYR6gTqEEgoMWoPKwvNRksvaRSNuoWBf2Au6ZoqVaZHjr6NaIa5Gq0Jv1XiudUxuIsbMdvFlXYd7122l5S1O3ndg3izFGpqxnnTeuWNBeROVxxg45+PoifNG5OIAwAad0B+lSncmRzWu8QQt9Amt8bYYdpPGjkcViNdxPekeFzmKec3h/uva31qmx0+B19V85I+8CC00rkXaZa7ZdEzGgdDPPJmcPyHhJEifMQvTw2/I+XZrukqrRHo7vDiNgUa6jz0GMPkRVw5knjMr4RAKIMUIrrfGFIxbCf883aF3lQZDwU5tHlFKeLPqgXqT0Rgc2QuR+i+K60zeByVGw9APG3SxTTmUIJaQ3+lz8z9KIhvxtDSVNVqdicvKGZhvSYd+OLfbJ0hU5uAXTFBv8oAri08XT72R5whE9Cx0znk6im6XZ41IAHL+wn6x408R1JYLXIfVF/QCvcyA577xmi03A6nbpWPuMdWVSIKR79NTLTR3FY4oL2KndhWBFG5co+Z1dBgLAk8MdeURedJmLIqMjJfqCzdMkTChpgE919q6Pu0o0QanGB+C1HdeQWkX/Tlhr84sYl8fw6R1AkYikjGrD/q2SnDUs3FIlI9o/D6cX+3WC0Ujr4Z4SgEVizMykN42g7MK5F3jl87VM0H0IirFWv7R7mTU42RQ2kDmiJobqcB4vUwkpU+C0BxnoFXf8cGFiGjWbjc1KjoLY8hiiYF7hn/6YlTRdfq5ZLWmKSJT4CW8e82h9eoX3c7tXTYGA8vIhO+x5BU5YUreP9nf2ZeE34Lwf0r5rcrb0s9NYF+25F2zr+ed5dUMPsCL68IEU+IYZt5U3XTK/+FI7Wwt2q3SMZ0auwla4TGlCQenMnowqz6AeBGG70wZ6bWRiC+72Q5cMB4lmpfCYLNvQV2ayjhzf/uRJKmARbjphMzsyID7Ch08+JI8CIvkiX9Iw1g8AovwzVkM+mxVuYYspRQwl+MFV5BfzU18zfis9hn4mj+DUPUCHFC7KA90wxqqDMHQF8D3PUeaAfOOEtuN8ZzBi98gXtDQn4tIinHXWGz2iYT9AANaRo7gt4S2NZhn3Vq5sM/h8xOHt9e+nUEwwdQO9YgKJtoBPMge8sn70768RdeACxsKiW34tBI59lNTtpswzA5kAxJCNhhuuCZL7rWKOUpgRkhuf4Ku0Nv9Z3/mQaP7BwBp+AUZAz/gth0JbKDJcDXKnNj2dZJtJPLDcZg3vXPtEg95AobCoCahWHwmzbzfdS6VszVgwsTsXHsAsMEJ3bbd0hSLwNZx8LoYNUN4yc9gJR2AIj6IIoh8vh/uOr5yDrBpBaA2/UGqSTAkaqcAfDkfAhhxFAmhBWGVjFzMZa2AUAQFdEGOieJk+fL3hNB6WI35lG3+Zzcu0NMRI4fCMTm3kagQ3pMYuoT6ow+Ma/9Q+IYdvmj50x1rhBIyDuOLOTSZvzfPucghJOubRwd6SpmTwdCn7uAruJ+6DJt0HjzOkMtc4cdK6BZL5Wz7l9nUn9lnoSWbViOGu7d03H/BxAOSXtMMaDVVrCXM4oiFC41HiPB99PaxiX44y5iCMaOdgWPa4s2CGHdwHveMzOoVmvkGAFos1rEbbn9HBtQo+jbpGy8sv3ElFSz7la0BhN8OutDKIW6Iz01+eJCMiprvmFuH5KJdpaX2JsHP2Ipn7JAYqoxjAG5Wt+K2ib+9/GHB+ZlAW4ohhg8V6v7z2NRuFlisAy2CXXxL5SHgOTSv5pCrbjGik3OM11Ypgm/14ocq05ZIeDmo/PAVRCbHRIRs4Kim6o/dDzPL09QUzQgNJ6sr9Ldda8o57yAJ4KPajUB3sX5D65LIt0AdjdV3RvSEubO7g6LIXXEaZyFlwVE4VhOZ8URXgn5DyjwfUpCrSSzv9pmdqsRXW3GPBkxZZCKsSuiSjthCvhHs06tO6lbJ8WbBOgCZgaO1tzLzMGJxjv9cVKJvEvQrVn4sH2wtXsu5edcWOO1/XRYiQE9ESN+sIUAEifxmAz5GGBIoxQUvdViNYhoipsfqtLQi9kJ3ye7gbHG8XZEQEnWGns0cmam895UdpBdHuFkL48x0Cnug4KQ6A3wb19GNDeuMlUh3g4GQx4jHb6P9BKWLh6VHMfU/Q766GN1VRm14nz/i1u4s2tIjitUlirg64AY2l8nobTd09SOgyBsk/j9evjIc/pCZcC5tY3KiZjGQMdvLeJmBvpjS+3lgtn96ND5ONkmfLAITsrwOBkzdjdbEZfsbyO60g+ELflVvhgoopbdefyqENaxlx/v/0cNMTToARYvium8KTPM3n7aB4rO/E8zPCyqiQ+lfUkK6gundmsze46eOPwsZKtunVhRzhzkuP+wfoQ08LB9vkzwa2yDTR3fCQkVXgtGnjYxONK9D5C2kqmce7rGZ20lVWUJwlF4TEActAmX2ABgsrxNg+TUl1BvRPq8TyAx60Z7oIvYhYlz7LGWFViwyHJ4G5qrrL3xywranvH5uwIwQZgmtJlj4aXWrd8m1H5G9XlkQnvILtFI04hhcTWzd7xIvyMUeVxacGt7/ejKffYy3OREylQz3FzeSOo0DZAHjJUF3p906dPeG6PCbKZ+bsm6wVj0y5tsG167knia1vvR5nO4PhP7kkMuKbasp4vsMVNzYPtogdioZMOONwzseOLqVMKkSKZUWU8aDN+XjVo3i5R2+dPfNmzQG2Fb+7rjay0gH0ocWRGR4nMJUxJbKIIsf0c2iN2Nj5pOvUHBjVwMKHxk9LPKOg7wNIQGRnXFW1BLJgGzY6krI0zMa58Y0fbQuhfr7LURA5j68JYP/MqHSOcE4IeMV2PeUuzf46uZwdOWv13LgwriFPGTwfl6okSRjxxBz7fO8gOfRZLcUYokP3xcqpedkWpI4d0XnDV4N299KYM07ewZRwsyD5GHkPC9urYDMk3knpAzBl0sTNuYL81AY0o9EfDDv7ywWr+B7B3lsEkavcq42P37KwHQFaenM0Li+NmD+ZJEhVfADQPp2UqF4rPpjvtJwCeKE2A8HLp17o7oO6QjfhvBG+RabqC83tV0lVWHDdDI8sSi8injUJiiM2Po+Z5XqdlSmIrsjexKGiKGqJ/GPxXWhEr96clfyOOsCVsFBBdbYc5RXbBdK2MSFOQTvewm5I4ueybHUwGrH5WbkF/61ss0sOR0dpMWjETKwAEfOyUH+fGsYvbMLx68j7hpXHbZNO9y/KHYUExHUhFtz1jIWzmZKF5liVqAeThCoYtSUcdrjD+fENKxzCgpRu3TkEdtbeM6hitstxjy8WIGKNNYL9usdr2u4ZfjDcAtAkF/T5VbrMszg79Z4bgwrprTWEyBtz/ph0R0QDd7Uc6xAnlqPxwLaobWfljYE1gKxsPBE1vishQqohvyV5xW1kvhlj2K9B48XGIH1n62g2qnxqpZZHrwsdDHZz7+SM16s7HftimU66sSWEQHO88HHUZYzIrIkWVu9GBGlv1hXTxQB+G2dpZfBuKGMpEs0SVHnM2EdaELkXkLQPA0VU6L35Gt8rhtDLi7ZgEbbiXetT7bWx0NKMqCYmX2hXcJWrOrsRT86yrp5tqk6mlj+YOgeZFFdb8yDSgsTaFOTIIqqoGhrASuc304wseandzmgNFFkfejtKtwzUlBFy1Nh3lTbpcI/l9Bjp3xn4v/exSf/EuyMrNL7ZAPZFYyPhypBu8zwidxBy4DZBUreEh0LzPVAwvC3wAWtOCs0eQnQShgXHMOkpdsEgC1dfT5w2u4sxksCUynbwcPzAwlOklG3MfGyn7FwGr5jcQ+7/d0eXkX7AOiqn8mClx+zG4iBqPpQmnQHZoxLPPfXssP7cijG2CamqXeJuQiR6WvZ+VdOkFk7wFv6FEUlhxqxTvJjU+jteAYiH+er95Z6N1+fSZwu1oMcuTpOa4VZf8autjbX0G2QV8A+OzuoQ6sPMgygy2JA5LkOCKXLgMUQQQfcJmC0G0ilxvR9DpcZfdgipEp+k81YCcHyFBKFUKU91zh01VnYYM5WlzV3GPAexH8ikHC6S9Naazwj5djn6Tv7p9F2ReUCZ7kKkerSgy4UMe7DC4BcqxIybDbuSXgHBmmf9xaLYLs0RIDyiEVEmWJB92i32vOKSB36n0NkdVKGFhGVa8IGhvIzbLZL2HVnasL3C138WYYy1++guxKEtUPZYPGkJWuGM4aPiEESf73jXpaazYL0OGxniO33zUZDiyv7XR/ICC3JePt0vrkwXPh5obUsz2Nfv6LEggEKPuWb9nQp9POYv7Ec2SI2ey7uRF7pJ9miRMgfMzj6e4Y5gd8a6fT6Ahn8j3H46k53b2LLx81ETpWK6tpyPle8zGevnQsZbWSiz+cdOB7UGqabg92EEeimuofk5sFVvVxx+VHxn/g8hW9V7Q+YuzC/n5Q5P/d2OAODBipW7tVWbXC82T9KQikrB1KgPNva3yj5iSmvqIleW6822FF4giIAFisUt9XQkFYw82LwGD15KGdb0mYS13lVxrh7LXSMb1WL9ni+Njxrg6NtujTX+m/dOPVvateniVxman3Ev4SQ+vAWwS2PpuAU5AmZ3p5GkZSIy4rs4DTc3fIVVIZvAaS99+LSpyRjDgQ0XvD2MCa8c0pgz+drtVr4yS2lVYr8GMQzZJfN5nfrrDTUt8xrTfggi7GIj5NorL7n46rNCJmwXZjb2LaFux6xe5LOASJQI4v2iCjrd+quvvkb1U+x+USnx550bRYPwoccQNM57Z0R6taLOD2TTLk10rnBLL6seNtSoSuQCuMA24AhyAsFc9s4magsVQYH6KOuQtcIyhjS6XjCzUAvlTx6MdeuHxduz+F9LWrylod0pLozqvGp4jMp4lJ1HNaAWu647vWJWrTPkS61ciDNRg10+JeLsJnAfHBBtbUKJ4G8YoYLoDWnjcr+o/wGrZGqWdOJw7+GRkEa1lAHrgGwdGfNN/i/7aL9iBHLchGaEIuC/WVLHmDb81s6lreDznpmr/ZrNsvZdx5ji16HueaUMia1TPuSSmOEYFJjeVfecTdZUlUIW0/NjWvsCww/sEqRZGz5Xlfg0ET2zOzerCyt6YI7xCBB7FR9G9tEKJsJzhJfXoR4/vKBaZOgMcsrs9my4WhI9MWcekDrDXqIkeschyLHHLSN1HltxWpDUEBqdAwSqDMfHGWKouFtcG70hFOLGl4/xMegr98R1WmmyJ8RlYGbw97+dr5rK2jHdxVwqe5aPeoEGdhhZxxu+AGUPnY5p1HDEYK6wwV3WMvvG5svPWbB4kg3le2D9imAWgM+DT7vU48hl6HKsfQp0itic+BUy1TRFt2ZSDiG/xL0/5ie6csABj6Xb1S2tSbOHXsNiKVC7ZjWBAasxniDXpSwG3Hvb36sWCQ4o59ABep6RZjoJf+AlOAirfS8Jo4US6dTgs4qe8nFSW1F1Hf8T+Mc6XrH2E60/D/TiocMtj2vwxH0YQWTcaUyUPAyKws2E0TxyS1QeBxdKNaGD7SK/YzB65OXCbxPO77lAYQ8YYuKxiVZkw6L9J/LXZyCHJDhRpdhI795mJvkUEo7Y+KbJ2bibOURh6ZCa2ropkCzmco3BvhKrtkOVcIYcHyl1LyEJBqJU0FGEpC/YrhklqX+YpLycGHPLZeEbyvIq4vUrAdb2SwFCf+swwktg3IwERxBXLizZDts90I3bK1HPdtx9hASIn0xv1D3HSBWpjobl2ZmDy1YjoLZL9xGe7/DmQ8Vd1r5TEKW4WD5cnKvx2rquyyF49No06GBVrQfbFj5aguDspAb+8zU100/xEYLjfs7jrJDx/9x8qTRioAojt4K3C8c/ZJz4GTIeUVhn5+lLSi92aRgD5meczi1xxJ5ziyBn/dP6rTGlEQ9YqMB3slzUIk5ydjzxX+8DBHuH0FMRdarUHkiHXyBdv74lwXIX+WxoRuWfdYtHnR7ZSD3wW8jrnQTlzMdzdXUlUzAVmIlsWcav2Pw+LVKTswJ9TH0yiPBIIDt8MISvDqLhCXwTF2WEO8sZqbE5hN1BvIUsVgzBMSyjBDREGd1RaBkgoilVhwIZ+nE36QoaAFRtnZx3j07YUTZSw0VDKrH6iZet5OpyCSrZQFkrqh9MQcFisj85yDtJH8G2xh8o62AOzuH80BhBFjpI90Dqx6uBcIOqzS+drncQxMzmOM3Tlv3nFQLiT/pVidsjl+B9Fv8CR9jbSqSs8XtREmTSuSB0pmv//ftiswJF/DOAoLLOB/YIDqGqWFS7qJlfk9Q5VM8kf0CBvSPLglphS5iyy2hXs7RMXmIN41rM1Ckk8A4Y4QYr4HJwlZRxSkaDiPIcff4WAMDhzAsGpeN+cX1eThD9hDxan1LL2p9zjj2/MZZa67hYqWTKu40oBqzy3BmSYQM5wx7mOpVWFqbKapCkmqggohPTvyFjmn2XjXe7Lhe26aI5pQ1JPEgaGj/hmPsT6bee0HRZfeLZMpKbvGosTCIk2WJ5RL2R5p/NvafHPDcERT4ITDQgI8BMtu/1mkEdazXhC8uNA6DfSc4z73l5xmOY/mQgjnFJRjg/azzJmcDDjqJMAFciEyh1VHROHQqcWdpSErmdHRUDVmpFvoApzi0BignVrkS8A+j6UQLoNyzWbekLlBS6Bu0xW1hm8IrLzN3gXNDiBXFhdzRA/hXfZ/F8huX9E5Ni6wajUauy7+cWej0vIEwJzqmeO45PagC+1DkB6ti0/bMU6BuuaeNLeGEd1b99l7cS0ItzHOIMqoEGq7YDEKgiWOp2aV3/YR6DkYhYcWMHvFUI/Yvd3//ygFLtF9mgIDf6Qeza+8I3rXKQaDbhr5aa/YZQb/+QBWvdE7ejit+oD1mxDEKzNcknE1PYDCmN8kT+dXnV/gqv9a7WBT0nI32BMHkv7i2AevrOplgVjRAeuVj9wQG/m6ZQSRLaRQyi3uAjn9lGSRmmXt3s3ZMSFjwL5l/NKuoaGk9INn/EiUolKBDmyyNjtJ0UoQ8sZ5dGWvUEjBqsGWpcuN+y4r/VjMwI4Fz8n11ZhPmcZVKDCgDa/5BMInWQ4345cWibN6I10lgdAiWz+hFY8ECMvP6Lzd4KoxpZFNnVnhXcY7qNgQIM/gdDom0q2ZA6h3RFJAwFIXdWLTMIMNNSsjv07xbtK/zKphXPy5rBgOt0G8w6hPUTeUjV2832MLTdvAkl7mAof2rhBunJcz3txU8K/cg8bK5gkF4SRp/4UEzQYFPTtNN3II83+I7FwRa3ho8qUl2WLF7p9fWjOtuVpohxyDYofYfUpek0iMqtB0vNEly3U79bJCHGKtDvNhDXCKtZbOFYc6wncPmagpoPm7IfW1/CvSXZsD2GTxGUpzM9PxOdUiF+auVi/yfuvkcFPWG07A8xycTI4R8sLpWbpaes2Aqv7VyLasZB5WNrG5/+x+eVLaq8fLxAdKbz20aOb0UGEX/YTvDYNoRGPF4rv8p/5EREL9PVQpXdqM6OoGHKjXi8Fr6XaFwrYr70iTKuAQoW1McSNj+qLn0cUSNK4qgjHQ27GE1G+9Y4NGAaJz/A1whEyOICOR0lSjIiQPIbDiNMnjPbLq95q3gcaOyzzKYbBe3QIPWT06xo0kwRYoZfhOhCM6eNTOrwnNAZ/3Yt96OgJCV8mxM2yd7Tetcta5l2CpIbuZFejT6wFxLgG2U0SSU0jdSrgq8vJsiK08daq2e39BXebE8FjUqqHiMQg4PGPOC6LbAcNMYO8Yskv6/73kNiePu72hfvVkdSvVyVjy7xq75MoDqT3K6J6VrQWu01o6lEqvvYfn6nxlV2Mfmf6xZS32B72kym/ceaslwJ2tVJNZXN9QKZJKngNHdGN+hVKLfBYuBQcadYFjRtBhPf1CwSsa9Q4D5vWwyRTFPrJtWTiKgk8mQl0NiKH43mMi2q/neumrfOSsSlV9ImoX8rRxk7jW9CJV9vWuX8vXcsCd/aBB9T5toOiEDJArzjq4e6fFtn7HFKWQcgv+kOJmTSA+Y5hcK4ugrCUUD8FR+ocVfa8DhFXRp1JspRbZjFZPIZlKiaiudyUyggyjQW1bfSBPzytqBv3Fp9bClhoMzNuTWMi4fjq1sj7eYcIpw4byUt9Zox+ltOLNMx6B8usdTLtL/zisvyvJn/50knlBSfB8aMUizvaNfwVcB5bOHG4aWHjKfSa2Beq5tBK0ynV1KY4vzJkfvogFJzagb56Jst6oFi0WL84P4OwISosbRBZGYRsPxeJdJZau5yn7zkjZXFeFvi0Uuk6rW0cdgIzGGUAEsNkn185bOwRYJRPA4BAVYyeqm3LsrQwDZMve5OywvQtutnUsvt1aBm4ZkNXoiVcitfK0KRcH7ClH3HBVIOjL5/nIC8dE7TkLQKLUhodSYdwgzea24ynvdWFQ1DASW4vwElxAW+3klifvzV/BLbkIO1Gn8felNiB2P25PDDD5DUGhXJiqZoJpBR1qMpbo9aEe4iwIc+oa3f3pbStqQzZQhfM3KyQ0Rw0XCinf/n8iBKwO/M+zuV1lfAoxofj2tGbJq6uwcrp8tguXvPponvztz4tVovaQ0Nme16zWkW5dfku9b4R/Oxm7y/HBEFBsnvfhsciTOMMXgdzkR7pQbsaHTI1wQnuFt1qMASLycU/4SaTpmuPgGPbLuc3zDKk1PISrwnP2hpvPrepdZev0R7PNoNAiwz855cONT/ne3hRbpE3NxSKfwwJSu6EKEnxaeuxNj/wv+4N4u+2cZ1RQdHSKKJeDz6/vtClsdMK4JkN0RivuVy8o39gkEys5upR+G1rYuDvDBLBQHEQU13s6Ak+N9dUaezB6uR4+l2SaPEuvhHbX5Xsg7LgWjT3RGxDiUTXhGyZGnspY+tw6nqVTLark9DTSYjjK3nJJYoG/JEeNQDloXreSFijlHZPHG0kCiOGA3CTK/PeXdIrqN1Lurm+30neB41Q6sIWvT5vySGWiYfQqfex+c/wcSDm1umJlDLKEatTcso57Dtfba8ukuBn/JFEPqb2GwObVoaJ+a7EDG9+v98s+LVsdYdpigSl/TTNHrpkskN90E0gSgh7nKqm4nvPQogosDhdaUtowwR40JYUvaphS91zot2LRgb2s7PbByxoTHe4k/u8iTPzq7JyFPEJsApALRhqyXQQSiQ6oQdhun2cJJJx5ysv848VxQykcgYkPw9B8WYT8u3ldCv2nlCrGlXFtUYjRHJEGcpMI9DQKrG889Nnt32q1mRFQDgdEm2YD+9e6GXuuT1s0VMC9mPcNBLhQgV1ltntAmPskeCuXp2VFdQziR473mVdskYvICz4iIC2dmLZq5vOZTfUJwe7f40gL1HWejeRYShTqPJlZaCgQDOaQV+vo1P1ZGihF0TPOSas0daNXlf5cLfYQkQ7AjRYZEe298xdBKVYUjx5BBIlXZmYvhZIVVJ/FutHagkx2myFrGlObGQRyL4LzVZ9KJLHCNacalrROjONUIr8R5qVJwqvVad4WazAzXj4t7x3ZzZhWfkMdRCtIJh0PndOiEUwjoYLU6MI60BJa0qAQZE8DwAlvW1x4Z0hrXJ8qMB4soW4+3hZduzjYWRUdcuktyZXt9VOrB6itdL3SPqu/1gLdmCTqI/QU6iq3XvzyB4UNxNtWHUga3vogG9SDoWQHzN7sOpbI42Z2jrGhReu7O/WLkurOd/MRnrNc1SVNeUBdwe95u9cGcj9rs1oto2+qCA4dbsNg5sLIcQxzau7voFF++1Ga+c0E9evEzyp9BF1G9FcGC7IJFq0cvA7zhH75PU2po3Rn01al0hOjQZ8BQYnxtapFt8jcNR0AzHHphDGy8cdYUv/LRf6eg8APUIiQ9bntSJRh5zSjinReRBojIvy3oavHudHCyzjWaZJIyYF8sy25cOg20EsaW0QNVdk/JgeOk3yY4t/JtsGeg5f5vYrCWoP3gdERSI+K+/u8Pp71KKD6CpqksnmzmWs1nnx/EIr2YPWL3TKuPXPW3cctYGi3rC3d9WdgPuS/RkuQzf+rOpung0o5JZ7e/qQ7eB3AbTt10B0xpoUqX2seyBeNartzkOy4xeY/2sqD1UhSLe0u63l2fvlT30LrJPqKICdKZAJ+pz2IgJUm8czna/2bgrBdSMQ19AFhL2BGdQ4i16che/UcqF8cYZFooVM1U/Bdqs9A0pbzoqYZ1y8Ud5rJw5Muv0f+bTyJNTMW7cLTO8uWkXLSLDUBNtgCdNCMzRwLU4yjJWOcgWpK8N54jeBL7oQpUk47rXd/OfTGwx4kK2O9kbl43z8QC9X+iRzx/BafB5T01Z/MahOyv4jYf4yyP3KoGqjyMb5ewmGoJZcZxUj3O6oUjRBsYnwI0nS5tSUYnqvDCMPq8GH3FDHg5gfOsyA1ZIr65O7mK4lPqAi/lORlpWkxLQsymx3Y2XTpwTPxF3GVdbrrUjJDKtO0JSD1JqrWsjITnnKd6UN69Ra6GALqu5v+i49wZcB+GkIzgHi5HP6IaT5CvYyUmB8IUEpcmSfPNpTTSZjJfy4q/RZOpu1sYHyeKT17LcRLTsQIINKBlPp8ce32U9BUHqPZbkPDJitTc9lNa1y+XqGcTnn8TjkwkDNbdAXOKeqCgPKjBFNiL862mRbyVfDMckig/+sdH5qLfjIEeigzlwsngnH6B9dNZfRYRoROgXfxwZBsEOQjC1Y0l72nrbR6VbVgNc3nPSB8JQ1YFK1FvFW1fsrBA34gP9R0+siwz5F1Yn2RLkV1PwVeL/SCfNqpyJ+TYS+rb/sI3TzCqDRIvtTLtb5BjD1Zj7yhnYNL2aMDxWI3RtBBdPEybmITi+PinzsDo6UF2ZCZiNSIaPH1AgBQGvWObFT/PvVwJiYvF4DCeKxpTHwAJyiK0z3euEUcB3kcBONr+AXqAtwOWyF9ymHuBH2Mik6jr3UksO4QlCSI8uySXfntnS+YQpw/9mQ7095EXiztwAOfUGElKYYkewQ45awnf3DJtkLtFvt6hxvkJhtrPQV3PWlJcyT4VSJqfH2+jmElzRJMyISoz4ycJ5qsfvQ7hlfoNlaKq0+T6NLuhN65tnyJTBTeuVchB1isj3LDUk+gwzrTvXvWDckn/Vz74f+qvpIcUpkOnIYRfB2gOuYHGtgEPJxUQGprWshXwZWjPbxy1pEXiH2HegiMh1q3td7S/a42HpBdtRG3Kmq77ZCjOIwsF1yiDjnA57yj2P4QtRZhNQoXsOosg7yDcXbDKXkr4DKMEZXzbDOdKOoSk37xWzxbBrpsj6URKxCN0v80oRMfG0cYM17ptBhzMZy46E609xe5Ep4P7dBZaIRwMHF3LrDEWazX3/5HrsGtlrtyAyPAXM83knsgSlDmI7WSH5QcvM5RYDdYzOtnKnZt8psbk3ri68nzTaJ2QzKQhnED99cwR3/UMYOS10sSa2UDRU6MAeJTw9heK/KfPSNhsbTqJ9g+mNnseb7eEz3ItEZy2n2Ap1f6qKnbbj0eWIdbyW06vT8OkFk7uGfcWTIUYVnaS0AnU/TrFLh4PfMTGemufZBlw5/TIcekgKyHTpgIJn8coWKkVSk3cNWIzZaLl3WFzv4GR5GMLaAsqXjf1XRRkVYb0BRQrM8O2qb9AznlJNR0h8hISZbLcDjO7b3HR0A9yBzE+fhwrqBvPz5WXj5JsVT1FA+iTFRLPzmea9iCuYRGBA2X6Owq4enDIAJ+Heofe1PNngnztdTL2QZB55HGXKGGEk6J2gqAj+mlvfGu7bK9usKihXunFBgv/aDVUykp5YK+CCM6xdLeBkjseB2EKSN5zxVSXyyMeDjmROg7QCNP+Yjs6Lr1rnZ+PDudVxK3BB8+USkOtws3LefwPYmTY/Vowe2y0KiSR+OQ0gfTKY3LufBm6qbEAAry1QnPbJpfeDQWiQDUpyJu9vxcCyAvIiNynfwKsrcRlnEaAKn4m49i6HuiQYs0fqvHJHQ6Kh6xvIqKtWV6BFhR/tpl6B0UB67LcPQNQs7tL5ruzOg1U7gcNzT1gpsj81o+Ikmyu3EN3jxcodsOglB9YgTgtByEfCe14yYixV3WDykFkHCy/ktgsZvbIhC4qG7+ZTFhZD9kcSL04unOcgBEbbrOI6ZY9Ay9XRZxbXl+2cekyOKkig+jRQV4n5ksdflWpt8rH5ObyS9iUO8MxWE22VNXXvizSZhOofeXgqhJHc3d0TtjuUn1ZF7fiyR04E08alXaeFcy4AFSxeMehC9En5Y5w7cFuEOYULUy1qD2bkwE2ObY72FuPR+8vt0KNzTh8uB4g+p/9TGh2kCYMz+2TqSUpnkib4B4VuY1fmq0ggpJfjyrdRPmOeEZWoQPaJcs97gQYmGcH9feQQMI7lBAIxmauHBeTGFHD2rkszIBAwVag1L+flzJJXUKmbvtDtR7Ymhpgvk8tXQh7il0rl8GhgqDFqu6RG/x3znbmOtvmN3qmHBX1wU5uYK5Edf1JL+ZWz0ro5Hf36nHQqBD6v0/9dfljAN9V12hLdAVpensewqALrF6bMLvfWCPafRDhxF5kC/MDR73F8EAIbH6vUGVxTRl3mo9rRKC4pd5e69xm5Tq4bvdB9gFpALISJsRXiTWEFT+rmzRS0G3Xt3wnaykZJ7AajjB1JWQ+CMNJdUXFwlYfYvrvAsYdOEHvH6kIwHBBAmMKucTEF8i4sEr2GbTWzyQ7GcViyDXorLDjHxBdcZQhevt77fd0AcoTzMkcKwySt0gFfMkuSCe2s3OmmDgEFMWjhYIkZyoD+Rk12TAEzB6Qj2+icuSHkLtxhk/5hfcHGRWZSsntSdo1E8E62WKxl0TuqqG/e16RdbW+kmXnY85wNpHd/NWsXCEvOTId0ilwakCqq8LAZMlPelOpFPrPmxjhbyP/uGU7FCFAy2Jb8Gsg2XF2RN9KwtB6/GCiSFKUgmWaa/5yU7+f6Le8Nj2ILOf+KCnh6XTXDoEN87t2ymCvuF/7SRaNIAbb4sBkrSRR1lAu4VFX7/SQWM18xS/TrKlyF9SAcUGDO2K3jRgTRx9nb4I5BQalf6Pm2sl4/oylT3iSBkIhstsT8h/v84gt/0BYpwTff3R0M1i0j19Uv+bny2TVNdLCKBgsrlwRBS6DD9DKTfpcX51JpaNq64RoO5WA6SsaISFu9n/xiXiIRp3rgvAG8zMbcjTWaIzp/L0IkSQwXt3h3Nf2GFzmfCb8OCp0W6fn/XFRiVipHU4p8OXZZ67M5eU/C4ua1+u00d80vZz0OftcrXyQCqLlWvs7m6OfKqsqmFGCO7/LvHeyh8JGbQuZ28d6boYyQeDUHM/G1PdyTruTg+RJ1jCk/2HbsTkCuxQkwJVxpYP/FksGSJJpePYP7My6mqlvalcng96RXp3MEguC/nkPWh/bydHnvMoJEmBxpXiZW34TwBA+iTWzJBXnwZxuE0VoX/Sv7Fwa8TYbi+eeW7yntiDNGqgPLGdZdpf4uomyuz+FiKky1TwmWTEURz5aeu4YNedDn55txkYssYAU8YCuTA7RQpYcXbhbMrXYztexiHlg7SUM0P2NidGKS+fAveamfL8wWtww2K7LB9EJmZsSoZ5nY6VgcoJGSGpchRmhCFBaXTqdn3jj+dgy5QTJ4YeH7AXe9zR7blwXniVBesGPe9en4aEQ+laE1nvWXwVY8zm1a0wwuDvfXJoLKVZaRPIL9wk2K6l4U2EtKraVQpRoKv+tCm/qF6HimhBjsRGmT1P5r4E81aUfaizXttEGFOldgmXohPLkU8n1I6E4vgUf0OtZF4nx1CKnaqLESFsAFi08rrOFKFsNfI6DHhM36mbJ+VFgER9VD7qYaX+0LzT9vZON4oPkfPM2e5tAphOtvU5zbw3t2b2WiaPC2PivooOpKzaTT1qco5dJJajecsFmW5EXtn6ExjGSIg8FdaA+LAIhCnGeJreVdFavv2P0uKBBRyKq8FeOHB/NZ0FnyvW1UvbssXX3AneGzerlofCgeGk8UXZ0iYnQR6XaXWM5KsBjmLTPB9WL1wx562jKM3DJLGv3FBM8/3H4FTZpoPTUTPvpabd+EBv3NewpdEibwNh4qx/2aslRA3/gra0KotNcIuof2laYpyOku5LsUYHcRiM6N9gHAzSIqyDbWzFaxU4Z65ZCsMNd2BM9qh4C95hKbbABkOtnNCNxHe+XAJ2OssbKuLesLWM6Tr6kPX33g55V8ZqXeGroSBurxk1bP28UB7xv/KRiAYueJALi6c9trcSF9kpaQcjWdJI/6PU8fVgwotYKfcRlYPXI+M4DovP60sPSA66B7Ay0mMiVnSVijHWsihRcbBfGUfFMmBtw7eU4PRtsTJ06JId5b2lRcwKerkaxFeYdMk0o3LHxRAZmXU3dT9Ff5R6zFPn8ksw2tctT/jbOJbaQEAC4eFBKwuDS2zb2OgVLFMj8UD0a5g1Xb1HI5Dj57yLQ1oxCuRoVmOVO/oBtspT0eoeW+aKzEhwWwNA8C7RdV8P7/BtqWdm4sX5z7SLkatz3WwynKwmPEgc0tI7c7aNQ/tdCo4zONc9hXn15R32vnmEQHRKCZ0vnOB2vIhnz5ZHJN1AJJNTgu/o/O1g/50D7kB0wxV9PAJudW4WBdthvsfgUXN6oPMSzc6N7e+qhxvJGYmcaepv9KUcIsgGs/gIC68mNyRvffjpWm8izC9pHnEbdeMMNz3w21/fTxKjEE5EFraDwh532I6CQ/18MCqXLKssJPv2rkuzkYCq1R/GbbptlT0ASPH1zLQaBMDTS3JStDvpM4g8EJ4Ikmo4xn1qXZ6DilDsO7htoZojAw0NTO+pdf8xlVem2LFKivVSlb21QqZMjjcg/JWRVmIm+qCvtqa93ial2kyq6b6cic2VTj2dFK2jFWX2zT06ebcw6qaI1ZTehNN0bXMej58B8OhmwE+6ABHANgsSQoe6pIuG1zAfL1hIXlMHqbR2ynvF9Gbqg9iyAKTSDIJB0xw8EDlw78UCEKxTceCu0FLLrgcDs2H6/cV81eRvJA0ALK/iKWai3uJCpkystQ7NEAwU6slzMHa/ozHh6wzY0t3UjJtK3RoqR99zabNa2seKCqseHeapr3lYbXoEd0sH5lemR2TRETEvcsgMaceQD9Hz8X6Pyv33SljIYlw2ahu8+9MzaJt+nixwpP3t3F81Ew0zp6rR9/hnzoPmyAwdi/6K8ql8ZhInE8l5dAnNTiGl2Wzff4yRMKpqcqYD+0ap7K4d/GcaxlNVtsy9xqQMbuN4RTLVB8HjGT6V1bCb4ugEnOQj+ia92Pvz+PVOAuz/CU95tTTDJh27ZrQcA/pgP/2Qd7ZzTSTwthEein4cO+HWbUFTqwrpfZ6pgGDCnIkyacGlfrW77lfiPQNhwdpWmdHMTFsHj4YNoag7NaGsqrzH7pZ20AvY67gjgIGROd9E7DspcD6bRi6CaWOzabSuvHryB7h2T9CvFmfc9zoJveEjDTNik1udczTeKoIM6zOIBimFwKGw8HjZqlrQKi6W2A8cNHkA3IavFnHuXR4o1t1HC3Saw9tODtZHNtR4yiKCUCjpgUTfasEorx2aaOf7XC6xkGcM2xj/4icndVjXL/+FoHE96lY86dQG9EgQNHMfEHm4gx0YpXcj9PRZ4K+I9M30K/ZWCnUnTCVvC4K/5h1NL5MFG9s/4qh5I5adUoY09X3SG4WniBUzLGQE6ILz0Hxv5T5h5ag7tnlH+8nRzT2T4L2xI3hJbxCCGZCKdnGpC2gFGW28kKL7hMHxhA2eohHPwWHgzp5thIjeay9hgF2Pd/YpUz4WwnqD9XDJl5/GLQNZB2O7fsP66D64LQwQUPWpgrLzHPP6paztOx5jhvlU9Bv95zdJ8+ZHEUq5nczc7rFZqcRITqOG3wpT7tizmIzh7epF1r1u4ZOjs8CphoGTS5vJdUR2gE+kvCgNXmUjfAAw54UYYgpYxQo9x/L00uETrs3ygguxWsFOHGRkywJYJ73wzvRb8Fb8XtXarGWVU7lU3ZGj7bdWf5TJpVXbFh0v/AhTwc7CDJWCM1es8Bf7rLolLOQaQBv3oAmnq3Ums7/LylKbZKRHR7CaeXVPfjv+iuOKl+6LY99O33VwZ3RIrqILbZELUPHhW/aaYtkY9e/05L4J0o/SmqnkL1QZyMV3PkobTuJ992FQK+EcszTz7M/H+A9wMMHkcwSUj6ri6h+1LC2W8DvbyDjvbZdlozs+HTbtt1b8RzNPwnP+9beUgK173mNwdbWG3D7m9HWC35Kg4kne76tjEXU+nCzmJ+uY5V6NLoldCHAaDmE57KEAvgyAPQ3TD/OSzEpI9TIArxG2yjX8AU3EojNShC6R6ostEfdzyS99uYQpO0TlCyD7oIqCdWuL/deRCjjzh+BmNPko51UMgGm31mnZ7MYK3iBrSwTUIit9e0oChRr6qPepAYU/jTtvsAT97ev1HjNs+HeqrGUkxKHQni8nK8HsHxvizRIgoKiRHmuNTIxOdNMuwPsYUWG7+0N3Kl4QiYjs4CvUrpIYU2neK8kEUrQOnGna8UiKfjuOOkrZsfm3p3MDYo9cDkOi/+e2rq1AnjvIrNEahRfiDMah3nULXcOIv9kIVigoauXIYZ0twuu6OKCovNKNwj+6PcvrpfshIsXUfIjv4vUtcOzMoD3E2lqdx23kkIrIzuU6mqbOr7dXAZ8/IsjQI8Epf+EV4UQC6rjAdUi0sjDIVAWJirYV7ZnSVzjFsbWuq0CwE9dSI4RENhzovGc0wkViUOt7d/VDII8ZqLdfHMYJ97VteseiUfFzyji2lo5q7amWqmp82GD3kV6Y2UIZNdezFHliKONEaw4/HmmQMJDSr1eTcK6nwMNOLVwJTvX2sNyd/766cxpfC5L86cKeuWDPGmp7nma1ToOJKgsKfgsRAUVPTUkTcEmwgpU2nVmzdrRu4sDqJigAeuQzD1eLQgR2JU3c0EHTPd36cmcOMsqe4P+KKMuG00rkCQEY0e8UG5WthzFIsfCHEv1qKZpXh1VZzI/AvVlMb0iibbSm1eD+yQ3g0RgL8J2EjVF3MNoja/aTaRB17bp7+F5Gm7AS0tiTpo3+pPkUXoOr87PnndKab1LEyHEB4lr435l6me6Lpxa5hzQcDKs3mOsJMtroJkuOSU1Qb5eH4tjbuNti5zVqNBGrtW0MMc9vuz/2JyWk3e5/wsTKKzfowymmk3DDpoLt102b2Ur2aTJg5d+xe7pJ/KHqDR8/o0+aQHzMCkC+yqfpNvOywHKsNWstvzWgTT/oCf/NcAdOcSK7jc5DffuPPV672Ez4+63LJxr27S0l3sdaQDN+A3owFYF2xH+J/HG0OP/CsnWEw7P+KsuxCou+SCyEJEfduGmpcrULD/5ilQQ0ZU5RT91nb/sX8XD6xotF1JSdpdgsQhrL1kPV7716eS/1aCVdpmjef4S8j3mNndd964xe4whFECOXyLJOrEtDteORvpLHEdqOWpFyoVlFT13vkQCRXGwb3S47sOLDJxQ1zTVckcUmXFOBTKEEI1V8P9NCek/LH9McRr3fxobqsrUUHP6n4EbWTl/FwcREYnTTNPESgol/5ILY2fy1yKNieHF4NhPZJbVBWiGVaePuWCAkhizkXKjcMGTmGGLVqEZsLgIHwqfdi2mv2lY33gXqIcoLRc1vBbnXOFM6E33G4P6ZfUnBz0Ib4AnWneWQa1obrIi+Jr7JJi2CoXtfoz38/MLBi0gbqgnjaDd6g47BPyC6BQAi+3h/WZEX6VUepDlH2j9GDJ9G6kz5r2KlAw7DNtCpWydqa36LkTPyrkyYFUK1VtbkTNxI8jP6Fb7WjfSvvZ1LJFpKPSIU33UVdEaNrPwIU5PgzXpHJ0XwZHAEVlkozp8rKTD0b0pFQ0ovxnBH+bV5PRss/7378+Kdz9t4Y9+/heQ/pWuY3zBrUQ9OT8WZUuuvb+zx1mlNub5MZnVyw3afjezk8z8S/p+TfXt/R+pzFxqm5RwUsqUrfl9lq7BoPeIxTNTF12HnimHrPUiyaC+imKeNTSeZbBzupH6OXu0xP03cRLSija1nC6fc1LRLmn0ReMiWc88ItCjFPcB6zXeNFE88lo2plDbh11gI15Pk42AiPaNGPSDeh9nVJFVMHOs7n0YTKBSqcxoiiIwstPRT02m2tapvSyPqtJ43DMm2pkI2Djcyw2o6llJvWKC4etlcbaTP9ueqdlRSwr86LYPl3ZKX570jlwfIi/Aa0dyiFtUxhnitlOf+2ExRuihk7JhcVOGou9Vy+CwQBOCsrofDEcfV4iO2Tj+88saI615WnITE8X7P5uU6h2aRr9Cp/Z+9BuafQOrgZYw2saJCW0klQ8Xr0XNFmhxdtbks5l9AL6Vp2Io04PlDfr/FgHdW5sMe6515aDvVcfV65jwCAWbKaH8dJfB9Ghuh/AnbLR6uT3tA9ncj1LQ9yrimQAqg/6Eb0nZoz7alltDZhH5mOnVuJRwHvmlA7/HMU6dv7uKx1R/fHl/YcN9FzRrlXLM1h78MThcYNm1BIQoDhfDFxoyTBVA1a945J5krR/NQ16pa4zoojQqn6Zw4T9oNfxP27gygYkFd40BgBmSOEKZWW1hE6lHYeF/icxh5m3Gpnjxnx3NmXbnMbS5YeGs8n7zMJKK55UEElWSkjiwy9tGmpsOmI3Zby8oksCYBHJ8DHVvVa+YNc0V26RTQszQ89Bjo5a9xXBydsaMb3tLNy8G7bMfw+5JLSOEWIBjm3ytdei1OWQiR87w4KG26L3FBW1YbNJOoSvMP7tJkrMvr0SJyotst2DMz7GtXsm3dnTNIGkVxmRF0S1XW0Din5YRStcZca1+lVGnN8c/WAhdRHDDDnFRXm/U4ojgLdi3NfdPlIkWxHxp93h7X9FPnmNj0tsjNW8NvGFi1sNnk70rBBg4ewQCz7jDLlbhRDRgt+SksJD/0KCdt1qlSoO289+RXo06yeg4vTXtA1ZgpSU0tMJl8uzs9/CZu6ZhiJM5+CpFF9q3pd5yt5jtXkpP3KYwfwNGhguQaWdEPeeU3hZ2hirNqYP3hH2eTJScu3ujEJhJaTH0yp8o9OGzBlo0KwVj6NYK/B8K9ZpdWP6RYsRihZyibJH8GWOq/v1gkK1k3tB8TeGGcZZM0TA1qR2eR43WumvrXeuo4dbaajoCM8JXS2AEjpWZmoKnpmxDJqpIxwwN0rLPdwJX6UiBP+1BYDzI3nvKotRJSMomsEChhRCU+HZ9DKG/CmFFGCb9qiWad4TOxP08RT6/Sds+vHKnlg1Y3rfq23lBxuhv5L7fEv46eqGCdDJTyl/POi253JiBb8Cb8N8jZk5/URD2o6m3Velq9aFlyXEx+d8b1c6pLlJOS70m42Y5BPKoxOklVzt0PR+bZp1Muq06NU2Scb4vzO3gKffz1maUNtSaXwE3cd/EfhPVq8+vtKdGWmuAHdiQnV8wA8Ed84TDIvcBASuN2Ldp/kM1ltPsOK/4L0KQHwOZEofkwQIwPuXG2LPxW+BxTg4gawBfOb3sJoJSVa8izv4md2nOTduLJoiE9nh4i/X0zOBDpzXB/IQ3s4+ngQGvQLB8A++q6hsm2g9s7qamxSGemiEtTI3Y3BYJrWmj3moTvUY3Ca83jtKkOlCAkjh11Ol4p7C5YVQixqopG+aKNMvjp+N5jiFHAKbKmiV5088jQ3hAsA734nj4lSfP9dhunB0FupcTsHr9iFJJ8igk1Q/L7Jpt7861UKYm+03OknNzLH7kEqx7VemksSDrLEn0T6rhDPaHx/1pRgfZQjfaRKUkKjCxUayP+fTD5AFtt7rTP9/tRETUcVzMCwnPhw1JGOAQt/QJbu7CrgljXd2DYSLyJm4UcNYlXOiJJLp94TP9Hw0Ar8I69W+ixW5aXHRvtNJjN3y2dj5Fncjhf86OlihoFD5WV6x189FV7AB0Rgp+gA6eaTgKqAW6qxdlsRutTZwgZaszWWdhL/eIXG2GNl9rboLVIqUNBjNmEAFeTlYNgmWCWnz3SMUEKIJ+ubn9M7KqPNH9UEwJnqjZHfXo6zv/sz9Isny9q8WNpcWovtCkeHJ5xYh1tv8NLCJ03i3zUQVlvWuu7BEjAk8BU5VSvRHKpchoJr02rxO3ZkDAh35aLPEmcunwB5PVB6uqL2yEwy0sqr8twZT0eqrnu+XsRZUBDpljX/cVbXcZ33+Q0tooYksy0es54MXfK3sDwymggdKRw7PjNm/eQEZX27CegmAX2rjvYZoe1kPXt+Kpo4ms0Htt0VD8fMlxVP4qYBMHY+/xdSFjENZMyQLpu74MZRtbYhD3hxuuoQVQciZKFOmnZFdimaJ6UCwAvSdSTMwEtH/OCBTt64q2/5R/G9i7aUUfeCyrgrnlPy5jr65soqXpYzKLOU7IM57jy82Tm7otGb8K5fQO2KD3EELsN2IYKZvr+9zkoIHET7R/hl/aIVHxZMPN/SNV2z4A26MLRhhuwVc7LfeC/C5mg5DulonH/2io7upzaEmsGwpayPDxCAjK/CAMID5EizCC2mOf9spL+iUpWxkEZIoLClQpgZlqb/vkCi8DpWNNgpPFQyw5GAK4P8BDnPfLKYFl5RgLaeNgdpqb7JT4OtIw0cTc5LsNg2D3Q9UzXxamgmD7grYJEYn9TO1HTm3drXE4+m5SNfrjBC6aqv2VEzEnwsK0AGfDb9t6cBxY0Py4cyKH0M/DuCBqmUhxLmspDdnTQxmmHQYh2ghFf48pwa/ULixDKKxf3RScMsX2zRYng1OzCNJwQJSm0ouHHnDo/keBFkf3MKjS5483cphlVZnw48mjHqjc08IyhJ75rbYMsv3z9uHNHKj7lE78LSukVdnhwmwgcETYtJnqLjN9n9Iiz0Pc5C3iGD9OTGr5fbGxAX1MmgEgzrXpTl29dJ4xPfKagI6zpnmNgJ05yZhZYd31Pg1lrup2lnd6ul3ukQMrp8UAMkmZDiv7qelZpGUFimu83/ojzs3qP++JpPBadyB3Vi91Wtjb3E+JnP8yo0THgP/5u0PH0+Nb4jBf1OcOd/Ffy7/vtHNdewyexj7hmguv1xFoFodCBt2wiyzxJpPwhk6/UkzzEDo+KldC3Ei0aX6X0gSqc7oXt/PPTYHglLsrGimw3ndkJeewl9gKLU1D1qUm/EtBA1m6WxKQtWhsSPYBrZ2yQea4W4+9Ipln9LRuOSYD6BMbAMsA6Q1d9GeeTg2rYP+JrcJSplp8uXd38BN6i+FMP63NztPor6IKkWm1y5cgeE8yj5GwaCP7s+mzxSZzKige/uno7tmpqKfdijCeXLefmdHNTu8D0YoM2lmog6Y2APQOLRZ4RMjv7Mwl7HiHV9RjxkUHu7FBqwQNT5IgCgv/yzv9OOKt1XmNamCyhPLtfVC3+cD6hy12QSG3wPQjDsT7LbaEv/gTFCAVDZFi5liYSYnWhv8FDOhxPWlIBdpYy5T2MQ51QTjTI5TeUkQCMvAYZaakVzH+nmlH6Vi7TfETcgiykZTZ9bGscoqvNkVkvZsRbA1wI7XiqAtmG3QMHF9apSLqPTMkXILioXOgEYD8tdF4QUiTLYPvjTf4i464TzV5O42jgtayywhA8ChlUA0WE7Qc8OS4NVhH77ID+bkjVgXg+Uy3iiU17kUlBlV+7Ng0Y2UxFK9aH9f8lD0u7EEPGu6wG0S16VbKEqZyhnEce0zGEWMWmiHxypqTemqKWMhFWjwZ86agKNdep0FUbsVizDFpjlPl9oz+YUXc0ibkvnDA8y4zNlJIxi9iUm7CB06IkQldJPsG3RbBNsdLUCVKQpMEyof+ctfDL6Twz575SxHUM4BCLCmIFIPz771jqFpGsyKT83V/hwwBwX17o6oQXRghAnfhYQbGg9yBOUiEJRJuuuHPDR8xyhSAnxpsRFd9b4F1i2yZJXLBjlaDegQ8d95B9ux1pV6qUODFous6HZDxmY35U1ub6yd/AS2PQPs3vUZohaQPzctmF4OdSbq1xAMGp//U62cUkg97xp1UqG16pwQHWQ/cRgdII4oO0thg+9mlOZWjmDLqMLJxb/Cyy5B+7OMouPqNBeOE0T0cX1CqRyXJ+A9P509WGyM3O8vu1hIWjG8TgA693ChP4mJ9Xwa1sjfd3RQDNud0F5yWPjuim6e/sOno4rjUtM8QU+SCCoQFO/9c0LyV6XdCGNkfvvRyKVNFGgtlPT0+PF/DZaCrRWV2jnfsLBLm4ubI/vgiHrtrT+dzi8wJjjpQevwq6EHUreheA+qWi035zvCFHKWqWbtg2gl7XMXDhUtwiyxjxbkGH+dsywrchFPj7fkjROV2md6YouInj88TpJ5V0q6PRTz13n1wyzrN9T0rzk2e1N3kOTa3mPJ1SezhBVY/nYy3IGlV/6S7KJjuTOil37nqgHaduDewUrwWkle+MG/xjDRFhd8NaJq1FjlrcqFol5JhcJpbUYqATxzrZSP79e4S8J3smSagvZqdx+/byH0kCXbYBcTY4ugIAOrNh3zkBJxnjtnUz/VRrQdhiSh2WcZfpCVuopB/i8meu6WGLYhk3az8qrod+PtNGtePT815jSFQ3XghfwsJ6/6IVh2lljC0X/IAOrV3WTg8DYHcdIhQBeDk/On0uYVB7PE8anssjqGtYHYAgU+v3qbnPysxjNQozVoh5JLsUl80LtmiDXkeKjO2iLbRyItMTHeebopkvRriGm0bZ42THVAHD/XSjKZ+d2qgDo1urPaUZpa0VX5ssSBQWJtrPyUxmVUTJ4S8YIqOkZ5UitVUBx/lPKK+FtUeGkN3+4/QqlKi/7PSWGl1FdY6mMslZitqoJ/7Sb45KcP0LUTrmBFuZPKjryFZcP72IKku3Z3eBvGYjaT1FtMDETXiYOj8Wi83flGcaYVegQSghStvFiIQtG0OayDtpSXFZ6icAMdAnjl3qOte+A2yT0N+vlvsJMLv21b671g26DDvxEv/IItvYKWfx91wqGnn3C8eqk1kcd8ummJyBnYxqpPiI+U+sqKrLHFpRTn+hxGlpRKzfoVHkBRKHh2kRp3mjY5OFzftoTLbpdOYa2ZTUND1C/9NWG0/1dVhY/IIzK57khlNXjKATLmpOPLi+wCSa/pgS4iHj1nV5tWDXDjcEIWkXnG1AtIhe5Vplt8I5CSnFsEGnCNwwxTIjGwRBIJKCZD67rB/xBM9knBiEPl+EuMXkmBxuh0fKvDj37y+BNYPI5Rg9wGPZlmfSz7HTq8kLgLrZH0CWfSRHbMTaiURy6EiJIvVTyHYIuoUbeqW15+Yb96eq9YPwXfThnCKiFVWF9pTFC+hXg57g2dIj9vvtxL1O4r8TubhP/zSi0SK+mAodgX8c/5aDYZlt33GorGEnk3CHq6mJbiCRuCrJh9nU6UsL/xSt2zlB4zuMbKy+DLd5OsBfVwWbUsXGWBK9omrn4nQZdZeO4oEtGhpiSigPCRl/JJUAtzeO8Bvulaj/4/3SClt0GbjGJRmgHRWtoRs73+8P6QgpeIHBwsgqKdy1tp/v2X4WAZMp5LHnWhXbsCaXFp6gaNUSNXVtWlv+TFbQeEPSI07/dFB0skjzwNv9SB7Vk3g2YERawlKaE32LsLdPDidhQPA0nYy20+TSPSpSqf/9B+sZSa14VxLM02lcgtaT6Rf3OKj1Kt6njq7OBB4j92NdTvah0qVqEPVaaR1B7HxRPpbNZC7/SLArcq1Mj49wwyZHdAyp+17O3BojrxhzMRWA9KcJdwEPnuNY0D9i8QyR3RQACnc3FLSOeptGI3y3OkXpi1EoIJae4BO1S+upt60lnh0pkfGGrZqghbPyjEsd0JRKnhAwQo3SRtWROLOSs89b0VyF6+uM/9tLPKS/bj0XN4AnlkZpgIPPxwP0LKf2V43Hq8IF2AdVA+0jnGxlj6jcoFpX7F0cU7fv3u99RBHAFW19pYGBKkzyPn/vCFEogl2x0anuSu7yySCJ02TBx2zrvsFNw91Gn4PQ4qsXOns6b5TLp4vWuSg+lo6v/Xt2stFlNKDdeL6/b3zhnJhzTc7HnUAMEjG5BMj/PGSfqv6x6f6C/qwhGUz4pDmkTZnCIR/IPzyvi8QAr05Z7vjQxLfoEsWZvEgVSIkNq9KxZApaDzKgqhrFKAOf4xp1WAKnTxvVfVjbdWXsik85u+xR+F500lD4GbXkgGaB0soU+rMCAV/fwRhWtut/s3fw8+WQBdbNf/HVoF4mRfxnoDdY1zhKtWw2HrG9Azr+U5l4pXZzZe9ycEljJ9vN0Op8MtwmgxSENtqee0aGkq15/hsVDA/dvmzm6ty1rgGUNJXiQzvKFg1s3lYh+Xb/Qyy7I40PNqZdNVQs4vZNRs1tOCcC8Yip6BA061Fe8jlrifp5kDf5tTRwqZ/rqCBDV/Zcd8SVwXZH+ZbrwlzriRac/GL8khVwCifnfJ/94GFoGP1N8a44NVXHkuhxFTEyq479gkFDvIp515J49H1o5ZBpNVhJxK4DLcFDNSQ4HKXKuFIx7X9Qw2UQbQq7h3vh70i2thaXjgWJPRX/FPLKJXwPzBLfruFqv9U0fV9pYHXr/OfD3qrsWmygnAN2AIt1PI2NY1A0pmTiJCp/FmLM5zFAkxkN38RA+xur0kMWYdUyNfxvKwQiBUrTWkXodZRyODQV3UwAwrAiCpy5SwQILB5+SX/D2ksZJ7eZcWsAurJqEGsTQEE+rOSlz8vw5UcOPJxrcFMcHcYIAmJA1mqkaQJVIDmc/ihFuWewmdFOJIm8A2NhYKEle79sM+ae/r+nCJZuBM5LvXFI+T6Fpsj1GIdEH4c3bGg5puzwWIwHYC7mIhE3cHb1H7npwq8bIWiR04riOocpv1nZhn9pkgpcR6rm1TeICGNyUzlSSRAmGvIftqC6TKaqMyWIGBlpxD+cqhCXxRWHA1bBSZSQErJprWKKn6Z4nLymcyls/sX6biDW6dz8fPa+VISjYX7XHlAwUD2guvpxvJvcBMGBfF0LNprmZxw3zPUAIcjfiwZKvmyx4rCSZYtN1GlQDZxhjxmaPnfvNV9eWYDjz43c15YRdF5HIL08K3SrWUffdarspTlQETCBc5fsNdos5sDgPqC3OSQCm8j/vD1TmpcHEUliO/+ZkjDLhFvqqpsQkd5Csng8fDGvG+97kGgA4sVMpZPk7ylY3m8rAbgZNEqYn8oEs19J5Y/lgfePxl/IAytGaOBAqMypu/f/btray1n+yHjS3qhemWnyz6seVIQ1FXJ0awKKsDITPhE+cDYLTj0jHQj0fFUYeM4ULQJH6rJcT4jdPyEtcHvOpaGjKm5AntHD4FSu2l+a5ZavXANmVVQ6BWNOV6g2hgMPuOoWETDAxxJreO4GIq+mYqjMrR/wz1N2Fa3rkiB9FZu2OUe2bOgW6Y0fUms7D09SSeASra+26+VmxMDFfnOXLq8M5pLtVVkGJDTISpF+smV/XQ3JWHZN4iH5doXZPIGHaYaOsPSvAe4/YdRjXlB23S7zM3uVUFHUTUw8Ka6vTBOwRh3fg29SBxvrrSat7bqt/iCM8Ue7aLlbIdBTxy+fIoG6uPMqXvBFI54tB3pkL3jXDJGLegOeuPBowCccTMY79+AdNzZxgocrk5wH8wXeVAjx3fJc6kOQreaZMX3P8K5MSuEBUbEwPdrFOzfVy6NaCurW4GQ8IWGpQu7LmZZRH9EEFPvjDsxiHF17oQwshoovM8iMbBXu11y0k1sHNpMbaq1JNBp1awtvYEli1bzp8Gz+gikFLhEFINFMvskXkU8H7QvfR9oPHz6FkUymCfHkPIqolz47KoZO7ke5MAJBqI4c494gVSzotySvs5BGX3KY8brQGy/z/BPbcgQjGlFkXGBiJg+p68M37aF/Jlo+QQn42eTU4vemqFIfEX4cLPcL037npac7llzt9dZfWRwwSZuTirlkcsK86uHg/eVogrducGoWaf+SPoboclz5jPsdmf8ZMB0pEqC59kBXqkAqZu5YT+gMt5+qilTmTZc/HfNqwj0phAsyXoW+4DfuCUU8YKLknEQlqW89opDPHJIvy36hpN8D+AAlxSchMN/K95vNEExAryX+NzLPgk5rg2J3caFJFR3uI7HD+K0UQ9cB/NYTPzezdnCu8tEiNcNhb43CQDrDgQVNtuF9QIvMMe1QYmtls329URWs1VMPF33aQQbEgSGGmEJqaTm8nDMf1HlDVjH04EjoJweNTYqQV3fchqJXcI4eXJE4ZyM257Ae/cPDiA26r1Zt4pBC/pQI6csZ1kvwPvSrdQVwvLz3bwQK2Dtc8ZWBY2Wxnl2HW6+ujUeVripFEcA+qSPK8FdumVwVa3EvUqxOZOZ/naJv76Ec4zKlNUi3CUGAXiWhI4M3bYzCjF4mYJRGjUuJ/pwdhJPiq8hIoMKCvmyuuz6WbU7T42hS6vrqCnOPiAJ7dxrxSgCVAbxcFAKUMp5gBA9kAMxl9rSEIA4el1qwNKMg3avGSUnZDF1pVeKcVY0sQgYcq6Zs5V9V08MEw1IrawjbLeIsgdKv51nfj1jsBzSG5h/JK79dD8aoJzaOaglFmOxBhMBBI3VG2ZOu0TyTF9N/aqfe72Yr7GfqL9OzjwPBRRqWJP6Q6jQNlDwK1dKkaoDVz9Nlp38ki4EHLHEmb5awF/uArALiX+1S+cViA0uHyfGdWW3Pdub2FywCPUR7o17Kk1QwjffnFXK2FXtrGS3BqaNjBPapeUbdc1rM8EKR4eRUc8JcQH/6TpM8CoivgWGAxV2w9vKjVvwE7Ia6qMLo0OQ+uOvDdIBKQRvqw3Uk10h7x0RZUnFkVKEIEsQenuK3j9xygkpEXcA0g9473tLr6gyXXmXosVMcTUBbp/BbvZdH+TuvpmGsQphcMr75gd8M0ouJWCXmSusyzYWyymn6nfrrr8iPiyZbZkhPGWcQOObUqQDStzwh9YTR/OXIqswxTR9GGaOwYVMufxyqgw8ZE+m7PG3QAfaDZz5CLiMskdgLxET3rVd5xHr3oUi/MsP85ckjEfaXNh/3c36aMbfRVsvRCpBvJcfh55pRECOep2pqQpu0VD9VYhEqU9aX7Qk0UrwQhRryy2mvaZMQZEyKGypHmaFKQ9AyJmZ6vIsabIo0QrF9KFuxp6YxvVTDHTn/DrvKNyFjf8C2ICEGtZaaYqvSpGQkJ5+MiRTpAM+b4T0vIJqFqP4L/mPfIuifMtfMKWaWlMYbrGkK3u+KBw0KwJdUx8GsIFm5mGGuB1OmvXlxc724uXchUHS4Y0OK+SShZH6U2r7eX8nVFy4zDNgdaemZBVCgTlcIP+6LEAAt0+RLnUe7WVzwG3ebaWx06tAXTFk9Z690VfLFHd9i1C1OT/dUiE6INjBqffgf2PbLbE2arNDkTPpgJdIfdWbPi4EOVYNcYmsg2twKMKONQn1yiUkPknCk3w8DCvP3Pm8kc34IaT+A2wTG8s4kZLkDLABkbgzFnvo0OWoNI71H0ffR3H5n6UJ49+0Y4f4GFxjIeyNqHzEFtkG3nB52AiQJCNAnKEh/JlXIBrh88y9Vui+kCSsqdnu/UaSB11f1HiZwFp4bVEJp633v+1IDAEbkNUPUu9ccetQhjENHvaZLsRKI/BMqkz2Jo4TE92cUMLYZF/jMg3DxoyRb6vTDbJH1lhA7uukYdvgiCzJAhPfd6IKnn9EwBOQzA7QIXv+b+iJCdMwo286UbUITkkNFqshdFRZFLLapX3cuc2Aj1+H3bBXVIa9gwPB/Ze7fTbzmR07CbDvTdwW91N7hKCzaqfiWmi0RFiFvjAO0uwWS+W6kcbsDkzEZYwsvCHEyfyhU8NjIiRj/b7md2I1xHgmzO1LXMYJ6dBAVsI7Hm8I1+lWS+djOkTWcU8TmRLFMjSE7c7yan1ayd+lcF+wgVhhbNbO1yox8KCaMR04dQ4HrjmdWdeNJ91kV5dN+J71cckLNDmsPBfEELl92CGS2dUPZ1QkmLq9C4tEiAT1CJL3e8d8v+h8hyU1JiKtydGRNn33ETmXEgRVqDu4BWrtCg3mnpfffAAYwzzf7Mrqe2XL9tpQ5poczY0inmBPdIEQMpznmyzav+DZLmknruM6ZNis22MmkczRzt4/aCjIprc2fLwjZwSJkCv0jeI7ypuTVKS/st3IgFae3Zjby3XY5I+1ns5Yyy1XxxbXXcmFkffjfGJt3Bt2GHiiMgeX4OaFkqGBvou2CLkqxz+hb/5H/oXv1Ix7KZhauQI82aa8+QXiBmn/VDP/2E2QPtSqMlIH3oRF8TDRuqfVSS+g2ftrIBWMqPMwaV88pSjpbEMgjJwcTkh3K3Evv7uFfcGq0sKHdkPirwdabqdmyUnANCJnOSSaYdwBef4ZJbyprI4wbjzrofA==" title="Mekko Graphics Chart">
            <a:extLst>
              <a:ext uri="{FF2B5EF4-FFF2-40B4-BE49-F238E27FC236}">
                <a16:creationId xmlns:a16="http://schemas.microsoft.com/office/drawing/2014/main" id="{C16DA018-1D6B-161D-5AB6-465A522AC2F9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 bwMode="gray">
          <a:xfrm>
            <a:off x="6340929" y="1788205"/>
            <a:ext cx="2474016" cy="4616030"/>
          </a:xfrm>
          <a:prstGeom prst="rect">
            <a:avLst/>
          </a:prstGeom>
          <a:blipFill>
            <a:blip r:embed="rId20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grpSp>
        <p:nvGrpSpPr>
          <p:cNvPr id="3" name="btfpStatusSticker719082">
            <a:extLst>
              <a:ext uri="{FF2B5EF4-FFF2-40B4-BE49-F238E27FC236}">
                <a16:creationId xmlns:a16="http://schemas.microsoft.com/office/drawing/2014/main" id="{86B05EC5-13C1-77E0-47EA-162FDB5AD39C}"/>
              </a:ext>
            </a:extLst>
          </p:cNvPr>
          <p:cNvGrpSpPr/>
          <p:nvPr>
            <p:custDataLst>
              <p:tags r:id="rId11"/>
            </p:custDataLst>
          </p:nvPr>
        </p:nvGrpSpPr>
        <p:grpSpPr>
          <a:xfrm>
            <a:off x="10102664" y="955344"/>
            <a:ext cx="1759136" cy="235611"/>
            <a:chOff x="-2269853" y="876300"/>
            <a:chExt cx="1759136" cy="235611"/>
          </a:xfrm>
        </p:grpSpPr>
        <p:sp>
          <p:nvSpPr>
            <p:cNvPr id="4" name="btfpStatusStickerText719082">
              <a:extLst>
                <a:ext uri="{FF2B5EF4-FFF2-40B4-BE49-F238E27FC236}">
                  <a16:creationId xmlns:a16="http://schemas.microsoft.com/office/drawing/2014/main" id="{0A3CEB83-3846-D327-36BC-36A21F657BAC}"/>
                </a:ext>
              </a:extLst>
            </p:cNvPr>
            <p:cNvSpPr txBox="1"/>
            <p:nvPr/>
          </p:nvSpPr>
          <p:spPr bwMode="gray">
            <a:xfrm>
              <a:off x="-2269853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6" name="btfpStatusStickerLine719082">
              <a:extLst>
                <a:ext uri="{FF2B5EF4-FFF2-40B4-BE49-F238E27FC236}">
                  <a16:creationId xmlns:a16="http://schemas.microsoft.com/office/drawing/2014/main" id="{2307A4AF-66A7-A08A-EAA6-5014F9373FAB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69853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btfpRunningAgenda1Level385877">
            <a:extLst>
              <a:ext uri="{FF2B5EF4-FFF2-40B4-BE49-F238E27FC236}">
                <a16:creationId xmlns:a16="http://schemas.microsoft.com/office/drawing/2014/main" id="{0DA4E9CF-56D5-2FF9-564D-C4370B322E10}"/>
              </a:ext>
            </a:extLst>
          </p:cNvPr>
          <p:cNvGrpSpPr/>
          <p:nvPr>
            <p:custDataLst>
              <p:tags r:id="rId12"/>
            </p:custDataLst>
          </p:nvPr>
        </p:nvGrpSpPr>
        <p:grpSpPr>
          <a:xfrm>
            <a:off x="-1" y="944429"/>
            <a:ext cx="3007453" cy="257442"/>
            <a:chOff x="-1" y="876300"/>
            <a:chExt cx="3007453" cy="257442"/>
          </a:xfrm>
        </p:grpSpPr>
        <p:sp>
          <p:nvSpPr>
            <p:cNvPr id="25" name="btfpRunningAgenda1LevelBarLeft385877">
              <a:extLst>
                <a:ext uri="{FF2B5EF4-FFF2-40B4-BE49-F238E27FC236}">
                  <a16:creationId xmlns:a16="http://schemas.microsoft.com/office/drawing/2014/main" id="{BBF4A344-5524-5542-AACF-87D9A88836E8}"/>
                </a:ext>
              </a:extLst>
            </p:cNvPr>
            <p:cNvSpPr/>
            <p:nvPr/>
          </p:nvSpPr>
          <p:spPr bwMode="gray">
            <a:xfrm>
              <a:off x="-1" y="876300"/>
              <a:ext cx="3007453" cy="257442"/>
            </a:xfrm>
            <a:custGeom>
              <a:avLst/>
              <a:gdLst>
                <a:gd name="connsiteX0" fmla="*/ 942786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42786 w 1816204"/>
                <a:gd name="connsiteY0" fmla="*/ 0 h 257442"/>
                <a:gd name="connsiteX1" fmla="*/ 888066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1111101 w 1111101"/>
                <a:gd name="connsiteY0" fmla="*/ 0 h 257442"/>
                <a:gd name="connsiteX1" fmla="*/ 888065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89034 w 1289034"/>
                <a:gd name="connsiteY0" fmla="*/ 0 h 257442"/>
                <a:gd name="connsiteX1" fmla="*/ 1056380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4 w 1289034"/>
                <a:gd name="connsiteY0" fmla="*/ 0 h 257442"/>
                <a:gd name="connsiteX1" fmla="*/ 1234312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1 w 1289035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1 w 1289035"/>
                <a:gd name="connsiteY3" fmla="*/ 0 h 257442"/>
                <a:gd name="connsiteX0" fmla="*/ 1457351 w 1457351"/>
                <a:gd name="connsiteY0" fmla="*/ 0 h 257442"/>
                <a:gd name="connsiteX1" fmla="*/ 1234313 w 1457351"/>
                <a:gd name="connsiteY1" fmla="*/ 257442 h 257442"/>
                <a:gd name="connsiteX2" fmla="*/ 0 w 1457351"/>
                <a:gd name="connsiteY2" fmla="*/ 257442 h 257442"/>
                <a:gd name="connsiteX3" fmla="*/ 1 w 1457351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0 w 1457351"/>
                <a:gd name="connsiteY2" fmla="*/ 257442 h 257442"/>
                <a:gd name="connsiteX3" fmla="*/ 1 w 1457351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1 w 1457351"/>
                <a:gd name="connsiteY2" fmla="*/ 257442 h 257442"/>
                <a:gd name="connsiteX3" fmla="*/ 0 w 1457351"/>
                <a:gd name="connsiteY3" fmla="*/ 0 h 257442"/>
                <a:gd name="connsiteX0" fmla="*/ 1710626 w 1710626"/>
                <a:gd name="connsiteY0" fmla="*/ 0 h 257442"/>
                <a:gd name="connsiteX1" fmla="*/ 1402630 w 1710626"/>
                <a:gd name="connsiteY1" fmla="*/ 257442 h 257442"/>
                <a:gd name="connsiteX2" fmla="*/ 1 w 1710626"/>
                <a:gd name="connsiteY2" fmla="*/ 257442 h 257442"/>
                <a:gd name="connsiteX3" fmla="*/ 0 w 1710626"/>
                <a:gd name="connsiteY3" fmla="*/ 0 h 257442"/>
                <a:gd name="connsiteX0" fmla="*/ 1710626 w 1710626"/>
                <a:gd name="connsiteY0" fmla="*/ 0 h 257442"/>
                <a:gd name="connsiteX1" fmla="*/ 1655904 w 1710626"/>
                <a:gd name="connsiteY1" fmla="*/ 257442 h 257442"/>
                <a:gd name="connsiteX2" fmla="*/ 1 w 1710626"/>
                <a:gd name="connsiteY2" fmla="*/ 257442 h 257442"/>
                <a:gd name="connsiteX3" fmla="*/ 0 w 1710626"/>
                <a:gd name="connsiteY3" fmla="*/ 0 h 257442"/>
                <a:gd name="connsiteX0" fmla="*/ 1710626 w 1710626"/>
                <a:gd name="connsiteY0" fmla="*/ 0 h 257442"/>
                <a:gd name="connsiteX1" fmla="*/ 1655904 w 1710626"/>
                <a:gd name="connsiteY1" fmla="*/ 257442 h 257442"/>
                <a:gd name="connsiteX2" fmla="*/ 0 w 1710626"/>
                <a:gd name="connsiteY2" fmla="*/ 257442 h 257442"/>
                <a:gd name="connsiteX3" fmla="*/ 0 w 1710626"/>
                <a:gd name="connsiteY3" fmla="*/ 0 h 257442"/>
                <a:gd name="connsiteX0" fmla="*/ 1710626 w 1710626"/>
                <a:gd name="connsiteY0" fmla="*/ 0 h 257442"/>
                <a:gd name="connsiteX1" fmla="*/ 1655904 w 1710626"/>
                <a:gd name="connsiteY1" fmla="*/ 257442 h 257442"/>
                <a:gd name="connsiteX2" fmla="*/ 0 w 1710626"/>
                <a:gd name="connsiteY2" fmla="*/ 257442 h 257442"/>
                <a:gd name="connsiteX3" fmla="*/ 0 w 1710626"/>
                <a:gd name="connsiteY3" fmla="*/ 0 h 257442"/>
                <a:gd name="connsiteX0" fmla="*/ 2023210 w 2023210"/>
                <a:gd name="connsiteY0" fmla="*/ 0 h 257442"/>
                <a:gd name="connsiteX1" fmla="*/ 1655904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023210 w 2023210"/>
                <a:gd name="connsiteY0" fmla="*/ 0 h 257442"/>
                <a:gd name="connsiteX1" fmla="*/ 1968489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023210 w 2023210"/>
                <a:gd name="connsiteY0" fmla="*/ 0 h 257442"/>
                <a:gd name="connsiteX1" fmla="*/ 1968489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023210 w 2023210"/>
                <a:gd name="connsiteY0" fmla="*/ 0 h 257442"/>
                <a:gd name="connsiteX1" fmla="*/ 1968489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191525 w 2191525"/>
                <a:gd name="connsiteY0" fmla="*/ 0 h 257442"/>
                <a:gd name="connsiteX1" fmla="*/ 1968489 w 2191525"/>
                <a:gd name="connsiteY1" fmla="*/ 257442 h 257442"/>
                <a:gd name="connsiteX2" fmla="*/ 0 w 2191525"/>
                <a:gd name="connsiteY2" fmla="*/ 257442 h 257442"/>
                <a:gd name="connsiteX3" fmla="*/ 0 w 2191525"/>
                <a:gd name="connsiteY3" fmla="*/ 0 h 257442"/>
                <a:gd name="connsiteX0" fmla="*/ 2191525 w 2191525"/>
                <a:gd name="connsiteY0" fmla="*/ 0 h 257442"/>
                <a:gd name="connsiteX1" fmla="*/ 2136804 w 2191525"/>
                <a:gd name="connsiteY1" fmla="*/ 257442 h 257442"/>
                <a:gd name="connsiteX2" fmla="*/ 0 w 2191525"/>
                <a:gd name="connsiteY2" fmla="*/ 257442 h 257442"/>
                <a:gd name="connsiteX3" fmla="*/ 0 w 2191525"/>
                <a:gd name="connsiteY3" fmla="*/ 0 h 257442"/>
                <a:gd name="connsiteX0" fmla="*/ 2191525 w 2191525"/>
                <a:gd name="connsiteY0" fmla="*/ 0 h 257442"/>
                <a:gd name="connsiteX1" fmla="*/ 2136804 w 2191525"/>
                <a:gd name="connsiteY1" fmla="*/ 257442 h 257442"/>
                <a:gd name="connsiteX2" fmla="*/ 0 w 2191525"/>
                <a:gd name="connsiteY2" fmla="*/ 257442 h 257442"/>
                <a:gd name="connsiteX3" fmla="*/ 0 w 2191525"/>
                <a:gd name="connsiteY3" fmla="*/ 0 h 257442"/>
                <a:gd name="connsiteX0" fmla="*/ 2191525 w 2191525"/>
                <a:gd name="connsiteY0" fmla="*/ 0 h 257442"/>
                <a:gd name="connsiteX1" fmla="*/ 2136804 w 2191525"/>
                <a:gd name="connsiteY1" fmla="*/ 257442 h 257442"/>
                <a:gd name="connsiteX2" fmla="*/ 0 w 2191525"/>
                <a:gd name="connsiteY2" fmla="*/ 257442 h 257442"/>
                <a:gd name="connsiteX3" fmla="*/ 0 w 2191525"/>
                <a:gd name="connsiteY3" fmla="*/ 0 h 257442"/>
                <a:gd name="connsiteX0" fmla="*/ 2377474 w 2377474"/>
                <a:gd name="connsiteY0" fmla="*/ 0 h 257442"/>
                <a:gd name="connsiteX1" fmla="*/ 2136804 w 2377474"/>
                <a:gd name="connsiteY1" fmla="*/ 257442 h 257442"/>
                <a:gd name="connsiteX2" fmla="*/ 0 w 2377474"/>
                <a:gd name="connsiteY2" fmla="*/ 257442 h 257442"/>
                <a:gd name="connsiteX3" fmla="*/ 0 w 2377474"/>
                <a:gd name="connsiteY3" fmla="*/ 0 h 257442"/>
                <a:gd name="connsiteX0" fmla="*/ 2377474 w 2377474"/>
                <a:gd name="connsiteY0" fmla="*/ 0 h 257442"/>
                <a:gd name="connsiteX1" fmla="*/ 2322752 w 2377474"/>
                <a:gd name="connsiteY1" fmla="*/ 257442 h 257442"/>
                <a:gd name="connsiteX2" fmla="*/ 0 w 2377474"/>
                <a:gd name="connsiteY2" fmla="*/ 257442 h 257442"/>
                <a:gd name="connsiteX3" fmla="*/ 0 w 2377474"/>
                <a:gd name="connsiteY3" fmla="*/ 0 h 257442"/>
                <a:gd name="connsiteX0" fmla="*/ 2377475 w 2377475"/>
                <a:gd name="connsiteY0" fmla="*/ 0 h 257442"/>
                <a:gd name="connsiteX1" fmla="*/ 2322753 w 2377475"/>
                <a:gd name="connsiteY1" fmla="*/ 257442 h 257442"/>
                <a:gd name="connsiteX2" fmla="*/ 0 w 2377475"/>
                <a:gd name="connsiteY2" fmla="*/ 257442 h 257442"/>
                <a:gd name="connsiteX3" fmla="*/ 1 w 2377475"/>
                <a:gd name="connsiteY3" fmla="*/ 0 h 257442"/>
                <a:gd name="connsiteX0" fmla="*/ 2377475 w 2377475"/>
                <a:gd name="connsiteY0" fmla="*/ 0 h 257442"/>
                <a:gd name="connsiteX1" fmla="*/ 2322753 w 2377475"/>
                <a:gd name="connsiteY1" fmla="*/ 257442 h 257442"/>
                <a:gd name="connsiteX2" fmla="*/ 0 w 2377475"/>
                <a:gd name="connsiteY2" fmla="*/ 257442 h 257442"/>
                <a:gd name="connsiteX3" fmla="*/ 1 w 2377475"/>
                <a:gd name="connsiteY3" fmla="*/ 0 h 257442"/>
                <a:gd name="connsiteX0" fmla="*/ 2646779 w 2646779"/>
                <a:gd name="connsiteY0" fmla="*/ 0 h 257442"/>
                <a:gd name="connsiteX1" fmla="*/ 2322753 w 2646779"/>
                <a:gd name="connsiteY1" fmla="*/ 257442 h 257442"/>
                <a:gd name="connsiteX2" fmla="*/ 0 w 2646779"/>
                <a:gd name="connsiteY2" fmla="*/ 257442 h 257442"/>
                <a:gd name="connsiteX3" fmla="*/ 1 w 2646779"/>
                <a:gd name="connsiteY3" fmla="*/ 0 h 257442"/>
                <a:gd name="connsiteX0" fmla="*/ 2646779 w 2646779"/>
                <a:gd name="connsiteY0" fmla="*/ 0 h 257442"/>
                <a:gd name="connsiteX1" fmla="*/ 2592058 w 2646779"/>
                <a:gd name="connsiteY1" fmla="*/ 257442 h 257442"/>
                <a:gd name="connsiteX2" fmla="*/ 0 w 2646779"/>
                <a:gd name="connsiteY2" fmla="*/ 257442 h 257442"/>
                <a:gd name="connsiteX3" fmla="*/ 1 w 2646779"/>
                <a:gd name="connsiteY3" fmla="*/ 0 h 257442"/>
                <a:gd name="connsiteX0" fmla="*/ 2646778 w 2646778"/>
                <a:gd name="connsiteY0" fmla="*/ 0 h 257442"/>
                <a:gd name="connsiteX1" fmla="*/ 2592057 w 2646778"/>
                <a:gd name="connsiteY1" fmla="*/ 257442 h 257442"/>
                <a:gd name="connsiteX2" fmla="*/ 0 w 2646778"/>
                <a:gd name="connsiteY2" fmla="*/ 257442 h 257442"/>
                <a:gd name="connsiteX3" fmla="*/ 0 w 2646778"/>
                <a:gd name="connsiteY3" fmla="*/ 0 h 257442"/>
                <a:gd name="connsiteX0" fmla="*/ 2646779 w 2646779"/>
                <a:gd name="connsiteY0" fmla="*/ 0 h 257442"/>
                <a:gd name="connsiteX1" fmla="*/ 2592058 w 2646779"/>
                <a:gd name="connsiteY1" fmla="*/ 257442 h 257442"/>
                <a:gd name="connsiteX2" fmla="*/ 1 w 2646779"/>
                <a:gd name="connsiteY2" fmla="*/ 257442 h 257442"/>
                <a:gd name="connsiteX3" fmla="*/ 0 w 2646779"/>
                <a:gd name="connsiteY3" fmla="*/ 0 h 257442"/>
                <a:gd name="connsiteX0" fmla="*/ 2815094 w 2815094"/>
                <a:gd name="connsiteY0" fmla="*/ 0 h 257442"/>
                <a:gd name="connsiteX1" fmla="*/ 2592058 w 2815094"/>
                <a:gd name="connsiteY1" fmla="*/ 257442 h 257442"/>
                <a:gd name="connsiteX2" fmla="*/ 1 w 2815094"/>
                <a:gd name="connsiteY2" fmla="*/ 257442 h 257442"/>
                <a:gd name="connsiteX3" fmla="*/ 0 w 2815094"/>
                <a:gd name="connsiteY3" fmla="*/ 0 h 257442"/>
                <a:gd name="connsiteX0" fmla="*/ 2815094 w 2815094"/>
                <a:gd name="connsiteY0" fmla="*/ 0 h 257442"/>
                <a:gd name="connsiteX1" fmla="*/ 2760372 w 2815094"/>
                <a:gd name="connsiteY1" fmla="*/ 257442 h 257442"/>
                <a:gd name="connsiteX2" fmla="*/ 1 w 2815094"/>
                <a:gd name="connsiteY2" fmla="*/ 257442 h 257442"/>
                <a:gd name="connsiteX3" fmla="*/ 0 w 2815094"/>
                <a:gd name="connsiteY3" fmla="*/ 0 h 257442"/>
                <a:gd name="connsiteX0" fmla="*/ 2815094 w 2815094"/>
                <a:gd name="connsiteY0" fmla="*/ 0 h 257442"/>
                <a:gd name="connsiteX1" fmla="*/ 2760372 w 2815094"/>
                <a:gd name="connsiteY1" fmla="*/ 257442 h 257442"/>
                <a:gd name="connsiteX2" fmla="*/ 0 w 2815094"/>
                <a:gd name="connsiteY2" fmla="*/ 257442 h 257442"/>
                <a:gd name="connsiteX3" fmla="*/ 0 w 2815094"/>
                <a:gd name="connsiteY3" fmla="*/ 0 h 257442"/>
                <a:gd name="connsiteX0" fmla="*/ 2815094 w 2815094"/>
                <a:gd name="connsiteY0" fmla="*/ 0 h 257442"/>
                <a:gd name="connsiteX1" fmla="*/ 2760372 w 2815094"/>
                <a:gd name="connsiteY1" fmla="*/ 257442 h 257442"/>
                <a:gd name="connsiteX2" fmla="*/ 0 w 2815094"/>
                <a:gd name="connsiteY2" fmla="*/ 257442 h 257442"/>
                <a:gd name="connsiteX3" fmla="*/ 0 w 2815094"/>
                <a:gd name="connsiteY3" fmla="*/ 0 h 257442"/>
                <a:gd name="connsiteX0" fmla="*/ 3076383 w 3076383"/>
                <a:gd name="connsiteY0" fmla="*/ 0 h 257442"/>
                <a:gd name="connsiteX1" fmla="*/ 276037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236683 w 3236683"/>
                <a:gd name="connsiteY0" fmla="*/ 0 h 257442"/>
                <a:gd name="connsiteX1" fmla="*/ 3021662 w 3236683"/>
                <a:gd name="connsiteY1" fmla="*/ 257442 h 257442"/>
                <a:gd name="connsiteX2" fmla="*/ 0 w 3236683"/>
                <a:gd name="connsiteY2" fmla="*/ 257442 h 257442"/>
                <a:gd name="connsiteX3" fmla="*/ 0 w 3236683"/>
                <a:gd name="connsiteY3" fmla="*/ 0 h 257442"/>
                <a:gd name="connsiteX0" fmla="*/ 3236683 w 3236683"/>
                <a:gd name="connsiteY0" fmla="*/ 0 h 257442"/>
                <a:gd name="connsiteX1" fmla="*/ 3181962 w 3236683"/>
                <a:gd name="connsiteY1" fmla="*/ 257442 h 257442"/>
                <a:gd name="connsiteX2" fmla="*/ 0 w 3236683"/>
                <a:gd name="connsiteY2" fmla="*/ 257442 h 257442"/>
                <a:gd name="connsiteX3" fmla="*/ 0 w 3236683"/>
                <a:gd name="connsiteY3" fmla="*/ 0 h 257442"/>
                <a:gd name="connsiteX0" fmla="*/ 3236683 w 3236683"/>
                <a:gd name="connsiteY0" fmla="*/ 0 h 257442"/>
                <a:gd name="connsiteX1" fmla="*/ 3181962 w 3236683"/>
                <a:gd name="connsiteY1" fmla="*/ 257442 h 257442"/>
                <a:gd name="connsiteX2" fmla="*/ 0 w 3236683"/>
                <a:gd name="connsiteY2" fmla="*/ 257442 h 257442"/>
                <a:gd name="connsiteX3" fmla="*/ 0 w 3236683"/>
                <a:gd name="connsiteY3" fmla="*/ 0 h 257442"/>
                <a:gd name="connsiteX0" fmla="*/ 3236683 w 3236683"/>
                <a:gd name="connsiteY0" fmla="*/ 0 h 257442"/>
                <a:gd name="connsiteX1" fmla="*/ 3181962 w 3236683"/>
                <a:gd name="connsiteY1" fmla="*/ 257442 h 257442"/>
                <a:gd name="connsiteX2" fmla="*/ 0 w 3236683"/>
                <a:gd name="connsiteY2" fmla="*/ 257442 h 257442"/>
                <a:gd name="connsiteX3" fmla="*/ 0 w 3236683"/>
                <a:gd name="connsiteY3" fmla="*/ 0 h 257442"/>
                <a:gd name="connsiteX0" fmla="*/ 3404998 w 3404998"/>
                <a:gd name="connsiteY0" fmla="*/ 0 h 257442"/>
                <a:gd name="connsiteX1" fmla="*/ 3181962 w 3404998"/>
                <a:gd name="connsiteY1" fmla="*/ 257442 h 257442"/>
                <a:gd name="connsiteX2" fmla="*/ 0 w 3404998"/>
                <a:gd name="connsiteY2" fmla="*/ 257442 h 257442"/>
                <a:gd name="connsiteX3" fmla="*/ 0 w 3404998"/>
                <a:gd name="connsiteY3" fmla="*/ 0 h 257442"/>
                <a:gd name="connsiteX0" fmla="*/ 3404998 w 3404998"/>
                <a:gd name="connsiteY0" fmla="*/ 0 h 257442"/>
                <a:gd name="connsiteX1" fmla="*/ 3350276 w 3404998"/>
                <a:gd name="connsiteY1" fmla="*/ 257442 h 257442"/>
                <a:gd name="connsiteX2" fmla="*/ 0 w 3404998"/>
                <a:gd name="connsiteY2" fmla="*/ 257442 h 257442"/>
                <a:gd name="connsiteX3" fmla="*/ 0 w 3404998"/>
                <a:gd name="connsiteY3" fmla="*/ 0 h 257442"/>
                <a:gd name="connsiteX0" fmla="*/ 3404999 w 3404999"/>
                <a:gd name="connsiteY0" fmla="*/ 0 h 257442"/>
                <a:gd name="connsiteX1" fmla="*/ 3350277 w 3404999"/>
                <a:gd name="connsiteY1" fmla="*/ 257442 h 257442"/>
                <a:gd name="connsiteX2" fmla="*/ 0 w 3404999"/>
                <a:gd name="connsiteY2" fmla="*/ 257442 h 257442"/>
                <a:gd name="connsiteX3" fmla="*/ 1 w 3404999"/>
                <a:gd name="connsiteY3" fmla="*/ 0 h 257442"/>
                <a:gd name="connsiteX0" fmla="*/ 3404999 w 3404999"/>
                <a:gd name="connsiteY0" fmla="*/ 0 h 257442"/>
                <a:gd name="connsiteX1" fmla="*/ 3350277 w 3404999"/>
                <a:gd name="connsiteY1" fmla="*/ 257442 h 257442"/>
                <a:gd name="connsiteX2" fmla="*/ 0 w 3404999"/>
                <a:gd name="connsiteY2" fmla="*/ 257442 h 257442"/>
                <a:gd name="connsiteX3" fmla="*/ 1 w 3404999"/>
                <a:gd name="connsiteY3" fmla="*/ 0 h 257442"/>
                <a:gd name="connsiteX0" fmla="*/ 3565299 w 3565299"/>
                <a:gd name="connsiteY0" fmla="*/ 0 h 257442"/>
                <a:gd name="connsiteX1" fmla="*/ 3350277 w 3565299"/>
                <a:gd name="connsiteY1" fmla="*/ 257442 h 257442"/>
                <a:gd name="connsiteX2" fmla="*/ 0 w 3565299"/>
                <a:gd name="connsiteY2" fmla="*/ 257442 h 257442"/>
                <a:gd name="connsiteX3" fmla="*/ 1 w 3565299"/>
                <a:gd name="connsiteY3" fmla="*/ 0 h 257442"/>
                <a:gd name="connsiteX0" fmla="*/ 3565299 w 3565299"/>
                <a:gd name="connsiteY0" fmla="*/ 0 h 257442"/>
                <a:gd name="connsiteX1" fmla="*/ 3510578 w 3565299"/>
                <a:gd name="connsiteY1" fmla="*/ 257442 h 257442"/>
                <a:gd name="connsiteX2" fmla="*/ 0 w 3565299"/>
                <a:gd name="connsiteY2" fmla="*/ 257442 h 257442"/>
                <a:gd name="connsiteX3" fmla="*/ 1 w 3565299"/>
                <a:gd name="connsiteY3" fmla="*/ 0 h 257442"/>
                <a:gd name="connsiteX0" fmla="*/ 3565298 w 3565298"/>
                <a:gd name="connsiteY0" fmla="*/ 0 h 257442"/>
                <a:gd name="connsiteX1" fmla="*/ 3510577 w 3565298"/>
                <a:gd name="connsiteY1" fmla="*/ 257442 h 257442"/>
                <a:gd name="connsiteX2" fmla="*/ 0 w 3565298"/>
                <a:gd name="connsiteY2" fmla="*/ 257442 h 257442"/>
                <a:gd name="connsiteX3" fmla="*/ 0 w 3565298"/>
                <a:gd name="connsiteY3" fmla="*/ 0 h 257442"/>
                <a:gd name="connsiteX0" fmla="*/ 3565299 w 3565299"/>
                <a:gd name="connsiteY0" fmla="*/ 0 h 257442"/>
                <a:gd name="connsiteX1" fmla="*/ 3510578 w 3565299"/>
                <a:gd name="connsiteY1" fmla="*/ 257442 h 257442"/>
                <a:gd name="connsiteX2" fmla="*/ 1 w 3565299"/>
                <a:gd name="connsiteY2" fmla="*/ 257442 h 257442"/>
                <a:gd name="connsiteX3" fmla="*/ 0 w 3565299"/>
                <a:gd name="connsiteY3" fmla="*/ 0 h 257442"/>
                <a:gd name="connsiteX0" fmla="*/ 968435 w 3510578"/>
                <a:gd name="connsiteY0" fmla="*/ 0 h 257442"/>
                <a:gd name="connsiteX1" fmla="*/ 3510578 w 3510578"/>
                <a:gd name="connsiteY1" fmla="*/ 257442 h 257442"/>
                <a:gd name="connsiteX2" fmla="*/ 1 w 3510578"/>
                <a:gd name="connsiteY2" fmla="*/ 257442 h 257442"/>
                <a:gd name="connsiteX3" fmla="*/ 0 w 3510578"/>
                <a:gd name="connsiteY3" fmla="*/ 0 h 257442"/>
                <a:gd name="connsiteX0" fmla="*/ 968435 w 968435"/>
                <a:gd name="connsiteY0" fmla="*/ 0 h 257442"/>
                <a:gd name="connsiteX1" fmla="*/ 913714 w 968435"/>
                <a:gd name="connsiteY1" fmla="*/ 257442 h 257442"/>
                <a:gd name="connsiteX2" fmla="*/ 1 w 968435"/>
                <a:gd name="connsiteY2" fmla="*/ 257442 h 257442"/>
                <a:gd name="connsiteX3" fmla="*/ 0 w 968435"/>
                <a:gd name="connsiteY3" fmla="*/ 0 h 257442"/>
                <a:gd name="connsiteX0" fmla="*/ 968435 w 968435"/>
                <a:gd name="connsiteY0" fmla="*/ 0 h 257442"/>
                <a:gd name="connsiteX1" fmla="*/ 913714 w 968435"/>
                <a:gd name="connsiteY1" fmla="*/ 257442 h 257442"/>
                <a:gd name="connsiteX2" fmla="*/ 2 w 968435"/>
                <a:gd name="connsiteY2" fmla="*/ 257442 h 257442"/>
                <a:gd name="connsiteX3" fmla="*/ 0 w 968435"/>
                <a:gd name="connsiteY3" fmla="*/ 0 h 257442"/>
                <a:gd name="connsiteX0" fmla="*/ 968433 w 968433"/>
                <a:gd name="connsiteY0" fmla="*/ 0 h 257442"/>
                <a:gd name="connsiteX1" fmla="*/ 913712 w 968433"/>
                <a:gd name="connsiteY1" fmla="*/ 257442 h 257442"/>
                <a:gd name="connsiteX2" fmla="*/ 0 w 968433"/>
                <a:gd name="connsiteY2" fmla="*/ 257442 h 257442"/>
                <a:gd name="connsiteX3" fmla="*/ 0 w 968433"/>
                <a:gd name="connsiteY3" fmla="*/ 0 h 257442"/>
                <a:gd name="connsiteX0" fmla="*/ 1136749 w 1136749"/>
                <a:gd name="connsiteY0" fmla="*/ 0 h 257442"/>
                <a:gd name="connsiteX1" fmla="*/ 913712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305064 w 1305064"/>
                <a:gd name="connsiteY0" fmla="*/ 0 h 257442"/>
                <a:gd name="connsiteX1" fmla="*/ 1082028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305064 w 1305064"/>
                <a:gd name="connsiteY0" fmla="*/ 0 h 257442"/>
                <a:gd name="connsiteX1" fmla="*/ 1250342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305065 w 1305065"/>
                <a:gd name="connsiteY0" fmla="*/ 0 h 257442"/>
                <a:gd name="connsiteX1" fmla="*/ 1250343 w 1305065"/>
                <a:gd name="connsiteY1" fmla="*/ 257442 h 257442"/>
                <a:gd name="connsiteX2" fmla="*/ 0 w 1305065"/>
                <a:gd name="connsiteY2" fmla="*/ 257442 h 257442"/>
                <a:gd name="connsiteX3" fmla="*/ 1 w 1305065"/>
                <a:gd name="connsiteY3" fmla="*/ 0 h 257442"/>
                <a:gd name="connsiteX0" fmla="*/ 1305065 w 1305065"/>
                <a:gd name="connsiteY0" fmla="*/ 0 h 257442"/>
                <a:gd name="connsiteX1" fmla="*/ 1250343 w 1305065"/>
                <a:gd name="connsiteY1" fmla="*/ 257442 h 257442"/>
                <a:gd name="connsiteX2" fmla="*/ 0 w 1305065"/>
                <a:gd name="connsiteY2" fmla="*/ 257442 h 257442"/>
                <a:gd name="connsiteX3" fmla="*/ 1 w 1305065"/>
                <a:gd name="connsiteY3" fmla="*/ 0 h 257442"/>
                <a:gd name="connsiteX0" fmla="*/ 1473381 w 1473381"/>
                <a:gd name="connsiteY0" fmla="*/ 0 h 257442"/>
                <a:gd name="connsiteX1" fmla="*/ 1250343 w 1473381"/>
                <a:gd name="connsiteY1" fmla="*/ 257442 h 257442"/>
                <a:gd name="connsiteX2" fmla="*/ 0 w 1473381"/>
                <a:gd name="connsiteY2" fmla="*/ 257442 h 257442"/>
                <a:gd name="connsiteX3" fmla="*/ 1 w 1473381"/>
                <a:gd name="connsiteY3" fmla="*/ 0 h 257442"/>
                <a:gd name="connsiteX0" fmla="*/ 1473381 w 1473381"/>
                <a:gd name="connsiteY0" fmla="*/ 0 h 257442"/>
                <a:gd name="connsiteX1" fmla="*/ 1418660 w 1473381"/>
                <a:gd name="connsiteY1" fmla="*/ 257442 h 257442"/>
                <a:gd name="connsiteX2" fmla="*/ 0 w 1473381"/>
                <a:gd name="connsiteY2" fmla="*/ 257442 h 257442"/>
                <a:gd name="connsiteX3" fmla="*/ 1 w 1473381"/>
                <a:gd name="connsiteY3" fmla="*/ 0 h 257442"/>
                <a:gd name="connsiteX0" fmla="*/ 1473380 w 1473380"/>
                <a:gd name="connsiteY0" fmla="*/ 0 h 257442"/>
                <a:gd name="connsiteX1" fmla="*/ 1418659 w 1473380"/>
                <a:gd name="connsiteY1" fmla="*/ 257442 h 257442"/>
                <a:gd name="connsiteX2" fmla="*/ 0 w 1473380"/>
                <a:gd name="connsiteY2" fmla="*/ 257442 h 257442"/>
                <a:gd name="connsiteX3" fmla="*/ 0 w 1473380"/>
                <a:gd name="connsiteY3" fmla="*/ 0 h 257442"/>
                <a:gd name="connsiteX0" fmla="*/ 1473381 w 1473381"/>
                <a:gd name="connsiteY0" fmla="*/ 0 h 257442"/>
                <a:gd name="connsiteX1" fmla="*/ 1418660 w 1473381"/>
                <a:gd name="connsiteY1" fmla="*/ 257442 h 257442"/>
                <a:gd name="connsiteX2" fmla="*/ 1 w 1473381"/>
                <a:gd name="connsiteY2" fmla="*/ 257442 h 257442"/>
                <a:gd name="connsiteX3" fmla="*/ 0 w 1473381"/>
                <a:gd name="connsiteY3" fmla="*/ 0 h 257442"/>
                <a:gd name="connsiteX0" fmla="*/ 1633681 w 1633681"/>
                <a:gd name="connsiteY0" fmla="*/ 0 h 257442"/>
                <a:gd name="connsiteX1" fmla="*/ 1418660 w 1633681"/>
                <a:gd name="connsiteY1" fmla="*/ 257442 h 257442"/>
                <a:gd name="connsiteX2" fmla="*/ 1 w 1633681"/>
                <a:gd name="connsiteY2" fmla="*/ 257442 h 257442"/>
                <a:gd name="connsiteX3" fmla="*/ 0 w 1633681"/>
                <a:gd name="connsiteY3" fmla="*/ 0 h 257442"/>
                <a:gd name="connsiteX0" fmla="*/ 1633681 w 1633681"/>
                <a:gd name="connsiteY0" fmla="*/ 0 h 257442"/>
                <a:gd name="connsiteX1" fmla="*/ 1578960 w 1633681"/>
                <a:gd name="connsiteY1" fmla="*/ 257442 h 257442"/>
                <a:gd name="connsiteX2" fmla="*/ 1 w 1633681"/>
                <a:gd name="connsiteY2" fmla="*/ 257442 h 257442"/>
                <a:gd name="connsiteX3" fmla="*/ 0 w 1633681"/>
                <a:gd name="connsiteY3" fmla="*/ 0 h 257442"/>
                <a:gd name="connsiteX0" fmla="*/ 1633681 w 1633681"/>
                <a:gd name="connsiteY0" fmla="*/ 0 h 257442"/>
                <a:gd name="connsiteX1" fmla="*/ 1578960 w 1633681"/>
                <a:gd name="connsiteY1" fmla="*/ 257442 h 257442"/>
                <a:gd name="connsiteX2" fmla="*/ 1 w 1633681"/>
                <a:gd name="connsiteY2" fmla="*/ 257442 h 257442"/>
                <a:gd name="connsiteX3" fmla="*/ 0 w 1633681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0 w 1633680"/>
                <a:gd name="connsiteY3" fmla="*/ 0 h 257442"/>
                <a:gd name="connsiteX0" fmla="*/ 1886954 w 1886954"/>
                <a:gd name="connsiteY0" fmla="*/ 0 h 257442"/>
                <a:gd name="connsiteX1" fmla="*/ 1578959 w 1886954"/>
                <a:gd name="connsiteY1" fmla="*/ 257442 h 257442"/>
                <a:gd name="connsiteX2" fmla="*/ 0 w 1886954"/>
                <a:gd name="connsiteY2" fmla="*/ 257442 h 257442"/>
                <a:gd name="connsiteX3" fmla="*/ 0 w 1886954"/>
                <a:gd name="connsiteY3" fmla="*/ 0 h 257442"/>
                <a:gd name="connsiteX0" fmla="*/ 1886954 w 1886954"/>
                <a:gd name="connsiteY0" fmla="*/ 0 h 257442"/>
                <a:gd name="connsiteX1" fmla="*/ 1832233 w 1886954"/>
                <a:gd name="connsiteY1" fmla="*/ 257442 h 257442"/>
                <a:gd name="connsiteX2" fmla="*/ 0 w 1886954"/>
                <a:gd name="connsiteY2" fmla="*/ 257442 h 257442"/>
                <a:gd name="connsiteX3" fmla="*/ 0 w 1886954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1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1 w 1886955"/>
                <a:gd name="connsiteY3" fmla="*/ 0 h 257442"/>
                <a:gd name="connsiteX0" fmla="*/ 2055271 w 2055271"/>
                <a:gd name="connsiteY0" fmla="*/ 0 h 257442"/>
                <a:gd name="connsiteX1" fmla="*/ 1832234 w 2055271"/>
                <a:gd name="connsiteY1" fmla="*/ 257442 h 257442"/>
                <a:gd name="connsiteX2" fmla="*/ 0 w 2055271"/>
                <a:gd name="connsiteY2" fmla="*/ 257442 h 257442"/>
                <a:gd name="connsiteX3" fmla="*/ 1 w 2055271"/>
                <a:gd name="connsiteY3" fmla="*/ 0 h 257442"/>
                <a:gd name="connsiteX0" fmla="*/ 2055271 w 2055271"/>
                <a:gd name="connsiteY0" fmla="*/ 0 h 257442"/>
                <a:gd name="connsiteX1" fmla="*/ 2000550 w 2055271"/>
                <a:gd name="connsiteY1" fmla="*/ 257442 h 257442"/>
                <a:gd name="connsiteX2" fmla="*/ 0 w 2055271"/>
                <a:gd name="connsiteY2" fmla="*/ 257442 h 257442"/>
                <a:gd name="connsiteX3" fmla="*/ 1 w 2055271"/>
                <a:gd name="connsiteY3" fmla="*/ 0 h 257442"/>
                <a:gd name="connsiteX0" fmla="*/ 2055270 w 2055270"/>
                <a:gd name="connsiteY0" fmla="*/ 0 h 257442"/>
                <a:gd name="connsiteX1" fmla="*/ 2000549 w 2055270"/>
                <a:gd name="connsiteY1" fmla="*/ 257442 h 257442"/>
                <a:gd name="connsiteX2" fmla="*/ 0 w 2055270"/>
                <a:gd name="connsiteY2" fmla="*/ 257442 h 257442"/>
                <a:gd name="connsiteX3" fmla="*/ 0 w 2055270"/>
                <a:gd name="connsiteY3" fmla="*/ 0 h 257442"/>
                <a:gd name="connsiteX0" fmla="*/ 2055271 w 2055271"/>
                <a:gd name="connsiteY0" fmla="*/ 0 h 257442"/>
                <a:gd name="connsiteX1" fmla="*/ 2000550 w 2055271"/>
                <a:gd name="connsiteY1" fmla="*/ 257442 h 257442"/>
                <a:gd name="connsiteX2" fmla="*/ 1 w 2055271"/>
                <a:gd name="connsiteY2" fmla="*/ 257442 h 257442"/>
                <a:gd name="connsiteX3" fmla="*/ 0 w 2055271"/>
                <a:gd name="connsiteY3" fmla="*/ 0 h 257442"/>
                <a:gd name="connsiteX0" fmla="*/ 2223586 w 2223586"/>
                <a:gd name="connsiteY0" fmla="*/ 0 h 257442"/>
                <a:gd name="connsiteX1" fmla="*/ 2000550 w 2223586"/>
                <a:gd name="connsiteY1" fmla="*/ 257442 h 257442"/>
                <a:gd name="connsiteX2" fmla="*/ 1 w 2223586"/>
                <a:gd name="connsiteY2" fmla="*/ 257442 h 257442"/>
                <a:gd name="connsiteX3" fmla="*/ 0 w 2223586"/>
                <a:gd name="connsiteY3" fmla="*/ 0 h 257442"/>
                <a:gd name="connsiteX0" fmla="*/ 2223586 w 2223586"/>
                <a:gd name="connsiteY0" fmla="*/ 0 h 257442"/>
                <a:gd name="connsiteX1" fmla="*/ 2168864 w 2223586"/>
                <a:gd name="connsiteY1" fmla="*/ 257442 h 257442"/>
                <a:gd name="connsiteX2" fmla="*/ 1 w 2223586"/>
                <a:gd name="connsiteY2" fmla="*/ 257442 h 257442"/>
                <a:gd name="connsiteX3" fmla="*/ 0 w 2223586"/>
                <a:gd name="connsiteY3" fmla="*/ 0 h 257442"/>
                <a:gd name="connsiteX0" fmla="*/ 2223586 w 2223586"/>
                <a:gd name="connsiteY0" fmla="*/ 0 h 257442"/>
                <a:gd name="connsiteX1" fmla="*/ 2168864 w 2223586"/>
                <a:gd name="connsiteY1" fmla="*/ 257442 h 257442"/>
                <a:gd name="connsiteX2" fmla="*/ 0 w 2223586"/>
                <a:gd name="connsiteY2" fmla="*/ 257442 h 257442"/>
                <a:gd name="connsiteX3" fmla="*/ 0 w 2223586"/>
                <a:gd name="connsiteY3" fmla="*/ 0 h 257442"/>
                <a:gd name="connsiteX0" fmla="*/ 2223586 w 2223586"/>
                <a:gd name="connsiteY0" fmla="*/ 0 h 257442"/>
                <a:gd name="connsiteX1" fmla="*/ 2168864 w 2223586"/>
                <a:gd name="connsiteY1" fmla="*/ 257442 h 257442"/>
                <a:gd name="connsiteX2" fmla="*/ 0 w 2223586"/>
                <a:gd name="connsiteY2" fmla="*/ 257442 h 257442"/>
                <a:gd name="connsiteX3" fmla="*/ 0 w 2223586"/>
                <a:gd name="connsiteY3" fmla="*/ 0 h 257442"/>
                <a:gd name="connsiteX0" fmla="*/ 2484874 w 2484874"/>
                <a:gd name="connsiteY0" fmla="*/ 0 h 257442"/>
                <a:gd name="connsiteX1" fmla="*/ 2168864 w 2484874"/>
                <a:gd name="connsiteY1" fmla="*/ 257442 h 257442"/>
                <a:gd name="connsiteX2" fmla="*/ 0 w 2484874"/>
                <a:gd name="connsiteY2" fmla="*/ 257442 h 257442"/>
                <a:gd name="connsiteX3" fmla="*/ 0 w 2484874"/>
                <a:gd name="connsiteY3" fmla="*/ 0 h 257442"/>
                <a:gd name="connsiteX0" fmla="*/ 2484874 w 2484874"/>
                <a:gd name="connsiteY0" fmla="*/ 0 h 257442"/>
                <a:gd name="connsiteX1" fmla="*/ 2430153 w 2484874"/>
                <a:gd name="connsiteY1" fmla="*/ 257442 h 257442"/>
                <a:gd name="connsiteX2" fmla="*/ 0 w 2484874"/>
                <a:gd name="connsiteY2" fmla="*/ 257442 h 257442"/>
                <a:gd name="connsiteX3" fmla="*/ 0 w 2484874"/>
                <a:gd name="connsiteY3" fmla="*/ 0 h 257442"/>
                <a:gd name="connsiteX0" fmla="*/ 2484874 w 2484874"/>
                <a:gd name="connsiteY0" fmla="*/ 0 h 257442"/>
                <a:gd name="connsiteX1" fmla="*/ 2430153 w 2484874"/>
                <a:gd name="connsiteY1" fmla="*/ 257442 h 257442"/>
                <a:gd name="connsiteX2" fmla="*/ 0 w 2484874"/>
                <a:gd name="connsiteY2" fmla="*/ 257442 h 257442"/>
                <a:gd name="connsiteX3" fmla="*/ 0 w 2484874"/>
                <a:gd name="connsiteY3" fmla="*/ 0 h 257442"/>
                <a:gd name="connsiteX0" fmla="*/ 2484874 w 2484874"/>
                <a:gd name="connsiteY0" fmla="*/ 0 h 257442"/>
                <a:gd name="connsiteX1" fmla="*/ 2430153 w 2484874"/>
                <a:gd name="connsiteY1" fmla="*/ 257442 h 257442"/>
                <a:gd name="connsiteX2" fmla="*/ 0 w 2484874"/>
                <a:gd name="connsiteY2" fmla="*/ 257442 h 257442"/>
                <a:gd name="connsiteX3" fmla="*/ 0 w 2484874"/>
                <a:gd name="connsiteY3" fmla="*/ 0 h 257442"/>
                <a:gd name="connsiteX0" fmla="*/ 2645175 w 2645175"/>
                <a:gd name="connsiteY0" fmla="*/ 0 h 257442"/>
                <a:gd name="connsiteX1" fmla="*/ 2430153 w 2645175"/>
                <a:gd name="connsiteY1" fmla="*/ 257442 h 257442"/>
                <a:gd name="connsiteX2" fmla="*/ 0 w 2645175"/>
                <a:gd name="connsiteY2" fmla="*/ 257442 h 257442"/>
                <a:gd name="connsiteX3" fmla="*/ 0 w 2645175"/>
                <a:gd name="connsiteY3" fmla="*/ 0 h 257442"/>
                <a:gd name="connsiteX0" fmla="*/ 2645175 w 2645175"/>
                <a:gd name="connsiteY0" fmla="*/ 0 h 257442"/>
                <a:gd name="connsiteX1" fmla="*/ 2590454 w 2645175"/>
                <a:gd name="connsiteY1" fmla="*/ 257442 h 257442"/>
                <a:gd name="connsiteX2" fmla="*/ 0 w 2645175"/>
                <a:gd name="connsiteY2" fmla="*/ 257442 h 257442"/>
                <a:gd name="connsiteX3" fmla="*/ 0 w 2645175"/>
                <a:gd name="connsiteY3" fmla="*/ 0 h 257442"/>
                <a:gd name="connsiteX0" fmla="*/ 2645175 w 2645175"/>
                <a:gd name="connsiteY0" fmla="*/ 0 h 257442"/>
                <a:gd name="connsiteX1" fmla="*/ 2590454 w 2645175"/>
                <a:gd name="connsiteY1" fmla="*/ 257442 h 257442"/>
                <a:gd name="connsiteX2" fmla="*/ 0 w 2645175"/>
                <a:gd name="connsiteY2" fmla="*/ 257442 h 257442"/>
                <a:gd name="connsiteX3" fmla="*/ 0 w 2645175"/>
                <a:gd name="connsiteY3" fmla="*/ 0 h 257442"/>
                <a:gd name="connsiteX0" fmla="*/ 2645175 w 2645175"/>
                <a:gd name="connsiteY0" fmla="*/ 0 h 257442"/>
                <a:gd name="connsiteX1" fmla="*/ 2590454 w 2645175"/>
                <a:gd name="connsiteY1" fmla="*/ 257442 h 257442"/>
                <a:gd name="connsiteX2" fmla="*/ 0 w 2645175"/>
                <a:gd name="connsiteY2" fmla="*/ 257442 h 257442"/>
                <a:gd name="connsiteX3" fmla="*/ 0 w 2645175"/>
                <a:gd name="connsiteY3" fmla="*/ 0 h 257442"/>
                <a:gd name="connsiteX0" fmla="*/ 2813491 w 2813491"/>
                <a:gd name="connsiteY0" fmla="*/ 0 h 257442"/>
                <a:gd name="connsiteX1" fmla="*/ 2590454 w 2813491"/>
                <a:gd name="connsiteY1" fmla="*/ 257442 h 257442"/>
                <a:gd name="connsiteX2" fmla="*/ 0 w 2813491"/>
                <a:gd name="connsiteY2" fmla="*/ 257442 h 257442"/>
                <a:gd name="connsiteX3" fmla="*/ 0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0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0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0 w 2813491"/>
                <a:gd name="connsiteY3" fmla="*/ 0 h 257442"/>
                <a:gd name="connsiteX0" fmla="*/ 2973791 w 2973791"/>
                <a:gd name="connsiteY0" fmla="*/ 0 h 257442"/>
                <a:gd name="connsiteX1" fmla="*/ 2758770 w 2973791"/>
                <a:gd name="connsiteY1" fmla="*/ 257442 h 257442"/>
                <a:gd name="connsiteX2" fmla="*/ 0 w 2973791"/>
                <a:gd name="connsiteY2" fmla="*/ 257442 h 257442"/>
                <a:gd name="connsiteX3" fmla="*/ 0 w 2973791"/>
                <a:gd name="connsiteY3" fmla="*/ 0 h 257442"/>
                <a:gd name="connsiteX0" fmla="*/ 2973791 w 2973791"/>
                <a:gd name="connsiteY0" fmla="*/ 0 h 257442"/>
                <a:gd name="connsiteX1" fmla="*/ 2919070 w 2973791"/>
                <a:gd name="connsiteY1" fmla="*/ 257442 h 257442"/>
                <a:gd name="connsiteX2" fmla="*/ 0 w 2973791"/>
                <a:gd name="connsiteY2" fmla="*/ 257442 h 257442"/>
                <a:gd name="connsiteX3" fmla="*/ 0 w 2973791"/>
                <a:gd name="connsiteY3" fmla="*/ 0 h 257442"/>
                <a:gd name="connsiteX0" fmla="*/ 2973791 w 2973791"/>
                <a:gd name="connsiteY0" fmla="*/ 0 h 257442"/>
                <a:gd name="connsiteX1" fmla="*/ 2919070 w 2973791"/>
                <a:gd name="connsiteY1" fmla="*/ 257442 h 257442"/>
                <a:gd name="connsiteX2" fmla="*/ 0 w 2973791"/>
                <a:gd name="connsiteY2" fmla="*/ 257442 h 257442"/>
                <a:gd name="connsiteX3" fmla="*/ 0 w 2973791"/>
                <a:gd name="connsiteY3" fmla="*/ 0 h 257442"/>
                <a:gd name="connsiteX0" fmla="*/ 2973791 w 2973791"/>
                <a:gd name="connsiteY0" fmla="*/ 0 h 257442"/>
                <a:gd name="connsiteX1" fmla="*/ 2919070 w 2973791"/>
                <a:gd name="connsiteY1" fmla="*/ 257442 h 257442"/>
                <a:gd name="connsiteX2" fmla="*/ 0 w 2973791"/>
                <a:gd name="connsiteY2" fmla="*/ 257442 h 257442"/>
                <a:gd name="connsiteX3" fmla="*/ 0 w 2973791"/>
                <a:gd name="connsiteY3" fmla="*/ 0 h 257442"/>
                <a:gd name="connsiteX0" fmla="*/ 942786 w 2919070"/>
                <a:gd name="connsiteY0" fmla="*/ 0 h 257442"/>
                <a:gd name="connsiteX1" fmla="*/ 2919070 w 2919070"/>
                <a:gd name="connsiteY1" fmla="*/ 257442 h 257442"/>
                <a:gd name="connsiteX2" fmla="*/ 0 w 2919070"/>
                <a:gd name="connsiteY2" fmla="*/ 257442 h 257442"/>
                <a:gd name="connsiteX3" fmla="*/ 0 w 2919070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1111101 w 1111101"/>
                <a:gd name="connsiteY0" fmla="*/ 0 h 257442"/>
                <a:gd name="connsiteX1" fmla="*/ 888065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89034 w 1289034"/>
                <a:gd name="connsiteY0" fmla="*/ 0 h 257442"/>
                <a:gd name="connsiteX1" fmla="*/ 1056380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4 w 1289034"/>
                <a:gd name="connsiteY0" fmla="*/ 0 h 257442"/>
                <a:gd name="connsiteX1" fmla="*/ 1234312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1 w 1289035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1 w 1289035"/>
                <a:gd name="connsiteY3" fmla="*/ 0 h 257442"/>
                <a:gd name="connsiteX0" fmla="*/ 1457351 w 1457351"/>
                <a:gd name="connsiteY0" fmla="*/ 0 h 257442"/>
                <a:gd name="connsiteX1" fmla="*/ 1234313 w 1457351"/>
                <a:gd name="connsiteY1" fmla="*/ 257442 h 257442"/>
                <a:gd name="connsiteX2" fmla="*/ 0 w 1457351"/>
                <a:gd name="connsiteY2" fmla="*/ 257442 h 257442"/>
                <a:gd name="connsiteX3" fmla="*/ 1 w 1457351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0 w 1457351"/>
                <a:gd name="connsiteY2" fmla="*/ 257442 h 257442"/>
                <a:gd name="connsiteX3" fmla="*/ 1 w 1457351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1 w 1457351"/>
                <a:gd name="connsiteY2" fmla="*/ 257442 h 257442"/>
                <a:gd name="connsiteX3" fmla="*/ 0 w 1457351"/>
                <a:gd name="connsiteY3" fmla="*/ 0 h 257442"/>
                <a:gd name="connsiteX0" fmla="*/ 1710626 w 1710626"/>
                <a:gd name="connsiteY0" fmla="*/ 0 h 257442"/>
                <a:gd name="connsiteX1" fmla="*/ 1402630 w 1710626"/>
                <a:gd name="connsiteY1" fmla="*/ 257442 h 257442"/>
                <a:gd name="connsiteX2" fmla="*/ 1 w 1710626"/>
                <a:gd name="connsiteY2" fmla="*/ 257442 h 257442"/>
                <a:gd name="connsiteX3" fmla="*/ 0 w 1710626"/>
                <a:gd name="connsiteY3" fmla="*/ 0 h 257442"/>
                <a:gd name="connsiteX0" fmla="*/ 1710626 w 1710626"/>
                <a:gd name="connsiteY0" fmla="*/ 0 h 257442"/>
                <a:gd name="connsiteX1" fmla="*/ 1655904 w 1710626"/>
                <a:gd name="connsiteY1" fmla="*/ 257442 h 257442"/>
                <a:gd name="connsiteX2" fmla="*/ 1 w 1710626"/>
                <a:gd name="connsiteY2" fmla="*/ 257442 h 257442"/>
                <a:gd name="connsiteX3" fmla="*/ 0 w 1710626"/>
                <a:gd name="connsiteY3" fmla="*/ 0 h 257442"/>
                <a:gd name="connsiteX0" fmla="*/ 1710626 w 1710626"/>
                <a:gd name="connsiteY0" fmla="*/ 0 h 257442"/>
                <a:gd name="connsiteX1" fmla="*/ 1655904 w 1710626"/>
                <a:gd name="connsiteY1" fmla="*/ 257442 h 257442"/>
                <a:gd name="connsiteX2" fmla="*/ 0 w 1710626"/>
                <a:gd name="connsiteY2" fmla="*/ 257442 h 257442"/>
                <a:gd name="connsiteX3" fmla="*/ 0 w 1710626"/>
                <a:gd name="connsiteY3" fmla="*/ 0 h 257442"/>
                <a:gd name="connsiteX0" fmla="*/ 1710626 w 1710626"/>
                <a:gd name="connsiteY0" fmla="*/ 0 h 257442"/>
                <a:gd name="connsiteX1" fmla="*/ 1655904 w 1710626"/>
                <a:gd name="connsiteY1" fmla="*/ 257442 h 257442"/>
                <a:gd name="connsiteX2" fmla="*/ 0 w 1710626"/>
                <a:gd name="connsiteY2" fmla="*/ 257442 h 257442"/>
                <a:gd name="connsiteX3" fmla="*/ 0 w 1710626"/>
                <a:gd name="connsiteY3" fmla="*/ 0 h 257442"/>
                <a:gd name="connsiteX0" fmla="*/ 2023210 w 2023210"/>
                <a:gd name="connsiteY0" fmla="*/ 0 h 257442"/>
                <a:gd name="connsiteX1" fmla="*/ 1655904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023210 w 2023210"/>
                <a:gd name="connsiteY0" fmla="*/ 0 h 257442"/>
                <a:gd name="connsiteX1" fmla="*/ 1968489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023210 w 2023210"/>
                <a:gd name="connsiteY0" fmla="*/ 0 h 257442"/>
                <a:gd name="connsiteX1" fmla="*/ 1968489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023210 w 2023210"/>
                <a:gd name="connsiteY0" fmla="*/ 0 h 257442"/>
                <a:gd name="connsiteX1" fmla="*/ 1968489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191525 w 2191525"/>
                <a:gd name="connsiteY0" fmla="*/ 0 h 257442"/>
                <a:gd name="connsiteX1" fmla="*/ 1968489 w 2191525"/>
                <a:gd name="connsiteY1" fmla="*/ 257442 h 257442"/>
                <a:gd name="connsiteX2" fmla="*/ 0 w 2191525"/>
                <a:gd name="connsiteY2" fmla="*/ 257442 h 257442"/>
                <a:gd name="connsiteX3" fmla="*/ 0 w 2191525"/>
                <a:gd name="connsiteY3" fmla="*/ 0 h 257442"/>
                <a:gd name="connsiteX0" fmla="*/ 2191525 w 2191525"/>
                <a:gd name="connsiteY0" fmla="*/ 0 h 257442"/>
                <a:gd name="connsiteX1" fmla="*/ 2136804 w 2191525"/>
                <a:gd name="connsiteY1" fmla="*/ 257442 h 257442"/>
                <a:gd name="connsiteX2" fmla="*/ 0 w 2191525"/>
                <a:gd name="connsiteY2" fmla="*/ 257442 h 257442"/>
                <a:gd name="connsiteX3" fmla="*/ 0 w 2191525"/>
                <a:gd name="connsiteY3" fmla="*/ 0 h 257442"/>
                <a:gd name="connsiteX0" fmla="*/ 2191525 w 2191525"/>
                <a:gd name="connsiteY0" fmla="*/ 0 h 257442"/>
                <a:gd name="connsiteX1" fmla="*/ 2136804 w 2191525"/>
                <a:gd name="connsiteY1" fmla="*/ 257442 h 257442"/>
                <a:gd name="connsiteX2" fmla="*/ 0 w 2191525"/>
                <a:gd name="connsiteY2" fmla="*/ 257442 h 257442"/>
                <a:gd name="connsiteX3" fmla="*/ 0 w 2191525"/>
                <a:gd name="connsiteY3" fmla="*/ 0 h 257442"/>
                <a:gd name="connsiteX0" fmla="*/ 2191525 w 2191525"/>
                <a:gd name="connsiteY0" fmla="*/ 0 h 257442"/>
                <a:gd name="connsiteX1" fmla="*/ 2136804 w 2191525"/>
                <a:gd name="connsiteY1" fmla="*/ 257442 h 257442"/>
                <a:gd name="connsiteX2" fmla="*/ 0 w 2191525"/>
                <a:gd name="connsiteY2" fmla="*/ 257442 h 257442"/>
                <a:gd name="connsiteX3" fmla="*/ 0 w 2191525"/>
                <a:gd name="connsiteY3" fmla="*/ 0 h 257442"/>
                <a:gd name="connsiteX0" fmla="*/ 2377474 w 2377474"/>
                <a:gd name="connsiteY0" fmla="*/ 0 h 257442"/>
                <a:gd name="connsiteX1" fmla="*/ 2136804 w 2377474"/>
                <a:gd name="connsiteY1" fmla="*/ 257442 h 257442"/>
                <a:gd name="connsiteX2" fmla="*/ 0 w 2377474"/>
                <a:gd name="connsiteY2" fmla="*/ 257442 h 257442"/>
                <a:gd name="connsiteX3" fmla="*/ 0 w 2377474"/>
                <a:gd name="connsiteY3" fmla="*/ 0 h 257442"/>
                <a:gd name="connsiteX0" fmla="*/ 2377474 w 2377474"/>
                <a:gd name="connsiteY0" fmla="*/ 0 h 257442"/>
                <a:gd name="connsiteX1" fmla="*/ 2322752 w 2377474"/>
                <a:gd name="connsiteY1" fmla="*/ 257442 h 257442"/>
                <a:gd name="connsiteX2" fmla="*/ 0 w 2377474"/>
                <a:gd name="connsiteY2" fmla="*/ 257442 h 257442"/>
                <a:gd name="connsiteX3" fmla="*/ 0 w 2377474"/>
                <a:gd name="connsiteY3" fmla="*/ 0 h 257442"/>
                <a:gd name="connsiteX0" fmla="*/ 2377475 w 2377475"/>
                <a:gd name="connsiteY0" fmla="*/ 0 h 257442"/>
                <a:gd name="connsiteX1" fmla="*/ 2322753 w 2377475"/>
                <a:gd name="connsiteY1" fmla="*/ 257442 h 257442"/>
                <a:gd name="connsiteX2" fmla="*/ 0 w 2377475"/>
                <a:gd name="connsiteY2" fmla="*/ 257442 h 257442"/>
                <a:gd name="connsiteX3" fmla="*/ 1 w 2377475"/>
                <a:gd name="connsiteY3" fmla="*/ 0 h 257442"/>
                <a:gd name="connsiteX0" fmla="*/ 2377475 w 2377475"/>
                <a:gd name="connsiteY0" fmla="*/ 0 h 257442"/>
                <a:gd name="connsiteX1" fmla="*/ 2322753 w 2377475"/>
                <a:gd name="connsiteY1" fmla="*/ 257442 h 257442"/>
                <a:gd name="connsiteX2" fmla="*/ 0 w 2377475"/>
                <a:gd name="connsiteY2" fmla="*/ 257442 h 257442"/>
                <a:gd name="connsiteX3" fmla="*/ 1 w 2377475"/>
                <a:gd name="connsiteY3" fmla="*/ 0 h 257442"/>
                <a:gd name="connsiteX0" fmla="*/ 2646779 w 2646779"/>
                <a:gd name="connsiteY0" fmla="*/ 0 h 257442"/>
                <a:gd name="connsiteX1" fmla="*/ 2322753 w 2646779"/>
                <a:gd name="connsiteY1" fmla="*/ 257442 h 257442"/>
                <a:gd name="connsiteX2" fmla="*/ 0 w 2646779"/>
                <a:gd name="connsiteY2" fmla="*/ 257442 h 257442"/>
                <a:gd name="connsiteX3" fmla="*/ 1 w 2646779"/>
                <a:gd name="connsiteY3" fmla="*/ 0 h 257442"/>
                <a:gd name="connsiteX0" fmla="*/ 2646779 w 2646779"/>
                <a:gd name="connsiteY0" fmla="*/ 0 h 257442"/>
                <a:gd name="connsiteX1" fmla="*/ 2592058 w 2646779"/>
                <a:gd name="connsiteY1" fmla="*/ 257442 h 257442"/>
                <a:gd name="connsiteX2" fmla="*/ 0 w 2646779"/>
                <a:gd name="connsiteY2" fmla="*/ 257442 h 257442"/>
                <a:gd name="connsiteX3" fmla="*/ 1 w 2646779"/>
                <a:gd name="connsiteY3" fmla="*/ 0 h 257442"/>
                <a:gd name="connsiteX0" fmla="*/ 2646778 w 2646778"/>
                <a:gd name="connsiteY0" fmla="*/ 0 h 257442"/>
                <a:gd name="connsiteX1" fmla="*/ 2592057 w 2646778"/>
                <a:gd name="connsiteY1" fmla="*/ 257442 h 257442"/>
                <a:gd name="connsiteX2" fmla="*/ 0 w 2646778"/>
                <a:gd name="connsiteY2" fmla="*/ 257442 h 257442"/>
                <a:gd name="connsiteX3" fmla="*/ 0 w 2646778"/>
                <a:gd name="connsiteY3" fmla="*/ 0 h 257442"/>
                <a:gd name="connsiteX0" fmla="*/ 2646779 w 2646779"/>
                <a:gd name="connsiteY0" fmla="*/ 0 h 257442"/>
                <a:gd name="connsiteX1" fmla="*/ 2592058 w 2646779"/>
                <a:gd name="connsiteY1" fmla="*/ 257442 h 257442"/>
                <a:gd name="connsiteX2" fmla="*/ 1 w 2646779"/>
                <a:gd name="connsiteY2" fmla="*/ 257442 h 257442"/>
                <a:gd name="connsiteX3" fmla="*/ 0 w 2646779"/>
                <a:gd name="connsiteY3" fmla="*/ 0 h 257442"/>
                <a:gd name="connsiteX0" fmla="*/ 2815094 w 2815094"/>
                <a:gd name="connsiteY0" fmla="*/ 0 h 257442"/>
                <a:gd name="connsiteX1" fmla="*/ 2592058 w 2815094"/>
                <a:gd name="connsiteY1" fmla="*/ 257442 h 257442"/>
                <a:gd name="connsiteX2" fmla="*/ 1 w 2815094"/>
                <a:gd name="connsiteY2" fmla="*/ 257442 h 257442"/>
                <a:gd name="connsiteX3" fmla="*/ 0 w 2815094"/>
                <a:gd name="connsiteY3" fmla="*/ 0 h 257442"/>
                <a:gd name="connsiteX0" fmla="*/ 2815094 w 2815094"/>
                <a:gd name="connsiteY0" fmla="*/ 0 h 257442"/>
                <a:gd name="connsiteX1" fmla="*/ 2760372 w 2815094"/>
                <a:gd name="connsiteY1" fmla="*/ 257442 h 257442"/>
                <a:gd name="connsiteX2" fmla="*/ 1 w 2815094"/>
                <a:gd name="connsiteY2" fmla="*/ 257442 h 257442"/>
                <a:gd name="connsiteX3" fmla="*/ 0 w 2815094"/>
                <a:gd name="connsiteY3" fmla="*/ 0 h 257442"/>
                <a:gd name="connsiteX0" fmla="*/ 2815094 w 2815094"/>
                <a:gd name="connsiteY0" fmla="*/ 0 h 257442"/>
                <a:gd name="connsiteX1" fmla="*/ 2760372 w 2815094"/>
                <a:gd name="connsiteY1" fmla="*/ 257442 h 257442"/>
                <a:gd name="connsiteX2" fmla="*/ 0 w 2815094"/>
                <a:gd name="connsiteY2" fmla="*/ 257442 h 257442"/>
                <a:gd name="connsiteX3" fmla="*/ 0 w 2815094"/>
                <a:gd name="connsiteY3" fmla="*/ 0 h 257442"/>
                <a:gd name="connsiteX0" fmla="*/ 2815094 w 2815094"/>
                <a:gd name="connsiteY0" fmla="*/ 0 h 257442"/>
                <a:gd name="connsiteX1" fmla="*/ 2760372 w 2815094"/>
                <a:gd name="connsiteY1" fmla="*/ 257442 h 257442"/>
                <a:gd name="connsiteX2" fmla="*/ 0 w 2815094"/>
                <a:gd name="connsiteY2" fmla="*/ 257442 h 257442"/>
                <a:gd name="connsiteX3" fmla="*/ 0 w 2815094"/>
                <a:gd name="connsiteY3" fmla="*/ 0 h 257442"/>
                <a:gd name="connsiteX0" fmla="*/ 3076383 w 3076383"/>
                <a:gd name="connsiteY0" fmla="*/ 0 h 257442"/>
                <a:gd name="connsiteX1" fmla="*/ 276037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236683 w 3236683"/>
                <a:gd name="connsiteY0" fmla="*/ 0 h 257442"/>
                <a:gd name="connsiteX1" fmla="*/ 3021662 w 3236683"/>
                <a:gd name="connsiteY1" fmla="*/ 257442 h 257442"/>
                <a:gd name="connsiteX2" fmla="*/ 0 w 3236683"/>
                <a:gd name="connsiteY2" fmla="*/ 257442 h 257442"/>
                <a:gd name="connsiteX3" fmla="*/ 0 w 3236683"/>
                <a:gd name="connsiteY3" fmla="*/ 0 h 257442"/>
                <a:gd name="connsiteX0" fmla="*/ 3236683 w 3236683"/>
                <a:gd name="connsiteY0" fmla="*/ 0 h 257442"/>
                <a:gd name="connsiteX1" fmla="*/ 3181962 w 3236683"/>
                <a:gd name="connsiteY1" fmla="*/ 257442 h 257442"/>
                <a:gd name="connsiteX2" fmla="*/ 0 w 3236683"/>
                <a:gd name="connsiteY2" fmla="*/ 257442 h 257442"/>
                <a:gd name="connsiteX3" fmla="*/ 0 w 3236683"/>
                <a:gd name="connsiteY3" fmla="*/ 0 h 257442"/>
                <a:gd name="connsiteX0" fmla="*/ 3236683 w 3236683"/>
                <a:gd name="connsiteY0" fmla="*/ 0 h 257442"/>
                <a:gd name="connsiteX1" fmla="*/ 3181962 w 3236683"/>
                <a:gd name="connsiteY1" fmla="*/ 257442 h 257442"/>
                <a:gd name="connsiteX2" fmla="*/ 0 w 3236683"/>
                <a:gd name="connsiteY2" fmla="*/ 257442 h 257442"/>
                <a:gd name="connsiteX3" fmla="*/ 0 w 3236683"/>
                <a:gd name="connsiteY3" fmla="*/ 0 h 257442"/>
                <a:gd name="connsiteX0" fmla="*/ 3236683 w 3236683"/>
                <a:gd name="connsiteY0" fmla="*/ 0 h 257442"/>
                <a:gd name="connsiteX1" fmla="*/ 3181962 w 3236683"/>
                <a:gd name="connsiteY1" fmla="*/ 257442 h 257442"/>
                <a:gd name="connsiteX2" fmla="*/ 0 w 3236683"/>
                <a:gd name="connsiteY2" fmla="*/ 257442 h 257442"/>
                <a:gd name="connsiteX3" fmla="*/ 0 w 3236683"/>
                <a:gd name="connsiteY3" fmla="*/ 0 h 257442"/>
                <a:gd name="connsiteX0" fmla="*/ 3404998 w 3404998"/>
                <a:gd name="connsiteY0" fmla="*/ 0 h 257442"/>
                <a:gd name="connsiteX1" fmla="*/ 3181962 w 3404998"/>
                <a:gd name="connsiteY1" fmla="*/ 257442 h 257442"/>
                <a:gd name="connsiteX2" fmla="*/ 0 w 3404998"/>
                <a:gd name="connsiteY2" fmla="*/ 257442 h 257442"/>
                <a:gd name="connsiteX3" fmla="*/ 0 w 3404998"/>
                <a:gd name="connsiteY3" fmla="*/ 0 h 257442"/>
                <a:gd name="connsiteX0" fmla="*/ 3404998 w 3404998"/>
                <a:gd name="connsiteY0" fmla="*/ 0 h 257442"/>
                <a:gd name="connsiteX1" fmla="*/ 3350276 w 3404998"/>
                <a:gd name="connsiteY1" fmla="*/ 257442 h 257442"/>
                <a:gd name="connsiteX2" fmla="*/ 0 w 3404998"/>
                <a:gd name="connsiteY2" fmla="*/ 257442 h 257442"/>
                <a:gd name="connsiteX3" fmla="*/ 0 w 3404998"/>
                <a:gd name="connsiteY3" fmla="*/ 0 h 257442"/>
                <a:gd name="connsiteX0" fmla="*/ 3404999 w 3404999"/>
                <a:gd name="connsiteY0" fmla="*/ 0 h 257442"/>
                <a:gd name="connsiteX1" fmla="*/ 3350277 w 3404999"/>
                <a:gd name="connsiteY1" fmla="*/ 257442 h 257442"/>
                <a:gd name="connsiteX2" fmla="*/ 0 w 3404999"/>
                <a:gd name="connsiteY2" fmla="*/ 257442 h 257442"/>
                <a:gd name="connsiteX3" fmla="*/ 1 w 3404999"/>
                <a:gd name="connsiteY3" fmla="*/ 0 h 257442"/>
                <a:gd name="connsiteX0" fmla="*/ 3404999 w 3404999"/>
                <a:gd name="connsiteY0" fmla="*/ 0 h 257442"/>
                <a:gd name="connsiteX1" fmla="*/ 3350277 w 3404999"/>
                <a:gd name="connsiteY1" fmla="*/ 257442 h 257442"/>
                <a:gd name="connsiteX2" fmla="*/ 0 w 3404999"/>
                <a:gd name="connsiteY2" fmla="*/ 257442 h 257442"/>
                <a:gd name="connsiteX3" fmla="*/ 1 w 3404999"/>
                <a:gd name="connsiteY3" fmla="*/ 0 h 257442"/>
                <a:gd name="connsiteX0" fmla="*/ 3565299 w 3565299"/>
                <a:gd name="connsiteY0" fmla="*/ 0 h 257442"/>
                <a:gd name="connsiteX1" fmla="*/ 3350277 w 3565299"/>
                <a:gd name="connsiteY1" fmla="*/ 257442 h 257442"/>
                <a:gd name="connsiteX2" fmla="*/ 0 w 3565299"/>
                <a:gd name="connsiteY2" fmla="*/ 257442 h 257442"/>
                <a:gd name="connsiteX3" fmla="*/ 1 w 3565299"/>
                <a:gd name="connsiteY3" fmla="*/ 0 h 257442"/>
                <a:gd name="connsiteX0" fmla="*/ 3565299 w 3565299"/>
                <a:gd name="connsiteY0" fmla="*/ 0 h 257442"/>
                <a:gd name="connsiteX1" fmla="*/ 3510578 w 3565299"/>
                <a:gd name="connsiteY1" fmla="*/ 257442 h 257442"/>
                <a:gd name="connsiteX2" fmla="*/ 0 w 3565299"/>
                <a:gd name="connsiteY2" fmla="*/ 257442 h 257442"/>
                <a:gd name="connsiteX3" fmla="*/ 1 w 3565299"/>
                <a:gd name="connsiteY3" fmla="*/ 0 h 257442"/>
                <a:gd name="connsiteX0" fmla="*/ 3565298 w 3565298"/>
                <a:gd name="connsiteY0" fmla="*/ 0 h 257442"/>
                <a:gd name="connsiteX1" fmla="*/ 3510577 w 3565298"/>
                <a:gd name="connsiteY1" fmla="*/ 257442 h 257442"/>
                <a:gd name="connsiteX2" fmla="*/ 0 w 3565298"/>
                <a:gd name="connsiteY2" fmla="*/ 257442 h 257442"/>
                <a:gd name="connsiteX3" fmla="*/ 0 w 3565298"/>
                <a:gd name="connsiteY3" fmla="*/ 0 h 257442"/>
                <a:gd name="connsiteX0" fmla="*/ 3565299 w 3565299"/>
                <a:gd name="connsiteY0" fmla="*/ 0 h 257442"/>
                <a:gd name="connsiteX1" fmla="*/ 3510578 w 3565299"/>
                <a:gd name="connsiteY1" fmla="*/ 257442 h 257442"/>
                <a:gd name="connsiteX2" fmla="*/ 1 w 3565299"/>
                <a:gd name="connsiteY2" fmla="*/ 257442 h 257442"/>
                <a:gd name="connsiteX3" fmla="*/ 0 w 3565299"/>
                <a:gd name="connsiteY3" fmla="*/ 0 h 257442"/>
                <a:gd name="connsiteX0" fmla="*/ 2887678 w 3510578"/>
                <a:gd name="connsiteY0" fmla="*/ 0 h 257442"/>
                <a:gd name="connsiteX1" fmla="*/ 3510578 w 3510578"/>
                <a:gd name="connsiteY1" fmla="*/ 257442 h 257442"/>
                <a:gd name="connsiteX2" fmla="*/ 1 w 3510578"/>
                <a:gd name="connsiteY2" fmla="*/ 257442 h 257442"/>
                <a:gd name="connsiteX3" fmla="*/ 0 w 3510578"/>
                <a:gd name="connsiteY3" fmla="*/ 0 h 257442"/>
                <a:gd name="connsiteX0" fmla="*/ 2887678 w 2887678"/>
                <a:gd name="connsiteY0" fmla="*/ 0 h 257442"/>
                <a:gd name="connsiteX1" fmla="*/ 2832957 w 2887678"/>
                <a:gd name="connsiteY1" fmla="*/ 257442 h 257442"/>
                <a:gd name="connsiteX2" fmla="*/ 1 w 2887678"/>
                <a:gd name="connsiteY2" fmla="*/ 257442 h 257442"/>
                <a:gd name="connsiteX3" fmla="*/ 0 w 2887678"/>
                <a:gd name="connsiteY3" fmla="*/ 0 h 257442"/>
                <a:gd name="connsiteX0" fmla="*/ 2887678 w 2887678"/>
                <a:gd name="connsiteY0" fmla="*/ 0 h 257442"/>
                <a:gd name="connsiteX1" fmla="*/ 2832957 w 2887678"/>
                <a:gd name="connsiteY1" fmla="*/ 257442 h 257442"/>
                <a:gd name="connsiteX2" fmla="*/ 1 w 2887678"/>
                <a:gd name="connsiteY2" fmla="*/ 257442 h 257442"/>
                <a:gd name="connsiteX3" fmla="*/ 0 w 2887678"/>
                <a:gd name="connsiteY3" fmla="*/ 0 h 257442"/>
                <a:gd name="connsiteX0" fmla="*/ 2887677 w 2887677"/>
                <a:gd name="connsiteY0" fmla="*/ 0 h 257442"/>
                <a:gd name="connsiteX1" fmla="*/ 2832956 w 2887677"/>
                <a:gd name="connsiteY1" fmla="*/ 257442 h 257442"/>
                <a:gd name="connsiteX2" fmla="*/ 0 w 2887677"/>
                <a:gd name="connsiteY2" fmla="*/ 257442 h 257442"/>
                <a:gd name="connsiteX3" fmla="*/ 0 w 2887677"/>
                <a:gd name="connsiteY3" fmla="*/ 0 h 257442"/>
                <a:gd name="connsiteX0" fmla="*/ 3068368 w 3068368"/>
                <a:gd name="connsiteY0" fmla="*/ 0 h 257442"/>
                <a:gd name="connsiteX1" fmla="*/ 2832956 w 3068368"/>
                <a:gd name="connsiteY1" fmla="*/ 257442 h 257442"/>
                <a:gd name="connsiteX2" fmla="*/ 0 w 3068368"/>
                <a:gd name="connsiteY2" fmla="*/ 257442 h 257442"/>
                <a:gd name="connsiteX3" fmla="*/ 0 w 3068368"/>
                <a:gd name="connsiteY3" fmla="*/ 0 h 257442"/>
                <a:gd name="connsiteX0" fmla="*/ 3068368 w 3068368"/>
                <a:gd name="connsiteY0" fmla="*/ 0 h 257442"/>
                <a:gd name="connsiteX1" fmla="*/ 3013646 w 3068368"/>
                <a:gd name="connsiteY1" fmla="*/ 257442 h 257442"/>
                <a:gd name="connsiteX2" fmla="*/ 0 w 3068368"/>
                <a:gd name="connsiteY2" fmla="*/ 257442 h 257442"/>
                <a:gd name="connsiteX3" fmla="*/ 0 w 3068368"/>
                <a:gd name="connsiteY3" fmla="*/ 0 h 257442"/>
                <a:gd name="connsiteX0" fmla="*/ 3068369 w 3068369"/>
                <a:gd name="connsiteY0" fmla="*/ 0 h 257442"/>
                <a:gd name="connsiteX1" fmla="*/ 3013647 w 3068369"/>
                <a:gd name="connsiteY1" fmla="*/ 257442 h 257442"/>
                <a:gd name="connsiteX2" fmla="*/ 0 w 3068369"/>
                <a:gd name="connsiteY2" fmla="*/ 257442 h 257442"/>
                <a:gd name="connsiteX3" fmla="*/ 1 w 3068369"/>
                <a:gd name="connsiteY3" fmla="*/ 0 h 257442"/>
                <a:gd name="connsiteX0" fmla="*/ 3068369 w 3068369"/>
                <a:gd name="connsiteY0" fmla="*/ 0 h 257442"/>
                <a:gd name="connsiteX1" fmla="*/ 3013647 w 3068369"/>
                <a:gd name="connsiteY1" fmla="*/ 257442 h 257442"/>
                <a:gd name="connsiteX2" fmla="*/ 0 w 3068369"/>
                <a:gd name="connsiteY2" fmla="*/ 257442 h 257442"/>
                <a:gd name="connsiteX3" fmla="*/ 1 w 3068369"/>
                <a:gd name="connsiteY3" fmla="*/ 0 h 257442"/>
                <a:gd name="connsiteX0" fmla="*/ 3236684 w 3236684"/>
                <a:gd name="connsiteY0" fmla="*/ 0 h 257442"/>
                <a:gd name="connsiteX1" fmla="*/ 3013647 w 3236684"/>
                <a:gd name="connsiteY1" fmla="*/ 257442 h 257442"/>
                <a:gd name="connsiteX2" fmla="*/ 0 w 3236684"/>
                <a:gd name="connsiteY2" fmla="*/ 257442 h 257442"/>
                <a:gd name="connsiteX3" fmla="*/ 1 w 3236684"/>
                <a:gd name="connsiteY3" fmla="*/ 0 h 257442"/>
                <a:gd name="connsiteX0" fmla="*/ 3236684 w 3236684"/>
                <a:gd name="connsiteY0" fmla="*/ 0 h 257442"/>
                <a:gd name="connsiteX1" fmla="*/ 3181962 w 3236684"/>
                <a:gd name="connsiteY1" fmla="*/ 257442 h 257442"/>
                <a:gd name="connsiteX2" fmla="*/ 0 w 3236684"/>
                <a:gd name="connsiteY2" fmla="*/ 257442 h 257442"/>
                <a:gd name="connsiteX3" fmla="*/ 1 w 3236684"/>
                <a:gd name="connsiteY3" fmla="*/ 0 h 257442"/>
                <a:gd name="connsiteX0" fmla="*/ 3236684 w 3236684"/>
                <a:gd name="connsiteY0" fmla="*/ 0 h 257442"/>
                <a:gd name="connsiteX1" fmla="*/ 3181962 w 3236684"/>
                <a:gd name="connsiteY1" fmla="*/ 257442 h 257442"/>
                <a:gd name="connsiteX2" fmla="*/ 0 w 3236684"/>
                <a:gd name="connsiteY2" fmla="*/ 257442 h 257442"/>
                <a:gd name="connsiteX3" fmla="*/ 1 w 3236684"/>
                <a:gd name="connsiteY3" fmla="*/ 0 h 257442"/>
                <a:gd name="connsiteX0" fmla="*/ 3236684 w 3236684"/>
                <a:gd name="connsiteY0" fmla="*/ 0 h 257442"/>
                <a:gd name="connsiteX1" fmla="*/ 3181962 w 3236684"/>
                <a:gd name="connsiteY1" fmla="*/ 257442 h 257442"/>
                <a:gd name="connsiteX2" fmla="*/ 0 w 3236684"/>
                <a:gd name="connsiteY2" fmla="*/ 257442 h 257442"/>
                <a:gd name="connsiteX3" fmla="*/ 0 w 3236684"/>
                <a:gd name="connsiteY3" fmla="*/ 0 h 257442"/>
                <a:gd name="connsiteX0" fmla="*/ 3414616 w 3414616"/>
                <a:gd name="connsiteY0" fmla="*/ 0 h 257442"/>
                <a:gd name="connsiteX1" fmla="*/ 3181962 w 3414616"/>
                <a:gd name="connsiteY1" fmla="*/ 257442 h 257442"/>
                <a:gd name="connsiteX2" fmla="*/ 0 w 3414616"/>
                <a:gd name="connsiteY2" fmla="*/ 257442 h 257442"/>
                <a:gd name="connsiteX3" fmla="*/ 0 w 3414616"/>
                <a:gd name="connsiteY3" fmla="*/ 0 h 257442"/>
                <a:gd name="connsiteX0" fmla="*/ 3414616 w 3414616"/>
                <a:gd name="connsiteY0" fmla="*/ 0 h 257442"/>
                <a:gd name="connsiteX1" fmla="*/ 3359895 w 3414616"/>
                <a:gd name="connsiteY1" fmla="*/ 257442 h 257442"/>
                <a:gd name="connsiteX2" fmla="*/ 0 w 3414616"/>
                <a:gd name="connsiteY2" fmla="*/ 257442 h 257442"/>
                <a:gd name="connsiteX3" fmla="*/ 0 w 3414616"/>
                <a:gd name="connsiteY3" fmla="*/ 0 h 257442"/>
                <a:gd name="connsiteX0" fmla="*/ 3414616 w 3414616"/>
                <a:gd name="connsiteY0" fmla="*/ 0 h 257442"/>
                <a:gd name="connsiteX1" fmla="*/ 3359895 w 3414616"/>
                <a:gd name="connsiteY1" fmla="*/ 257442 h 257442"/>
                <a:gd name="connsiteX2" fmla="*/ 0 w 3414616"/>
                <a:gd name="connsiteY2" fmla="*/ 257442 h 257442"/>
                <a:gd name="connsiteX3" fmla="*/ 0 w 3414616"/>
                <a:gd name="connsiteY3" fmla="*/ 0 h 257442"/>
                <a:gd name="connsiteX0" fmla="*/ 3414616 w 3414616"/>
                <a:gd name="connsiteY0" fmla="*/ 0 h 257442"/>
                <a:gd name="connsiteX1" fmla="*/ 3359895 w 3414616"/>
                <a:gd name="connsiteY1" fmla="*/ 257442 h 257442"/>
                <a:gd name="connsiteX2" fmla="*/ 0 w 3414616"/>
                <a:gd name="connsiteY2" fmla="*/ 257442 h 257442"/>
                <a:gd name="connsiteX3" fmla="*/ 0 w 3414616"/>
                <a:gd name="connsiteY3" fmla="*/ 0 h 257442"/>
                <a:gd name="connsiteX0" fmla="*/ 2480066 w 3359895"/>
                <a:gd name="connsiteY0" fmla="*/ 0 h 257442"/>
                <a:gd name="connsiteX1" fmla="*/ 3359895 w 3359895"/>
                <a:gd name="connsiteY1" fmla="*/ 257442 h 257442"/>
                <a:gd name="connsiteX2" fmla="*/ 0 w 3359895"/>
                <a:gd name="connsiteY2" fmla="*/ 257442 h 257442"/>
                <a:gd name="connsiteX3" fmla="*/ 0 w 3359895"/>
                <a:gd name="connsiteY3" fmla="*/ 0 h 257442"/>
                <a:gd name="connsiteX0" fmla="*/ 2480066 w 2480066"/>
                <a:gd name="connsiteY0" fmla="*/ 0 h 257442"/>
                <a:gd name="connsiteX1" fmla="*/ 2425346 w 2480066"/>
                <a:gd name="connsiteY1" fmla="*/ 257442 h 257442"/>
                <a:gd name="connsiteX2" fmla="*/ 0 w 2480066"/>
                <a:gd name="connsiteY2" fmla="*/ 257442 h 257442"/>
                <a:gd name="connsiteX3" fmla="*/ 0 w 2480066"/>
                <a:gd name="connsiteY3" fmla="*/ 0 h 257442"/>
                <a:gd name="connsiteX0" fmla="*/ 2480066 w 2480066"/>
                <a:gd name="connsiteY0" fmla="*/ 0 h 257442"/>
                <a:gd name="connsiteX1" fmla="*/ 2425346 w 2480066"/>
                <a:gd name="connsiteY1" fmla="*/ 257442 h 257442"/>
                <a:gd name="connsiteX2" fmla="*/ 1 w 2480066"/>
                <a:gd name="connsiteY2" fmla="*/ 257442 h 257442"/>
                <a:gd name="connsiteX3" fmla="*/ 0 w 2480066"/>
                <a:gd name="connsiteY3" fmla="*/ 0 h 257442"/>
                <a:gd name="connsiteX0" fmla="*/ 2480065 w 2480065"/>
                <a:gd name="connsiteY0" fmla="*/ 0 h 257442"/>
                <a:gd name="connsiteX1" fmla="*/ 2425345 w 2480065"/>
                <a:gd name="connsiteY1" fmla="*/ 257442 h 257442"/>
                <a:gd name="connsiteX2" fmla="*/ 0 w 2480065"/>
                <a:gd name="connsiteY2" fmla="*/ 257442 h 257442"/>
                <a:gd name="connsiteX3" fmla="*/ 0 w 2480065"/>
                <a:gd name="connsiteY3" fmla="*/ 0 h 257442"/>
                <a:gd name="connsiteX0" fmla="*/ 2648381 w 2648381"/>
                <a:gd name="connsiteY0" fmla="*/ 0 h 257442"/>
                <a:gd name="connsiteX1" fmla="*/ 2425345 w 2648381"/>
                <a:gd name="connsiteY1" fmla="*/ 257442 h 257442"/>
                <a:gd name="connsiteX2" fmla="*/ 0 w 2648381"/>
                <a:gd name="connsiteY2" fmla="*/ 257442 h 257442"/>
                <a:gd name="connsiteX3" fmla="*/ 0 w 2648381"/>
                <a:gd name="connsiteY3" fmla="*/ 0 h 257442"/>
                <a:gd name="connsiteX0" fmla="*/ 2648381 w 2648381"/>
                <a:gd name="connsiteY0" fmla="*/ 0 h 257442"/>
                <a:gd name="connsiteX1" fmla="*/ 2593660 w 2648381"/>
                <a:gd name="connsiteY1" fmla="*/ 257442 h 257442"/>
                <a:gd name="connsiteX2" fmla="*/ 0 w 2648381"/>
                <a:gd name="connsiteY2" fmla="*/ 257442 h 257442"/>
                <a:gd name="connsiteX3" fmla="*/ 0 w 2648381"/>
                <a:gd name="connsiteY3" fmla="*/ 0 h 257442"/>
                <a:gd name="connsiteX0" fmla="*/ 2648381 w 2648381"/>
                <a:gd name="connsiteY0" fmla="*/ 0 h 257442"/>
                <a:gd name="connsiteX1" fmla="*/ 2593660 w 2648381"/>
                <a:gd name="connsiteY1" fmla="*/ 257442 h 257442"/>
                <a:gd name="connsiteX2" fmla="*/ 0 w 2648381"/>
                <a:gd name="connsiteY2" fmla="*/ 257442 h 257442"/>
                <a:gd name="connsiteX3" fmla="*/ 0 w 2648381"/>
                <a:gd name="connsiteY3" fmla="*/ 0 h 257442"/>
                <a:gd name="connsiteX0" fmla="*/ 2648381 w 2648381"/>
                <a:gd name="connsiteY0" fmla="*/ 0 h 257442"/>
                <a:gd name="connsiteX1" fmla="*/ 2593660 w 2648381"/>
                <a:gd name="connsiteY1" fmla="*/ 257442 h 257442"/>
                <a:gd name="connsiteX2" fmla="*/ 0 w 2648381"/>
                <a:gd name="connsiteY2" fmla="*/ 257442 h 257442"/>
                <a:gd name="connsiteX3" fmla="*/ 0 w 2648381"/>
                <a:gd name="connsiteY3" fmla="*/ 0 h 257442"/>
                <a:gd name="connsiteX0" fmla="*/ 2808681 w 2808681"/>
                <a:gd name="connsiteY0" fmla="*/ 0 h 257442"/>
                <a:gd name="connsiteX1" fmla="*/ 2593660 w 2808681"/>
                <a:gd name="connsiteY1" fmla="*/ 257442 h 257442"/>
                <a:gd name="connsiteX2" fmla="*/ 0 w 2808681"/>
                <a:gd name="connsiteY2" fmla="*/ 257442 h 257442"/>
                <a:gd name="connsiteX3" fmla="*/ 0 w 2808681"/>
                <a:gd name="connsiteY3" fmla="*/ 0 h 257442"/>
                <a:gd name="connsiteX0" fmla="*/ 2808681 w 2808681"/>
                <a:gd name="connsiteY0" fmla="*/ 0 h 257442"/>
                <a:gd name="connsiteX1" fmla="*/ 2753960 w 2808681"/>
                <a:gd name="connsiteY1" fmla="*/ 257442 h 257442"/>
                <a:gd name="connsiteX2" fmla="*/ 0 w 2808681"/>
                <a:gd name="connsiteY2" fmla="*/ 257442 h 257442"/>
                <a:gd name="connsiteX3" fmla="*/ 0 w 2808681"/>
                <a:gd name="connsiteY3" fmla="*/ 0 h 257442"/>
                <a:gd name="connsiteX0" fmla="*/ 2808681 w 2808681"/>
                <a:gd name="connsiteY0" fmla="*/ 0 h 257442"/>
                <a:gd name="connsiteX1" fmla="*/ 2753960 w 2808681"/>
                <a:gd name="connsiteY1" fmla="*/ 257442 h 257442"/>
                <a:gd name="connsiteX2" fmla="*/ 0 w 2808681"/>
                <a:gd name="connsiteY2" fmla="*/ 257442 h 257442"/>
                <a:gd name="connsiteX3" fmla="*/ 0 w 2808681"/>
                <a:gd name="connsiteY3" fmla="*/ 0 h 257442"/>
                <a:gd name="connsiteX0" fmla="*/ 2808681 w 2808681"/>
                <a:gd name="connsiteY0" fmla="*/ 0 h 257442"/>
                <a:gd name="connsiteX1" fmla="*/ 2753960 w 2808681"/>
                <a:gd name="connsiteY1" fmla="*/ 257442 h 257442"/>
                <a:gd name="connsiteX2" fmla="*/ 0 w 2808681"/>
                <a:gd name="connsiteY2" fmla="*/ 257442 h 257442"/>
                <a:gd name="connsiteX3" fmla="*/ 0 w 2808681"/>
                <a:gd name="connsiteY3" fmla="*/ 0 h 257442"/>
                <a:gd name="connsiteX0" fmla="*/ 2976997 w 2976997"/>
                <a:gd name="connsiteY0" fmla="*/ 0 h 257442"/>
                <a:gd name="connsiteX1" fmla="*/ 2753960 w 2976997"/>
                <a:gd name="connsiteY1" fmla="*/ 257442 h 257442"/>
                <a:gd name="connsiteX2" fmla="*/ 0 w 2976997"/>
                <a:gd name="connsiteY2" fmla="*/ 257442 h 257442"/>
                <a:gd name="connsiteX3" fmla="*/ 0 w 2976997"/>
                <a:gd name="connsiteY3" fmla="*/ 0 h 257442"/>
                <a:gd name="connsiteX0" fmla="*/ 2976997 w 2976997"/>
                <a:gd name="connsiteY0" fmla="*/ 0 h 257442"/>
                <a:gd name="connsiteX1" fmla="*/ 2922276 w 2976997"/>
                <a:gd name="connsiteY1" fmla="*/ 257442 h 257442"/>
                <a:gd name="connsiteX2" fmla="*/ 0 w 2976997"/>
                <a:gd name="connsiteY2" fmla="*/ 257442 h 257442"/>
                <a:gd name="connsiteX3" fmla="*/ 0 w 2976997"/>
                <a:gd name="connsiteY3" fmla="*/ 0 h 257442"/>
                <a:gd name="connsiteX0" fmla="*/ 2976997 w 2976997"/>
                <a:gd name="connsiteY0" fmla="*/ 0 h 257442"/>
                <a:gd name="connsiteX1" fmla="*/ 2922276 w 2976997"/>
                <a:gd name="connsiteY1" fmla="*/ 257442 h 257442"/>
                <a:gd name="connsiteX2" fmla="*/ 0 w 2976997"/>
                <a:gd name="connsiteY2" fmla="*/ 257442 h 257442"/>
                <a:gd name="connsiteX3" fmla="*/ 0 w 2976997"/>
                <a:gd name="connsiteY3" fmla="*/ 0 h 257442"/>
                <a:gd name="connsiteX0" fmla="*/ 2976997 w 2976997"/>
                <a:gd name="connsiteY0" fmla="*/ 0 h 257442"/>
                <a:gd name="connsiteX1" fmla="*/ 2922276 w 2976997"/>
                <a:gd name="connsiteY1" fmla="*/ 257442 h 257442"/>
                <a:gd name="connsiteX2" fmla="*/ 0 w 2976997"/>
                <a:gd name="connsiteY2" fmla="*/ 257442 h 257442"/>
                <a:gd name="connsiteX3" fmla="*/ 0 w 2976997"/>
                <a:gd name="connsiteY3" fmla="*/ 0 h 257442"/>
                <a:gd name="connsiteX0" fmla="*/ 3145312 w 3145312"/>
                <a:gd name="connsiteY0" fmla="*/ 0 h 257442"/>
                <a:gd name="connsiteX1" fmla="*/ 2922276 w 3145312"/>
                <a:gd name="connsiteY1" fmla="*/ 257442 h 257442"/>
                <a:gd name="connsiteX2" fmla="*/ 0 w 3145312"/>
                <a:gd name="connsiteY2" fmla="*/ 257442 h 257442"/>
                <a:gd name="connsiteX3" fmla="*/ 0 w 3145312"/>
                <a:gd name="connsiteY3" fmla="*/ 0 h 257442"/>
                <a:gd name="connsiteX0" fmla="*/ 3145312 w 3145312"/>
                <a:gd name="connsiteY0" fmla="*/ 0 h 257442"/>
                <a:gd name="connsiteX1" fmla="*/ 3090590 w 3145312"/>
                <a:gd name="connsiteY1" fmla="*/ 257442 h 257442"/>
                <a:gd name="connsiteX2" fmla="*/ 0 w 3145312"/>
                <a:gd name="connsiteY2" fmla="*/ 257442 h 257442"/>
                <a:gd name="connsiteX3" fmla="*/ 0 w 3145312"/>
                <a:gd name="connsiteY3" fmla="*/ 0 h 257442"/>
                <a:gd name="connsiteX0" fmla="*/ 3145313 w 3145313"/>
                <a:gd name="connsiteY0" fmla="*/ 0 h 257442"/>
                <a:gd name="connsiteX1" fmla="*/ 3090591 w 3145313"/>
                <a:gd name="connsiteY1" fmla="*/ 257442 h 257442"/>
                <a:gd name="connsiteX2" fmla="*/ 0 w 3145313"/>
                <a:gd name="connsiteY2" fmla="*/ 257442 h 257442"/>
                <a:gd name="connsiteX3" fmla="*/ 1 w 3145313"/>
                <a:gd name="connsiteY3" fmla="*/ 0 h 257442"/>
                <a:gd name="connsiteX0" fmla="*/ 3145313 w 3145313"/>
                <a:gd name="connsiteY0" fmla="*/ 0 h 257442"/>
                <a:gd name="connsiteX1" fmla="*/ 3090591 w 3145313"/>
                <a:gd name="connsiteY1" fmla="*/ 257442 h 257442"/>
                <a:gd name="connsiteX2" fmla="*/ 0 w 3145313"/>
                <a:gd name="connsiteY2" fmla="*/ 257442 h 257442"/>
                <a:gd name="connsiteX3" fmla="*/ 1 w 3145313"/>
                <a:gd name="connsiteY3" fmla="*/ 0 h 257442"/>
                <a:gd name="connsiteX0" fmla="*/ 3305613 w 3305613"/>
                <a:gd name="connsiteY0" fmla="*/ 0 h 257442"/>
                <a:gd name="connsiteX1" fmla="*/ 3090591 w 3305613"/>
                <a:gd name="connsiteY1" fmla="*/ 257442 h 257442"/>
                <a:gd name="connsiteX2" fmla="*/ 0 w 3305613"/>
                <a:gd name="connsiteY2" fmla="*/ 257442 h 257442"/>
                <a:gd name="connsiteX3" fmla="*/ 1 w 3305613"/>
                <a:gd name="connsiteY3" fmla="*/ 0 h 257442"/>
                <a:gd name="connsiteX0" fmla="*/ 3305613 w 3305613"/>
                <a:gd name="connsiteY0" fmla="*/ 0 h 257442"/>
                <a:gd name="connsiteX1" fmla="*/ 3250892 w 3305613"/>
                <a:gd name="connsiteY1" fmla="*/ 257442 h 257442"/>
                <a:gd name="connsiteX2" fmla="*/ 0 w 3305613"/>
                <a:gd name="connsiteY2" fmla="*/ 257442 h 257442"/>
                <a:gd name="connsiteX3" fmla="*/ 1 w 3305613"/>
                <a:gd name="connsiteY3" fmla="*/ 0 h 257442"/>
                <a:gd name="connsiteX0" fmla="*/ 3305612 w 3305612"/>
                <a:gd name="connsiteY0" fmla="*/ 0 h 257442"/>
                <a:gd name="connsiteX1" fmla="*/ 3250891 w 3305612"/>
                <a:gd name="connsiteY1" fmla="*/ 257442 h 257442"/>
                <a:gd name="connsiteX2" fmla="*/ 0 w 3305612"/>
                <a:gd name="connsiteY2" fmla="*/ 257442 h 257442"/>
                <a:gd name="connsiteX3" fmla="*/ 0 w 3305612"/>
                <a:gd name="connsiteY3" fmla="*/ 0 h 257442"/>
                <a:gd name="connsiteX0" fmla="*/ 3305613 w 3305613"/>
                <a:gd name="connsiteY0" fmla="*/ 0 h 257442"/>
                <a:gd name="connsiteX1" fmla="*/ 3250892 w 3305613"/>
                <a:gd name="connsiteY1" fmla="*/ 257442 h 257442"/>
                <a:gd name="connsiteX2" fmla="*/ 1 w 3305613"/>
                <a:gd name="connsiteY2" fmla="*/ 257442 h 257442"/>
                <a:gd name="connsiteX3" fmla="*/ 0 w 3305613"/>
                <a:gd name="connsiteY3" fmla="*/ 0 h 257442"/>
                <a:gd name="connsiteX0" fmla="*/ 950802 w 3250892"/>
                <a:gd name="connsiteY0" fmla="*/ 0 h 257442"/>
                <a:gd name="connsiteX1" fmla="*/ 3250892 w 3250892"/>
                <a:gd name="connsiteY1" fmla="*/ 257442 h 257442"/>
                <a:gd name="connsiteX2" fmla="*/ 1 w 3250892"/>
                <a:gd name="connsiteY2" fmla="*/ 257442 h 257442"/>
                <a:gd name="connsiteX3" fmla="*/ 0 w 3250892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1119116 w 1119116"/>
                <a:gd name="connsiteY0" fmla="*/ 0 h 257442"/>
                <a:gd name="connsiteX1" fmla="*/ 896080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4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1 w 1119117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1 w 1119117"/>
                <a:gd name="connsiteY3" fmla="*/ 0 h 257442"/>
                <a:gd name="connsiteX0" fmla="*/ 1287433 w 1287433"/>
                <a:gd name="connsiteY0" fmla="*/ 0 h 257442"/>
                <a:gd name="connsiteX1" fmla="*/ 1064395 w 1287433"/>
                <a:gd name="connsiteY1" fmla="*/ 257442 h 257442"/>
                <a:gd name="connsiteX2" fmla="*/ 0 w 1287433"/>
                <a:gd name="connsiteY2" fmla="*/ 257442 h 257442"/>
                <a:gd name="connsiteX3" fmla="*/ 1 w 1287433"/>
                <a:gd name="connsiteY3" fmla="*/ 0 h 257442"/>
                <a:gd name="connsiteX0" fmla="*/ 1287433 w 1287433"/>
                <a:gd name="connsiteY0" fmla="*/ 0 h 257442"/>
                <a:gd name="connsiteX1" fmla="*/ 1232712 w 1287433"/>
                <a:gd name="connsiteY1" fmla="*/ 257442 h 257442"/>
                <a:gd name="connsiteX2" fmla="*/ 0 w 1287433"/>
                <a:gd name="connsiteY2" fmla="*/ 257442 h 257442"/>
                <a:gd name="connsiteX3" fmla="*/ 1 w 1287433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3 w 1287433"/>
                <a:gd name="connsiteY0" fmla="*/ 0 h 257442"/>
                <a:gd name="connsiteX1" fmla="*/ 1232712 w 1287433"/>
                <a:gd name="connsiteY1" fmla="*/ 257442 h 257442"/>
                <a:gd name="connsiteX2" fmla="*/ 1 w 1287433"/>
                <a:gd name="connsiteY2" fmla="*/ 257442 h 257442"/>
                <a:gd name="connsiteX3" fmla="*/ 0 w 1287433"/>
                <a:gd name="connsiteY3" fmla="*/ 0 h 257442"/>
                <a:gd name="connsiteX0" fmla="*/ 1455748 w 1455748"/>
                <a:gd name="connsiteY0" fmla="*/ 0 h 257442"/>
                <a:gd name="connsiteX1" fmla="*/ 1232712 w 1455748"/>
                <a:gd name="connsiteY1" fmla="*/ 257442 h 257442"/>
                <a:gd name="connsiteX2" fmla="*/ 1 w 1455748"/>
                <a:gd name="connsiteY2" fmla="*/ 257442 h 257442"/>
                <a:gd name="connsiteX3" fmla="*/ 0 w 1455748"/>
                <a:gd name="connsiteY3" fmla="*/ 0 h 257442"/>
                <a:gd name="connsiteX0" fmla="*/ 1455748 w 1455748"/>
                <a:gd name="connsiteY0" fmla="*/ 0 h 257442"/>
                <a:gd name="connsiteX1" fmla="*/ 1401026 w 1455748"/>
                <a:gd name="connsiteY1" fmla="*/ 257442 h 257442"/>
                <a:gd name="connsiteX2" fmla="*/ 1 w 1455748"/>
                <a:gd name="connsiteY2" fmla="*/ 257442 h 257442"/>
                <a:gd name="connsiteX3" fmla="*/ 0 w 1455748"/>
                <a:gd name="connsiteY3" fmla="*/ 0 h 257442"/>
                <a:gd name="connsiteX0" fmla="*/ 1455748 w 1455748"/>
                <a:gd name="connsiteY0" fmla="*/ 0 h 257442"/>
                <a:gd name="connsiteX1" fmla="*/ 1401026 w 1455748"/>
                <a:gd name="connsiteY1" fmla="*/ 257442 h 257442"/>
                <a:gd name="connsiteX2" fmla="*/ 0 w 1455748"/>
                <a:gd name="connsiteY2" fmla="*/ 257442 h 257442"/>
                <a:gd name="connsiteX3" fmla="*/ 0 w 1455748"/>
                <a:gd name="connsiteY3" fmla="*/ 0 h 257442"/>
                <a:gd name="connsiteX0" fmla="*/ 1455748 w 1455748"/>
                <a:gd name="connsiteY0" fmla="*/ 0 h 257442"/>
                <a:gd name="connsiteX1" fmla="*/ 1401026 w 1455748"/>
                <a:gd name="connsiteY1" fmla="*/ 257442 h 257442"/>
                <a:gd name="connsiteX2" fmla="*/ 0 w 1455748"/>
                <a:gd name="connsiteY2" fmla="*/ 257442 h 257442"/>
                <a:gd name="connsiteX3" fmla="*/ 0 w 1455748"/>
                <a:gd name="connsiteY3" fmla="*/ 0 h 257442"/>
                <a:gd name="connsiteX0" fmla="*/ 1624062 w 1624062"/>
                <a:gd name="connsiteY0" fmla="*/ 0 h 257442"/>
                <a:gd name="connsiteX1" fmla="*/ 1401026 w 1624062"/>
                <a:gd name="connsiteY1" fmla="*/ 257442 h 257442"/>
                <a:gd name="connsiteX2" fmla="*/ 0 w 1624062"/>
                <a:gd name="connsiteY2" fmla="*/ 257442 h 257442"/>
                <a:gd name="connsiteX3" fmla="*/ 0 w 1624062"/>
                <a:gd name="connsiteY3" fmla="*/ 0 h 257442"/>
                <a:gd name="connsiteX0" fmla="*/ 1624062 w 1624062"/>
                <a:gd name="connsiteY0" fmla="*/ 0 h 257442"/>
                <a:gd name="connsiteX1" fmla="*/ 1569341 w 1624062"/>
                <a:gd name="connsiteY1" fmla="*/ 257442 h 257442"/>
                <a:gd name="connsiteX2" fmla="*/ 0 w 1624062"/>
                <a:gd name="connsiteY2" fmla="*/ 257442 h 257442"/>
                <a:gd name="connsiteX3" fmla="*/ 0 w 1624062"/>
                <a:gd name="connsiteY3" fmla="*/ 0 h 257442"/>
                <a:gd name="connsiteX0" fmla="*/ 1624062 w 1624062"/>
                <a:gd name="connsiteY0" fmla="*/ 0 h 257442"/>
                <a:gd name="connsiteX1" fmla="*/ 1569341 w 1624062"/>
                <a:gd name="connsiteY1" fmla="*/ 257442 h 257442"/>
                <a:gd name="connsiteX2" fmla="*/ 0 w 1624062"/>
                <a:gd name="connsiteY2" fmla="*/ 257442 h 257442"/>
                <a:gd name="connsiteX3" fmla="*/ 0 w 1624062"/>
                <a:gd name="connsiteY3" fmla="*/ 0 h 257442"/>
                <a:gd name="connsiteX0" fmla="*/ 1624062 w 1624062"/>
                <a:gd name="connsiteY0" fmla="*/ 0 h 257442"/>
                <a:gd name="connsiteX1" fmla="*/ 1569341 w 1624062"/>
                <a:gd name="connsiteY1" fmla="*/ 257442 h 257442"/>
                <a:gd name="connsiteX2" fmla="*/ 0 w 1624062"/>
                <a:gd name="connsiteY2" fmla="*/ 257442 h 257442"/>
                <a:gd name="connsiteX3" fmla="*/ 0 w 1624062"/>
                <a:gd name="connsiteY3" fmla="*/ 0 h 257442"/>
                <a:gd name="connsiteX0" fmla="*/ 1784363 w 1784363"/>
                <a:gd name="connsiteY0" fmla="*/ 0 h 257442"/>
                <a:gd name="connsiteX1" fmla="*/ 1569341 w 1784363"/>
                <a:gd name="connsiteY1" fmla="*/ 257442 h 257442"/>
                <a:gd name="connsiteX2" fmla="*/ 0 w 1784363"/>
                <a:gd name="connsiteY2" fmla="*/ 257442 h 257442"/>
                <a:gd name="connsiteX3" fmla="*/ 0 w 1784363"/>
                <a:gd name="connsiteY3" fmla="*/ 0 h 257442"/>
                <a:gd name="connsiteX0" fmla="*/ 1784363 w 1784363"/>
                <a:gd name="connsiteY0" fmla="*/ 0 h 257442"/>
                <a:gd name="connsiteX1" fmla="*/ 1729642 w 1784363"/>
                <a:gd name="connsiteY1" fmla="*/ 257442 h 257442"/>
                <a:gd name="connsiteX2" fmla="*/ 0 w 1784363"/>
                <a:gd name="connsiteY2" fmla="*/ 257442 h 257442"/>
                <a:gd name="connsiteX3" fmla="*/ 0 w 1784363"/>
                <a:gd name="connsiteY3" fmla="*/ 0 h 257442"/>
                <a:gd name="connsiteX0" fmla="*/ 1784363 w 1784363"/>
                <a:gd name="connsiteY0" fmla="*/ 0 h 257442"/>
                <a:gd name="connsiteX1" fmla="*/ 1729642 w 1784363"/>
                <a:gd name="connsiteY1" fmla="*/ 257442 h 257442"/>
                <a:gd name="connsiteX2" fmla="*/ 0 w 1784363"/>
                <a:gd name="connsiteY2" fmla="*/ 257442 h 257442"/>
                <a:gd name="connsiteX3" fmla="*/ 0 w 1784363"/>
                <a:gd name="connsiteY3" fmla="*/ 0 h 257442"/>
                <a:gd name="connsiteX0" fmla="*/ 1784363 w 1784363"/>
                <a:gd name="connsiteY0" fmla="*/ 0 h 257442"/>
                <a:gd name="connsiteX1" fmla="*/ 1729642 w 1784363"/>
                <a:gd name="connsiteY1" fmla="*/ 257442 h 257442"/>
                <a:gd name="connsiteX2" fmla="*/ 0 w 1784363"/>
                <a:gd name="connsiteY2" fmla="*/ 257442 h 257442"/>
                <a:gd name="connsiteX3" fmla="*/ 0 w 1784363"/>
                <a:gd name="connsiteY3" fmla="*/ 0 h 257442"/>
                <a:gd name="connsiteX0" fmla="*/ 2034879 w 2034879"/>
                <a:gd name="connsiteY0" fmla="*/ 0 h 257442"/>
                <a:gd name="connsiteX1" fmla="*/ 1729642 w 2034879"/>
                <a:gd name="connsiteY1" fmla="*/ 257442 h 257442"/>
                <a:gd name="connsiteX2" fmla="*/ 0 w 2034879"/>
                <a:gd name="connsiteY2" fmla="*/ 257442 h 257442"/>
                <a:gd name="connsiteX3" fmla="*/ 0 w 2034879"/>
                <a:gd name="connsiteY3" fmla="*/ 0 h 257442"/>
                <a:gd name="connsiteX0" fmla="*/ 2034879 w 2034879"/>
                <a:gd name="connsiteY0" fmla="*/ 0 h 257442"/>
                <a:gd name="connsiteX1" fmla="*/ 1980158 w 2034879"/>
                <a:gd name="connsiteY1" fmla="*/ 257442 h 257442"/>
                <a:gd name="connsiteX2" fmla="*/ 0 w 2034879"/>
                <a:gd name="connsiteY2" fmla="*/ 257442 h 257442"/>
                <a:gd name="connsiteX3" fmla="*/ 0 w 2034879"/>
                <a:gd name="connsiteY3" fmla="*/ 0 h 257442"/>
                <a:gd name="connsiteX0" fmla="*/ 2034879 w 2034879"/>
                <a:gd name="connsiteY0" fmla="*/ 0 h 257442"/>
                <a:gd name="connsiteX1" fmla="*/ 1980158 w 2034879"/>
                <a:gd name="connsiteY1" fmla="*/ 257442 h 257442"/>
                <a:gd name="connsiteX2" fmla="*/ 0 w 2034879"/>
                <a:gd name="connsiteY2" fmla="*/ 257442 h 257442"/>
                <a:gd name="connsiteX3" fmla="*/ 0 w 2034879"/>
                <a:gd name="connsiteY3" fmla="*/ 0 h 257442"/>
                <a:gd name="connsiteX0" fmla="*/ 2034879 w 2034879"/>
                <a:gd name="connsiteY0" fmla="*/ 0 h 257442"/>
                <a:gd name="connsiteX1" fmla="*/ 1980158 w 2034879"/>
                <a:gd name="connsiteY1" fmla="*/ 257442 h 257442"/>
                <a:gd name="connsiteX2" fmla="*/ 0 w 2034879"/>
                <a:gd name="connsiteY2" fmla="*/ 257442 h 257442"/>
                <a:gd name="connsiteX3" fmla="*/ 0 w 2034879"/>
                <a:gd name="connsiteY3" fmla="*/ 0 h 257442"/>
                <a:gd name="connsiteX0" fmla="*/ 2203195 w 2203195"/>
                <a:gd name="connsiteY0" fmla="*/ 0 h 257442"/>
                <a:gd name="connsiteX1" fmla="*/ 1980158 w 2203195"/>
                <a:gd name="connsiteY1" fmla="*/ 257442 h 257442"/>
                <a:gd name="connsiteX2" fmla="*/ 0 w 2203195"/>
                <a:gd name="connsiteY2" fmla="*/ 257442 h 257442"/>
                <a:gd name="connsiteX3" fmla="*/ 0 w 2203195"/>
                <a:gd name="connsiteY3" fmla="*/ 0 h 257442"/>
                <a:gd name="connsiteX0" fmla="*/ 2203195 w 2203195"/>
                <a:gd name="connsiteY0" fmla="*/ 0 h 257442"/>
                <a:gd name="connsiteX1" fmla="*/ 2148474 w 2203195"/>
                <a:gd name="connsiteY1" fmla="*/ 257442 h 257442"/>
                <a:gd name="connsiteX2" fmla="*/ 0 w 2203195"/>
                <a:gd name="connsiteY2" fmla="*/ 257442 h 257442"/>
                <a:gd name="connsiteX3" fmla="*/ 0 w 2203195"/>
                <a:gd name="connsiteY3" fmla="*/ 0 h 257442"/>
                <a:gd name="connsiteX0" fmla="*/ 2203195 w 2203195"/>
                <a:gd name="connsiteY0" fmla="*/ 0 h 257442"/>
                <a:gd name="connsiteX1" fmla="*/ 2148474 w 2203195"/>
                <a:gd name="connsiteY1" fmla="*/ 257442 h 257442"/>
                <a:gd name="connsiteX2" fmla="*/ 0 w 2203195"/>
                <a:gd name="connsiteY2" fmla="*/ 257442 h 257442"/>
                <a:gd name="connsiteX3" fmla="*/ 0 w 2203195"/>
                <a:gd name="connsiteY3" fmla="*/ 0 h 257442"/>
                <a:gd name="connsiteX0" fmla="*/ 2203195 w 2203195"/>
                <a:gd name="connsiteY0" fmla="*/ 0 h 257442"/>
                <a:gd name="connsiteX1" fmla="*/ 2148474 w 2203195"/>
                <a:gd name="connsiteY1" fmla="*/ 257442 h 257442"/>
                <a:gd name="connsiteX2" fmla="*/ 0 w 2203195"/>
                <a:gd name="connsiteY2" fmla="*/ 257442 h 257442"/>
                <a:gd name="connsiteX3" fmla="*/ 0 w 2203195"/>
                <a:gd name="connsiteY3" fmla="*/ 0 h 257442"/>
                <a:gd name="connsiteX0" fmla="*/ 2363496 w 2363496"/>
                <a:gd name="connsiteY0" fmla="*/ 0 h 257442"/>
                <a:gd name="connsiteX1" fmla="*/ 2148474 w 2363496"/>
                <a:gd name="connsiteY1" fmla="*/ 257442 h 257442"/>
                <a:gd name="connsiteX2" fmla="*/ 0 w 2363496"/>
                <a:gd name="connsiteY2" fmla="*/ 257442 h 257442"/>
                <a:gd name="connsiteX3" fmla="*/ 0 w 2363496"/>
                <a:gd name="connsiteY3" fmla="*/ 0 h 257442"/>
                <a:gd name="connsiteX0" fmla="*/ 2363496 w 2363496"/>
                <a:gd name="connsiteY0" fmla="*/ 0 h 257442"/>
                <a:gd name="connsiteX1" fmla="*/ 2308774 w 2363496"/>
                <a:gd name="connsiteY1" fmla="*/ 257442 h 257442"/>
                <a:gd name="connsiteX2" fmla="*/ 0 w 2363496"/>
                <a:gd name="connsiteY2" fmla="*/ 257442 h 257442"/>
                <a:gd name="connsiteX3" fmla="*/ 0 w 2363496"/>
                <a:gd name="connsiteY3" fmla="*/ 0 h 257442"/>
                <a:gd name="connsiteX0" fmla="*/ 2363497 w 2363497"/>
                <a:gd name="connsiteY0" fmla="*/ 0 h 257442"/>
                <a:gd name="connsiteX1" fmla="*/ 2308775 w 2363497"/>
                <a:gd name="connsiteY1" fmla="*/ 257442 h 257442"/>
                <a:gd name="connsiteX2" fmla="*/ 0 w 2363497"/>
                <a:gd name="connsiteY2" fmla="*/ 257442 h 257442"/>
                <a:gd name="connsiteX3" fmla="*/ 1 w 2363497"/>
                <a:gd name="connsiteY3" fmla="*/ 0 h 257442"/>
                <a:gd name="connsiteX0" fmla="*/ 2363497 w 2363497"/>
                <a:gd name="connsiteY0" fmla="*/ 0 h 257442"/>
                <a:gd name="connsiteX1" fmla="*/ 2308775 w 2363497"/>
                <a:gd name="connsiteY1" fmla="*/ 257442 h 257442"/>
                <a:gd name="connsiteX2" fmla="*/ 0 w 2363497"/>
                <a:gd name="connsiteY2" fmla="*/ 257442 h 257442"/>
                <a:gd name="connsiteX3" fmla="*/ 1 w 2363497"/>
                <a:gd name="connsiteY3" fmla="*/ 0 h 257442"/>
                <a:gd name="connsiteX0" fmla="*/ 2531811 w 2531811"/>
                <a:gd name="connsiteY0" fmla="*/ 0 h 257442"/>
                <a:gd name="connsiteX1" fmla="*/ 2308775 w 2531811"/>
                <a:gd name="connsiteY1" fmla="*/ 257442 h 257442"/>
                <a:gd name="connsiteX2" fmla="*/ 0 w 2531811"/>
                <a:gd name="connsiteY2" fmla="*/ 257442 h 257442"/>
                <a:gd name="connsiteX3" fmla="*/ 1 w 2531811"/>
                <a:gd name="connsiteY3" fmla="*/ 0 h 257442"/>
                <a:gd name="connsiteX0" fmla="*/ 2531811 w 2531811"/>
                <a:gd name="connsiteY0" fmla="*/ 0 h 257442"/>
                <a:gd name="connsiteX1" fmla="*/ 2477090 w 2531811"/>
                <a:gd name="connsiteY1" fmla="*/ 257442 h 257442"/>
                <a:gd name="connsiteX2" fmla="*/ 0 w 2531811"/>
                <a:gd name="connsiteY2" fmla="*/ 257442 h 257442"/>
                <a:gd name="connsiteX3" fmla="*/ 1 w 2531811"/>
                <a:gd name="connsiteY3" fmla="*/ 0 h 257442"/>
                <a:gd name="connsiteX0" fmla="*/ 2531810 w 2531810"/>
                <a:gd name="connsiteY0" fmla="*/ 0 h 257442"/>
                <a:gd name="connsiteX1" fmla="*/ 2477089 w 2531810"/>
                <a:gd name="connsiteY1" fmla="*/ 257442 h 257442"/>
                <a:gd name="connsiteX2" fmla="*/ 0 w 2531810"/>
                <a:gd name="connsiteY2" fmla="*/ 257442 h 257442"/>
                <a:gd name="connsiteX3" fmla="*/ 0 w 2531810"/>
                <a:gd name="connsiteY3" fmla="*/ 0 h 257442"/>
                <a:gd name="connsiteX0" fmla="*/ 2531811 w 2531811"/>
                <a:gd name="connsiteY0" fmla="*/ 0 h 257442"/>
                <a:gd name="connsiteX1" fmla="*/ 2477090 w 2531811"/>
                <a:gd name="connsiteY1" fmla="*/ 257442 h 257442"/>
                <a:gd name="connsiteX2" fmla="*/ 1 w 2531811"/>
                <a:gd name="connsiteY2" fmla="*/ 257442 h 257442"/>
                <a:gd name="connsiteX3" fmla="*/ 0 w 2531811"/>
                <a:gd name="connsiteY3" fmla="*/ 0 h 257442"/>
                <a:gd name="connsiteX0" fmla="*/ 2700127 w 2700127"/>
                <a:gd name="connsiteY0" fmla="*/ 0 h 257442"/>
                <a:gd name="connsiteX1" fmla="*/ 2477090 w 2700127"/>
                <a:gd name="connsiteY1" fmla="*/ 257442 h 257442"/>
                <a:gd name="connsiteX2" fmla="*/ 1 w 2700127"/>
                <a:gd name="connsiteY2" fmla="*/ 257442 h 257442"/>
                <a:gd name="connsiteX3" fmla="*/ 0 w 2700127"/>
                <a:gd name="connsiteY3" fmla="*/ 0 h 257442"/>
                <a:gd name="connsiteX0" fmla="*/ 2700127 w 2700127"/>
                <a:gd name="connsiteY0" fmla="*/ 0 h 257442"/>
                <a:gd name="connsiteX1" fmla="*/ 2645406 w 2700127"/>
                <a:gd name="connsiteY1" fmla="*/ 257442 h 257442"/>
                <a:gd name="connsiteX2" fmla="*/ 1 w 2700127"/>
                <a:gd name="connsiteY2" fmla="*/ 257442 h 257442"/>
                <a:gd name="connsiteX3" fmla="*/ 0 w 2700127"/>
                <a:gd name="connsiteY3" fmla="*/ 0 h 257442"/>
                <a:gd name="connsiteX0" fmla="*/ 2700127 w 2700127"/>
                <a:gd name="connsiteY0" fmla="*/ 0 h 257442"/>
                <a:gd name="connsiteX1" fmla="*/ 2645406 w 2700127"/>
                <a:gd name="connsiteY1" fmla="*/ 257442 h 257442"/>
                <a:gd name="connsiteX2" fmla="*/ 1 w 2700127"/>
                <a:gd name="connsiteY2" fmla="*/ 257442 h 257442"/>
                <a:gd name="connsiteX3" fmla="*/ 0 w 2700127"/>
                <a:gd name="connsiteY3" fmla="*/ 0 h 257442"/>
                <a:gd name="connsiteX0" fmla="*/ 2700126 w 2700126"/>
                <a:gd name="connsiteY0" fmla="*/ 0 h 257442"/>
                <a:gd name="connsiteX1" fmla="*/ 2645405 w 2700126"/>
                <a:gd name="connsiteY1" fmla="*/ 257442 h 257442"/>
                <a:gd name="connsiteX2" fmla="*/ 0 w 2700126"/>
                <a:gd name="connsiteY2" fmla="*/ 257442 h 257442"/>
                <a:gd name="connsiteX3" fmla="*/ 0 w 2700126"/>
                <a:gd name="connsiteY3" fmla="*/ 0 h 257442"/>
                <a:gd name="connsiteX0" fmla="*/ 2886074 w 2886074"/>
                <a:gd name="connsiteY0" fmla="*/ 0 h 257442"/>
                <a:gd name="connsiteX1" fmla="*/ 2645405 w 2886074"/>
                <a:gd name="connsiteY1" fmla="*/ 257442 h 257442"/>
                <a:gd name="connsiteX2" fmla="*/ 0 w 2886074"/>
                <a:gd name="connsiteY2" fmla="*/ 257442 h 257442"/>
                <a:gd name="connsiteX3" fmla="*/ 0 w 2886074"/>
                <a:gd name="connsiteY3" fmla="*/ 0 h 257442"/>
                <a:gd name="connsiteX0" fmla="*/ 2886074 w 2886074"/>
                <a:gd name="connsiteY0" fmla="*/ 0 h 257442"/>
                <a:gd name="connsiteX1" fmla="*/ 2831353 w 2886074"/>
                <a:gd name="connsiteY1" fmla="*/ 257442 h 257442"/>
                <a:gd name="connsiteX2" fmla="*/ 0 w 2886074"/>
                <a:gd name="connsiteY2" fmla="*/ 257442 h 257442"/>
                <a:gd name="connsiteX3" fmla="*/ 0 w 2886074"/>
                <a:gd name="connsiteY3" fmla="*/ 0 h 257442"/>
                <a:gd name="connsiteX0" fmla="*/ 2886075 w 2886075"/>
                <a:gd name="connsiteY0" fmla="*/ 0 h 257442"/>
                <a:gd name="connsiteX1" fmla="*/ 2831354 w 2886075"/>
                <a:gd name="connsiteY1" fmla="*/ 257442 h 257442"/>
                <a:gd name="connsiteX2" fmla="*/ 0 w 2886075"/>
                <a:gd name="connsiteY2" fmla="*/ 257442 h 257442"/>
                <a:gd name="connsiteX3" fmla="*/ 1 w 2886075"/>
                <a:gd name="connsiteY3" fmla="*/ 0 h 257442"/>
                <a:gd name="connsiteX0" fmla="*/ 2886075 w 2886075"/>
                <a:gd name="connsiteY0" fmla="*/ 0 h 257442"/>
                <a:gd name="connsiteX1" fmla="*/ 2831354 w 2886075"/>
                <a:gd name="connsiteY1" fmla="*/ 257442 h 257442"/>
                <a:gd name="connsiteX2" fmla="*/ 0 w 2886075"/>
                <a:gd name="connsiteY2" fmla="*/ 257442 h 257442"/>
                <a:gd name="connsiteX3" fmla="*/ 1 w 2886075"/>
                <a:gd name="connsiteY3" fmla="*/ 0 h 257442"/>
                <a:gd name="connsiteX0" fmla="*/ 3155380 w 3155380"/>
                <a:gd name="connsiteY0" fmla="*/ 0 h 257442"/>
                <a:gd name="connsiteX1" fmla="*/ 2831354 w 3155380"/>
                <a:gd name="connsiteY1" fmla="*/ 257442 h 257442"/>
                <a:gd name="connsiteX2" fmla="*/ 0 w 3155380"/>
                <a:gd name="connsiteY2" fmla="*/ 257442 h 257442"/>
                <a:gd name="connsiteX3" fmla="*/ 1 w 3155380"/>
                <a:gd name="connsiteY3" fmla="*/ 0 h 257442"/>
                <a:gd name="connsiteX0" fmla="*/ 3155380 w 3155380"/>
                <a:gd name="connsiteY0" fmla="*/ 0 h 257442"/>
                <a:gd name="connsiteX1" fmla="*/ 3100658 w 3155380"/>
                <a:gd name="connsiteY1" fmla="*/ 257442 h 257442"/>
                <a:gd name="connsiteX2" fmla="*/ 0 w 3155380"/>
                <a:gd name="connsiteY2" fmla="*/ 257442 h 257442"/>
                <a:gd name="connsiteX3" fmla="*/ 1 w 3155380"/>
                <a:gd name="connsiteY3" fmla="*/ 0 h 257442"/>
                <a:gd name="connsiteX0" fmla="*/ 3155380 w 3155380"/>
                <a:gd name="connsiteY0" fmla="*/ 0 h 257442"/>
                <a:gd name="connsiteX1" fmla="*/ 3100658 w 3155380"/>
                <a:gd name="connsiteY1" fmla="*/ 257442 h 257442"/>
                <a:gd name="connsiteX2" fmla="*/ 0 w 3155380"/>
                <a:gd name="connsiteY2" fmla="*/ 257442 h 257442"/>
                <a:gd name="connsiteX3" fmla="*/ 1 w 3155380"/>
                <a:gd name="connsiteY3" fmla="*/ 0 h 257442"/>
                <a:gd name="connsiteX0" fmla="*/ 3155380 w 3155380"/>
                <a:gd name="connsiteY0" fmla="*/ 0 h 257442"/>
                <a:gd name="connsiteX1" fmla="*/ 3100658 w 3155380"/>
                <a:gd name="connsiteY1" fmla="*/ 257442 h 257442"/>
                <a:gd name="connsiteX2" fmla="*/ 0 w 3155380"/>
                <a:gd name="connsiteY2" fmla="*/ 257442 h 257442"/>
                <a:gd name="connsiteX3" fmla="*/ 0 w 3155380"/>
                <a:gd name="connsiteY3" fmla="*/ 0 h 257442"/>
                <a:gd name="connsiteX0" fmla="*/ 3315679 w 3315679"/>
                <a:gd name="connsiteY0" fmla="*/ 0 h 257442"/>
                <a:gd name="connsiteX1" fmla="*/ 3100658 w 3315679"/>
                <a:gd name="connsiteY1" fmla="*/ 257442 h 257442"/>
                <a:gd name="connsiteX2" fmla="*/ 0 w 3315679"/>
                <a:gd name="connsiteY2" fmla="*/ 257442 h 257442"/>
                <a:gd name="connsiteX3" fmla="*/ 0 w 3315679"/>
                <a:gd name="connsiteY3" fmla="*/ 0 h 257442"/>
                <a:gd name="connsiteX0" fmla="*/ 3315679 w 3315679"/>
                <a:gd name="connsiteY0" fmla="*/ 0 h 257442"/>
                <a:gd name="connsiteX1" fmla="*/ 3260958 w 3315679"/>
                <a:gd name="connsiteY1" fmla="*/ 257442 h 257442"/>
                <a:gd name="connsiteX2" fmla="*/ 0 w 3315679"/>
                <a:gd name="connsiteY2" fmla="*/ 257442 h 257442"/>
                <a:gd name="connsiteX3" fmla="*/ 0 w 3315679"/>
                <a:gd name="connsiteY3" fmla="*/ 0 h 257442"/>
                <a:gd name="connsiteX0" fmla="*/ 3315679 w 3315679"/>
                <a:gd name="connsiteY0" fmla="*/ 0 h 257442"/>
                <a:gd name="connsiteX1" fmla="*/ 3260958 w 3315679"/>
                <a:gd name="connsiteY1" fmla="*/ 257442 h 257442"/>
                <a:gd name="connsiteX2" fmla="*/ 0 w 3315679"/>
                <a:gd name="connsiteY2" fmla="*/ 257442 h 257442"/>
                <a:gd name="connsiteX3" fmla="*/ 0 w 3315679"/>
                <a:gd name="connsiteY3" fmla="*/ 0 h 257442"/>
                <a:gd name="connsiteX0" fmla="*/ 3315679 w 3315679"/>
                <a:gd name="connsiteY0" fmla="*/ 0 h 257442"/>
                <a:gd name="connsiteX1" fmla="*/ 3260958 w 3315679"/>
                <a:gd name="connsiteY1" fmla="*/ 257442 h 257442"/>
                <a:gd name="connsiteX2" fmla="*/ 0 w 3315679"/>
                <a:gd name="connsiteY2" fmla="*/ 257442 h 257442"/>
                <a:gd name="connsiteX3" fmla="*/ 0 w 3315679"/>
                <a:gd name="connsiteY3" fmla="*/ 0 h 257442"/>
                <a:gd name="connsiteX0" fmla="*/ 942786 w 3260958"/>
                <a:gd name="connsiteY0" fmla="*/ 0 h 257442"/>
                <a:gd name="connsiteX1" fmla="*/ 3260958 w 3260958"/>
                <a:gd name="connsiteY1" fmla="*/ 257442 h 257442"/>
                <a:gd name="connsiteX2" fmla="*/ 0 w 3260958"/>
                <a:gd name="connsiteY2" fmla="*/ 257442 h 257442"/>
                <a:gd name="connsiteX3" fmla="*/ 0 w 3260958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1270248 w 1270248"/>
                <a:gd name="connsiteY0" fmla="*/ 0 h 257442"/>
                <a:gd name="connsiteX1" fmla="*/ 888065 w 1270248"/>
                <a:gd name="connsiteY1" fmla="*/ 257442 h 257442"/>
                <a:gd name="connsiteX2" fmla="*/ 0 w 1270248"/>
                <a:gd name="connsiteY2" fmla="*/ 257442 h 257442"/>
                <a:gd name="connsiteX3" fmla="*/ 0 w 1270248"/>
                <a:gd name="connsiteY3" fmla="*/ 0 h 257442"/>
                <a:gd name="connsiteX0" fmla="*/ 1270248 w 1270248"/>
                <a:gd name="connsiteY0" fmla="*/ 0 h 257442"/>
                <a:gd name="connsiteX1" fmla="*/ 1215527 w 1270248"/>
                <a:gd name="connsiteY1" fmla="*/ 257442 h 257442"/>
                <a:gd name="connsiteX2" fmla="*/ 0 w 1270248"/>
                <a:gd name="connsiteY2" fmla="*/ 257442 h 257442"/>
                <a:gd name="connsiteX3" fmla="*/ 0 w 1270248"/>
                <a:gd name="connsiteY3" fmla="*/ 0 h 257442"/>
                <a:gd name="connsiteX0" fmla="*/ 1270248 w 1270248"/>
                <a:gd name="connsiteY0" fmla="*/ 0 h 257442"/>
                <a:gd name="connsiteX1" fmla="*/ 1215527 w 1270248"/>
                <a:gd name="connsiteY1" fmla="*/ 257442 h 257442"/>
                <a:gd name="connsiteX2" fmla="*/ 0 w 1270248"/>
                <a:gd name="connsiteY2" fmla="*/ 257442 h 257442"/>
                <a:gd name="connsiteX3" fmla="*/ 0 w 1270248"/>
                <a:gd name="connsiteY3" fmla="*/ 0 h 257442"/>
                <a:gd name="connsiteX0" fmla="*/ 1270248 w 1270248"/>
                <a:gd name="connsiteY0" fmla="*/ 0 h 257442"/>
                <a:gd name="connsiteX1" fmla="*/ 1215527 w 1270248"/>
                <a:gd name="connsiteY1" fmla="*/ 257442 h 257442"/>
                <a:gd name="connsiteX2" fmla="*/ 0 w 1270248"/>
                <a:gd name="connsiteY2" fmla="*/ 257442 h 257442"/>
                <a:gd name="connsiteX3" fmla="*/ 0 w 1270248"/>
                <a:gd name="connsiteY3" fmla="*/ 0 h 257442"/>
                <a:gd name="connsiteX0" fmla="*/ 1438562 w 1438562"/>
                <a:gd name="connsiteY0" fmla="*/ 0 h 257442"/>
                <a:gd name="connsiteX1" fmla="*/ 1215527 w 1438562"/>
                <a:gd name="connsiteY1" fmla="*/ 257442 h 257442"/>
                <a:gd name="connsiteX2" fmla="*/ 0 w 1438562"/>
                <a:gd name="connsiteY2" fmla="*/ 257442 h 257442"/>
                <a:gd name="connsiteX3" fmla="*/ 0 w 1438562"/>
                <a:gd name="connsiteY3" fmla="*/ 0 h 257442"/>
                <a:gd name="connsiteX0" fmla="*/ 1438562 w 1438562"/>
                <a:gd name="connsiteY0" fmla="*/ 0 h 257442"/>
                <a:gd name="connsiteX1" fmla="*/ 1383841 w 1438562"/>
                <a:gd name="connsiteY1" fmla="*/ 257442 h 257442"/>
                <a:gd name="connsiteX2" fmla="*/ 0 w 1438562"/>
                <a:gd name="connsiteY2" fmla="*/ 257442 h 257442"/>
                <a:gd name="connsiteX3" fmla="*/ 0 w 1438562"/>
                <a:gd name="connsiteY3" fmla="*/ 0 h 257442"/>
                <a:gd name="connsiteX0" fmla="*/ 1438562 w 1438562"/>
                <a:gd name="connsiteY0" fmla="*/ 0 h 257442"/>
                <a:gd name="connsiteX1" fmla="*/ 1383841 w 1438562"/>
                <a:gd name="connsiteY1" fmla="*/ 257442 h 257442"/>
                <a:gd name="connsiteX2" fmla="*/ 0 w 1438562"/>
                <a:gd name="connsiteY2" fmla="*/ 257442 h 257442"/>
                <a:gd name="connsiteX3" fmla="*/ 0 w 1438562"/>
                <a:gd name="connsiteY3" fmla="*/ 0 h 257442"/>
                <a:gd name="connsiteX0" fmla="*/ 1438562 w 1438562"/>
                <a:gd name="connsiteY0" fmla="*/ 0 h 257442"/>
                <a:gd name="connsiteX1" fmla="*/ 1383841 w 1438562"/>
                <a:gd name="connsiteY1" fmla="*/ 257442 h 257442"/>
                <a:gd name="connsiteX2" fmla="*/ 0 w 1438562"/>
                <a:gd name="connsiteY2" fmla="*/ 257442 h 257442"/>
                <a:gd name="connsiteX3" fmla="*/ 0 w 1438562"/>
                <a:gd name="connsiteY3" fmla="*/ 0 h 257442"/>
                <a:gd name="connsiteX0" fmla="*/ 1707867 w 1707867"/>
                <a:gd name="connsiteY0" fmla="*/ 0 h 257442"/>
                <a:gd name="connsiteX1" fmla="*/ 1383841 w 1707867"/>
                <a:gd name="connsiteY1" fmla="*/ 257442 h 257442"/>
                <a:gd name="connsiteX2" fmla="*/ 0 w 1707867"/>
                <a:gd name="connsiteY2" fmla="*/ 257442 h 257442"/>
                <a:gd name="connsiteX3" fmla="*/ 0 w 1707867"/>
                <a:gd name="connsiteY3" fmla="*/ 0 h 257442"/>
                <a:gd name="connsiteX0" fmla="*/ 1707867 w 1707867"/>
                <a:gd name="connsiteY0" fmla="*/ 0 h 257442"/>
                <a:gd name="connsiteX1" fmla="*/ 1653146 w 1707867"/>
                <a:gd name="connsiteY1" fmla="*/ 257442 h 257442"/>
                <a:gd name="connsiteX2" fmla="*/ 0 w 1707867"/>
                <a:gd name="connsiteY2" fmla="*/ 257442 h 257442"/>
                <a:gd name="connsiteX3" fmla="*/ 0 w 1707867"/>
                <a:gd name="connsiteY3" fmla="*/ 0 h 257442"/>
                <a:gd name="connsiteX0" fmla="*/ 1707867 w 1707867"/>
                <a:gd name="connsiteY0" fmla="*/ 0 h 257442"/>
                <a:gd name="connsiteX1" fmla="*/ 1653146 w 1707867"/>
                <a:gd name="connsiteY1" fmla="*/ 257442 h 257442"/>
                <a:gd name="connsiteX2" fmla="*/ 0 w 1707867"/>
                <a:gd name="connsiteY2" fmla="*/ 257442 h 257442"/>
                <a:gd name="connsiteX3" fmla="*/ 0 w 1707867"/>
                <a:gd name="connsiteY3" fmla="*/ 0 h 257442"/>
                <a:gd name="connsiteX0" fmla="*/ 1707867 w 1707867"/>
                <a:gd name="connsiteY0" fmla="*/ 0 h 257442"/>
                <a:gd name="connsiteX1" fmla="*/ 1653146 w 1707867"/>
                <a:gd name="connsiteY1" fmla="*/ 257442 h 257442"/>
                <a:gd name="connsiteX2" fmla="*/ 0 w 1707867"/>
                <a:gd name="connsiteY2" fmla="*/ 257442 h 257442"/>
                <a:gd name="connsiteX3" fmla="*/ 0 w 1707867"/>
                <a:gd name="connsiteY3" fmla="*/ 0 h 257442"/>
                <a:gd name="connsiteX0" fmla="*/ 1876183 w 1876183"/>
                <a:gd name="connsiteY0" fmla="*/ 0 h 257442"/>
                <a:gd name="connsiteX1" fmla="*/ 1653146 w 1876183"/>
                <a:gd name="connsiteY1" fmla="*/ 257442 h 257442"/>
                <a:gd name="connsiteX2" fmla="*/ 0 w 1876183"/>
                <a:gd name="connsiteY2" fmla="*/ 257442 h 257442"/>
                <a:gd name="connsiteX3" fmla="*/ 0 w 1876183"/>
                <a:gd name="connsiteY3" fmla="*/ 0 h 257442"/>
                <a:gd name="connsiteX0" fmla="*/ 1876183 w 1876183"/>
                <a:gd name="connsiteY0" fmla="*/ 0 h 257442"/>
                <a:gd name="connsiteX1" fmla="*/ 1821462 w 1876183"/>
                <a:gd name="connsiteY1" fmla="*/ 257442 h 257442"/>
                <a:gd name="connsiteX2" fmla="*/ 0 w 1876183"/>
                <a:gd name="connsiteY2" fmla="*/ 257442 h 257442"/>
                <a:gd name="connsiteX3" fmla="*/ 0 w 1876183"/>
                <a:gd name="connsiteY3" fmla="*/ 0 h 257442"/>
                <a:gd name="connsiteX0" fmla="*/ 1876183 w 1876183"/>
                <a:gd name="connsiteY0" fmla="*/ 0 h 257442"/>
                <a:gd name="connsiteX1" fmla="*/ 1821462 w 1876183"/>
                <a:gd name="connsiteY1" fmla="*/ 257442 h 257442"/>
                <a:gd name="connsiteX2" fmla="*/ 0 w 1876183"/>
                <a:gd name="connsiteY2" fmla="*/ 257442 h 257442"/>
                <a:gd name="connsiteX3" fmla="*/ 0 w 1876183"/>
                <a:gd name="connsiteY3" fmla="*/ 0 h 257442"/>
                <a:gd name="connsiteX0" fmla="*/ 1876183 w 1876183"/>
                <a:gd name="connsiteY0" fmla="*/ 0 h 257442"/>
                <a:gd name="connsiteX1" fmla="*/ 1821462 w 1876183"/>
                <a:gd name="connsiteY1" fmla="*/ 257442 h 257442"/>
                <a:gd name="connsiteX2" fmla="*/ 0 w 1876183"/>
                <a:gd name="connsiteY2" fmla="*/ 257442 h 257442"/>
                <a:gd name="connsiteX3" fmla="*/ 0 w 1876183"/>
                <a:gd name="connsiteY3" fmla="*/ 0 h 257442"/>
                <a:gd name="connsiteX0" fmla="*/ 2044497 w 2044497"/>
                <a:gd name="connsiteY0" fmla="*/ 0 h 257442"/>
                <a:gd name="connsiteX1" fmla="*/ 1821462 w 2044497"/>
                <a:gd name="connsiteY1" fmla="*/ 257442 h 257442"/>
                <a:gd name="connsiteX2" fmla="*/ 0 w 2044497"/>
                <a:gd name="connsiteY2" fmla="*/ 257442 h 257442"/>
                <a:gd name="connsiteX3" fmla="*/ 0 w 2044497"/>
                <a:gd name="connsiteY3" fmla="*/ 0 h 257442"/>
                <a:gd name="connsiteX0" fmla="*/ 2044497 w 2044497"/>
                <a:gd name="connsiteY0" fmla="*/ 0 h 257442"/>
                <a:gd name="connsiteX1" fmla="*/ 1989776 w 2044497"/>
                <a:gd name="connsiteY1" fmla="*/ 257442 h 257442"/>
                <a:gd name="connsiteX2" fmla="*/ 0 w 2044497"/>
                <a:gd name="connsiteY2" fmla="*/ 257442 h 257442"/>
                <a:gd name="connsiteX3" fmla="*/ 0 w 2044497"/>
                <a:gd name="connsiteY3" fmla="*/ 0 h 257442"/>
                <a:gd name="connsiteX0" fmla="*/ 2044497 w 2044497"/>
                <a:gd name="connsiteY0" fmla="*/ 0 h 257442"/>
                <a:gd name="connsiteX1" fmla="*/ 1989776 w 2044497"/>
                <a:gd name="connsiteY1" fmla="*/ 257442 h 257442"/>
                <a:gd name="connsiteX2" fmla="*/ 0 w 2044497"/>
                <a:gd name="connsiteY2" fmla="*/ 257442 h 257442"/>
                <a:gd name="connsiteX3" fmla="*/ 0 w 2044497"/>
                <a:gd name="connsiteY3" fmla="*/ 0 h 257442"/>
                <a:gd name="connsiteX0" fmla="*/ 2044497 w 2044497"/>
                <a:gd name="connsiteY0" fmla="*/ 0 h 257442"/>
                <a:gd name="connsiteX1" fmla="*/ 1989776 w 2044497"/>
                <a:gd name="connsiteY1" fmla="*/ 257442 h 257442"/>
                <a:gd name="connsiteX2" fmla="*/ 0 w 2044497"/>
                <a:gd name="connsiteY2" fmla="*/ 257442 h 257442"/>
                <a:gd name="connsiteX3" fmla="*/ 0 w 2044497"/>
                <a:gd name="connsiteY3" fmla="*/ 0 h 257442"/>
                <a:gd name="connsiteX0" fmla="*/ 2212813 w 2212813"/>
                <a:gd name="connsiteY0" fmla="*/ 0 h 257442"/>
                <a:gd name="connsiteX1" fmla="*/ 1989776 w 2212813"/>
                <a:gd name="connsiteY1" fmla="*/ 257442 h 257442"/>
                <a:gd name="connsiteX2" fmla="*/ 0 w 2212813"/>
                <a:gd name="connsiteY2" fmla="*/ 257442 h 257442"/>
                <a:gd name="connsiteX3" fmla="*/ 0 w 2212813"/>
                <a:gd name="connsiteY3" fmla="*/ 0 h 257442"/>
                <a:gd name="connsiteX0" fmla="*/ 2212813 w 2212813"/>
                <a:gd name="connsiteY0" fmla="*/ 0 h 257442"/>
                <a:gd name="connsiteX1" fmla="*/ 2158092 w 2212813"/>
                <a:gd name="connsiteY1" fmla="*/ 257442 h 257442"/>
                <a:gd name="connsiteX2" fmla="*/ 0 w 2212813"/>
                <a:gd name="connsiteY2" fmla="*/ 257442 h 257442"/>
                <a:gd name="connsiteX3" fmla="*/ 0 w 2212813"/>
                <a:gd name="connsiteY3" fmla="*/ 0 h 257442"/>
                <a:gd name="connsiteX0" fmla="*/ 2212813 w 2212813"/>
                <a:gd name="connsiteY0" fmla="*/ 0 h 257442"/>
                <a:gd name="connsiteX1" fmla="*/ 2158092 w 2212813"/>
                <a:gd name="connsiteY1" fmla="*/ 257442 h 257442"/>
                <a:gd name="connsiteX2" fmla="*/ 0 w 2212813"/>
                <a:gd name="connsiteY2" fmla="*/ 257442 h 257442"/>
                <a:gd name="connsiteX3" fmla="*/ 0 w 2212813"/>
                <a:gd name="connsiteY3" fmla="*/ 0 h 257442"/>
                <a:gd name="connsiteX0" fmla="*/ 2212813 w 2212813"/>
                <a:gd name="connsiteY0" fmla="*/ 0 h 257442"/>
                <a:gd name="connsiteX1" fmla="*/ 2158092 w 2212813"/>
                <a:gd name="connsiteY1" fmla="*/ 257442 h 257442"/>
                <a:gd name="connsiteX2" fmla="*/ 0 w 2212813"/>
                <a:gd name="connsiteY2" fmla="*/ 257442 h 257442"/>
                <a:gd name="connsiteX3" fmla="*/ 0 w 2212813"/>
                <a:gd name="connsiteY3" fmla="*/ 0 h 257442"/>
                <a:gd name="connsiteX0" fmla="*/ 2381128 w 2381128"/>
                <a:gd name="connsiteY0" fmla="*/ 0 h 257442"/>
                <a:gd name="connsiteX1" fmla="*/ 2158092 w 2381128"/>
                <a:gd name="connsiteY1" fmla="*/ 257442 h 257442"/>
                <a:gd name="connsiteX2" fmla="*/ 0 w 2381128"/>
                <a:gd name="connsiteY2" fmla="*/ 257442 h 257442"/>
                <a:gd name="connsiteX3" fmla="*/ 0 w 2381128"/>
                <a:gd name="connsiteY3" fmla="*/ 0 h 257442"/>
                <a:gd name="connsiteX0" fmla="*/ 2381128 w 2381128"/>
                <a:gd name="connsiteY0" fmla="*/ 0 h 257442"/>
                <a:gd name="connsiteX1" fmla="*/ 2326406 w 2381128"/>
                <a:gd name="connsiteY1" fmla="*/ 257442 h 257442"/>
                <a:gd name="connsiteX2" fmla="*/ 0 w 2381128"/>
                <a:gd name="connsiteY2" fmla="*/ 257442 h 257442"/>
                <a:gd name="connsiteX3" fmla="*/ 0 w 2381128"/>
                <a:gd name="connsiteY3" fmla="*/ 0 h 257442"/>
                <a:gd name="connsiteX0" fmla="*/ 2381129 w 2381129"/>
                <a:gd name="connsiteY0" fmla="*/ 0 h 257442"/>
                <a:gd name="connsiteX1" fmla="*/ 2326407 w 2381129"/>
                <a:gd name="connsiteY1" fmla="*/ 257442 h 257442"/>
                <a:gd name="connsiteX2" fmla="*/ 0 w 2381129"/>
                <a:gd name="connsiteY2" fmla="*/ 257442 h 257442"/>
                <a:gd name="connsiteX3" fmla="*/ 1 w 2381129"/>
                <a:gd name="connsiteY3" fmla="*/ 0 h 257442"/>
                <a:gd name="connsiteX0" fmla="*/ 2381129 w 2381129"/>
                <a:gd name="connsiteY0" fmla="*/ 0 h 257442"/>
                <a:gd name="connsiteX1" fmla="*/ 2326407 w 2381129"/>
                <a:gd name="connsiteY1" fmla="*/ 257442 h 257442"/>
                <a:gd name="connsiteX2" fmla="*/ 0 w 2381129"/>
                <a:gd name="connsiteY2" fmla="*/ 257442 h 257442"/>
                <a:gd name="connsiteX3" fmla="*/ 1 w 2381129"/>
                <a:gd name="connsiteY3" fmla="*/ 0 h 257442"/>
                <a:gd name="connsiteX0" fmla="*/ 2541429 w 2541429"/>
                <a:gd name="connsiteY0" fmla="*/ 0 h 257442"/>
                <a:gd name="connsiteX1" fmla="*/ 2326407 w 2541429"/>
                <a:gd name="connsiteY1" fmla="*/ 257442 h 257442"/>
                <a:gd name="connsiteX2" fmla="*/ 0 w 2541429"/>
                <a:gd name="connsiteY2" fmla="*/ 257442 h 257442"/>
                <a:gd name="connsiteX3" fmla="*/ 1 w 2541429"/>
                <a:gd name="connsiteY3" fmla="*/ 0 h 257442"/>
                <a:gd name="connsiteX0" fmla="*/ 2541429 w 2541429"/>
                <a:gd name="connsiteY0" fmla="*/ 0 h 257442"/>
                <a:gd name="connsiteX1" fmla="*/ 2486708 w 2541429"/>
                <a:gd name="connsiteY1" fmla="*/ 257442 h 257442"/>
                <a:gd name="connsiteX2" fmla="*/ 0 w 2541429"/>
                <a:gd name="connsiteY2" fmla="*/ 257442 h 257442"/>
                <a:gd name="connsiteX3" fmla="*/ 1 w 2541429"/>
                <a:gd name="connsiteY3" fmla="*/ 0 h 257442"/>
                <a:gd name="connsiteX0" fmla="*/ 2541428 w 2541428"/>
                <a:gd name="connsiteY0" fmla="*/ 0 h 257442"/>
                <a:gd name="connsiteX1" fmla="*/ 2486707 w 2541428"/>
                <a:gd name="connsiteY1" fmla="*/ 257442 h 257442"/>
                <a:gd name="connsiteX2" fmla="*/ 0 w 2541428"/>
                <a:gd name="connsiteY2" fmla="*/ 257442 h 257442"/>
                <a:gd name="connsiteX3" fmla="*/ 0 w 2541428"/>
                <a:gd name="connsiteY3" fmla="*/ 0 h 257442"/>
                <a:gd name="connsiteX0" fmla="*/ 2541429 w 2541429"/>
                <a:gd name="connsiteY0" fmla="*/ 0 h 257442"/>
                <a:gd name="connsiteX1" fmla="*/ 2486708 w 2541429"/>
                <a:gd name="connsiteY1" fmla="*/ 257442 h 257442"/>
                <a:gd name="connsiteX2" fmla="*/ 1 w 2541429"/>
                <a:gd name="connsiteY2" fmla="*/ 257442 h 257442"/>
                <a:gd name="connsiteX3" fmla="*/ 0 w 2541429"/>
                <a:gd name="connsiteY3" fmla="*/ 0 h 257442"/>
                <a:gd name="connsiteX0" fmla="*/ 2862030 w 2862030"/>
                <a:gd name="connsiteY0" fmla="*/ 0 h 257442"/>
                <a:gd name="connsiteX1" fmla="*/ 2486708 w 2862030"/>
                <a:gd name="connsiteY1" fmla="*/ 257442 h 257442"/>
                <a:gd name="connsiteX2" fmla="*/ 1 w 2862030"/>
                <a:gd name="connsiteY2" fmla="*/ 257442 h 257442"/>
                <a:gd name="connsiteX3" fmla="*/ 0 w 2862030"/>
                <a:gd name="connsiteY3" fmla="*/ 0 h 257442"/>
                <a:gd name="connsiteX0" fmla="*/ 2862030 w 2862030"/>
                <a:gd name="connsiteY0" fmla="*/ 0 h 257442"/>
                <a:gd name="connsiteX1" fmla="*/ 2807308 w 2862030"/>
                <a:gd name="connsiteY1" fmla="*/ 257442 h 257442"/>
                <a:gd name="connsiteX2" fmla="*/ 1 w 2862030"/>
                <a:gd name="connsiteY2" fmla="*/ 257442 h 257442"/>
                <a:gd name="connsiteX3" fmla="*/ 0 w 2862030"/>
                <a:gd name="connsiteY3" fmla="*/ 0 h 257442"/>
                <a:gd name="connsiteX0" fmla="*/ 2862030 w 2862030"/>
                <a:gd name="connsiteY0" fmla="*/ 0 h 257442"/>
                <a:gd name="connsiteX1" fmla="*/ 2807308 w 2862030"/>
                <a:gd name="connsiteY1" fmla="*/ 257442 h 257442"/>
                <a:gd name="connsiteX2" fmla="*/ 0 w 2862030"/>
                <a:gd name="connsiteY2" fmla="*/ 257442 h 257442"/>
                <a:gd name="connsiteX3" fmla="*/ 0 w 2862030"/>
                <a:gd name="connsiteY3" fmla="*/ 0 h 257442"/>
                <a:gd name="connsiteX0" fmla="*/ 2862030 w 2862030"/>
                <a:gd name="connsiteY0" fmla="*/ 0 h 257442"/>
                <a:gd name="connsiteX1" fmla="*/ 2807308 w 2862030"/>
                <a:gd name="connsiteY1" fmla="*/ 257442 h 257442"/>
                <a:gd name="connsiteX2" fmla="*/ 0 w 2862030"/>
                <a:gd name="connsiteY2" fmla="*/ 257442 h 257442"/>
                <a:gd name="connsiteX3" fmla="*/ 0 w 2862030"/>
                <a:gd name="connsiteY3" fmla="*/ 0 h 257442"/>
                <a:gd name="connsiteX0" fmla="*/ 3022329 w 3022329"/>
                <a:gd name="connsiteY0" fmla="*/ 0 h 257442"/>
                <a:gd name="connsiteX1" fmla="*/ 2807308 w 3022329"/>
                <a:gd name="connsiteY1" fmla="*/ 257442 h 257442"/>
                <a:gd name="connsiteX2" fmla="*/ 0 w 3022329"/>
                <a:gd name="connsiteY2" fmla="*/ 257442 h 257442"/>
                <a:gd name="connsiteX3" fmla="*/ 0 w 3022329"/>
                <a:gd name="connsiteY3" fmla="*/ 0 h 257442"/>
                <a:gd name="connsiteX0" fmla="*/ 3022329 w 3022329"/>
                <a:gd name="connsiteY0" fmla="*/ 0 h 257442"/>
                <a:gd name="connsiteX1" fmla="*/ 2967608 w 3022329"/>
                <a:gd name="connsiteY1" fmla="*/ 257442 h 257442"/>
                <a:gd name="connsiteX2" fmla="*/ 0 w 3022329"/>
                <a:gd name="connsiteY2" fmla="*/ 257442 h 257442"/>
                <a:gd name="connsiteX3" fmla="*/ 0 w 3022329"/>
                <a:gd name="connsiteY3" fmla="*/ 0 h 257442"/>
                <a:gd name="connsiteX0" fmla="*/ 3022329 w 3022329"/>
                <a:gd name="connsiteY0" fmla="*/ 0 h 257442"/>
                <a:gd name="connsiteX1" fmla="*/ 2967608 w 3022329"/>
                <a:gd name="connsiteY1" fmla="*/ 257442 h 257442"/>
                <a:gd name="connsiteX2" fmla="*/ 0 w 3022329"/>
                <a:gd name="connsiteY2" fmla="*/ 257442 h 257442"/>
                <a:gd name="connsiteX3" fmla="*/ 0 w 3022329"/>
                <a:gd name="connsiteY3" fmla="*/ 0 h 257442"/>
                <a:gd name="connsiteX0" fmla="*/ 3022329 w 3022329"/>
                <a:gd name="connsiteY0" fmla="*/ 0 h 257442"/>
                <a:gd name="connsiteX1" fmla="*/ 2967608 w 3022329"/>
                <a:gd name="connsiteY1" fmla="*/ 257442 h 257442"/>
                <a:gd name="connsiteX2" fmla="*/ 0 w 3022329"/>
                <a:gd name="connsiteY2" fmla="*/ 257442 h 257442"/>
                <a:gd name="connsiteX3" fmla="*/ 0 w 3022329"/>
                <a:gd name="connsiteY3" fmla="*/ 0 h 257442"/>
                <a:gd name="connsiteX0" fmla="*/ 3182630 w 3182630"/>
                <a:gd name="connsiteY0" fmla="*/ 0 h 257442"/>
                <a:gd name="connsiteX1" fmla="*/ 2967608 w 3182630"/>
                <a:gd name="connsiteY1" fmla="*/ 257442 h 257442"/>
                <a:gd name="connsiteX2" fmla="*/ 0 w 3182630"/>
                <a:gd name="connsiteY2" fmla="*/ 257442 h 257442"/>
                <a:gd name="connsiteX3" fmla="*/ 0 w 3182630"/>
                <a:gd name="connsiteY3" fmla="*/ 0 h 257442"/>
                <a:gd name="connsiteX0" fmla="*/ 3182630 w 3182630"/>
                <a:gd name="connsiteY0" fmla="*/ 0 h 257442"/>
                <a:gd name="connsiteX1" fmla="*/ 3127908 w 3182630"/>
                <a:gd name="connsiteY1" fmla="*/ 257442 h 257442"/>
                <a:gd name="connsiteX2" fmla="*/ 0 w 3182630"/>
                <a:gd name="connsiteY2" fmla="*/ 257442 h 257442"/>
                <a:gd name="connsiteX3" fmla="*/ 0 w 3182630"/>
                <a:gd name="connsiteY3" fmla="*/ 0 h 257442"/>
                <a:gd name="connsiteX0" fmla="*/ 3182631 w 3182631"/>
                <a:gd name="connsiteY0" fmla="*/ 0 h 257442"/>
                <a:gd name="connsiteX1" fmla="*/ 3127909 w 3182631"/>
                <a:gd name="connsiteY1" fmla="*/ 257442 h 257442"/>
                <a:gd name="connsiteX2" fmla="*/ 0 w 3182631"/>
                <a:gd name="connsiteY2" fmla="*/ 257442 h 257442"/>
                <a:gd name="connsiteX3" fmla="*/ 1 w 3182631"/>
                <a:gd name="connsiteY3" fmla="*/ 0 h 257442"/>
                <a:gd name="connsiteX0" fmla="*/ 3182631 w 3182631"/>
                <a:gd name="connsiteY0" fmla="*/ 0 h 257442"/>
                <a:gd name="connsiteX1" fmla="*/ 3127909 w 3182631"/>
                <a:gd name="connsiteY1" fmla="*/ 257442 h 257442"/>
                <a:gd name="connsiteX2" fmla="*/ 0 w 3182631"/>
                <a:gd name="connsiteY2" fmla="*/ 257442 h 257442"/>
                <a:gd name="connsiteX3" fmla="*/ 1 w 3182631"/>
                <a:gd name="connsiteY3" fmla="*/ 0 h 257442"/>
                <a:gd name="connsiteX0" fmla="*/ 3342931 w 3342931"/>
                <a:gd name="connsiteY0" fmla="*/ 0 h 257442"/>
                <a:gd name="connsiteX1" fmla="*/ 3127909 w 3342931"/>
                <a:gd name="connsiteY1" fmla="*/ 257442 h 257442"/>
                <a:gd name="connsiteX2" fmla="*/ 0 w 3342931"/>
                <a:gd name="connsiteY2" fmla="*/ 257442 h 257442"/>
                <a:gd name="connsiteX3" fmla="*/ 1 w 3342931"/>
                <a:gd name="connsiteY3" fmla="*/ 0 h 257442"/>
                <a:gd name="connsiteX0" fmla="*/ 3342931 w 3342931"/>
                <a:gd name="connsiteY0" fmla="*/ 0 h 257442"/>
                <a:gd name="connsiteX1" fmla="*/ 3288210 w 3342931"/>
                <a:gd name="connsiteY1" fmla="*/ 257442 h 257442"/>
                <a:gd name="connsiteX2" fmla="*/ 0 w 3342931"/>
                <a:gd name="connsiteY2" fmla="*/ 257442 h 257442"/>
                <a:gd name="connsiteX3" fmla="*/ 1 w 3342931"/>
                <a:gd name="connsiteY3" fmla="*/ 0 h 257442"/>
                <a:gd name="connsiteX0" fmla="*/ 3342930 w 3342930"/>
                <a:gd name="connsiteY0" fmla="*/ 0 h 257442"/>
                <a:gd name="connsiteX1" fmla="*/ 3288209 w 3342930"/>
                <a:gd name="connsiteY1" fmla="*/ 257442 h 257442"/>
                <a:gd name="connsiteX2" fmla="*/ 0 w 3342930"/>
                <a:gd name="connsiteY2" fmla="*/ 257442 h 257442"/>
                <a:gd name="connsiteX3" fmla="*/ 0 w 3342930"/>
                <a:gd name="connsiteY3" fmla="*/ 0 h 257442"/>
                <a:gd name="connsiteX0" fmla="*/ 3342931 w 3342931"/>
                <a:gd name="connsiteY0" fmla="*/ 0 h 257442"/>
                <a:gd name="connsiteX1" fmla="*/ 3288210 w 3342931"/>
                <a:gd name="connsiteY1" fmla="*/ 257442 h 257442"/>
                <a:gd name="connsiteX2" fmla="*/ 1 w 3342931"/>
                <a:gd name="connsiteY2" fmla="*/ 257442 h 257442"/>
                <a:gd name="connsiteX3" fmla="*/ 0 w 3342931"/>
                <a:gd name="connsiteY3" fmla="*/ 0 h 257442"/>
                <a:gd name="connsiteX0" fmla="*/ 3673149 w 3673149"/>
                <a:gd name="connsiteY0" fmla="*/ 0 h 257442"/>
                <a:gd name="connsiteX1" fmla="*/ 3288210 w 3673149"/>
                <a:gd name="connsiteY1" fmla="*/ 257442 h 257442"/>
                <a:gd name="connsiteX2" fmla="*/ 1 w 3673149"/>
                <a:gd name="connsiteY2" fmla="*/ 257442 h 257442"/>
                <a:gd name="connsiteX3" fmla="*/ 0 w 3673149"/>
                <a:gd name="connsiteY3" fmla="*/ 0 h 257442"/>
                <a:gd name="connsiteX0" fmla="*/ 3673149 w 3673149"/>
                <a:gd name="connsiteY0" fmla="*/ 0 h 257442"/>
                <a:gd name="connsiteX1" fmla="*/ 3618428 w 3673149"/>
                <a:gd name="connsiteY1" fmla="*/ 257442 h 257442"/>
                <a:gd name="connsiteX2" fmla="*/ 1 w 3673149"/>
                <a:gd name="connsiteY2" fmla="*/ 257442 h 257442"/>
                <a:gd name="connsiteX3" fmla="*/ 0 w 3673149"/>
                <a:gd name="connsiteY3" fmla="*/ 0 h 257442"/>
                <a:gd name="connsiteX0" fmla="*/ 3673149 w 3673149"/>
                <a:gd name="connsiteY0" fmla="*/ 0 h 257442"/>
                <a:gd name="connsiteX1" fmla="*/ 3618428 w 3673149"/>
                <a:gd name="connsiteY1" fmla="*/ 257442 h 257442"/>
                <a:gd name="connsiteX2" fmla="*/ 1 w 3673149"/>
                <a:gd name="connsiteY2" fmla="*/ 257442 h 257442"/>
                <a:gd name="connsiteX3" fmla="*/ 0 w 3673149"/>
                <a:gd name="connsiteY3" fmla="*/ 0 h 257442"/>
                <a:gd name="connsiteX0" fmla="*/ 3673148 w 3673148"/>
                <a:gd name="connsiteY0" fmla="*/ 0 h 257442"/>
                <a:gd name="connsiteX1" fmla="*/ 3618427 w 3673148"/>
                <a:gd name="connsiteY1" fmla="*/ 257442 h 257442"/>
                <a:gd name="connsiteX2" fmla="*/ 0 w 3673148"/>
                <a:gd name="connsiteY2" fmla="*/ 257442 h 257442"/>
                <a:gd name="connsiteX3" fmla="*/ 0 w 3673148"/>
                <a:gd name="connsiteY3" fmla="*/ 0 h 257442"/>
                <a:gd name="connsiteX0" fmla="*/ 3833448 w 3833448"/>
                <a:gd name="connsiteY0" fmla="*/ 0 h 257442"/>
                <a:gd name="connsiteX1" fmla="*/ 3618427 w 3833448"/>
                <a:gd name="connsiteY1" fmla="*/ 257442 h 257442"/>
                <a:gd name="connsiteX2" fmla="*/ 0 w 3833448"/>
                <a:gd name="connsiteY2" fmla="*/ 257442 h 257442"/>
                <a:gd name="connsiteX3" fmla="*/ 0 w 3833448"/>
                <a:gd name="connsiteY3" fmla="*/ 0 h 257442"/>
                <a:gd name="connsiteX0" fmla="*/ 3833448 w 3833448"/>
                <a:gd name="connsiteY0" fmla="*/ 0 h 257442"/>
                <a:gd name="connsiteX1" fmla="*/ 3778727 w 3833448"/>
                <a:gd name="connsiteY1" fmla="*/ 257442 h 257442"/>
                <a:gd name="connsiteX2" fmla="*/ 0 w 3833448"/>
                <a:gd name="connsiteY2" fmla="*/ 257442 h 257442"/>
                <a:gd name="connsiteX3" fmla="*/ 0 w 3833448"/>
                <a:gd name="connsiteY3" fmla="*/ 0 h 257442"/>
                <a:gd name="connsiteX0" fmla="*/ 3833449 w 3833449"/>
                <a:gd name="connsiteY0" fmla="*/ 0 h 257442"/>
                <a:gd name="connsiteX1" fmla="*/ 3778728 w 3833449"/>
                <a:gd name="connsiteY1" fmla="*/ 257442 h 257442"/>
                <a:gd name="connsiteX2" fmla="*/ 0 w 3833449"/>
                <a:gd name="connsiteY2" fmla="*/ 257442 h 257442"/>
                <a:gd name="connsiteX3" fmla="*/ 1 w 3833449"/>
                <a:gd name="connsiteY3" fmla="*/ 0 h 257442"/>
                <a:gd name="connsiteX0" fmla="*/ 3833449 w 3833449"/>
                <a:gd name="connsiteY0" fmla="*/ 0 h 257442"/>
                <a:gd name="connsiteX1" fmla="*/ 3778728 w 3833449"/>
                <a:gd name="connsiteY1" fmla="*/ 257442 h 257442"/>
                <a:gd name="connsiteX2" fmla="*/ 0 w 3833449"/>
                <a:gd name="connsiteY2" fmla="*/ 257442 h 257442"/>
                <a:gd name="connsiteX3" fmla="*/ 1 w 3833449"/>
                <a:gd name="connsiteY3" fmla="*/ 0 h 257442"/>
                <a:gd name="connsiteX0" fmla="*/ 4019398 w 4019398"/>
                <a:gd name="connsiteY0" fmla="*/ 0 h 257442"/>
                <a:gd name="connsiteX1" fmla="*/ 3778728 w 4019398"/>
                <a:gd name="connsiteY1" fmla="*/ 257442 h 257442"/>
                <a:gd name="connsiteX2" fmla="*/ 0 w 4019398"/>
                <a:gd name="connsiteY2" fmla="*/ 257442 h 257442"/>
                <a:gd name="connsiteX3" fmla="*/ 1 w 4019398"/>
                <a:gd name="connsiteY3" fmla="*/ 0 h 257442"/>
                <a:gd name="connsiteX0" fmla="*/ 4019398 w 4019398"/>
                <a:gd name="connsiteY0" fmla="*/ 0 h 257442"/>
                <a:gd name="connsiteX1" fmla="*/ 3964676 w 4019398"/>
                <a:gd name="connsiteY1" fmla="*/ 257442 h 257442"/>
                <a:gd name="connsiteX2" fmla="*/ 0 w 4019398"/>
                <a:gd name="connsiteY2" fmla="*/ 257442 h 257442"/>
                <a:gd name="connsiteX3" fmla="*/ 1 w 4019398"/>
                <a:gd name="connsiteY3" fmla="*/ 0 h 257442"/>
                <a:gd name="connsiteX0" fmla="*/ 4019398 w 4019398"/>
                <a:gd name="connsiteY0" fmla="*/ 0 h 257442"/>
                <a:gd name="connsiteX1" fmla="*/ 3964676 w 4019398"/>
                <a:gd name="connsiteY1" fmla="*/ 257442 h 257442"/>
                <a:gd name="connsiteX2" fmla="*/ 0 w 4019398"/>
                <a:gd name="connsiteY2" fmla="*/ 257442 h 257442"/>
                <a:gd name="connsiteX3" fmla="*/ 1 w 4019398"/>
                <a:gd name="connsiteY3" fmla="*/ 0 h 257442"/>
                <a:gd name="connsiteX0" fmla="*/ 4019398 w 4019398"/>
                <a:gd name="connsiteY0" fmla="*/ 0 h 257442"/>
                <a:gd name="connsiteX1" fmla="*/ 3964676 w 4019398"/>
                <a:gd name="connsiteY1" fmla="*/ 257442 h 257442"/>
                <a:gd name="connsiteX2" fmla="*/ 0 w 4019398"/>
                <a:gd name="connsiteY2" fmla="*/ 257442 h 257442"/>
                <a:gd name="connsiteX3" fmla="*/ 0 w 4019398"/>
                <a:gd name="connsiteY3" fmla="*/ 0 h 257442"/>
                <a:gd name="connsiteX0" fmla="*/ 4179697 w 4179697"/>
                <a:gd name="connsiteY0" fmla="*/ 0 h 257442"/>
                <a:gd name="connsiteX1" fmla="*/ 3964676 w 4179697"/>
                <a:gd name="connsiteY1" fmla="*/ 257442 h 257442"/>
                <a:gd name="connsiteX2" fmla="*/ 0 w 4179697"/>
                <a:gd name="connsiteY2" fmla="*/ 257442 h 257442"/>
                <a:gd name="connsiteX3" fmla="*/ 0 w 4179697"/>
                <a:gd name="connsiteY3" fmla="*/ 0 h 257442"/>
                <a:gd name="connsiteX0" fmla="*/ 4179697 w 4179697"/>
                <a:gd name="connsiteY0" fmla="*/ 0 h 257442"/>
                <a:gd name="connsiteX1" fmla="*/ 4124976 w 4179697"/>
                <a:gd name="connsiteY1" fmla="*/ 257442 h 257442"/>
                <a:gd name="connsiteX2" fmla="*/ 0 w 4179697"/>
                <a:gd name="connsiteY2" fmla="*/ 257442 h 257442"/>
                <a:gd name="connsiteX3" fmla="*/ 0 w 4179697"/>
                <a:gd name="connsiteY3" fmla="*/ 0 h 257442"/>
                <a:gd name="connsiteX0" fmla="*/ 4179697 w 4179697"/>
                <a:gd name="connsiteY0" fmla="*/ 0 h 257442"/>
                <a:gd name="connsiteX1" fmla="*/ 4124976 w 4179697"/>
                <a:gd name="connsiteY1" fmla="*/ 257442 h 257442"/>
                <a:gd name="connsiteX2" fmla="*/ 0 w 4179697"/>
                <a:gd name="connsiteY2" fmla="*/ 257442 h 257442"/>
                <a:gd name="connsiteX3" fmla="*/ 0 w 4179697"/>
                <a:gd name="connsiteY3" fmla="*/ 0 h 257442"/>
                <a:gd name="connsiteX0" fmla="*/ 4179697 w 4179697"/>
                <a:gd name="connsiteY0" fmla="*/ 0 h 257442"/>
                <a:gd name="connsiteX1" fmla="*/ 4124976 w 4179697"/>
                <a:gd name="connsiteY1" fmla="*/ 257442 h 257442"/>
                <a:gd name="connsiteX2" fmla="*/ 0 w 4179697"/>
                <a:gd name="connsiteY2" fmla="*/ 257442 h 257442"/>
                <a:gd name="connsiteX3" fmla="*/ 0 w 4179697"/>
                <a:gd name="connsiteY3" fmla="*/ 0 h 257442"/>
                <a:gd name="connsiteX0" fmla="*/ 4348013 w 4348013"/>
                <a:gd name="connsiteY0" fmla="*/ 0 h 257442"/>
                <a:gd name="connsiteX1" fmla="*/ 4124976 w 4348013"/>
                <a:gd name="connsiteY1" fmla="*/ 257442 h 257442"/>
                <a:gd name="connsiteX2" fmla="*/ 0 w 4348013"/>
                <a:gd name="connsiteY2" fmla="*/ 257442 h 257442"/>
                <a:gd name="connsiteX3" fmla="*/ 0 w 4348013"/>
                <a:gd name="connsiteY3" fmla="*/ 0 h 257442"/>
                <a:gd name="connsiteX0" fmla="*/ 4348013 w 4348013"/>
                <a:gd name="connsiteY0" fmla="*/ 0 h 257442"/>
                <a:gd name="connsiteX1" fmla="*/ 4293292 w 4348013"/>
                <a:gd name="connsiteY1" fmla="*/ 257442 h 257442"/>
                <a:gd name="connsiteX2" fmla="*/ 0 w 4348013"/>
                <a:gd name="connsiteY2" fmla="*/ 257442 h 257442"/>
                <a:gd name="connsiteX3" fmla="*/ 0 w 4348013"/>
                <a:gd name="connsiteY3" fmla="*/ 0 h 257442"/>
                <a:gd name="connsiteX0" fmla="*/ 4348013 w 4348013"/>
                <a:gd name="connsiteY0" fmla="*/ 0 h 257442"/>
                <a:gd name="connsiteX1" fmla="*/ 4293292 w 4348013"/>
                <a:gd name="connsiteY1" fmla="*/ 257442 h 257442"/>
                <a:gd name="connsiteX2" fmla="*/ 0 w 4348013"/>
                <a:gd name="connsiteY2" fmla="*/ 257442 h 257442"/>
                <a:gd name="connsiteX3" fmla="*/ 0 w 4348013"/>
                <a:gd name="connsiteY3" fmla="*/ 0 h 257442"/>
                <a:gd name="connsiteX0" fmla="*/ 4348013 w 4348013"/>
                <a:gd name="connsiteY0" fmla="*/ 0 h 257442"/>
                <a:gd name="connsiteX1" fmla="*/ 4293292 w 4348013"/>
                <a:gd name="connsiteY1" fmla="*/ 257442 h 257442"/>
                <a:gd name="connsiteX2" fmla="*/ 0 w 4348013"/>
                <a:gd name="connsiteY2" fmla="*/ 257442 h 257442"/>
                <a:gd name="connsiteX3" fmla="*/ 0 w 4348013"/>
                <a:gd name="connsiteY3" fmla="*/ 0 h 257442"/>
                <a:gd name="connsiteX0" fmla="*/ 4598530 w 4598530"/>
                <a:gd name="connsiteY0" fmla="*/ 0 h 257442"/>
                <a:gd name="connsiteX1" fmla="*/ 4293292 w 4598530"/>
                <a:gd name="connsiteY1" fmla="*/ 257442 h 257442"/>
                <a:gd name="connsiteX2" fmla="*/ 0 w 4598530"/>
                <a:gd name="connsiteY2" fmla="*/ 257442 h 257442"/>
                <a:gd name="connsiteX3" fmla="*/ 0 w 4598530"/>
                <a:gd name="connsiteY3" fmla="*/ 0 h 257442"/>
                <a:gd name="connsiteX0" fmla="*/ 4598530 w 4598530"/>
                <a:gd name="connsiteY0" fmla="*/ 0 h 257442"/>
                <a:gd name="connsiteX1" fmla="*/ 4543808 w 4598530"/>
                <a:gd name="connsiteY1" fmla="*/ 257442 h 257442"/>
                <a:gd name="connsiteX2" fmla="*/ 0 w 4598530"/>
                <a:gd name="connsiteY2" fmla="*/ 257442 h 257442"/>
                <a:gd name="connsiteX3" fmla="*/ 0 w 4598530"/>
                <a:gd name="connsiteY3" fmla="*/ 0 h 257442"/>
                <a:gd name="connsiteX0" fmla="*/ 4598531 w 4598531"/>
                <a:gd name="connsiteY0" fmla="*/ 0 h 257442"/>
                <a:gd name="connsiteX1" fmla="*/ 4543809 w 4598531"/>
                <a:gd name="connsiteY1" fmla="*/ 257442 h 257442"/>
                <a:gd name="connsiteX2" fmla="*/ 0 w 4598531"/>
                <a:gd name="connsiteY2" fmla="*/ 257442 h 257442"/>
                <a:gd name="connsiteX3" fmla="*/ 1 w 4598531"/>
                <a:gd name="connsiteY3" fmla="*/ 0 h 257442"/>
                <a:gd name="connsiteX0" fmla="*/ 4598531 w 4598531"/>
                <a:gd name="connsiteY0" fmla="*/ 0 h 257442"/>
                <a:gd name="connsiteX1" fmla="*/ 4543809 w 4598531"/>
                <a:gd name="connsiteY1" fmla="*/ 257442 h 257442"/>
                <a:gd name="connsiteX2" fmla="*/ 0 w 4598531"/>
                <a:gd name="connsiteY2" fmla="*/ 257442 h 257442"/>
                <a:gd name="connsiteX3" fmla="*/ 1 w 4598531"/>
                <a:gd name="connsiteY3" fmla="*/ 0 h 257442"/>
                <a:gd name="connsiteX0" fmla="*/ 950802 w 4543809"/>
                <a:gd name="connsiteY0" fmla="*/ 0 h 257442"/>
                <a:gd name="connsiteX1" fmla="*/ 4543809 w 4543809"/>
                <a:gd name="connsiteY1" fmla="*/ 257442 h 257442"/>
                <a:gd name="connsiteX2" fmla="*/ 0 w 4543809"/>
                <a:gd name="connsiteY2" fmla="*/ 257442 h 257442"/>
                <a:gd name="connsiteX3" fmla="*/ 1 w 4543809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0 w 950802"/>
                <a:gd name="connsiteY2" fmla="*/ 257442 h 257442"/>
                <a:gd name="connsiteX3" fmla="*/ 1 w 95080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1128734 w 1128734"/>
                <a:gd name="connsiteY0" fmla="*/ 0 h 257442"/>
                <a:gd name="connsiteX1" fmla="*/ 896080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2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314683 w 1314683"/>
                <a:gd name="connsiteY0" fmla="*/ 0 h 257442"/>
                <a:gd name="connsiteX1" fmla="*/ 1074013 w 1314683"/>
                <a:gd name="connsiteY1" fmla="*/ 257442 h 257442"/>
                <a:gd name="connsiteX2" fmla="*/ 0 w 1314683"/>
                <a:gd name="connsiteY2" fmla="*/ 257442 h 257442"/>
                <a:gd name="connsiteX3" fmla="*/ 1 w 1314683"/>
                <a:gd name="connsiteY3" fmla="*/ 0 h 257442"/>
                <a:gd name="connsiteX0" fmla="*/ 1314683 w 1314683"/>
                <a:gd name="connsiteY0" fmla="*/ 0 h 257442"/>
                <a:gd name="connsiteX1" fmla="*/ 1259962 w 1314683"/>
                <a:gd name="connsiteY1" fmla="*/ 257442 h 257442"/>
                <a:gd name="connsiteX2" fmla="*/ 0 w 1314683"/>
                <a:gd name="connsiteY2" fmla="*/ 257442 h 257442"/>
                <a:gd name="connsiteX3" fmla="*/ 1 w 1314683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3 w 1314683"/>
                <a:gd name="connsiteY0" fmla="*/ 0 h 257442"/>
                <a:gd name="connsiteX1" fmla="*/ 1259962 w 1314683"/>
                <a:gd name="connsiteY1" fmla="*/ 257442 h 257442"/>
                <a:gd name="connsiteX2" fmla="*/ 1 w 1314683"/>
                <a:gd name="connsiteY2" fmla="*/ 257442 h 257442"/>
                <a:gd name="connsiteX3" fmla="*/ 0 w 1314683"/>
                <a:gd name="connsiteY3" fmla="*/ 0 h 257442"/>
                <a:gd name="connsiteX0" fmla="*/ 1474984 w 1474984"/>
                <a:gd name="connsiteY0" fmla="*/ 0 h 257442"/>
                <a:gd name="connsiteX1" fmla="*/ 1259962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635283 w 1635283"/>
                <a:gd name="connsiteY0" fmla="*/ 0 h 257442"/>
                <a:gd name="connsiteX1" fmla="*/ 14202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888557 w 1888557"/>
                <a:gd name="connsiteY0" fmla="*/ 0 h 257442"/>
                <a:gd name="connsiteX1" fmla="*/ 1580562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2141832 w 2141832"/>
                <a:gd name="connsiteY0" fmla="*/ 0 h 257442"/>
                <a:gd name="connsiteX1" fmla="*/ 1833836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2 w 2141832"/>
                <a:gd name="connsiteY0" fmla="*/ 0 h 257442"/>
                <a:gd name="connsiteX1" fmla="*/ 2087110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1 w 2141833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1 w 2141833"/>
                <a:gd name="connsiteY3" fmla="*/ 0 h 257442"/>
                <a:gd name="connsiteX0" fmla="*/ 2302133 w 2302133"/>
                <a:gd name="connsiteY0" fmla="*/ 0 h 257442"/>
                <a:gd name="connsiteX1" fmla="*/ 2087111 w 2302133"/>
                <a:gd name="connsiteY1" fmla="*/ 257442 h 257442"/>
                <a:gd name="connsiteX2" fmla="*/ 0 w 2302133"/>
                <a:gd name="connsiteY2" fmla="*/ 257442 h 257442"/>
                <a:gd name="connsiteX3" fmla="*/ 1 w 2302133"/>
                <a:gd name="connsiteY3" fmla="*/ 0 h 257442"/>
                <a:gd name="connsiteX0" fmla="*/ 2302133 w 2302133"/>
                <a:gd name="connsiteY0" fmla="*/ 0 h 257442"/>
                <a:gd name="connsiteX1" fmla="*/ 2247412 w 2302133"/>
                <a:gd name="connsiteY1" fmla="*/ 257442 h 257442"/>
                <a:gd name="connsiteX2" fmla="*/ 0 w 2302133"/>
                <a:gd name="connsiteY2" fmla="*/ 257442 h 257442"/>
                <a:gd name="connsiteX3" fmla="*/ 1 w 2302133"/>
                <a:gd name="connsiteY3" fmla="*/ 0 h 257442"/>
                <a:gd name="connsiteX0" fmla="*/ 2302132 w 2302132"/>
                <a:gd name="connsiteY0" fmla="*/ 0 h 257442"/>
                <a:gd name="connsiteX1" fmla="*/ 2247411 w 2302132"/>
                <a:gd name="connsiteY1" fmla="*/ 257442 h 257442"/>
                <a:gd name="connsiteX2" fmla="*/ 0 w 2302132"/>
                <a:gd name="connsiteY2" fmla="*/ 257442 h 257442"/>
                <a:gd name="connsiteX3" fmla="*/ 0 w 2302132"/>
                <a:gd name="connsiteY3" fmla="*/ 0 h 257442"/>
                <a:gd name="connsiteX0" fmla="*/ 2302133 w 2302133"/>
                <a:gd name="connsiteY0" fmla="*/ 0 h 257442"/>
                <a:gd name="connsiteX1" fmla="*/ 2247412 w 2302133"/>
                <a:gd name="connsiteY1" fmla="*/ 257442 h 257442"/>
                <a:gd name="connsiteX2" fmla="*/ 1 w 2302133"/>
                <a:gd name="connsiteY2" fmla="*/ 257442 h 257442"/>
                <a:gd name="connsiteX3" fmla="*/ 0 w 2302133"/>
                <a:gd name="connsiteY3" fmla="*/ 0 h 257442"/>
                <a:gd name="connsiteX0" fmla="*/ 2462433 w 2462433"/>
                <a:gd name="connsiteY0" fmla="*/ 0 h 257442"/>
                <a:gd name="connsiteX1" fmla="*/ 22474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3 w 2462433"/>
                <a:gd name="connsiteY0" fmla="*/ 0 h 257442"/>
                <a:gd name="connsiteX1" fmla="*/ 24077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3 w 2462433"/>
                <a:gd name="connsiteY0" fmla="*/ 0 h 257442"/>
                <a:gd name="connsiteX1" fmla="*/ 24077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2 w 2462432"/>
                <a:gd name="connsiteY0" fmla="*/ 0 h 257442"/>
                <a:gd name="connsiteX1" fmla="*/ 2407711 w 2462432"/>
                <a:gd name="connsiteY1" fmla="*/ 257442 h 257442"/>
                <a:gd name="connsiteX2" fmla="*/ 0 w 2462432"/>
                <a:gd name="connsiteY2" fmla="*/ 257442 h 257442"/>
                <a:gd name="connsiteX3" fmla="*/ 0 w 2462432"/>
                <a:gd name="connsiteY3" fmla="*/ 0 h 257442"/>
                <a:gd name="connsiteX0" fmla="*/ 2715706 w 2715706"/>
                <a:gd name="connsiteY0" fmla="*/ 0 h 257442"/>
                <a:gd name="connsiteX1" fmla="*/ 2407711 w 2715706"/>
                <a:gd name="connsiteY1" fmla="*/ 257442 h 257442"/>
                <a:gd name="connsiteX2" fmla="*/ 0 w 2715706"/>
                <a:gd name="connsiteY2" fmla="*/ 257442 h 257442"/>
                <a:gd name="connsiteX3" fmla="*/ 0 w 2715706"/>
                <a:gd name="connsiteY3" fmla="*/ 0 h 257442"/>
                <a:gd name="connsiteX0" fmla="*/ 2715706 w 2715706"/>
                <a:gd name="connsiteY0" fmla="*/ 0 h 257442"/>
                <a:gd name="connsiteX1" fmla="*/ 2660985 w 2715706"/>
                <a:gd name="connsiteY1" fmla="*/ 257442 h 257442"/>
                <a:gd name="connsiteX2" fmla="*/ 0 w 2715706"/>
                <a:gd name="connsiteY2" fmla="*/ 257442 h 257442"/>
                <a:gd name="connsiteX3" fmla="*/ 0 w 2715706"/>
                <a:gd name="connsiteY3" fmla="*/ 0 h 257442"/>
                <a:gd name="connsiteX0" fmla="*/ 2715707 w 2715707"/>
                <a:gd name="connsiteY0" fmla="*/ 0 h 257442"/>
                <a:gd name="connsiteX1" fmla="*/ 2660986 w 2715707"/>
                <a:gd name="connsiteY1" fmla="*/ 257442 h 257442"/>
                <a:gd name="connsiteX2" fmla="*/ 0 w 2715707"/>
                <a:gd name="connsiteY2" fmla="*/ 257442 h 257442"/>
                <a:gd name="connsiteX3" fmla="*/ 1 w 2715707"/>
                <a:gd name="connsiteY3" fmla="*/ 0 h 257442"/>
                <a:gd name="connsiteX0" fmla="*/ 2715707 w 2715707"/>
                <a:gd name="connsiteY0" fmla="*/ 0 h 257442"/>
                <a:gd name="connsiteX1" fmla="*/ 2660986 w 2715707"/>
                <a:gd name="connsiteY1" fmla="*/ 257442 h 257442"/>
                <a:gd name="connsiteX2" fmla="*/ 0 w 2715707"/>
                <a:gd name="connsiteY2" fmla="*/ 257442 h 257442"/>
                <a:gd name="connsiteX3" fmla="*/ 1 w 2715707"/>
                <a:gd name="connsiteY3" fmla="*/ 0 h 257442"/>
                <a:gd name="connsiteX0" fmla="*/ 2884024 w 2884024"/>
                <a:gd name="connsiteY0" fmla="*/ 0 h 257442"/>
                <a:gd name="connsiteX1" fmla="*/ 2660986 w 2884024"/>
                <a:gd name="connsiteY1" fmla="*/ 257442 h 257442"/>
                <a:gd name="connsiteX2" fmla="*/ 0 w 2884024"/>
                <a:gd name="connsiteY2" fmla="*/ 257442 h 257442"/>
                <a:gd name="connsiteX3" fmla="*/ 1 w 2884024"/>
                <a:gd name="connsiteY3" fmla="*/ 0 h 257442"/>
                <a:gd name="connsiteX0" fmla="*/ 2884024 w 2884024"/>
                <a:gd name="connsiteY0" fmla="*/ 0 h 257442"/>
                <a:gd name="connsiteX1" fmla="*/ 2829302 w 2884024"/>
                <a:gd name="connsiteY1" fmla="*/ 257442 h 257442"/>
                <a:gd name="connsiteX2" fmla="*/ 0 w 2884024"/>
                <a:gd name="connsiteY2" fmla="*/ 257442 h 257442"/>
                <a:gd name="connsiteX3" fmla="*/ 1 w 2884024"/>
                <a:gd name="connsiteY3" fmla="*/ 0 h 257442"/>
                <a:gd name="connsiteX0" fmla="*/ 2884024 w 2884024"/>
                <a:gd name="connsiteY0" fmla="*/ 0 h 257442"/>
                <a:gd name="connsiteX1" fmla="*/ 2829302 w 2884024"/>
                <a:gd name="connsiteY1" fmla="*/ 257442 h 257442"/>
                <a:gd name="connsiteX2" fmla="*/ 0 w 2884024"/>
                <a:gd name="connsiteY2" fmla="*/ 257442 h 257442"/>
                <a:gd name="connsiteX3" fmla="*/ 1 w 2884024"/>
                <a:gd name="connsiteY3" fmla="*/ 0 h 257442"/>
                <a:gd name="connsiteX0" fmla="*/ 2884024 w 2884024"/>
                <a:gd name="connsiteY0" fmla="*/ 0 h 257442"/>
                <a:gd name="connsiteX1" fmla="*/ 2829302 w 2884024"/>
                <a:gd name="connsiteY1" fmla="*/ 257442 h 257442"/>
                <a:gd name="connsiteX2" fmla="*/ 0 w 2884024"/>
                <a:gd name="connsiteY2" fmla="*/ 257442 h 257442"/>
                <a:gd name="connsiteX3" fmla="*/ 0 w 2884024"/>
                <a:gd name="connsiteY3" fmla="*/ 0 h 257442"/>
                <a:gd name="connsiteX0" fmla="*/ 3052337 w 3052337"/>
                <a:gd name="connsiteY0" fmla="*/ 0 h 257442"/>
                <a:gd name="connsiteX1" fmla="*/ 2829302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220653 w 3220653"/>
                <a:gd name="connsiteY0" fmla="*/ 0 h 257442"/>
                <a:gd name="connsiteX1" fmla="*/ 2997616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220653 w 3220653"/>
                <a:gd name="connsiteY0" fmla="*/ 0 h 257442"/>
                <a:gd name="connsiteX1" fmla="*/ 3165932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220653 w 3220653"/>
                <a:gd name="connsiteY0" fmla="*/ 0 h 257442"/>
                <a:gd name="connsiteX1" fmla="*/ 3165932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220653 w 3220653"/>
                <a:gd name="connsiteY0" fmla="*/ 0 h 257442"/>
                <a:gd name="connsiteX1" fmla="*/ 3165932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380954 w 3380954"/>
                <a:gd name="connsiteY0" fmla="*/ 0 h 257442"/>
                <a:gd name="connsiteX1" fmla="*/ 3165932 w 3380954"/>
                <a:gd name="connsiteY1" fmla="*/ 257442 h 257442"/>
                <a:gd name="connsiteX2" fmla="*/ 0 w 3380954"/>
                <a:gd name="connsiteY2" fmla="*/ 257442 h 257442"/>
                <a:gd name="connsiteX3" fmla="*/ 0 w 3380954"/>
                <a:gd name="connsiteY3" fmla="*/ 0 h 257442"/>
                <a:gd name="connsiteX0" fmla="*/ 3380954 w 3380954"/>
                <a:gd name="connsiteY0" fmla="*/ 0 h 257442"/>
                <a:gd name="connsiteX1" fmla="*/ 3326232 w 3380954"/>
                <a:gd name="connsiteY1" fmla="*/ 257442 h 257442"/>
                <a:gd name="connsiteX2" fmla="*/ 0 w 3380954"/>
                <a:gd name="connsiteY2" fmla="*/ 257442 h 257442"/>
                <a:gd name="connsiteX3" fmla="*/ 0 w 3380954"/>
                <a:gd name="connsiteY3" fmla="*/ 0 h 257442"/>
                <a:gd name="connsiteX0" fmla="*/ 3380955 w 3380955"/>
                <a:gd name="connsiteY0" fmla="*/ 0 h 257442"/>
                <a:gd name="connsiteX1" fmla="*/ 3326233 w 3380955"/>
                <a:gd name="connsiteY1" fmla="*/ 257442 h 257442"/>
                <a:gd name="connsiteX2" fmla="*/ 0 w 3380955"/>
                <a:gd name="connsiteY2" fmla="*/ 257442 h 257442"/>
                <a:gd name="connsiteX3" fmla="*/ 1 w 3380955"/>
                <a:gd name="connsiteY3" fmla="*/ 0 h 257442"/>
                <a:gd name="connsiteX0" fmla="*/ 3380955 w 3380955"/>
                <a:gd name="connsiteY0" fmla="*/ 0 h 257442"/>
                <a:gd name="connsiteX1" fmla="*/ 3326233 w 3380955"/>
                <a:gd name="connsiteY1" fmla="*/ 257442 h 257442"/>
                <a:gd name="connsiteX2" fmla="*/ 0 w 3380955"/>
                <a:gd name="connsiteY2" fmla="*/ 257442 h 257442"/>
                <a:gd name="connsiteX3" fmla="*/ 1 w 3380955"/>
                <a:gd name="connsiteY3" fmla="*/ 0 h 257442"/>
                <a:gd name="connsiteX0" fmla="*/ 3549269 w 3549269"/>
                <a:gd name="connsiteY0" fmla="*/ 0 h 257442"/>
                <a:gd name="connsiteX1" fmla="*/ 3326233 w 3549269"/>
                <a:gd name="connsiteY1" fmla="*/ 257442 h 257442"/>
                <a:gd name="connsiteX2" fmla="*/ 0 w 3549269"/>
                <a:gd name="connsiteY2" fmla="*/ 257442 h 257442"/>
                <a:gd name="connsiteX3" fmla="*/ 1 w 3549269"/>
                <a:gd name="connsiteY3" fmla="*/ 0 h 257442"/>
                <a:gd name="connsiteX0" fmla="*/ 3549269 w 3549269"/>
                <a:gd name="connsiteY0" fmla="*/ 0 h 257442"/>
                <a:gd name="connsiteX1" fmla="*/ 3494548 w 3549269"/>
                <a:gd name="connsiteY1" fmla="*/ 257442 h 257442"/>
                <a:gd name="connsiteX2" fmla="*/ 0 w 3549269"/>
                <a:gd name="connsiteY2" fmla="*/ 257442 h 257442"/>
                <a:gd name="connsiteX3" fmla="*/ 1 w 3549269"/>
                <a:gd name="connsiteY3" fmla="*/ 0 h 257442"/>
                <a:gd name="connsiteX0" fmla="*/ 3549268 w 3549268"/>
                <a:gd name="connsiteY0" fmla="*/ 0 h 257442"/>
                <a:gd name="connsiteX1" fmla="*/ 3494547 w 3549268"/>
                <a:gd name="connsiteY1" fmla="*/ 257442 h 257442"/>
                <a:gd name="connsiteX2" fmla="*/ 0 w 3549268"/>
                <a:gd name="connsiteY2" fmla="*/ 257442 h 257442"/>
                <a:gd name="connsiteX3" fmla="*/ 0 w 3549268"/>
                <a:gd name="connsiteY3" fmla="*/ 0 h 257442"/>
                <a:gd name="connsiteX0" fmla="*/ 3549269 w 3549269"/>
                <a:gd name="connsiteY0" fmla="*/ 0 h 257442"/>
                <a:gd name="connsiteX1" fmla="*/ 3494548 w 3549269"/>
                <a:gd name="connsiteY1" fmla="*/ 257442 h 257442"/>
                <a:gd name="connsiteX2" fmla="*/ 1 w 3549269"/>
                <a:gd name="connsiteY2" fmla="*/ 257442 h 257442"/>
                <a:gd name="connsiteX3" fmla="*/ 0 w 3549269"/>
                <a:gd name="connsiteY3" fmla="*/ 0 h 257442"/>
                <a:gd name="connsiteX0" fmla="*/ 3717585 w 3717585"/>
                <a:gd name="connsiteY0" fmla="*/ 0 h 257442"/>
                <a:gd name="connsiteX1" fmla="*/ 3494548 w 3717585"/>
                <a:gd name="connsiteY1" fmla="*/ 257442 h 257442"/>
                <a:gd name="connsiteX2" fmla="*/ 1 w 3717585"/>
                <a:gd name="connsiteY2" fmla="*/ 257442 h 257442"/>
                <a:gd name="connsiteX3" fmla="*/ 0 w 3717585"/>
                <a:gd name="connsiteY3" fmla="*/ 0 h 257442"/>
                <a:gd name="connsiteX0" fmla="*/ 3717585 w 3717585"/>
                <a:gd name="connsiteY0" fmla="*/ 0 h 257442"/>
                <a:gd name="connsiteX1" fmla="*/ 3662864 w 3717585"/>
                <a:gd name="connsiteY1" fmla="*/ 257442 h 257442"/>
                <a:gd name="connsiteX2" fmla="*/ 1 w 3717585"/>
                <a:gd name="connsiteY2" fmla="*/ 257442 h 257442"/>
                <a:gd name="connsiteX3" fmla="*/ 0 w 3717585"/>
                <a:gd name="connsiteY3" fmla="*/ 0 h 257442"/>
                <a:gd name="connsiteX0" fmla="*/ 3717585 w 3717585"/>
                <a:gd name="connsiteY0" fmla="*/ 0 h 257442"/>
                <a:gd name="connsiteX1" fmla="*/ 3662864 w 3717585"/>
                <a:gd name="connsiteY1" fmla="*/ 257442 h 257442"/>
                <a:gd name="connsiteX2" fmla="*/ 1 w 3717585"/>
                <a:gd name="connsiteY2" fmla="*/ 257442 h 257442"/>
                <a:gd name="connsiteX3" fmla="*/ 0 w 3717585"/>
                <a:gd name="connsiteY3" fmla="*/ 0 h 257442"/>
                <a:gd name="connsiteX0" fmla="*/ 3717584 w 3717584"/>
                <a:gd name="connsiteY0" fmla="*/ 0 h 257442"/>
                <a:gd name="connsiteX1" fmla="*/ 3662863 w 3717584"/>
                <a:gd name="connsiteY1" fmla="*/ 257442 h 257442"/>
                <a:gd name="connsiteX2" fmla="*/ 0 w 3717584"/>
                <a:gd name="connsiteY2" fmla="*/ 257442 h 257442"/>
                <a:gd name="connsiteX3" fmla="*/ 0 w 3717584"/>
                <a:gd name="connsiteY3" fmla="*/ 0 h 257442"/>
                <a:gd name="connsiteX0" fmla="*/ 3877884 w 3877884"/>
                <a:gd name="connsiteY0" fmla="*/ 0 h 257442"/>
                <a:gd name="connsiteX1" fmla="*/ 3662863 w 3877884"/>
                <a:gd name="connsiteY1" fmla="*/ 257442 h 257442"/>
                <a:gd name="connsiteX2" fmla="*/ 0 w 3877884"/>
                <a:gd name="connsiteY2" fmla="*/ 257442 h 257442"/>
                <a:gd name="connsiteX3" fmla="*/ 0 w 3877884"/>
                <a:gd name="connsiteY3" fmla="*/ 0 h 257442"/>
                <a:gd name="connsiteX0" fmla="*/ 3877884 w 3877884"/>
                <a:gd name="connsiteY0" fmla="*/ 0 h 257442"/>
                <a:gd name="connsiteX1" fmla="*/ 3823163 w 3877884"/>
                <a:gd name="connsiteY1" fmla="*/ 257442 h 257442"/>
                <a:gd name="connsiteX2" fmla="*/ 0 w 3877884"/>
                <a:gd name="connsiteY2" fmla="*/ 257442 h 257442"/>
                <a:gd name="connsiteX3" fmla="*/ 0 w 3877884"/>
                <a:gd name="connsiteY3" fmla="*/ 0 h 257442"/>
                <a:gd name="connsiteX0" fmla="*/ 3877885 w 3877885"/>
                <a:gd name="connsiteY0" fmla="*/ 0 h 257442"/>
                <a:gd name="connsiteX1" fmla="*/ 3823164 w 3877885"/>
                <a:gd name="connsiteY1" fmla="*/ 257442 h 257442"/>
                <a:gd name="connsiteX2" fmla="*/ 0 w 3877885"/>
                <a:gd name="connsiteY2" fmla="*/ 257442 h 257442"/>
                <a:gd name="connsiteX3" fmla="*/ 1 w 3877885"/>
                <a:gd name="connsiteY3" fmla="*/ 0 h 257442"/>
                <a:gd name="connsiteX0" fmla="*/ 3877885 w 3877885"/>
                <a:gd name="connsiteY0" fmla="*/ 0 h 257442"/>
                <a:gd name="connsiteX1" fmla="*/ 3823164 w 3877885"/>
                <a:gd name="connsiteY1" fmla="*/ 257442 h 257442"/>
                <a:gd name="connsiteX2" fmla="*/ 0 w 3877885"/>
                <a:gd name="connsiteY2" fmla="*/ 257442 h 257442"/>
                <a:gd name="connsiteX3" fmla="*/ 1 w 3877885"/>
                <a:gd name="connsiteY3" fmla="*/ 0 h 257442"/>
                <a:gd name="connsiteX0" fmla="*/ 4038186 w 4038186"/>
                <a:gd name="connsiteY0" fmla="*/ 0 h 257442"/>
                <a:gd name="connsiteX1" fmla="*/ 3823164 w 4038186"/>
                <a:gd name="connsiteY1" fmla="*/ 257442 h 257442"/>
                <a:gd name="connsiteX2" fmla="*/ 0 w 4038186"/>
                <a:gd name="connsiteY2" fmla="*/ 257442 h 257442"/>
                <a:gd name="connsiteX3" fmla="*/ 1 w 4038186"/>
                <a:gd name="connsiteY3" fmla="*/ 0 h 257442"/>
                <a:gd name="connsiteX0" fmla="*/ 4038186 w 4038186"/>
                <a:gd name="connsiteY0" fmla="*/ 0 h 257442"/>
                <a:gd name="connsiteX1" fmla="*/ 3983464 w 4038186"/>
                <a:gd name="connsiteY1" fmla="*/ 257442 h 257442"/>
                <a:gd name="connsiteX2" fmla="*/ 0 w 4038186"/>
                <a:gd name="connsiteY2" fmla="*/ 257442 h 257442"/>
                <a:gd name="connsiteX3" fmla="*/ 1 w 4038186"/>
                <a:gd name="connsiteY3" fmla="*/ 0 h 257442"/>
                <a:gd name="connsiteX0" fmla="*/ 4038186 w 4038186"/>
                <a:gd name="connsiteY0" fmla="*/ 0 h 257442"/>
                <a:gd name="connsiteX1" fmla="*/ 3983464 w 4038186"/>
                <a:gd name="connsiteY1" fmla="*/ 257442 h 257442"/>
                <a:gd name="connsiteX2" fmla="*/ 0 w 4038186"/>
                <a:gd name="connsiteY2" fmla="*/ 257442 h 257442"/>
                <a:gd name="connsiteX3" fmla="*/ 1 w 4038186"/>
                <a:gd name="connsiteY3" fmla="*/ 0 h 257442"/>
                <a:gd name="connsiteX0" fmla="*/ 4038186 w 4038186"/>
                <a:gd name="connsiteY0" fmla="*/ 0 h 257442"/>
                <a:gd name="connsiteX1" fmla="*/ 3983464 w 4038186"/>
                <a:gd name="connsiteY1" fmla="*/ 257442 h 257442"/>
                <a:gd name="connsiteX2" fmla="*/ 0 w 4038186"/>
                <a:gd name="connsiteY2" fmla="*/ 257442 h 257442"/>
                <a:gd name="connsiteX3" fmla="*/ 0 w 4038186"/>
                <a:gd name="connsiteY3" fmla="*/ 0 h 257442"/>
                <a:gd name="connsiteX0" fmla="*/ 950801 w 3983464"/>
                <a:gd name="connsiteY0" fmla="*/ 0 h 257442"/>
                <a:gd name="connsiteX1" fmla="*/ 3983464 w 3983464"/>
                <a:gd name="connsiteY1" fmla="*/ 257442 h 257442"/>
                <a:gd name="connsiteX2" fmla="*/ 0 w 3983464"/>
                <a:gd name="connsiteY2" fmla="*/ 257442 h 257442"/>
                <a:gd name="connsiteX3" fmla="*/ 0 w 3983464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229723 w 1229723"/>
                <a:gd name="connsiteY0" fmla="*/ 0 h 257442"/>
                <a:gd name="connsiteX1" fmla="*/ 896079 w 1229723"/>
                <a:gd name="connsiteY1" fmla="*/ 257442 h 257442"/>
                <a:gd name="connsiteX2" fmla="*/ 0 w 1229723"/>
                <a:gd name="connsiteY2" fmla="*/ 257442 h 257442"/>
                <a:gd name="connsiteX3" fmla="*/ 0 w 1229723"/>
                <a:gd name="connsiteY3" fmla="*/ 0 h 257442"/>
                <a:gd name="connsiteX0" fmla="*/ 1229723 w 1229723"/>
                <a:gd name="connsiteY0" fmla="*/ 0 h 257442"/>
                <a:gd name="connsiteX1" fmla="*/ 1175002 w 1229723"/>
                <a:gd name="connsiteY1" fmla="*/ 257442 h 257442"/>
                <a:gd name="connsiteX2" fmla="*/ 0 w 1229723"/>
                <a:gd name="connsiteY2" fmla="*/ 257442 h 257442"/>
                <a:gd name="connsiteX3" fmla="*/ 0 w 1229723"/>
                <a:gd name="connsiteY3" fmla="*/ 0 h 257442"/>
                <a:gd name="connsiteX0" fmla="*/ 1229724 w 1229724"/>
                <a:gd name="connsiteY0" fmla="*/ 0 h 257442"/>
                <a:gd name="connsiteX1" fmla="*/ 1175003 w 1229724"/>
                <a:gd name="connsiteY1" fmla="*/ 257442 h 257442"/>
                <a:gd name="connsiteX2" fmla="*/ 0 w 1229724"/>
                <a:gd name="connsiteY2" fmla="*/ 257442 h 257442"/>
                <a:gd name="connsiteX3" fmla="*/ 1 w 1229724"/>
                <a:gd name="connsiteY3" fmla="*/ 0 h 257442"/>
                <a:gd name="connsiteX0" fmla="*/ 1229724 w 1229724"/>
                <a:gd name="connsiteY0" fmla="*/ 0 h 257442"/>
                <a:gd name="connsiteX1" fmla="*/ 1175003 w 1229724"/>
                <a:gd name="connsiteY1" fmla="*/ 257442 h 257442"/>
                <a:gd name="connsiteX2" fmla="*/ 0 w 1229724"/>
                <a:gd name="connsiteY2" fmla="*/ 257442 h 257442"/>
                <a:gd name="connsiteX3" fmla="*/ 0 w 1229724"/>
                <a:gd name="connsiteY3" fmla="*/ 0 h 257442"/>
                <a:gd name="connsiteX0" fmla="*/ 1482998 w 1482998"/>
                <a:gd name="connsiteY0" fmla="*/ 0 h 257442"/>
                <a:gd name="connsiteX1" fmla="*/ 1175003 w 1482998"/>
                <a:gd name="connsiteY1" fmla="*/ 257442 h 257442"/>
                <a:gd name="connsiteX2" fmla="*/ 0 w 1482998"/>
                <a:gd name="connsiteY2" fmla="*/ 257442 h 257442"/>
                <a:gd name="connsiteX3" fmla="*/ 0 w 1482998"/>
                <a:gd name="connsiteY3" fmla="*/ 0 h 257442"/>
                <a:gd name="connsiteX0" fmla="*/ 1482998 w 1482998"/>
                <a:gd name="connsiteY0" fmla="*/ 0 h 257442"/>
                <a:gd name="connsiteX1" fmla="*/ 1428277 w 1482998"/>
                <a:gd name="connsiteY1" fmla="*/ 257442 h 257442"/>
                <a:gd name="connsiteX2" fmla="*/ 0 w 1482998"/>
                <a:gd name="connsiteY2" fmla="*/ 257442 h 257442"/>
                <a:gd name="connsiteX3" fmla="*/ 0 w 1482998"/>
                <a:gd name="connsiteY3" fmla="*/ 0 h 257442"/>
                <a:gd name="connsiteX0" fmla="*/ 1482998 w 1482998"/>
                <a:gd name="connsiteY0" fmla="*/ 0 h 257442"/>
                <a:gd name="connsiteX1" fmla="*/ 1428277 w 1482998"/>
                <a:gd name="connsiteY1" fmla="*/ 257442 h 257442"/>
                <a:gd name="connsiteX2" fmla="*/ 0 w 1482998"/>
                <a:gd name="connsiteY2" fmla="*/ 257442 h 257442"/>
                <a:gd name="connsiteX3" fmla="*/ 0 w 1482998"/>
                <a:gd name="connsiteY3" fmla="*/ 0 h 257442"/>
                <a:gd name="connsiteX0" fmla="*/ 1482998 w 1482998"/>
                <a:gd name="connsiteY0" fmla="*/ 0 h 257442"/>
                <a:gd name="connsiteX1" fmla="*/ 1428277 w 1482998"/>
                <a:gd name="connsiteY1" fmla="*/ 257442 h 257442"/>
                <a:gd name="connsiteX2" fmla="*/ 0 w 1482998"/>
                <a:gd name="connsiteY2" fmla="*/ 257442 h 257442"/>
                <a:gd name="connsiteX3" fmla="*/ 0 w 1482998"/>
                <a:gd name="connsiteY3" fmla="*/ 0 h 257442"/>
                <a:gd name="connsiteX0" fmla="*/ 1792185 w 1792185"/>
                <a:gd name="connsiteY0" fmla="*/ 0 h 257442"/>
                <a:gd name="connsiteX1" fmla="*/ 1428277 w 1792185"/>
                <a:gd name="connsiteY1" fmla="*/ 257442 h 257442"/>
                <a:gd name="connsiteX2" fmla="*/ 0 w 1792185"/>
                <a:gd name="connsiteY2" fmla="*/ 257442 h 257442"/>
                <a:gd name="connsiteX3" fmla="*/ 0 w 1792185"/>
                <a:gd name="connsiteY3" fmla="*/ 0 h 257442"/>
                <a:gd name="connsiteX0" fmla="*/ 1792185 w 1792185"/>
                <a:gd name="connsiteY0" fmla="*/ 0 h 257442"/>
                <a:gd name="connsiteX1" fmla="*/ 1737464 w 1792185"/>
                <a:gd name="connsiteY1" fmla="*/ 257442 h 257442"/>
                <a:gd name="connsiteX2" fmla="*/ 0 w 1792185"/>
                <a:gd name="connsiteY2" fmla="*/ 257442 h 257442"/>
                <a:gd name="connsiteX3" fmla="*/ 0 w 1792185"/>
                <a:gd name="connsiteY3" fmla="*/ 0 h 257442"/>
                <a:gd name="connsiteX0" fmla="*/ 1792185 w 1792185"/>
                <a:gd name="connsiteY0" fmla="*/ 0 h 257442"/>
                <a:gd name="connsiteX1" fmla="*/ 1737464 w 1792185"/>
                <a:gd name="connsiteY1" fmla="*/ 257442 h 257442"/>
                <a:gd name="connsiteX2" fmla="*/ 0 w 1792185"/>
                <a:gd name="connsiteY2" fmla="*/ 257442 h 257442"/>
                <a:gd name="connsiteX3" fmla="*/ 0 w 1792185"/>
                <a:gd name="connsiteY3" fmla="*/ 0 h 257442"/>
                <a:gd name="connsiteX0" fmla="*/ 1792185 w 1792185"/>
                <a:gd name="connsiteY0" fmla="*/ 0 h 257442"/>
                <a:gd name="connsiteX1" fmla="*/ 1737464 w 1792185"/>
                <a:gd name="connsiteY1" fmla="*/ 257442 h 257442"/>
                <a:gd name="connsiteX2" fmla="*/ 0 w 1792185"/>
                <a:gd name="connsiteY2" fmla="*/ 257442 h 257442"/>
                <a:gd name="connsiteX3" fmla="*/ 0 w 1792185"/>
                <a:gd name="connsiteY3" fmla="*/ 0 h 257442"/>
                <a:gd name="connsiteX0" fmla="*/ 2050718 w 2050718"/>
                <a:gd name="connsiteY0" fmla="*/ 0 h 257442"/>
                <a:gd name="connsiteX1" fmla="*/ 1737464 w 2050718"/>
                <a:gd name="connsiteY1" fmla="*/ 257442 h 257442"/>
                <a:gd name="connsiteX2" fmla="*/ 0 w 2050718"/>
                <a:gd name="connsiteY2" fmla="*/ 257442 h 257442"/>
                <a:gd name="connsiteX3" fmla="*/ 0 w 2050718"/>
                <a:gd name="connsiteY3" fmla="*/ 0 h 257442"/>
                <a:gd name="connsiteX0" fmla="*/ 2050718 w 2050718"/>
                <a:gd name="connsiteY0" fmla="*/ 0 h 257442"/>
                <a:gd name="connsiteX1" fmla="*/ 1995996 w 2050718"/>
                <a:gd name="connsiteY1" fmla="*/ 257442 h 257442"/>
                <a:gd name="connsiteX2" fmla="*/ 0 w 2050718"/>
                <a:gd name="connsiteY2" fmla="*/ 257442 h 257442"/>
                <a:gd name="connsiteX3" fmla="*/ 0 w 2050718"/>
                <a:gd name="connsiteY3" fmla="*/ 0 h 257442"/>
                <a:gd name="connsiteX0" fmla="*/ 2050719 w 2050719"/>
                <a:gd name="connsiteY0" fmla="*/ 0 h 257442"/>
                <a:gd name="connsiteX1" fmla="*/ 1995997 w 2050719"/>
                <a:gd name="connsiteY1" fmla="*/ 257442 h 257442"/>
                <a:gd name="connsiteX2" fmla="*/ 0 w 2050719"/>
                <a:gd name="connsiteY2" fmla="*/ 257442 h 257442"/>
                <a:gd name="connsiteX3" fmla="*/ 1 w 2050719"/>
                <a:gd name="connsiteY3" fmla="*/ 0 h 257442"/>
                <a:gd name="connsiteX0" fmla="*/ 2050719 w 2050719"/>
                <a:gd name="connsiteY0" fmla="*/ 0 h 257442"/>
                <a:gd name="connsiteX1" fmla="*/ 1995997 w 2050719"/>
                <a:gd name="connsiteY1" fmla="*/ 257442 h 257442"/>
                <a:gd name="connsiteX2" fmla="*/ 0 w 2050719"/>
                <a:gd name="connsiteY2" fmla="*/ 257442 h 257442"/>
                <a:gd name="connsiteX3" fmla="*/ 1 w 2050719"/>
                <a:gd name="connsiteY3" fmla="*/ 0 h 257442"/>
                <a:gd name="connsiteX0" fmla="*/ 2211019 w 2211019"/>
                <a:gd name="connsiteY0" fmla="*/ 0 h 257442"/>
                <a:gd name="connsiteX1" fmla="*/ 1995997 w 2211019"/>
                <a:gd name="connsiteY1" fmla="*/ 257442 h 257442"/>
                <a:gd name="connsiteX2" fmla="*/ 0 w 2211019"/>
                <a:gd name="connsiteY2" fmla="*/ 257442 h 257442"/>
                <a:gd name="connsiteX3" fmla="*/ 1 w 2211019"/>
                <a:gd name="connsiteY3" fmla="*/ 0 h 257442"/>
                <a:gd name="connsiteX0" fmla="*/ 2211019 w 2211019"/>
                <a:gd name="connsiteY0" fmla="*/ 0 h 257442"/>
                <a:gd name="connsiteX1" fmla="*/ 2156298 w 2211019"/>
                <a:gd name="connsiteY1" fmla="*/ 257442 h 257442"/>
                <a:gd name="connsiteX2" fmla="*/ 0 w 2211019"/>
                <a:gd name="connsiteY2" fmla="*/ 257442 h 257442"/>
                <a:gd name="connsiteX3" fmla="*/ 1 w 2211019"/>
                <a:gd name="connsiteY3" fmla="*/ 0 h 257442"/>
                <a:gd name="connsiteX0" fmla="*/ 2211018 w 2211018"/>
                <a:gd name="connsiteY0" fmla="*/ 0 h 257442"/>
                <a:gd name="connsiteX1" fmla="*/ 2156297 w 2211018"/>
                <a:gd name="connsiteY1" fmla="*/ 257442 h 257442"/>
                <a:gd name="connsiteX2" fmla="*/ 0 w 2211018"/>
                <a:gd name="connsiteY2" fmla="*/ 257442 h 257442"/>
                <a:gd name="connsiteX3" fmla="*/ 0 w 2211018"/>
                <a:gd name="connsiteY3" fmla="*/ 0 h 257442"/>
                <a:gd name="connsiteX0" fmla="*/ 2211019 w 2211019"/>
                <a:gd name="connsiteY0" fmla="*/ 0 h 257442"/>
                <a:gd name="connsiteX1" fmla="*/ 2156298 w 2211019"/>
                <a:gd name="connsiteY1" fmla="*/ 257442 h 257442"/>
                <a:gd name="connsiteX2" fmla="*/ 1 w 2211019"/>
                <a:gd name="connsiteY2" fmla="*/ 257442 h 257442"/>
                <a:gd name="connsiteX3" fmla="*/ 0 w 2211019"/>
                <a:gd name="connsiteY3" fmla="*/ 0 h 257442"/>
                <a:gd name="connsiteX0" fmla="*/ 2379334 w 2379334"/>
                <a:gd name="connsiteY0" fmla="*/ 0 h 257442"/>
                <a:gd name="connsiteX1" fmla="*/ 2156298 w 2379334"/>
                <a:gd name="connsiteY1" fmla="*/ 257442 h 257442"/>
                <a:gd name="connsiteX2" fmla="*/ 1 w 2379334"/>
                <a:gd name="connsiteY2" fmla="*/ 257442 h 257442"/>
                <a:gd name="connsiteX3" fmla="*/ 0 w 2379334"/>
                <a:gd name="connsiteY3" fmla="*/ 0 h 257442"/>
                <a:gd name="connsiteX0" fmla="*/ 2379334 w 2379334"/>
                <a:gd name="connsiteY0" fmla="*/ 0 h 257442"/>
                <a:gd name="connsiteX1" fmla="*/ 2324612 w 2379334"/>
                <a:gd name="connsiteY1" fmla="*/ 257442 h 257442"/>
                <a:gd name="connsiteX2" fmla="*/ 1 w 2379334"/>
                <a:gd name="connsiteY2" fmla="*/ 257442 h 257442"/>
                <a:gd name="connsiteX3" fmla="*/ 0 w 2379334"/>
                <a:gd name="connsiteY3" fmla="*/ 0 h 257442"/>
                <a:gd name="connsiteX0" fmla="*/ 2379334 w 2379334"/>
                <a:gd name="connsiteY0" fmla="*/ 0 h 257442"/>
                <a:gd name="connsiteX1" fmla="*/ 2324612 w 2379334"/>
                <a:gd name="connsiteY1" fmla="*/ 257442 h 257442"/>
                <a:gd name="connsiteX2" fmla="*/ 0 w 2379334"/>
                <a:gd name="connsiteY2" fmla="*/ 257442 h 257442"/>
                <a:gd name="connsiteX3" fmla="*/ 0 w 2379334"/>
                <a:gd name="connsiteY3" fmla="*/ 0 h 257442"/>
                <a:gd name="connsiteX0" fmla="*/ 2379334 w 2379334"/>
                <a:gd name="connsiteY0" fmla="*/ 0 h 257442"/>
                <a:gd name="connsiteX1" fmla="*/ 2324612 w 2379334"/>
                <a:gd name="connsiteY1" fmla="*/ 257442 h 257442"/>
                <a:gd name="connsiteX2" fmla="*/ 0 w 2379334"/>
                <a:gd name="connsiteY2" fmla="*/ 257442 h 257442"/>
                <a:gd name="connsiteX3" fmla="*/ 0 w 2379334"/>
                <a:gd name="connsiteY3" fmla="*/ 0 h 257442"/>
                <a:gd name="connsiteX0" fmla="*/ 2709551 w 2709551"/>
                <a:gd name="connsiteY0" fmla="*/ 0 h 257442"/>
                <a:gd name="connsiteX1" fmla="*/ 2324612 w 2709551"/>
                <a:gd name="connsiteY1" fmla="*/ 257442 h 257442"/>
                <a:gd name="connsiteX2" fmla="*/ 0 w 2709551"/>
                <a:gd name="connsiteY2" fmla="*/ 257442 h 257442"/>
                <a:gd name="connsiteX3" fmla="*/ 0 w 2709551"/>
                <a:gd name="connsiteY3" fmla="*/ 0 h 257442"/>
                <a:gd name="connsiteX0" fmla="*/ 2709551 w 2709551"/>
                <a:gd name="connsiteY0" fmla="*/ 0 h 257442"/>
                <a:gd name="connsiteX1" fmla="*/ 2654830 w 2709551"/>
                <a:gd name="connsiteY1" fmla="*/ 257442 h 257442"/>
                <a:gd name="connsiteX2" fmla="*/ 0 w 2709551"/>
                <a:gd name="connsiteY2" fmla="*/ 257442 h 257442"/>
                <a:gd name="connsiteX3" fmla="*/ 0 w 2709551"/>
                <a:gd name="connsiteY3" fmla="*/ 0 h 257442"/>
                <a:gd name="connsiteX0" fmla="*/ 2709551 w 2709551"/>
                <a:gd name="connsiteY0" fmla="*/ 0 h 257442"/>
                <a:gd name="connsiteX1" fmla="*/ 2654830 w 2709551"/>
                <a:gd name="connsiteY1" fmla="*/ 257442 h 257442"/>
                <a:gd name="connsiteX2" fmla="*/ 0 w 2709551"/>
                <a:gd name="connsiteY2" fmla="*/ 257442 h 257442"/>
                <a:gd name="connsiteX3" fmla="*/ 0 w 2709551"/>
                <a:gd name="connsiteY3" fmla="*/ 0 h 257442"/>
                <a:gd name="connsiteX0" fmla="*/ 2709551 w 2709551"/>
                <a:gd name="connsiteY0" fmla="*/ 0 h 257442"/>
                <a:gd name="connsiteX1" fmla="*/ 2654830 w 2709551"/>
                <a:gd name="connsiteY1" fmla="*/ 257442 h 257442"/>
                <a:gd name="connsiteX2" fmla="*/ 0 w 2709551"/>
                <a:gd name="connsiteY2" fmla="*/ 257442 h 257442"/>
                <a:gd name="connsiteX3" fmla="*/ 0 w 2709551"/>
                <a:gd name="connsiteY3" fmla="*/ 0 h 257442"/>
                <a:gd name="connsiteX0" fmla="*/ 2877867 w 2877867"/>
                <a:gd name="connsiteY0" fmla="*/ 0 h 257442"/>
                <a:gd name="connsiteX1" fmla="*/ 2654830 w 2877867"/>
                <a:gd name="connsiteY1" fmla="*/ 257442 h 257442"/>
                <a:gd name="connsiteX2" fmla="*/ 0 w 2877867"/>
                <a:gd name="connsiteY2" fmla="*/ 257442 h 257442"/>
                <a:gd name="connsiteX3" fmla="*/ 0 w 2877867"/>
                <a:gd name="connsiteY3" fmla="*/ 0 h 257442"/>
                <a:gd name="connsiteX0" fmla="*/ 2877867 w 2877867"/>
                <a:gd name="connsiteY0" fmla="*/ 0 h 257442"/>
                <a:gd name="connsiteX1" fmla="*/ 2823146 w 2877867"/>
                <a:gd name="connsiteY1" fmla="*/ 257442 h 257442"/>
                <a:gd name="connsiteX2" fmla="*/ 0 w 2877867"/>
                <a:gd name="connsiteY2" fmla="*/ 257442 h 257442"/>
                <a:gd name="connsiteX3" fmla="*/ 0 w 2877867"/>
                <a:gd name="connsiteY3" fmla="*/ 0 h 257442"/>
                <a:gd name="connsiteX0" fmla="*/ 2877867 w 2877867"/>
                <a:gd name="connsiteY0" fmla="*/ 0 h 257442"/>
                <a:gd name="connsiteX1" fmla="*/ 2823146 w 2877867"/>
                <a:gd name="connsiteY1" fmla="*/ 257442 h 257442"/>
                <a:gd name="connsiteX2" fmla="*/ 0 w 2877867"/>
                <a:gd name="connsiteY2" fmla="*/ 257442 h 257442"/>
                <a:gd name="connsiteX3" fmla="*/ 0 w 2877867"/>
                <a:gd name="connsiteY3" fmla="*/ 0 h 257442"/>
                <a:gd name="connsiteX0" fmla="*/ 2877867 w 2877867"/>
                <a:gd name="connsiteY0" fmla="*/ 0 h 257442"/>
                <a:gd name="connsiteX1" fmla="*/ 2823146 w 2877867"/>
                <a:gd name="connsiteY1" fmla="*/ 257442 h 257442"/>
                <a:gd name="connsiteX2" fmla="*/ 0 w 2877867"/>
                <a:gd name="connsiteY2" fmla="*/ 257442 h 257442"/>
                <a:gd name="connsiteX3" fmla="*/ 0 w 2877867"/>
                <a:gd name="connsiteY3" fmla="*/ 0 h 257442"/>
                <a:gd name="connsiteX0" fmla="*/ 3063815 w 3063815"/>
                <a:gd name="connsiteY0" fmla="*/ 0 h 257442"/>
                <a:gd name="connsiteX1" fmla="*/ 2823146 w 3063815"/>
                <a:gd name="connsiteY1" fmla="*/ 257442 h 257442"/>
                <a:gd name="connsiteX2" fmla="*/ 0 w 3063815"/>
                <a:gd name="connsiteY2" fmla="*/ 257442 h 257442"/>
                <a:gd name="connsiteX3" fmla="*/ 0 w 3063815"/>
                <a:gd name="connsiteY3" fmla="*/ 0 h 257442"/>
                <a:gd name="connsiteX0" fmla="*/ 3063815 w 3063815"/>
                <a:gd name="connsiteY0" fmla="*/ 0 h 257442"/>
                <a:gd name="connsiteX1" fmla="*/ 3009094 w 3063815"/>
                <a:gd name="connsiteY1" fmla="*/ 257442 h 257442"/>
                <a:gd name="connsiteX2" fmla="*/ 0 w 3063815"/>
                <a:gd name="connsiteY2" fmla="*/ 257442 h 257442"/>
                <a:gd name="connsiteX3" fmla="*/ 0 w 3063815"/>
                <a:gd name="connsiteY3" fmla="*/ 0 h 257442"/>
                <a:gd name="connsiteX0" fmla="*/ 3063815 w 3063815"/>
                <a:gd name="connsiteY0" fmla="*/ 0 h 257442"/>
                <a:gd name="connsiteX1" fmla="*/ 3009094 w 3063815"/>
                <a:gd name="connsiteY1" fmla="*/ 257442 h 257442"/>
                <a:gd name="connsiteX2" fmla="*/ 0 w 3063815"/>
                <a:gd name="connsiteY2" fmla="*/ 257442 h 257442"/>
                <a:gd name="connsiteX3" fmla="*/ 0 w 3063815"/>
                <a:gd name="connsiteY3" fmla="*/ 0 h 257442"/>
                <a:gd name="connsiteX0" fmla="*/ 3063815 w 3063815"/>
                <a:gd name="connsiteY0" fmla="*/ 0 h 257442"/>
                <a:gd name="connsiteX1" fmla="*/ 3009094 w 3063815"/>
                <a:gd name="connsiteY1" fmla="*/ 257442 h 257442"/>
                <a:gd name="connsiteX2" fmla="*/ 0 w 3063815"/>
                <a:gd name="connsiteY2" fmla="*/ 257442 h 257442"/>
                <a:gd name="connsiteX3" fmla="*/ 0 w 3063815"/>
                <a:gd name="connsiteY3" fmla="*/ 0 h 257442"/>
                <a:gd name="connsiteX0" fmla="*/ 3232130 w 3232130"/>
                <a:gd name="connsiteY0" fmla="*/ 0 h 257442"/>
                <a:gd name="connsiteX1" fmla="*/ 3009094 w 3232130"/>
                <a:gd name="connsiteY1" fmla="*/ 257442 h 257442"/>
                <a:gd name="connsiteX2" fmla="*/ 0 w 3232130"/>
                <a:gd name="connsiteY2" fmla="*/ 257442 h 257442"/>
                <a:gd name="connsiteX3" fmla="*/ 0 w 3232130"/>
                <a:gd name="connsiteY3" fmla="*/ 0 h 257442"/>
                <a:gd name="connsiteX0" fmla="*/ 3232130 w 3232130"/>
                <a:gd name="connsiteY0" fmla="*/ 0 h 257442"/>
                <a:gd name="connsiteX1" fmla="*/ 3177408 w 3232130"/>
                <a:gd name="connsiteY1" fmla="*/ 257442 h 257442"/>
                <a:gd name="connsiteX2" fmla="*/ 0 w 3232130"/>
                <a:gd name="connsiteY2" fmla="*/ 257442 h 257442"/>
                <a:gd name="connsiteX3" fmla="*/ 0 w 3232130"/>
                <a:gd name="connsiteY3" fmla="*/ 0 h 257442"/>
                <a:gd name="connsiteX0" fmla="*/ 3232131 w 3232131"/>
                <a:gd name="connsiteY0" fmla="*/ 0 h 257442"/>
                <a:gd name="connsiteX1" fmla="*/ 3177409 w 3232131"/>
                <a:gd name="connsiteY1" fmla="*/ 257442 h 257442"/>
                <a:gd name="connsiteX2" fmla="*/ 0 w 3232131"/>
                <a:gd name="connsiteY2" fmla="*/ 257442 h 257442"/>
                <a:gd name="connsiteX3" fmla="*/ 1 w 3232131"/>
                <a:gd name="connsiteY3" fmla="*/ 0 h 257442"/>
                <a:gd name="connsiteX0" fmla="*/ 3232131 w 3232131"/>
                <a:gd name="connsiteY0" fmla="*/ 0 h 257442"/>
                <a:gd name="connsiteX1" fmla="*/ 3177409 w 3232131"/>
                <a:gd name="connsiteY1" fmla="*/ 257442 h 257442"/>
                <a:gd name="connsiteX2" fmla="*/ 0 w 3232131"/>
                <a:gd name="connsiteY2" fmla="*/ 257442 h 257442"/>
                <a:gd name="connsiteX3" fmla="*/ 1 w 3232131"/>
                <a:gd name="connsiteY3" fmla="*/ 0 h 257442"/>
                <a:gd name="connsiteX0" fmla="*/ 3400447 w 3400447"/>
                <a:gd name="connsiteY0" fmla="*/ 0 h 257442"/>
                <a:gd name="connsiteX1" fmla="*/ 3177409 w 3400447"/>
                <a:gd name="connsiteY1" fmla="*/ 257442 h 257442"/>
                <a:gd name="connsiteX2" fmla="*/ 0 w 3400447"/>
                <a:gd name="connsiteY2" fmla="*/ 257442 h 257442"/>
                <a:gd name="connsiteX3" fmla="*/ 1 w 3400447"/>
                <a:gd name="connsiteY3" fmla="*/ 0 h 257442"/>
                <a:gd name="connsiteX0" fmla="*/ 3400447 w 3400447"/>
                <a:gd name="connsiteY0" fmla="*/ 0 h 257442"/>
                <a:gd name="connsiteX1" fmla="*/ 3345726 w 3400447"/>
                <a:gd name="connsiteY1" fmla="*/ 257442 h 257442"/>
                <a:gd name="connsiteX2" fmla="*/ 0 w 3400447"/>
                <a:gd name="connsiteY2" fmla="*/ 257442 h 257442"/>
                <a:gd name="connsiteX3" fmla="*/ 1 w 3400447"/>
                <a:gd name="connsiteY3" fmla="*/ 0 h 257442"/>
                <a:gd name="connsiteX0" fmla="*/ 3400446 w 3400446"/>
                <a:gd name="connsiteY0" fmla="*/ 0 h 257442"/>
                <a:gd name="connsiteX1" fmla="*/ 3345725 w 3400446"/>
                <a:gd name="connsiteY1" fmla="*/ 257442 h 257442"/>
                <a:gd name="connsiteX2" fmla="*/ 0 w 3400446"/>
                <a:gd name="connsiteY2" fmla="*/ 257442 h 257442"/>
                <a:gd name="connsiteX3" fmla="*/ 0 w 3400446"/>
                <a:gd name="connsiteY3" fmla="*/ 0 h 257442"/>
                <a:gd name="connsiteX0" fmla="*/ 3400447 w 3400447"/>
                <a:gd name="connsiteY0" fmla="*/ 0 h 257442"/>
                <a:gd name="connsiteX1" fmla="*/ 3345726 w 3400447"/>
                <a:gd name="connsiteY1" fmla="*/ 257442 h 257442"/>
                <a:gd name="connsiteX2" fmla="*/ 1 w 3400447"/>
                <a:gd name="connsiteY2" fmla="*/ 257442 h 257442"/>
                <a:gd name="connsiteX3" fmla="*/ 0 w 3400447"/>
                <a:gd name="connsiteY3" fmla="*/ 0 h 257442"/>
                <a:gd name="connsiteX0" fmla="*/ 3568762 w 3568762"/>
                <a:gd name="connsiteY0" fmla="*/ 0 h 257442"/>
                <a:gd name="connsiteX1" fmla="*/ 3345726 w 3568762"/>
                <a:gd name="connsiteY1" fmla="*/ 257442 h 257442"/>
                <a:gd name="connsiteX2" fmla="*/ 1 w 3568762"/>
                <a:gd name="connsiteY2" fmla="*/ 257442 h 257442"/>
                <a:gd name="connsiteX3" fmla="*/ 0 w 3568762"/>
                <a:gd name="connsiteY3" fmla="*/ 0 h 257442"/>
                <a:gd name="connsiteX0" fmla="*/ 3568762 w 3568762"/>
                <a:gd name="connsiteY0" fmla="*/ 0 h 257442"/>
                <a:gd name="connsiteX1" fmla="*/ 3514040 w 3568762"/>
                <a:gd name="connsiteY1" fmla="*/ 257442 h 257442"/>
                <a:gd name="connsiteX2" fmla="*/ 1 w 3568762"/>
                <a:gd name="connsiteY2" fmla="*/ 257442 h 257442"/>
                <a:gd name="connsiteX3" fmla="*/ 0 w 3568762"/>
                <a:gd name="connsiteY3" fmla="*/ 0 h 257442"/>
                <a:gd name="connsiteX0" fmla="*/ 3568762 w 3568762"/>
                <a:gd name="connsiteY0" fmla="*/ 0 h 257442"/>
                <a:gd name="connsiteX1" fmla="*/ 3514040 w 3568762"/>
                <a:gd name="connsiteY1" fmla="*/ 257442 h 257442"/>
                <a:gd name="connsiteX2" fmla="*/ 0 w 3568762"/>
                <a:gd name="connsiteY2" fmla="*/ 257442 h 257442"/>
                <a:gd name="connsiteX3" fmla="*/ 0 w 3568762"/>
                <a:gd name="connsiteY3" fmla="*/ 0 h 257442"/>
                <a:gd name="connsiteX0" fmla="*/ 3568762 w 3568762"/>
                <a:gd name="connsiteY0" fmla="*/ 0 h 257442"/>
                <a:gd name="connsiteX1" fmla="*/ 3514040 w 3568762"/>
                <a:gd name="connsiteY1" fmla="*/ 257442 h 257442"/>
                <a:gd name="connsiteX2" fmla="*/ 0 w 3568762"/>
                <a:gd name="connsiteY2" fmla="*/ 257442 h 257442"/>
                <a:gd name="connsiteX3" fmla="*/ 0 w 3568762"/>
                <a:gd name="connsiteY3" fmla="*/ 0 h 257442"/>
                <a:gd name="connsiteX0" fmla="*/ 3729061 w 3729061"/>
                <a:gd name="connsiteY0" fmla="*/ 0 h 257442"/>
                <a:gd name="connsiteX1" fmla="*/ 3514040 w 3729061"/>
                <a:gd name="connsiteY1" fmla="*/ 257442 h 257442"/>
                <a:gd name="connsiteX2" fmla="*/ 0 w 3729061"/>
                <a:gd name="connsiteY2" fmla="*/ 257442 h 257442"/>
                <a:gd name="connsiteX3" fmla="*/ 0 w 3729061"/>
                <a:gd name="connsiteY3" fmla="*/ 0 h 257442"/>
                <a:gd name="connsiteX0" fmla="*/ 3729061 w 3729061"/>
                <a:gd name="connsiteY0" fmla="*/ 0 h 257442"/>
                <a:gd name="connsiteX1" fmla="*/ 3674340 w 3729061"/>
                <a:gd name="connsiteY1" fmla="*/ 257442 h 257442"/>
                <a:gd name="connsiteX2" fmla="*/ 0 w 3729061"/>
                <a:gd name="connsiteY2" fmla="*/ 257442 h 257442"/>
                <a:gd name="connsiteX3" fmla="*/ 0 w 3729061"/>
                <a:gd name="connsiteY3" fmla="*/ 0 h 257442"/>
                <a:gd name="connsiteX0" fmla="*/ 3729061 w 3729061"/>
                <a:gd name="connsiteY0" fmla="*/ 0 h 257442"/>
                <a:gd name="connsiteX1" fmla="*/ 3674340 w 3729061"/>
                <a:gd name="connsiteY1" fmla="*/ 257442 h 257442"/>
                <a:gd name="connsiteX2" fmla="*/ 0 w 3729061"/>
                <a:gd name="connsiteY2" fmla="*/ 257442 h 257442"/>
                <a:gd name="connsiteX3" fmla="*/ 0 w 3729061"/>
                <a:gd name="connsiteY3" fmla="*/ 0 h 257442"/>
                <a:gd name="connsiteX0" fmla="*/ 3729061 w 3729061"/>
                <a:gd name="connsiteY0" fmla="*/ 0 h 257442"/>
                <a:gd name="connsiteX1" fmla="*/ 3674340 w 3729061"/>
                <a:gd name="connsiteY1" fmla="*/ 257442 h 257442"/>
                <a:gd name="connsiteX2" fmla="*/ 0 w 3729061"/>
                <a:gd name="connsiteY2" fmla="*/ 257442 h 257442"/>
                <a:gd name="connsiteX3" fmla="*/ 0 w 3729061"/>
                <a:gd name="connsiteY3" fmla="*/ 0 h 257442"/>
                <a:gd name="connsiteX0" fmla="*/ 986067 w 3674340"/>
                <a:gd name="connsiteY0" fmla="*/ 0 h 257442"/>
                <a:gd name="connsiteX1" fmla="*/ 3674340 w 3674340"/>
                <a:gd name="connsiteY1" fmla="*/ 257442 h 257442"/>
                <a:gd name="connsiteX2" fmla="*/ 0 w 3674340"/>
                <a:gd name="connsiteY2" fmla="*/ 257442 h 257442"/>
                <a:gd name="connsiteX3" fmla="*/ 0 w 3674340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1 w 986067"/>
                <a:gd name="connsiteY2" fmla="*/ 257442 h 257442"/>
                <a:gd name="connsiteX3" fmla="*/ 0 w 986067"/>
                <a:gd name="connsiteY3" fmla="*/ 0 h 257442"/>
                <a:gd name="connsiteX0" fmla="*/ 986066 w 986066"/>
                <a:gd name="connsiteY0" fmla="*/ 0 h 257442"/>
                <a:gd name="connsiteX1" fmla="*/ 931345 w 986066"/>
                <a:gd name="connsiteY1" fmla="*/ 257442 h 257442"/>
                <a:gd name="connsiteX2" fmla="*/ 0 w 986066"/>
                <a:gd name="connsiteY2" fmla="*/ 257442 h 257442"/>
                <a:gd name="connsiteX3" fmla="*/ 0 w 986066"/>
                <a:gd name="connsiteY3" fmla="*/ 0 h 257442"/>
                <a:gd name="connsiteX0" fmla="*/ 1146367 w 1146367"/>
                <a:gd name="connsiteY0" fmla="*/ 0 h 257442"/>
                <a:gd name="connsiteX1" fmla="*/ 931345 w 1146367"/>
                <a:gd name="connsiteY1" fmla="*/ 257442 h 257442"/>
                <a:gd name="connsiteX2" fmla="*/ 0 w 1146367"/>
                <a:gd name="connsiteY2" fmla="*/ 257442 h 257442"/>
                <a:gd name="connsiteX3" fmla="*/ 0 w 1146367"/>
                <a:gd name="connsiteY3" fmla="*/ 0 h 257442"/>
                <a:gd name="connsiteX0" fmla="*/ 1146367 w 1146367"/>
                <a:gd name="connsiteY0" fmla="*/ 0 h 257442"/>
                <a:gd name="connsiteX1" fmla="*/ 1091646 w 1146367"/>
                <a:gd name="connsiteY1" fmla="*/ 257442 h 257442"/>
                <a:gd name="connsiteX2" fmla="*/ 0 w 1146367"/>
                <a:gd name="connsiteY2" fmla="*/ 257442 h 257442"/>
                <a:gd name="connsiteX3" fmla="*/ 0 w 1146367"/>
                <a:gd name="connsiteY3" fmla="*/ 0 h 257442"/>
                <a:gd name="connsiteX0" fmla="*/ 1146368 w 1146368"/>
                <a:gd name="connsiteY0" fmla="*/ 0 h 257442"/>
                <a:gd name="connsiteX1" fmla="*/ 1091647 w 1146368"/>
                <a:gd name="connsiteY1" fmla="*/ 257442 h 257442"/>
                <a:gd name="connsiteX2" fmla="*/ 0 w 1146368"/>
                <a:gd name="connsiteY2" fmla="*/ 257442 h 257442"/>
                <a:gd name="connsiteX3" fmla="*/ 1 w 1146368"/>
                <a:gd name="connsiteY3" fmla="*/ 0 h 257442"/>
                <a:gd name="connsiteX0" fmla="*/ 1146368 w 1146368"/>
                <a:gd name="connsiteY0" fmla="*/ 0 h 257442"/>
                <a:gd name="connsiteX1" fmla="*/ 1091647 w 1146368"/>
                <a:gd name="connsiteY1" fmla="*/ 257442 h 257442"/>
                <a:gd name="connsiteX2" fmla="*/ 0 w 1146368"/>
                <a:gd name="connsiteY2" fmla="*/ 257442 h 257442"/>
                <a:gd name="connsiteX3" fmla="*/ 0 w 1146368"/>
                <a:gd name="connsiteY3" fmla="*/ 0 h 257442"/>
                <a:gd name="connsiteX0" fmla="*/ 1314682 w 1314682"/>
                <a:gd name="connsiteY0" fmla="*/ 0 h 257442"/>
                <a:gd name="connsiteX1" fmla="*/ 1091647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567957 w 1567957"/>
                <a:gd name="connsiteY0" fmla="*/ 0 h 257442"/>
                <a:gd name="connsiteX1" fmla="*/ 1259961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567957 w 1567957"/>
                <a:gd name="connsiteY0" fmla="*/ 0 h 257442"/>
                <a:gd name="connsiteX1" fmla="*/ 1513236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567957 w 1567957"/>
                <a:gd name="connsiteY0" fmla="*/ 0 h 257442"/>
                <a:gd name="connsiteX1" fmla="*/ 1513236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567957 w 1567957"/>
                <a:gd name="connsiteY0" fmla="*/ 0 h 257442"/>
                <a:gd name="connsiteX1" fmla="*/ 1513236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736273 w 1736273"/>
                <a:gd name="connsiteY0" fmla="*/ 0 h 257442"/>
                <a:gd name="connsiteX1" fmla="*/ 1513236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904587 w 1904587"/>
                <a:gd name="connsiteY0" fmla="*/ 0 h 257442"/>
                <a:gd name="connsiteX1" fmla="*/ 1681552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1904587 w 1904587"/>
                <a:gd name="connsiteY0" fmla="*/ 0 h 257442"/>
                <a:gd name="connsiteX1" fmla="*/ 1849866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1904587 w 1904587"/>
                <a:gd name="connsiteY0" fmla="*/ 0 h 257442"/>
                <a:gd name="connsiteX1" fmla="*/ 1849866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1904587 w 1904587"/>
                <a:gd name="connsiteY0" fmla="*/ 0 h 257442"/>
                <a:gd name="connsiteX1" fmla="*/ 1849866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2209158 w 2209158"/>
                <a:gd name="connsiteY0" fmla="*/ 0 h 257442"/>
                <a:gd name="connsiteX1" fmla="*/ 1849866 w 2209158"/>
                <a:gd name="connsiteY1" fmla="*/ 257442 h 257442"/>
                <a:gd name="connsiteX2" fmla="*/ 0 w 2209158"/>
                <a:gd name="connsiteY2" fmla="*/ 257442 h 257442"/>
                <a:gd name="connsiteX3" fmla="*/ 0 w 2209158"/>
                <a:gd name="connsiteY3" fmla="*/ 0 h 257442"/>
                <a:gd name="connsiteX0" fmla="*/ 2209158 w 2209158"/>
                <a:gd name="connsiteY0" fmla="*/ 0 h 257442"/>
                <a:gd name="connsiteX1" fmla="*/ 2154436 w 2209158"/>
                <a:gd name="connsiteY1" fmla="*/ 257442 h 257442"/>
                <a:gd name="connsiteX2" fmla="*/ 0 w 2209158"/>
                <a:gd name="connsiteY2" fmla="*/ 257442 h 257442"/>
                <a:gd name="connsiteX3" fmla="*/ 0 w 2209158"/>
                <a:gd name="connsiteY3" fmla="*/ 0 h 257442"/>
                <a:gd name="connsiteX0" fmla="*/ 2209159 w 2209159"/>
                <a:gd name="connsiteY0" fmla="*/ 0 h 257442"/>
                <a:gd name="connsiteX1" fmla="*/ 2154437 w 2209159"/>
                <a:gd name="connsiteY1" fmla="*/ 257442 h 257442"/>
                <a:gd name="connsiteX2" fmla="*/ 0 w 2209159"/>
                <a:gd name="connsiteY2" fmla="*/ 257442 h 257442"/>
                <a:gd name="connsiteX3" fmla="*/ 1 w 2209159"/>
                <a:gd name="connsiteY3" fmla="*/ 0 h 257442"/>
                <a:gd name="connsiteX0" fmla="*/ 2209159 w 2209159"/>
                <a:gd name="connsiteY0" fmla="*/ 0 h 257442"/>
                <a:gd name="connsiteX1" fmla="*/ 2154437 w 2209159"/>
                <a:gd name="connsiteY1" fmla="*/ 257442 h 257442"/>
                <a:gd name="connsiteX2" fmla="*/ 0 w 2209159"/>
                <a:gd name="connsiteY2" fmla="*/ 257442 h 257442"/>
                <a:gd name="connsiteX3" fmla="*/ 1 w 2209159"/>
                <a:gd name="connsiteY3" fmla="*/ 0 h 257442"/>
                <a:gd name="connsiteX0" fmla="*/ 2478463 w 2478463"/>
                <a:gd name="connsiteY0" fmla="*/ 0 h 257442"/>
                <a:gd name="connsiteX1" fmla="*/ 2154437 w 2478463"/>
                <a:gd name="connsiteY1" fmla="*/ 257442 h 257442"/>
                <a:gd name="connsiteX2" fmla="*/ 0 w 2478463"/>
                <a:gd name="connsiteY2" fmla="*/ 257442 h 257442"/>
                <a:gd name="connsiteX3" fmla="*/ 1 w 2478463"/>
                <a:gd name="connsiteY3" fmla="*/ 0 h 257442"/>
                <a:gd name="connsiteX0" fmla="*/ 2478463 w 2478463"/>
                <a:gd name="connsiteY0" fmla="*/ 0 h 257442"/>
                <a:gd name="connsiteX1" fmla="*/ 2423742 w 2478463"/>
                <a:gd name="connsiteY1" fmla="*/ 257442 h 257442"/>
                <a:gd name="connsiteX2" fmla="*/ 0 w 2478463"/>
                <a:gd name="connsiteY2" fmla="*/ 257442 h 257442"/>
                <a:gd name="connsiteX3" fmla="*/ 1 w 2478463"/>
                <a:gd name="connsiteY3" fmla="*/ 0 h 257442"/>
                <a:gd name="connsiteX0" fmla="*/ 2478462 w 2478462"/>
                <a:gd name="connsiteY0" fmla="*/ 0 h 257442"/>
                <a:gd name="connsiteX1" fmla="*/ 2423741 w 2478462"/>
                <a:gd name="connsiteY1" fmla="*/ 257442 h 257442"/>
                <a:gd name="connsiteX2" fmla="*/ 0 w 2478462"/>
                <a:gd name="connsiteY2" fmla="*/ 257442 h 257442"/>
                <a:gd name="connsiteX3" fmla="*/ 0 w 2478462"/>
                <a:gd name="connsiteY3" fmla="*/ 0 h 257442"/>
                <a:gd name="connsiteX0" fmla="*/ 2478463 w 2478463"/>
                <a:gd name="connsiteY0" fmla="*/ 0 h 257442"/>
                <a:gd name="connsiteX1" fmla="*/ 2423742 w 2478463"/>
                <a:gd name="connsiteY1" fmla="*/ 257442 h 257442"/>
                <a:gd name="connsiteX2" fmla="*/ 1 w 2478463"/>
                <a:gd name="connsiteY2" fmla="*/ 257442 h 257442"/>
                <a:gd name="connsiteX3" fmla="*/ 0 w 2478463"/>
                <a:gd name="connsiteY3" fmla="*/ 0 h 257442"/>
                <a:gd name="connsiteX0" fmla="*/ 960420 w 2423742"/>
                <a:gd name="connsiteY0" fmla="*/ 0 h 257442"/>
                <a:gd name="connsiteX1" fmla="*/ 2423742 w 2423742"/>
                <a:gd name="connsiteY1" fmla="*/ 257442 h 257442"/>
                <a:gd name="connsiteX2" fmla="*/ 1 w 2423742"/>
                <a:gd name="connsiteY2" fmla="*/ 257442 h 257442"/>
                <a:gd name="connsiteX3" fmla="*/ 0 w 2423742"/>
                <a:gd name="connsiteY3" fmla="*/ 0 h 257442"/>
                <a:gd name="connsiteX0" fmla="*/ 960420 w 960420"/>
                <a:gd name="connsiteY0" fmla="*/ 0 h 257442"/>
                <a:gd name="connsiteX1" fmla="*/ 905699 w 960420"/>
                <a:gd name="connsiteY1" fmla="*/ 257442 h 257442"/>
                <a:gd name="connsiteX2" fmla="*/ 1 w 960420"/>
                <a:gd name="connsiteY2" fmla="*/ 257442 h 257442"/>
                <a:gd name="connsiteX3" fmla="*/ 0 w 960420"/>
                <a:gd name="connsiteY3" fmla="*/ 0 h 257442"/>
                <a:gd name="connsiteX0" fmla="*/ 960420 w 960420"/>
                <a:gd name="connsiteY0" fmla="*/ 0 h 257442"/>
                <a:gd name="connsiteX1" fmla="*/ 905699 w 960420"/>
                <a:gd name="connsiteY1" fmla="*/ 257442 h 257442"/>
                <a:gd name="connsiteX2" fmla="*/ 1 w 960420"/>
                <a:gd name="connsiteY2" fmla="*/ 257442 h 257442"/>
                <a:gd name="connsiteX3" fmla="*/ 0 w 960420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0 w 960419"/>
                <a:gd name="connsiteY3" fmla="*/ 0 h 257442"/>
                <a:gd name="connsiteX0" fmla="*/ 782550 w 905698"/>
                <a:gd name="connsiteY0" fmla="*/ 0 h 257442"/>
                <a:gd name="connsiteX1" fmla="*/ 905698 w 905698"/>
                <a:gd name="connsiteY1" fmla="*/ 257442 h 257442"/>
                <a:gd name="connsiteX2" fmla="*/ 0 w 905698"/>
                <a:gd name="connsiteY2" fmla="*/ 257442 h 257442"/>
                <a:gd name="connsiteX3" fmla="*/ 0 w 905698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960419 w 960419"/>
                <a:gd name="connsiteY0" fmla="*/ 0 h 257442"/>
                <a:gd name="connsiteX1" fmla="*/ 727829 w 960419"/>
                <a:gd name="connsiteY1" fmla="*/ 257442 h 257442"/>
                <a:gd name="connsiteX2" fmla="*/ 0 w 960419"/>
                <a:gd name="connsiteY2" fmla="*/ 257442 h 257442"/>
                <a:gd name="connsiteX3" fmla="*/ 0 w 960419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0 w 960419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0 w 960419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0 w 960419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2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306669 w 1306669"/>
                <a:gd name="connsiteY0" fmla="*/ 0 h 257442"/>
                <a:gd name="connsiteX1" fmla="*/ 1074013 w 1306669"/>
                <a:gd name="connsiteY1" fmla="*/ 257442 h 257442"/>
                <a:gd name="connsiteX2" fmla="*/ 0 w 1306669"/>
                <a:gd name="connsiteY2" fmla="*/ 257442 h 257442"/>
                <a:gd name="connsiteX3" fmla="*/ 1 w 1306669"/>
                <a:gd name="connsiteY3" fmla="*/ 0 h 257442"/>
                <a:gd name="connsiteX0" fmla="*/ 1306669 w 1306669"/>
                <a:gd name="connsiteY0" fmla="*/ 0 h 257442"/>
                <a:gd name="connsiteX1" fmla="*/ 1251948 w 1306669"/>
                <a:gd name="connsiteY1" fmla="*/ 257442 h 257442"/>
                <a:gd name="connsiteX2" fmla="*/ 0 w 1306669"/>
                <a:gd name="connsiteY2" fmla="*/ 257442 h 257442"/>
                <a:gd name="connsiteX3" fmla="*/ 1 w 1306669"/>
                <a:gd name="connsiteY3" fmla="*/ 0 h 257442"/>
                <a:gd name="connsiteX0" fmla="*/ 1306668 w 1306668"/>
                <a:gd name="connsiteY0" fmla="*/ 0 h 257442"/>
                <a:gd name="connsiteX1" fmla="*/ 1251947 w 1306668"/>
                <a:gd name="connsiteY1" fmla="*/ 257442 h 257442"/>
                <a:gd name="connsiteX2" fmla="*/ 0 w 1306668"/>
                <a:gd name="connsiteY2" fmla="*/ 257442 h 257442"/>
                <a:gd name="connsiteX3" fmla="*/ 0 w 1306668"/>
                <a:gd name="connsiteY3" fmla="*/ 0 h 257442"/>
                <a:gd name="connsiteX0" fmla="*/ 1306669 w 1306669"/>
                <a:gd name="connsiteY0" fmla="*/ 0 h 257442"/>
                <a:gd name="connsiteX1" fmla="*/ 1251948 w 1306669"/>
                <a:gd name="connsiteY1" fmla="*/ 257442 h 257442"/>
                <a:gd name="connsiteX2" fmla="*/ 1 w 1306669"/>
                <a:gd name="connsiteY2" fmla="*/ 257442 h 257442"/>
                <a:gd name="connsiteX3" fmla="*/ 0 w 1306669"/>
                <a:gd name="connsiteY3" fmla="*/ 0 h 257442"/>
                <a:gd name="connsiteX0" fmla="*/ 1474984 w 1474984"/>
                <a:gd name="connsiteY0" fmla="*/ 0 h 257442"/>
                <a:gd name="connsiteX1" fmla="*/ 1251948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643298 w 1643298"/>
                <a:gd name="connsiteY0" fmla="*/ 0 h 257442"/>
                <a:gd name="connsiteX1" fmla="*/ 1420262 w 1643298"/>
                <a:gd name="connsiteY1" fmla="*/ 257442 h 257442"/>
                <a:gd name="connsiteX2" fmla="*/ 0 w 1643298"/>
                <a:gd name="connsiteY2" fmla="*/ 257442 h 257442"/>
                <a:gd name="connsiteX3" fmla="*/ 0 w 1643298"/>
                <a:gd name="connsiteY3" fmla="*/ 0 h 257442"/>
                <a:gd name="connsiteX0" fmla="*/ 1643298 w 1643298"/>
                <a:gd name="connsiteY0" fmla="*/ 0 h 257442"/>
                <a:gd name="connsiteX1" fmla="*/ 1588577 w 1643298"/>
                <a:gd name="connsiteY1" fmla="*/ 257442 h 257442"/>
                <a:gd name="connsiteX2" fmla="*/ 0 w 1643298"/>
                <a:gd name="connsiteY2" fmla="*/ 257442 h 257442"/>
                <a:gd name="connsiteX3" fmla="*/ 0 w 1643298"/>
                <a:gd name="connsiteY3" fmla="*/ 0 h 257442"/>
                <a:gd name="connsiteX0" fmla="*/ 1643298 w 1643298"/>
                <a:gd name="connsiteY0" fmla="*/ 0 h 257442"/>
                <a:gd name="connsiteX1" fmla="*/ 1588577 w 1643298"/>
                <a:gd name="connsiteY1" fmla="*/ 257442 h 257442"/>
                <a:gd name="connsiteX2" fmla="*/ 0 w 1643298"/>
                <a:gd name="connsiteY2" fmla="*/ 257442 h 257442"/>
                <a:gd name="connsiteX3" fmla="*/ 0 w 1643298"/>
                <a:gd name="connsiteY3" fmla="*/ 0 h 257442"/>
                <a:gd name="connsiteX0" fmla="*/ 1643298 w 1643298"/>
                <a:gd name="connsiteY0" fmla="*/ 0 h 257442"/>
                <a:gd name="connsiteX1" fmla="*/ 1588577 w 1643298"/>
                <a:gd name="connsiteY1" fmla="*/ 257442 h 257442"/>
                <a:gd name="connsiteX2" fmla="*/ 0 w 1643298"/>
                <a:gd name="connsiteY2" fmla="*/ 257442 h 257442"/>
                <a:gd name="connsiteX3" fmla="*/ 0 w 1643298"/>
                <a:gd name="connsiteY3" fmla="*/ 0 h 257442"/>
                <a:gd name="connsiteX0" fmla="*/ 1912603 w 1912603"/>
                <a:gd name="connsiteY0" fmla="*/ 0 h 257442"/>
                <a:gd name="connsiteX1" fmla="*/ 1588577 w 1912603"/>
                <a:gd name="connsiteY1" fmla="*/ 257442 h 257442"/>
                <a:gd name="connsiteX2" fmla="*/ 0 w 1912603"/>
                <a:gd name="connsiteY2" fmla="*/ 257442 h 257442"/>
                <a:gd name="connsiteX3" fmla="*/ 0 w 1912603"/>
                <a:gd name="connsiteY3" fmla="*/ 0 h 257442"/>
                <a:gd name="connsiteX0" fmla="*/ 1912603 w 1912603"/>
                <a:gd name="connsiteY0" fmla="*/ 0 h 257442"/>
                <a:gd name="connsiteX1" fmla="*/ 1857882 w 1912603"/>
                <a:gd name="connsiteY1" fmla="*/ 257442 h 257442"/>
                <a:gd name="connsiteX2" fmla="*/ 0 w 1912603"/>
                <a:gd name="connsiteY2" fmla="*/ 257442 h 257442"/>
                <a:gd name="connsiteX3" fmla="*/ 0 w 1912603"/>
                <a:gd name="connsiteY3" fmla="*/ 0 h 257442"/>
                <a:gd name="connsiteX0" fmla="*/ 1912603 w 1912603"/>
                <a:gd name="connsiteY0" fmla="*/ 0 h 257442"/>
                <a:gd name="connsiteX1" fmla="*/ 1857882 w 1912603"/>
                <a:gd name="connsiteY1" fmla="*/ 257442 h 257442"/>
                <a:gd name="connsiteX2" fmla="*/ 0 w 1912603"/>
                <a:gd name="connsiteY2" fmla="*/ 257442 h 257442"/>
                <a:gd name="connsiteX3" fmla="*/ 0 w 1912603"/>
                <a:gd name="connsiteY3" fmla="*/ 0 h 257442"/>
                <a:gd name="connsiteX0" fmla="*/ 1912603 w 1912603"/>
                <a:gd name="connsiteY0" fmla="*/ 0 h 257442"/>
                <a:gd name="connsiteX1" fmla="*/ 1857882 w 1912603"/>
                <a:gd name="connsiteY1" fmla="*/ 257442 h 257442"/>
                <a:gd name="connsiteX2" fmla="*/ 0 w 1912603"/>
                <a:gd name="connsiteY2" fmla="*/ 257442 h 257442"/>
                <a:gd name="connsiteX3" fmla="*/ 0 w 1912603"/>
                <a:gd name="connsiteY3" fmla="*/ 0 h 257442"/>
                <a:gd name="connsiteX0" fmla="*/ 2173892 w 2173892"/>
                <a:gd name="connsiteY0" fmla="*/ 0 h 257442"/>
                <a:gd name="connsiteX1" fmla="*/ 1857882 w 2173892"/>
                <a:gd name="connsiteY1" fmla="*/ 257442 h 257442"/>
                <a:gd name="connsiteX2" fmla="*/ 0 w 2173892"/>
                <a:gd name="connsiteY2" fmla="*/ 257442 h 257442"/>
                <a:gd name="connsiteX3" fmla="*/ 0 w 2173892"/>
                <a:gd name="connsiteY3" fmla="*/ 0 h 257442"/>
                <a:gd name="connsiteX0" fmla="*/ 2173892 w 2173892"/>
                <a:gd name="connsiteY0" fmla="*/ 0 h 257442"/>
                <a:gd name="connsiteX1" fmla="*/ 2119170 w 2173892"/>
                <a:gd name="connsiteY1" fmla="*/ 257442 h 257442"/>
                <a:gd name="connsiteX2" fmla="*/ 0 w 2173892"/>
                <a:gd name="connsiteY2" fmla="*/ 257442 h 257442"/>
                <a:gd name="connsiteX3" fmla="*/ 0 w 2173892"/>
                <a:gd name="connsiteY3" fmla="*/ 0 h 257442"/>
                <a:gd name="connsiteX0" fmla="*/ 2173893 w 2173893"/>
                <a:gd name="connsiteY0" fmla="*/ 0 h 257442"/>
                <a:gd name="connsiteX1" fmla="*/ 2119171 w 2173893"/>
                <a:gd name="connsiteY1" fmla="*/ 257442 h 257442"/>
                <a:gd name="connsiteX2" fmla="*/ 0 w 2173893"/>
                <a:gd name="connsiteY2" fmla="*/ 257442 h 257442"/>
                <a:gd name="connsiteX3" fmla="*/ 1 w 2173893"/>
                <a:gd name="connsiteY3" fmla="*/ 0 h 257442"/>
                <a:gd name="connsiteX0" fmla="*/ 2173893 w 2173893"/>
                <a:gd name="connsiteY0" fmla="*/ 0 h 257442"/>
                <a:gd name="connsiteX1" fmla="*/ 2119171 w 2173893"/>
                <a:gd name="connsiteY1" fmla="*/ 257442 h 257442"/>
                <a:gd name="connsiteX2" fmla="*/ 0 w 2173893"/>
                <a:gd name="connsiteY2" fmla="*/ 257442 h 257442"/>
                <a:gd name="connsiteX3" fmla="*/ 1 w 2173893"/>
                <a:gd name="connsiteY3" fmla="*/ 0 h 257442"/>
                <a:gd name="connsiteX0" fmla="*/ 2334193 w 2334193"/>
                <a:gd name="connsiteY0" fmla="*/ 0 h 257442"/>
                <a:gd name="connsiteX1" fmla="*/ 2119171 w 2334193"/>
                <a:gd name="connsiteY1" fmla="*/ 257442 h 257442"/>
                <a:gd name="connsiteX2" fmla="*/ 0 w 2334193"/>
                <a:gd name="connsiteY2" fmla="*/ 257442 h 257442"/>
                <a:gd name="connsiteX3" fmla="*/ 1 w 2334193"/>
                <a:gd name="connsiteY3" fmla="*/ 0 h 257442"/>
                <a:gd name="connsiteX0" fmla="*/ 2334193 w 2334193"/>
                <a:gd name="connsiteY0" fmla="*/ 0 h 257442"/>
                <a:gd name="connsiteX1" fmla="*/ 2279472 w 2334193"/>
                <a:gd name="connsiteY1" fmla="*/ 257442 h 257442"/>
                <a:gd name="connsiteX2" fmla="*/ 0 w 2334193"/>
                <a:gd name="connsiteY2" fmla="*/ 257442 h 257442"/>
                <a:gd name="connsiteX3" fmla="*/ 1 w 2334193"/>
                <a:gd name="connsiteY3" fmla="*/ 0 h 257442"/>
                <a:gd name="connsiteX0" fmla="*/ 2334192 w 2334192"/>
                <a:gd name="connsiteY0" fmla="*/ 0 h 257442"/>
                <a:gd name="connsiteX1" fmla="*/ 2279471 w 2334192"/>
                <a:gd name="connsiteY1" fmla="*/ 257442 h 257442"/>
                <a:gd name="connsiteX2" fmla="*/ 0 w 2334192"/>
                <a:gd name="connsiteY2" fmla="*/ 257442 h 257442"/>
                <a:gd name="connsiteX3" fmla="*/ 0 w 2334192"/>
                <a:gd name="connsiteY3" fmla="*/ 0 h 257442"/>
                <a:gd name="connsiteX0" fmla="*/ 2334193 w 2334193"/>
                <a:gd name="connsiteY0" fmla="*/ 0 h 257442"/>
                <a:gd name="connsiteX1" fmla="*/ 2279472 w 2334193"/>
                <a:gd name="connsiteY1" fmla="*/ 257442 h 257442"/>
                <a:gd name="connsiteX2" fmla="*/ 1 w 2334193"/>
                <a:gd name="connsiteY2" fmla="*/ 257442 h 257442"/>
                <a:gd name="connsiteX3" fmla="*/ 0 w 2334193"/>
                <a:gd name="connsiteY3" fmla="*/ 0 h 257442"/>
                <a:gd name="connsiteX0" fmla="*/ 2502509 w 2502509"/>
                <a:gd name="connsiteY0" fmla="*/ 0 h 257442"/>
                <a:gd name="connsiteX1" fmla="*/ 2279472 w 2502509"/>
                <a:gd name="connsiteY1" fmla="*/ 257442 h 257442"/>
                <a:gd name="connsiteX2" fmla="*/ 1 w 2502509"/>
                <a:gd name="connsiteY2" fmla="*/ 257442 h 257442"/>
                <a:gd name="connsiteX3" fmla="*/ 0 w 2502509"/>
                <a:gd name="connsiteY3" fmla="*/ 0 h 257442"/>
                <a:gd name="connsiteX0" fmla="*/ 2502509 w 2502509"/>
                <a:gd name="connsiteY0" fmla="*/ 0 h 257442"/>
                <a:gd name="connsiteX1" fmla="*/ 2447788 w 2502509"/>
                <a:gd name="connsiteY1" fmla="*/ 257442 h 257442"/>
                <a:gd name="connsiteX2" fmla="*/ 1 w 2502509"/>
                <a:gd name="connsiteY2" fmla="*/ 257442 h 257442"/>
                <a:gd name="connsiteX3" fmla="*/ 0 w 2502509"/>
                <a:gd name="connsiteY3" fmla="*/ 0 h 257442"/>
                <a:gd name="connsiteX0" fmla="*/ 2502509 w 2502509"/>
                <a:gd name="connsiteY0" fmla="*/ 0 h 257442"/>
                <a:gd name="connsiteX1" fmla="*/ 2447788 w 2502509"/>
                <a:gd name="connsiteY1" fmla="*/ 257442 h 257442"/>
                <a:gd name="connsiteX2" fmla="*/ 1 w 2502509"/>
                <a:gd name="connsiteY2" fmla="*/ 257442 h 257442"/>
                <a:gd name="connsiteX3" fmla="*/ 0 w 2502509"/>
                <a:gd name="connsiteY3" fmla="*/ 0 h 257442"/>
                <a:gd name="connsiteX0" fmla="*/ 2502508 w 2502508"/>
                <a:gd name="connsiteY0" fmla="*/ 0 h 257442"/>
                <a:gd name="connsiteX1" fmla="*/ 2447787 w 2502508"/>
                <a:gd name="connsiteY1" fmla="*/ 257442 h 257442"/>
                <a:gd name="connsiteX2" fmla="*/ 0 w 2502508"/>
                <a:gd name="connsiteY2" fmla="*/ 257442 h 257442"/>
                <a:gd name="connsiteX3" fmla="*/ 0 w 2502508"/>
                <a:gd name="connsiteY3" fmla="*/ 0 h 257442"/>
                <a:gd name="connsiteX0" fmla="*/ 2670822 w 2670822"/>
                <a:gd name="connsiteY0" fmla="*/ 0 h 257442"/>
                <a:gd name="connsiteX1" fmla="*/ 2447787 w 2670822"/>
                <a:gd name="connsiteY1" fmla="*/ 257442 h 257442"/>
                <a:gd name="connsiteX2" fmla="*/ 0 w 2670822"/>
                <a:gd name="connsiteY2" fmla="*/ 257442 h 257442"/>
                <a:gd name="connsiteX3" fmla="*/ 0 w 2670822"/>
                <a:gd name="connsiteY3" fmla="*/ 0 h 257442"/>
                <a:gd name="connsiteX0" fmla="*/ 2670822 w 2670822"/>
                <a:gd name="connsiteY0" fmla="*/ 0 h 257442"/>
                <a:gd name="connsiteX1" fmla="*/ 2616101 w 2670822"/>
                <a:gd name="connsiteY1" fmla="*/ 257442 h 257442"/>
                <a:gd name="connsiteX2" fmla="*/ 0 w 2670822"/>
                <a:gd name="connsiteY2" fmla="*/ 257442 h 257442"/>
                <a:gd name="connsiteX3" fmla="*/ 0 w 2670822"/>
                <a:gd name="connsiteY3" fmla="*/ 0 h 257442"/>
                <a:gd name="connsiteX0" fmla="*/ 2670823 w 2670823"/>
                <a:gd name="connsiteY0" fmla="*/ 0 h 257442"/>
                <a:gd name="connsiteX1" fmla="*/ 2616102 w 2670823"/>
                <a:gd name="connsiteY1" fmla="*/ 257442 h 257442"/>
                <a:gd name="connsiteX2" fmla="*/ 0 w 2670823"/>
                <a:gd name="connsiteY2" fmla="*/ 257442 h 257442"/>
                <a:gd name="connsiteX3" fmla="*/ 1 w 2670823"/>
                <a:gd name="connsiteY3" fmla="*/ 0 h 257442"/>
                <a:gd name="connsiteX0" fmla="*/ 2670823 w 2670823"/>
                <a:gd name="connsiteY0" fmla="*/ 0 h 257442"/>
                <a:gd name="connsiteX1" fmla="*/ 2616102 w 2670823"/>
                <a:gd name="connsiteY1" fmla="*/ 257442 h 257442"/>
                <a:gd name="connsiteX2" fmla="*/ 0 w 2670823"/>
                <a:gd name="connsiteY2" fmla="*/ 257442 h 257442"/>
                <a:gd name="connsiteX3" fmla="*/ 1 w 2670823"/>
                <a:gd name="connsiteY3" fmla="*/ 0 h 257442"/>
                <a:gd name="connsiteX0" fmla="*/ 2839140 w 2839140"/>
                <a:gd name="connsiteY0" fmla="*/ 0 h 257442"/>
                <a:gd name="connsiteX1" fmla="*/ 2616102 w 2839140"/>
                <a:gd name="connsiteY1" fmla="*/ 257442 h 257442"/>
                <a:gd name="connsiteX2" fmla="*/ 0 w 2839140"/>
                <a:gd name="connsiteY2" fmla="*/ 257442 h 257442"/>
                <a:gd name="connsiteX3" fmla="*/ 1 w 2839140"/>
                <a:gd name="connsiteY3" fmla="*/ 0 h 257442"/>
                <a:gd name="connsiteX0" fmla="*/ 2839140 w 2839140"/>
                <a:gd name="connsiteY0" fmla="*/ 0 h 257442"/>
                <a:gd name="connsiteX1" fmla="*/ 2784418 w 2839140"/>
                <a:gd name="connsiteY1" fmla="*/ 257442 h 257442"/>
                <a:gd name="connsiteX2" fmla="*/ 0 w 2839140"/>
                <a:gd name="connsiteY2" fmla="*/ 257442 h 257442"/>
                <a:gd name="connsiteX3" fmla="*/ 1 w 2839140"/>
                <a:gd name="connsiteY3" fmla="*/ 0 h 257442"/>
                <a:gd name="connsiteX0" fmla="*/ 2839140 w 2839140"/>
                <a:gd name="connsiteY0" fmla="*/ 0 h 257442"/>
                <a:gd name="connsiteX1" fmla="*/ 2784418 w 2839140"/>
                <a:gd name="connsiteY1" fmla="*/ 257442 h 257442"/>
                <a:gd name="connsiteX2" fmla="*/ 0 w 2839140"/>
                <a:gd name="connsiteY2" fmla="*/ 257442 h 257442"/>
                <a:gd name="connsiteX3" fmla="*/ 1 w 2839140"/>
                <a:gd name="connsiteY3" fmla="*/ 0 h 257442"/>
                <a:gd name="connsiteX0" fmla="*/ 2839140 w 2839140"/>
                <a:gd name="connsiteY0" fmla="*/ 0 h 257442"/>
                <a:gd name="connsiteX1" fmla="*/ 2784418 w 2839140"/>
                <a:gd name="connsiteY1" fmla="*/ 257442 h 257442"/>
                <a:gd name="connsiteX2" fmla="*/ 0 w 2839140"/>
                <a:gd name="connsiteY2" fmla="*/ 257442 h 257442"/>
                <a:gd name="connsiteX3" fmla="*/ 0 w 2839140"/>
                <a:gd name="connsiteY3" fmla="*/ 0 h 257442"/>
                <a:gd name="connsiteX0" fmla="*/ 3017071 w 3017071"/>
                <a:gd name="connsiteY0" fmla="*/ 0 h 257442"/>
                <a:gd name="connsiteX1" fmla="*/ 2784418 w 3017071"/>
                <a:gd name="connsiteY1" fmla="*/ 257442 h 257442"/>
                <a:gd name="connsiteX2" fmla="*/ 0 w 3017071"/>
                <a:gd name="connsiteY2" fmla="*/ 257442 h 257442"/>
                <a:gd name="connsiteX3" fmla="*/ 0 w 3017071"/>
                <a:gd name="connsiteY3" fmla="*/ 0 h 257442"/>
                <a:gd name="connsiteX0" fmla="*/ 3017071 w 3017071"/>
                <a:gd name="connsiteY0" fmla="*/ 0 h 257442"/>
                <a:gd name="connsiteX1" fmla="*/ 2962350 w 3017071"/>
                <a:gd name="connsiteY1" fmla="*/ 257442 h 257442"/>
                <a:gd name="connsiteX2" fmla="*/ 0 w 3017071"/>
                <a:gd name="connsiteY2" fmla="*/ 257442 h 257442"/>
                <a:gd name="connsiteX3" fmla="*/ 0 w 3017071"/>
                <a:gd name="connsiteY3" fmla="*/ 0 h 257442"/>
                <a:gd name="connsiteX0" fmla="*/ 3017071 w 3017071"/>
                <a:gd name="connsiteY0" fmla="*/ 0 h 257442"/>
                <a:gd name="connsiteX1" fmla="*/ 2962350 w 3017071"/>
                <a:gd name="connsiteY1" fmla="*/ 257442 h 257442"/>
                <a:gd name="connsiteX2" fmla="*/ 0 w 3017071"/>
                <a:gd name="connsiteY2" fmla="*/ 257442 h 257442"/>
                <a:gd name="connsiteX3" fmla="*/ 0 w 3017071"/>
                <a:gd name="connsiteY3" fmla="*/ 0 h 257442"/>
                <a:gd name="connsiteX0" fmla="*/ 3017071 w 3017071"/>
                <a:gd name="connsiteY0" fmla="*/ 0 h 257442"/>
                <a:gd name="connsiteX1" fmla="*/ 2962350 w 3017071"/>
                <a:gd name="connsiteY1" fmla="*/ 257442 h 257442"/>
                <a:gd name="connsiteX2" fmla="*/ 0 w 3017071"/>
                <a:gd name="connsiteY2" fmla="*/ 257442 h 257442"/>
                <a:gd name="connsiteX3" fmla="*/ 0 w 3017071"/>
                <a:gd name="connsiteY3" fmla="*/ 0 h 257442"/>
                <a:gd name="connsiteX0" fmla="*/ 2839139 w 2962350"/>
                <a:gd name="connsiteY0" fmla="*/ 0 h 257442"/>
                <a:gd name="connsiteX1" fmla="*/ 2962350 w 2962350"/>
                <a:gd name="connsiteY1" fmla="*/ 257442 h 257442"/>
                <a:gd name="connsiteX2" fmla="*/ 0 w 2962350"/>
                <a:gd name="connsiteY2" fmla="*/ 257442 h 257442"/>
                <a:gd name="connsiteX3" fmla="*/ 0 w 2962350"/>
                <a:gd name="connsiteY3" fmla="*/ 0 h 257442"/>
                <a:gd name="connsiteX0" fmla="*/ 2839139 w 2839139"/>
                <a:gd name="connsiteY0" fmla="*/ 0 h 257442"/>
                <a:gd name="connsiteX1" fmla="*/ 2784418 w 2839139"/>
                <a:gd name="connsiteY1" fmla="*/ 257442 h 257442"/>
                <a:gd name="connsiteX2" fmla="*/ 0 w 2839139"/>
                <a:gd name="connsiteY2" fmla="*/ 257442 h 257442"/>
                <a:gd name="connsiteX3" fmla="*/ 0 w 2839139"/>
                <a:gd name="connsiteY3" fmla="*/ 0 h 257442"/>
                <a:gd name="connsiteX0" fmla="*/ 2839139 w 2839139"/>
                <a:gd name="connsiteY0" fmla="*/ 0 h 257442"/>
                <a:gd name="connsiteX1" fmla="*/ 2784418 w 2839139"/>
                <a:gd name="connsiteY1" fmla="*/ 257442 h 257442"/>
                <a:gd name="connsiteX2" fmla="*/ 1 w 2839139"/>
                <a:gd name="connsiteY2" fmla="*/ 257442 h 257442"/>
                <a:gd name="connsiteX3" fmla="*/ 0 w 2839139"/>
                <a:gd name="connsiteY3" fmla="*/ 0 h 257442"/>
                <a:gd name="connsiteX0" fmla="*/ 2839138 w 2839138"/>
                <a:gd name="connsiteY0" fmla="*/ 0 h 257442"/>
                <a:gd name="connsiteX1" fmla="*/ 2784417 w 2839138"/>
                <a:gd name="connsiteY1" fmla="*/ 257442 h 257442"/>
                <a:gd name="connsiteX2" fmla="*/ 0 w 2839138"/>
                <a:gd name="connsiteY2" fmla="*/ 257442 h 257442"/>
                <a:gd name="connsiteX3" fmla="*/ 0 w 2839138"/>
                <a:gd name="connsiteY3" fmla="*/ 0 h 257442"/>
                <a:gd name="connsiteX0" fmla="*/ 3007452 w 3007452"/>
                <a:gd name="connsiteY0" fmla="*/ 0 h 257442"/>
                <a:gd name="connsiteX1" fmla="*/ 2784417 w 3007452"/>
                <a:gd name="connsiteY1" fmla="*/ 257442 h 257442"/>
                <a:gd name="connsiteX2" fmla="*/ 0 w 3007452"/>
                <a:gd name="connsiteY2" fmla="*/ 257442 h 257442"/>
                <a:gd name="connsiteX3" fmla="*/ 0 w 3007452"/>
                <a:gd name="connsiteY3" fmla="*/ 0 h 257442"/>
                <a:gd name="connsiteX0" fmla="*/ 3007452 w 3007452"/>
                <a:gd name="connsiteY0" fmla="*/ 0 h 257442"/>
                <a:gd name="connsiteX1" fmla="*/ 2952731 w 3007452"/>
                <a:gd name="connsiteY1" fmla="*/ 257442 h 257442"/>
                <a:gd name="connsiteX2" fmla="*/ 0 w 3007452"/>
                <a:gd name="connsiteY2" fmla="*/ 257442 h 257442"/>
                <a:gd name="connsiteX3" fmla="*/ 0 w 3007452"/>
                <a:gd name="connsiteY3" fmla="*/ 0 h 257442"/>
                <a:gd name="connsiteX0" fmla="*/ 3007453 w 3007453"/>
                <a:gd name="connsiteY0" fmla="*/ 0 h 257442"/>
                <a:gd name="connsiteX1" fmla="*/ 2952732 w 3007453"/>
                <a:gd name="connsiteY1" fmla="*/ 257442 h 257442"/>
                <a:gd name="connsiteX2" fmla="*/ 0 w 3007453"/>
                <a:gd name="connsiteY2" fmla="*/ 257442 h 257442"/>
                <a:gd name="connsiteX3" fmla="*/ 1 w 3007453"/>
                <a:gd name="connsiteY3" fmla="*/ 0 h 257442"/>
                <a:gd name="connsiteX0" fmla="*/ 3007453 w 3007453"/>
                <a:gd name="connsiteY0" fmla="*/ 0 h 257442"/>
                <a:gd name="connsiteX1" fmla="*/ 2952732 w 3007453"/>
                <a:gd name="connsiteY1" fmla="*/ 257442 h 257442"/>
                <a:gd name="connsiteX2" fmla="*/ 0 w 3007453"/>
                <a:gd name="connsiteY2" fmla="*/ 257442 h 257442"/>
                <a:gd name="connsiteX3" fmla="*/ 1 w 3007453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07453" h="257442">
                  <a:moveTo>
                    <a:pt x="3007453" y="0"/>
                  </a:moveTo>
                  <a:lnTo>
                    <a:pt x="2952732" y="257442"/>
                  </a:lnTo>
                  <a:lnTo>
                    <a:pt x="0" y="25744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26" name="btfpRunningAgenda1LevelTextLeft385877">
              <a:extLst>
                <a:ext uri="{FF2B5EF4-FFF2-40B4-BE49-F238E27FC236}">
                  <a16:creationId xmlns:a16="http://schemas.microsoft.com/office/drawing/2014/main" id="{4B612212-77F9-E36F-4492-C8235EFA8A3F}"/>
                </a:ext>
              </a:extLst>
            </p:cNvPr>
            <p:cNvSpPr txBox="1"/>
            <p:nvPr/>
          </p:nvSpPr>
          <p:spPr bwMode="gray">
            <a:xfrm>
              <a:off x="0" y="876300"/>
              <a:ext cx="2952732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>
                  <a:solidFill>
                    <a:srgbClr val="FFFFFF"/>
                  </a:solidFill>
                </a:rPr>
                <a:t>ORGANIC SEARCH</a:t>
              </a:r>
            </a:p>
          </p:txBody>
        </p:sp>
      </p:grpSp>
      <p:sp>
        <p:nvSpPr>
          <p:cNvPr id="45" name="btfpNotesBox735198">
            <a:extLst>
              <a:ext uri="{FF2B5EF4-FFF2-40B4-BE49-F238E27FC236}">
                <a16:creationId xmlns:a16="http://schemas.microsoft.com/office/drawing/2014/main" id="{94F5B08E-C80C-E261-1E9D-C0DB42A804B5}"/>
              </a:ext>
            </a:extLst>
          </p:cNvPr>
          <p:cNvSpPr txBox="1"/>
          <p:nvPr>
            <p:custDataLst>
              <p:tags r:id="rId13"/>
            </p:custDataLst>
          </p:nvPr>
        </p:nvSpPr>
        <p:spPr bwMode="gray">
          <a:xfrm>
            <a:off x="330200" y="6464970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CA" sz="800"/>
              <a:t>Source: SEMrush, data for the last 30 days ending 17</a:t>
            </a:r>
            <a:r>
              <a:rPr lang="en-CA" sz="800" baseline="30000"/>
              <a:t>th</a:t>
            </a:r>
            <a:r>
              <a:rPr lang="en-CA" sz="800"/>
              <a:t> April, 2025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09D271E-0C45-5DFC-A9D7-238A25E1A9E9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38" y="946635"/>
            <a:ext cx="252287" cy="25157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989189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6" name="btfpColumnIndicatorGroup2">
            <a:extLst>
              <a:ext uri="{FF2B5EF4-FFF2-40B4-BE49-F238E27FC236}">
                <a16:creationId xmlns:a16="http://schemas.microsoft.com/office/drawing/2014/main" id="{7A9AD074-72F2-4DCB-BA5A-C4B4A359B270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14" name="btfpColumnGapBlocker937566">
              <a:extLst>
                <a:ext uri="{FF2B5EF4-FFF2-40B4-BE49-F238E27FC236}">
                  <a16:creationId xmlns:a16="http://schemas.microsoft.com/office/drawing/2014/main" id="{1E875A2D-43C4-2F5A-D8DD-04FE7AFA5840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12" name="btfpColumnGapBlocker801801">
              <a:extLst>
                <a:ext uri="{FF2B5EF4-FFF2-40B4-BE49-F238E27FC236}">
                  <a16:creationId xmlns:a16="http://schemas.microsoft.com/office/drawing/2014/main" id="{9F8C6189-332F-60CA-E9AF-6FABA3838C4C}"/>
                </a:ext>
              </a:extLst>
            </p:cNvPr>
            <p:cNvSpPr/>
            <p:nvPr/>
          </p:nvSpPr>
          <p:spPr bwMode="gray">
            <a:xfrm>
              <a:off x="884376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10" name="btfpColumnIndicator974202">
              <a:extLst>
                <a:ext uri="{FF2B5EF4-FFF2-40B4-BE49-F238E27FC236}">
                  <a16:creationId xmlns:a16="http://schemas.microsoft.com/office/drawing/2014/main" id="{61279969-53C2-FCF7-9D57-54C687AF6EFA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btfpColumnIndicator829051">
              <a:extLst>
                <a:ext uri="{FF2B5EF4-FFF2-40B4-BE49-F238E27FC236}">
                  <a16:creationId xmlns:a16="http://schemas.microsoft.com/office/drawing/2014/main" id="{7A3C272B-E8E8-4787-7C86-E1F69FA1CD1B}"/>
                </a:ext>
              </a:extLst>
            </p:cNvPr>
            <p:cNvCxnSpPr/>
            <p:nvPr/>
          </p:nvCxnSpPr>
          <p:spPr bwMode="gray">
            <a:xfrm flipV="1">
              <a:off x="938430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6" name="btfpColumnGapBlocker246094">
              <a:extLst>
                <a:ext uri="{FF2B5EF4-FFF2-40B4-BE49-F238E27FC236}">
                  <a16:creationId xmlns:a16="http://schemas.microsoft.com/office/drawing/2014/main" id="{3871203C-B5AA-AE0F-867A-BD6BA569279C}"/>
                </a:ext>
              </a:extLst>
            </p:cNvPr>
            <p:cNvSpPr/>
            <p:nvPr/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04" name="btfpColumnIndicator134265">
              <a:extLst>
                <a:ext uri="{FF2B5EF4-FFF2-40B4-BE49-F238E27FC236}">
                  <a16:creationId xmlns:a16="http://schemas.microsoft.com/office/drawing/2014/main" id="{468A66F9-9D7A-C5B9-ACD0-3ECA3B9118B2}"/>
                </a:ext>
              </a:extLst>
            </p:cNvPr>
            <p:cNvCxnSpPr/>
            <p:nvPr/>
          </p:nvCxnSpPr>
          <p:spPr bwMode="gray">
            <a:xfrm flipV="1">
              <a:off x="884376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btfpColumnIndicator290578">
              <a:extLst>
                <a:ext uri="{FF2B5EF4-FFF2-40B4-BE49-F238E27FC236}">
                  <a16:creationId xmlns:a16="http://schemas.microsoft.com/office/drawing/2014/main" id="{3E87D7F7-A838-6102-0586-800C401B10DF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0" name="btfpColumnGapBlocker876731">
              <a:extLst>
                <a:ext uri="{FF2B5EF4-FFF2-40B4-BE49-F238E27FC236}">
                  <a16:creationId xmlns:a16="http://schemas.microsoft.com/office/drawing/2014/main" id="{75A337F8-1B2A-A001-9691-E77A94E38ED2}"/>
                </a:ext>
              </a:extLst>
            </p:cNvPr>
            <p:cNvSpPr/>
            <p:nvPr/>
          </p:nvSpPr>
          <p:spPr bwMode="gray">
            <a:xfrm>
              <a:off x="280769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98" name="btfpColumnIndicator760760">
              <a:extLst>
                <a:ext uri="{FF2B5EF4-FFF2-40B4-BE49-F238E27FC236}">
                  <a16:creationId xmlns:a16="http://schemas.microsoft.com/office/drawing/2014/main" id="{0E66B5B1-050A-0270-54B5-2B7A47BC7D78}"/>
                </a:ext>
              </a:extLst>
            </p:cNvPr>
            <p:cNvCxnSpPr/>
            <p:nvPr/>
          </p:nvCxnSpPr>
          <p:spPr bwMode="gray">
            <a:xfrm flipV="1">
              <a:off x="582572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btfpColumnIndicator507964">
              <a:extLst>
                <a:ext uri="{FF2B5EF4-FFF2-40B4-BE49-F238E27FC236}">
                  <a16:creationId xmlns:a16="http://schemas.microsoft.com/office/drawing/2014/main" id="{6005BCC1-C111-380D-127D-17FDA1394253}"/>
                </a:ext>
              </a:extLst>
            </p:cNvPr>
            <p:cNvCxnSpPr/>
            <p:nvPr/>
          </p:nvCxnSpPr>
          <p:spPr bwMode="gray">
            <a:xfrm flipV="1">
              <a:off x="334823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btfpColumnGapBlocker518363">
              <a:extLst>
                <a:ext uri="{FF2B5EF4-FFF2-40B4-BE49-F238E27FC236}">
                  <a16:creationId xmlns:a16="http://schemas.microsoft.com/office/drawing/2014/main" id="{394A6ED0-5F38-77BC-D151-501ED12D2809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91" name="btfpColumnIndicator983425">
              <a:extLst>
                <a:ext uri="{FF2B5EF4-FFF2-40B4-BE49-F238E27FC236}">
                  <a16:creationId xmlns:a16="http://schemas.microsoft.com/office/drawing/2014/main" id="{E9C51B34-0001-0700-8124-43602D59B4A1}"/>
                </a:ext>
              </a:extLst>
            </p:cNvPr>
            <p:cNvCxnSpPr/>
            <p:nvPr/>
          </p:nvCxnSpPr>
          <p:spPr bwMode="gray">
            <a:xfrm flipV="1">
              <a:off x="280769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btfpColumnIndicator257343">
              <a:extLst>
                <a:ext uri="{FF2B5EF4-FFF2-40B4-BE49-F238E27FC236}">
                  <a16:creationId xmlns:a16="http://schemas.microsoft.com/office/drawing/2014/main" id="{7EB779E1-F610-C77F-5209-38EB96C7F61D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5" name="btfpColumnIndicatorGroup1">
            <a:extLst>
              <a:ext uri="{FF2B5EF4-FFF2-40B4-BE49-F238E27FC236}">
                <a16:creationId xmlns:a16="http://schemas.microsoft.com/office/drawing/2014/main" id="{1D3EBC18-7398-9E1C-C0F6-78B7C7D4DA47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13" name="btfpColumnGapBlocker201617">
              <a:extLst>
                <a:ext uri="{FF2B5EF4-FFF2-40B4-BE49-F238E27FC236}">
                  <a16:creationId xmlns:a16="http://schemas.microsoft.com/office/drawing/2014/main" id="{C85B18BF-7003-09C1-5D2B-F2E808808D5C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11" name="btfpColumnGapBlocker730186">
              <a:extLst>
                <a:ext uri="{FF2B5EF4-FFF2-40B4-BE49-F238E27FC236}">
                  <a16:creationId xmlns:a16="http://schemas.microsoft.com/office/drawing/2014/main" id="{097DFBA6-9088-8AB9-BEA5-F3D6F4570FC3}"/>
                </a:ext>
              </a:extLst>
            </p:cNvPr>
            <p:cNvSpPr/>
            <p:nvPr/>
          </p:nvSpPr>
          <p:spPr bwMode="gray">
            <a:xfrm>
              <a:off x="884376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09" name="btfpColumnIndicator367960">
              <a:extLst>
                <a:ext uri="{FF2B5EF4-FFF2-40B4-BE49-F238E27FC236}">
                  <a16:creationId xmlns:a16="http://schemas.microsoft.com/office/drawing/2014/main" id="{4297E83C-4902-59E8-3869-1A16A21F9CF5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btfpColumnIndicator550240">
              <a:extLst>
                <a:ext uri="{FF2B5EF4-FFF2-40B4-BE49-F238E27FC236}">
                  <a16:creationId xmlns:a16="http://schemas.microsoft.com/office/drawing/2014/main" id="{82DDB0E5-D618-B3DE-411C-E8246D93450A}"/>
                </a:ext>
              </a:extLst>
            </p:cNvPr>
            <p:cNvCxnSpPr/>
            <p:nvPr/>
          </p:nvCxnSpPr>
          <p:spPr bwMode="gray">
            <a:xfrm flipV="1">
              <a:off x="938430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5" name="btfpColumnGapBlocker818216">
              <a:extLst>
                <a:ext uri="{FF2B5EF4-FFF2-40B4-BE49-F238E27FC236}">
                  <a16:creationId xmlns:a16="http://schemas.microsoft.com/office/drawing/2014/main" id="{7107A5E8-ABC5-A787-5347-17FC856A4B56}"/>
                </a:ext>
              </a:extLst>
            </p:cNvPr>
            <p:cNvSpPr/>
            <p:nvPr/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03" name="btfpColumnIndicator832136">
              <a:extLst>
                <a:ext uri="{FF2B5EF4-FFF2-40B4-BE49-F238E27FC236}">
                  <a16:creationId xmlns:a16="http://schemas.microsoft.com/office/drawing/2014/main" id="{1595EB56-1B42-600E-3E71-31616B4CFA45}"/>
                </a:ext>
              </a:extLst>
            </p:cNvPr>
            <p:cNvCxnSpPr/>
            <p:nvPr/>
          </p:nvCxnSpPr>
          <p:spPr bwMode="gray">
            <a:xfrm flipV="1">
              <a:off x="884376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btfpColumnIndicator525907">
              <a:extLst>
                <a:ext uri="{FF2B5EF4-FFF2-40B4-BE49-F238E27FC236}">
                  <a16:creationId xmlns:a16="http://schemas.microsoft.com/office/drawing/2014/main" id="{61BB2ED5-7D5E-CB7B-E58A-8B0395529F12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9" name="btfpColumnGapBlocker608616">
              <a:extLst>
                <a:ext uri="{FF2B5EF4-FFF2-40B4-BE49-F238E27FC236}">
                  <a16:creationId xmlns:a16="http://schemas.microsoft.com/office/drawing/2014/main" id="{FA14EEDF-4DD7-9F5B-4457-9B526B35C911}"/>
                </a:ext>
              </a:extLst>
            </p:cNvPr>
            <p:cNvSpPr/>
            <p:nvPr/>
          </p:nvSpPr>
          <p:spPr bwMode="gray">
            <a:xfrm>
              <a:off x="280769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97" name="btfpColumnIndicator889922">
              <a:extLst>
                <a:ext uri="{FF2B5EF4-FFF2-40B4-BE49-F238E27FC236}">
                  <a16:creationId xmlns:a16="http://schemas.microsoft.com/office/drawing/2014/main" id="{8610F838-12EC-D340-452C-DA26418AF994}"/>
                </a:ext>
              </a:extLst>
            </p:cNvPr>
            <p:cNvCxnSpPr/>
            <p:nvPr/>
          </p:nvCxnSpPr>
          <p:spPr bwMode="gray">
            <a:xfrm flipV="1">
              <a:off x="582572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btfpColumnIndicator314828">
              <a:extLst>
                <a:ext uri="{FF2B5EF4-FFF2-40B4-BE49-F238E27FC236}">
                  <a16:creationId xmlns:a16="http://schemas.microsoft.com/office/drawing/2014/main" id="{67C45B40-25A6-3E70-FB00-EEB622AB6C54}"/>
                </a:ext>
              </a:extLst>
            </p:cNvPr>
            <p:cNvCxnSpPr/>
            <p:nvPr/>
          </p:nvCxnSpPr>
          <p:spPr bwMode="gray">
            <a:xfrm flipV="1">
              <a:off x="334823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btfpColumnGapBlocker215881">
              <a:extLst>
                <a:ext uri="{FF2B5EF4-FFF2-40B4-BE49-F238E27FC236}">
                  <a16:creationId xmlns:a16="http://schemas.microsoft.com/office/drawing/2014/main" id="{5850A182-BAEA-2997-424F-27AD5CD0DC72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90" name="btfpColumnIndicator468722">
              <a:extLst>
                <a:ext uri="{FF2B5EF4-FFF2-40B4-BE49-F238E27FC236}">
                  <a16:creationId xmlns:a16="http://schemas.microsoft.com/office/drawing/2014/main" id="{3A3576B6-A28F-2642-664B-52535D233A7A}"/>
                </a:ext>
              </a:extLst>
            </p:cNvPr>
            <p:cNvCxnSpPr/>
            <p:nvPr/>
          </p:nvCxnSpPr>
          <p:spPr bwMode="gray">
            <a:xfrm flipV="1">
              <a:off x="280769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btfpColumnIndicator407469">
              <a:extLst>
                <a:ext uri="{FF2B5EF4-FFF2-40B4-BE49-F238E27FC236}">
                  <a16:creationId xmlns:a16="http://schemas.microsoft.com/office/drawing/2014/main" id="{73366B95-6A4D-01D4-0CA5-C900727E8DBB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B006A6E-FCEB-43CD-8066-209B5DE2F3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7528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592" imgH="595" progId="TCLayout.ActiveDocument.1">
                  <p:embed/>
                </p:oleObj>
              </mc:Choice>
              <mc:Fallback>
                <p:oleObj name="think-cell Slide" r:id="rId20" imgW="592" imgH="59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B006A6E-FCEB-43CD-8066-209B5DE2F3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btfpBulletedList815200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z2dD7pS103gZfJ6l4USC3jqtWOPR/ue0umjYEY9KlLthURXCUyUuZbmGDPUXB2idlVQc+R1c0j6vNnMaKvr/AghcgjyTjoGcS2U6lyGcWZbvoYqQsrFJ5DN1RdHsB5gZU4BjQJ6xKwDUEsW8X/QQ4uIPkrhyjIfLLN7ZR3puqzBiN1rMnctBA0J594at1EN5QJYMsPufr2eabAYzIDriNpy1GurybA3KWqcTPRKYh436jQqOHiPaCJtAtzpRgB7Igk7tw7BcBhai66Lc0jpyzFEK/4NRoFF+cso+ThI1HNgDMZbpFoCsJQtilLqk9nQPGX6RXGboCTf8hOOcHaKoTUKF81dro10jOa8Xb8mBGZBE+xk1l9MAy6INl4AKPS/xOfzLuLoOoO9SSYQF2FkwdgqV792ppXZ+DEIzSbBGS9qIMNEJF6eBuDSQiaNpdZJIz50ezglfEcwCG8k3b/TOjHnY75DQE5c5VJet8862CoavLWpVhS9LY3ICAPynZKLYmOOAxMrQHKZMbUwhGlqByDdbm2b9/utu8wT6ysIHeVjUcQXZFNqMNDLgBkE1yzgbd6bEYWeZo0HRsXbvQfeB+gYN+V2Yt56/t94pgp0Zg5VI7UXob8m92wJE21Pd5Ot2WUjKAPDfTJ+W+1TTOECJNV/pEmyFslDTLlx7ZY0ioADLa7GMSslRlRTuveBHrZQh1WTDeys5d85FQRZQavQrf8TDXq/5CTaXESgmN/lRqYSI0JyOZMIPAfxbpP5koNaInqk7o0kuQcKBt1uIV6qBOYSUQ0i0qCloYlc7u1Gl87wU05B/oA/ruEQt1Lq0/p9ZhbQP+0VopYw1rR8qwhi5q2N7tls+K0tFx8NVFs+ddGp63BmIGAkaOvEiHmz/4asM3aISupE921MkplCDCj2vXQJEJHM1b5h4U2xpAQqGQcuw8yO9x/D9ddYNEK4lWjNa+SRtjMtemFOMWWYpUo3Kd62tcvXjIKpH4b+8OWG/CkkYswRQSfKGjyUWkK8a7GLtp+4XFI0MjW9DKPOYZl+b8F+7ITPN1MnpyeGNh1+Me8S/xQrKHZPhjHKQBZ13EuO584gkbdjHSdwPRefxDqvYIa4IUmotZLOgmCFx3SfTgs/wfXMnfvR2Q8dleWS243o2FiBd7DL8xQDVG+JHfXgk1yNTXsjpCAE8Qar0LWh3H7csg0ODWhSa56By1HQTgNbqTF/Oy+IdBuF8ju4AshxLR0bm6Xn+4qSCZu5HVG+PorbYQhHQ+el0XozcuDm7rF+6OdW5w+niztKm8Hm4TxBbiVhiCRRhX4pfbaNcDmE7Art8h/WWJGlD7Dsh5fJmacphoXvVdXrz6xxvHRq4io0CkGtqO5MVyE7+w7bi6kExoCdEPgJfcULH/zJ6MOESJRIPInJvSVokWuxz+2jvpOzYql0+nvkz03tf6NF5ESvFSOufgJf71dp3Js6FVQMtTeIeWSqchmcyweDJ74LqyQgAC1OSnPsPiYJ24FyibiWH3UR+0fIT5V32SmSY3N9US+9+daOm7b7MwXllLKREkAzRXZfsqvgh0p0bVW8TsP46QstzTO7MJtkh0lFpPOC4ydHHzgX+vvICRONZ1F8cIgAyyBqxKMn/VcdcFj7xU6IXjb9lcly/hggmrX0AWpSSP0Dv/cBI+ucz5sj9VEemYhvrvk2A6iLrFCZi7a+QISlxpbHcJk+3Nv9yKG1dHOTOXTqhMNfLUBvKmVgyIHanP0kpsn3nD8qYaQzXJCx/MFjndJJMtLRzfx0I7dCx01kX4NhPPR3UzygQgbGTUpqCjC6e23Z9jVeE+UxrK7OLAqAOpeVLcLqyLczyD4psdcVyM+6OnLUa6PrPmFdO/dugULs5TSqiV/sita/RcjHqqYK3qQCa70Fi2VBz/ZihcDND6s9vwvPS6/fsUguL+7mU3OlVO/dpd2GEcfCGMpIRaNFK5JsXadKgQtD4fkQj9PKF5Ae0/wTk1IOv6wc4rr8hsm5L0/15MNgWpuYVfZdkXi75vvS3gbWGDM9S/g51Ry2S+8rTaO34aDhlGDhn3qTOTpS9kCkSu4djtV7II+IuQX3S+cEhLWA28a9qrmqMzEqFq0Q/fYKujb0BAHUm1L7DXhMsfhqK4ezWls2x03wrT1/0YadwIluX+eS12Rz0fx1cX0Jc2lSHTO6IXLLOF71BxNaBEz2poNIpVhvJnyRt5AM/MehiyfEdOYMBEMxu5I1bfPUs5WhZTvDphEr5A5nak54YRKdeh3Vx3msSUmiCIgk78ceDcWQurq0nKoIB2TpciaLnw/YoUNKi5tNhu5jjkY4fnvJaYvJkNSYkG6LowhsH2y30jTbVq2f6sLiCzB3vBYvSBei/qAgvbYToszD+BOs4F0wzrafz/9RtqgaXLzvwEp/HM7e9R5/4Hk4dz2ZRSUW7inkE+gMyHZIBLit3OmcQDYvyTdu8beFQFLGb+sCXdVpKmX89iVaQAsjYCp2RPqpupHBOpCoZMTNdtd1/0CbD2x1qdowFzL4yBgRfWfeV5qp+2fE1jPJQQ+UGuHJmVxepmJ9EkHMbJ38wVY3uemR4ysOB2td9QeVGor3txoa5yvqsCNauS4u4UpqXBjJTriUdCjiTUwc9KvRfPEWRHLvi8KnRYNILEHHs2vUnkLdeZkhcd4SY9ukMxzWM+IK8a+AQXunkTgB+k8NN8zOpxNydWyjgB+qbKPiwDp14CdVohyYt+gVSeMAnZi88UusXjN9Mk/xJqitsKkV4F8WjxITBWpfkXBNas5JUx42kAzOw7S88ZAjafFZ+P6xijzv7QKpqxC40iWuhaw+uOCNq0viaVDNQm1knO1alBHcjv83vr227e6dfglEqfXdQ0IdVfeUUq9aT8ETG1GbNcS6/Y3nlBDcoZNdtuqY4x7ytx+FLZiUpGZLzaCJf48K72mqQMPD1WAOb3XAjN0/EGNsaVSi/Dg0Lk36E7mF8o5GokHZJvfTM7R/qpgjpHSmAAvmoNBoLcu8O27nCAx3NCuoyAlR8jcyxTAePB8swJm1ZkP5XLIz4806UstNYaWBrCq+kIvcMpOzBHmYG1zmZxFMvXBatS+3gPUlfdiFJW1AwfELvXkfZTTP4ULEgPeQMlJE8WwHluyH72x5rwicJw+Xuy/l4nc1pCV8a7RyPmSD5W420HlV4/Ej0isQhZ8eJ6XkBDVajEPjKwStCMsiY1OM6+aY9Fbl7eHQkNQK1kFpMBSu05BNQgzNlXuknDJIFoahd5pW8bQK+a1UijhrNLyXxPm0SVKVkDk20COBytf59veTCbyEPx2vhagpvb/QpDYv1aEkOvDCgoEfoE/GF19dYv6Gg0kH7tGSKB0D3vmMjnNwA/T/zFOKOFa1evfoGpPZSOpaf0QkRsP7KM1LrVcounYtn1atjO8qEAjK5pVtQ2aJRGVbfDzhI7YsUqxwQVLLbAkKvWxU6D9YBCCRYwj6rtugDwh9U+mEFQXKSyzpvrIPh0MATSam9yof4v+lZ0520C1IRYlsYYPwwEhH+cEpd0iHozZN0Chwv0ij7nEbF8jLmJLRBlJ45KLWK8BHSQJatPzGxyHaBrmjVYa43oeetwDOXkBz5D+SjoBBkmGO48oUazu1uzWS/SggRlbH60YvFBiN/xyYNIFmO//DnsyGj/um188YEu5JOu1pbUlaLq3xlRFAP/Z+HARS7ZFnTvvGyloe5+Jk4db8myCilRsWhIkpfsGTff2oSpVmYFN6kccSVclnT2eX4lRxzoObXQCikWX71mudNBPWxjisVAjkBCidA8s3+MYANgMTKtMFzkGtgoC8eTJgqtB0GBYjMzObA5ovRQa9poqgUCZfd+ZrtEutYg5BscvIv6DSPUINxw91bgudGw8IImc7EREjlRPWNyW0ovrMCD5JnOEaWasVOIB6z82OYUAl9JPE+16mxsX+XmP1osJTNAW5WKbBJofyFZfAiNUZNbGigh6EFibsvfzMer/Mb0CUpbCZ5v2KAzo93eyg9IMagCvVYASeWIB0W1I+VARVRecx1Beqj6IegDwN3N3Z0l39e4oE39oqCHz642KgmNfREy3JFDTNAxaHCOdUINgv/B00KNwSxAczUxHVRNwM/huEx1tOo9OYz6LiZM1akbrDZvmp6c6mQkg6fVtUk8FKSVEI8ITrnuLwaafTqfOHERvKPDPLO6IPi1tc193H3d3kmBCg2l8trtGmzW2IHYXX0JpX0YkQC1t2Xq4ijW6KoVVLH44LOalKSOOmvVKNARSi+fyhFKnDlBind6WetqNP9BLRc6MPiUS6oRpc/gXEKWGAG+FU8lRrMQJYVYTPaGrHhc/wbYTtVI4SqiYI0RpNc6RsGvVoir9EAxiw4GbpDJ3KV9ln60DFpmW1POy21hYYZV1oW5JCKGm/ecHqsqxAMhjFeIpQAKgUT4k0En7OHk2muQh9dDnrTnUNRN3okymC6Ai9GSLlVsZrHFWAPZpoNLAE6StnMFbnnP/Ogw6RPuIFyNkVdPEPRXra0eeJO0c4uvpO3w3BFQSseOYrYuG5NBQnGdHqny3LVWbKw2cMUf+e9VlHypYAQcc7iIiuiLfc6yuDbHxV3RD7BDFxkFRX3Vzu3ZVEINT+ZXxDj2zSI5fQSDpxgsEZmRJEBA2jqC5bet949hJlO8QmgGizv6bvjeqdOGxuSLDWTW+ipnZfuFhcQoM975HEUZGcbKWmzh4AibwC8JpY43xycs7UMsJcbA3XYaAQffqZNhsWSj77bTw+sO7ARWdfpUXzI+nicLyCy6SJ8VRrWbDIwD3g0R48lFQPsqQFhcBzZZD0xpn+t5inWLnKZ2rALet9/NAwXxqe0Na6VLZQ6hg/663RTHsDS4dTo92mNJl++5wPlOhaQUcmrsarHgxx2IVO10qrNslXTTPNnstB/ZK9wupRhi4Zti1kydd1MOeHrTivA79fWCnhtR3aq4AHFwVj8eD9Fqu7yQEf/pSF+uX3LW/5xrJhDvJaSNlKhzUc3mDpIu67//lNJSfrsW4bA3vf+mVUV9VkuMEVQKITra7kQZY56FD+e4FP2sXIHZ0FglM07xCXXxrSBLGF0wNLWg1sQYPI4ns/IQUeDVhAR6P4CU+ApEVQFJJpCsMBvQnaykOszWhskVGPtxZDcASsmfTrTIdbrEaqBV088/hYp2TK4SDhaCC8u7hA1SsnKVs8QvLoAAuf8dPdH84m5zH+ottoGgg4OK6gDuEaX7jUmiiOFIUp0/NdAYA6JlJNp98CknDdMsHz2wdV46U1ImEdv538W4iBklYj9UrRbidWTl0BVVzOnmyE+fKis2+1+BBih8ftBOgCr7W6qVUCVSI2IzcLeifWrvI9Eoo+Aqd9UKsqYDQX4Y+k+C7ELfkKC/MpSd9/uI7UtL3ywW48JNADtrPgW9ibU9GWsytrzM9925WyHja6ee8Do0UEAWoKPzzGGs3YkiMslavqmgQSho4SLhYS1tUwypC7L/bqu6e+CiWDMx2O4gdAsyN/teK6tyI5E3cGJY8lS/ZfWJHq5oo7KlceFFtantKudvqhf7uXYlc+Kt5GQD4fdjV4oEHJKZp28U+0EbSEMHWC8Lblw6yfWWkQ9vYYmVy6BR+/XqyDy7hyILindYPLjZtGynOBdd5xyImsrRnZwvw7QGE1HxFhTQZ0WL2NXe9v8nlo5RiunPNmcyeO/RDce6JVnIxtZE6jgr7ah6QJ8uPRLQuiFV/+tqS84+GOOfOttrYYXOYWTSPls/AQkS2NNpMp1/TNrwfS+cIyc66MYAbhKZeTVAYIrKahp9mhhKeR5no37aBghXiS4MGYVmlZ5kmSxu/p8oall6V4/x85qXNJYk8c6zrCssa3aj2LBcxWm0/4UAxtVTKIJP6M8vuaOsULRqek8Z35MECmOrNqm+12oz4ICzOKnuEY+hr4f3/KtuCU45NeNWhBh82Fe4It47fd7O3FV7TzC1Ckg2048JkWqSIhdPDxQCZld//gOPsVuyxInRJtwJbZFPqTj++EnldZ+maMfIbpI6iwQHkC40Zk9Kx7OxxmHBeCeEVz+yoQGlwdSlap7roWXLwcJTBdteKD945OHfKJYWfmZS+5+QZAfON0kKgyAIQ318QkWmm1PYF9ZVa90jvNgujUeNqOjIOiRogQ0h2h9qMCng+FEYlzUXskODmHN6impJft9IzJd0KdVFh6R8wrySRqYO6BbxLIsNnzwzTdzfFXGE6syDfGlQoJ0Fyr3mOIhmS9s2ZBvJlokyE5j9zdpDCOLn2LeM4SieGaPKzH+/+QvCvb8XFnBIRrQsuMUaKicS8lvMiqg2W15qj2+o5M1xb6JucXCQM3qsK2qWQgUI7blyFlHarbCzm8pvo58zYd787zrSr8O6DYkSvkpxmsPU6s0M4XHlwZ8LWC8eWRVV022rj7jXhI/kNyA7/93xRZ3fB7CNyH56WDnVZpIlniP8QpZMdSTFxBRPga1DguHlDrA9Xutn15cFdkulEBOOwRzzmwAMockUQdq8KASkxTIZORPB2ETwTclBVSJlZRTgnFPiMIa5TnjYxEGGv2gzZGvVDaxXQzv0Gr/HF3Ra3pJDNVVs7YbTGL36c7oFwZukB1KbfzW/GdacVPRHX8DvWVDUsWSXO+NXS8IGQNt5h7AQtrSvElfwlYv8Al+YP4JoRbH9QCTTDKH+g9+j80dBWhRy3oC2/1IuZdjNu1rXBGtOw2gYYRQ487VPhFjtE0VYRbLu8Sxw4HxJl+28wGfahYl04Hpj0ID8MX1TPjAzet18DtH7RbrNILnfuGNPAw8mag092q9tg5gnXbgE2a/uXLEMsQX1GRICuQDfmBruLjHuGd1au6n1/P7nK781YFwYdaASBIkrPu5zbxAaT8Xo9FNY6xAOd4ZNdes1oSxgRDZJHxBMVatZSvCJL4Pg1BMFOQhnJE+J+EEjBNpw+MtklBkOrO2rzTTGFaZTUdpqkOEESsZC+xXqNORFa4m5wYqsZAnNT2V0HyinyH2ppJeQmD1f51KiJBt1O/Zui7jZ2MIB/qtyYi/py58AC5KuEmOf5GJpeeHJoTwPLp6jFU71Tk7tOx9+n7e13sj9u+JkLx/BNCZrefBV3BgxbT+TbGiG6kwl19YdQyENVzt97K7vKTP9DGFBec5hhlW1tcI3/89T0TOKgIkjLBGJZ2WEYWmlb1B5a33OJobaGeaAJNFL+2O8dqPVegdlsj3PmS8YJlmQmhnfg9aJIMufflx21gJoq58h35SBgH3OcrvKiScqGL5EFKZLybjGfo+iWBLpRa15sHZmtljy7qy4aEygHGnrD6lCNXaTldZuulycZPLYJbtQCJCs9sNJWjjmZDN6NaGscJ9VkxFWtsrG9dhEekgBfVCmQ1gegQgin7L+d1qAw226IxFa7dVQlgXuUadIjFzMI/6phn659506aevx2NjibT4RgtUz9S3g5jj+j8ToAkaxwxxcIHVpiHP15ldz9u6jfefymxHfVROJ4SnZu8lfGXnOfyia8P4wSYdpWu+6pkx7tpiYQztEEHEr0JL6XXu2D9zI8lst+hPlTfj42n973XTgmGJiahAVl1Z+8jd7AWsVXU8cfUtnoU3i28jggtncXoe/Wd8hBET4Ns7M33vAP+adez4YcPrRHYrXDqV9o+jMPaiscYFyRQLKKlJoRWd5bzdlT1UAsscCkxunQwQNy2gr0AM3dN5t+NHtvcYET9zAQ/1VLgdg6VNTsQe6G5kTVKypVU/RvdRHCgUhZ3ZbBAEr8fYBWVBhrHXhMlfnxlvyizl3sqHRHnzqc87rTeFQEP4aw3NzTAEjw4Km/UM9L1E93LMPiYvTVVU3PSFAKHfvsH1XO1otZoD9MOewbKS3UP471qZ6C6aPLvV+sYbbbcq+hy8uawmN+wPzOeL/3bpap0lXUpiM65eOHGQ+TE6tPDo+WNB0v121SQl7oJU1pgl4zJHt9V/SPOKLauHHpnAm/Ex9ePBKHujZRPtQwAizXhz2nCLM0E+BTXWCxiQndV11K9IMTZ1PGqMXFeSSTjLTubL/qVMUkPpe1nn2Hpu+0cbVQ4Za5HyE64hPCVexHrpi+jK5d2TWq56j2eAi+KV/Q0Nw3owhC3eUSXmOVZDdVqzHs8HyocnHkdXR68tFs+IPE2WkP73s5a7k+ctalVasGkMyrvDhrS49p0CvEyRQR6W1/M8YVg2Iq5K4qLCpnPoZssUT3bdEg3OSiFwrQHeHNIUTEadmBxHnbcGgs7JWqVJSxQQsE8v/ypOZa4fd86w7O65d2r2TUop+/VYoW33Pxg2u/IJY6A+FTWMHqPXI1a53fN+cnTudtjxgonBBdq83kV0wg4baZ44asRUZQB4uu300AAScjAjIDVzUZfN2Gdc/hE/ITbce3djeKo/0ksZ2o2//3zNEPrHRokYGzL58xUW7rENQqVCWr+OgkhG1S6p1qCkqI90lA/c2tDZSvUEYd7ZFVaBsCJpwoM/EdgVGI3VfEcz6EXHxxSeu4uLigVVaQs5V9d3QaY/VbizlWY6hArXlC/+SeePwSAcvwUg3Xd1qTFtm9nJUFC7gLcbXXIO7fNBmVL1edndV4JQOX15oqVRv3yfJzv0NhPaKrfvLx3MoeRjSjfrcAevwFoFS2W64SoQ/5SHoa6fGdULZ7ZOqPNgsKjbdSyIBB3EXjWeAvnsgOXidKWAn7WJmpQxCQhCcnrv2jPQfJUxVASq2g5adQ2u0xwQKXQ+J7NSsMFKHVNJu2CbRjVt7qOuaB3fVaE6iQq/rCq9JnGwlVFEGiSDfytzWy2UgIyq4qZgZMLtAnhS3o1FrL5RjqN5bFw2Wn8N1NnOG4EQnvlf5pDc4mPLhYHx2RnyiDJweRbTkY1dcCWKUuuBgQTKr6Tfwqx6dNWQnWM918Vd90R1xDPQiwJuWFxbcTzelm8X1t+g0TB9JmSqnJgK+f+l8bru2FQXIOtIcg+1+sFLb7yKLWe8nbZtyYv7w/8UMuKFm0+6DzPX+nzMKNJCukQMjDr7ly4ZbY3guuEsiHrE1ueGvXR45J1pjoNr7m3/9fu2vDPsUfenBwIekp31nyzJjLe3WQq1AkCsorkNpuCdZdrdDrw0Ih58vF1YAyKnxd7NVNu5WdvUX/fVXQqMmp7bbGiF3+YA9bCD/RWDoqe13ptZ+2016kaJkejMJtOcuUMCbeeyT7QDrOW1Bla1Oyh2aAPgZ0C/EMLUTpdmevjScEJmAxVIr2nr/oJhYKzjp4jIQS7J/5YnBdpzwJb3nI5QixUdiyWsDSoTzEKGQusyP1qoyRjzpcvZCIMUh54q6kxMEZdTcx4K5cSNQoDTYKEP31csYt0Q3Tc0DXgNDoyift8qbfx8E4IOXrJJwqBo4w1teb7n/TLlsfcAcHybBaRznEltAYoyf1o3axgE/14G32lAIB4EZQA8tXHfldAMja2paYfGeD2goJJiBxgtqqtnI7p0uPcHTu1oRGfDkYmK1+9UG6kgpmf/fz1cx9heY28aSPF+xFGPhBmZXRlFHui6xwBZ4plujkTaY+WV5/Yh4WQFI+NgA9kzxPjwb3zb2NiK5MXfIyj1bxoNcOCgXxwH35s2Qbzltv37AzsysCELIzHLsca9PG1r9Ys4Il1JRVoGseIJxUAHfZkYCNwKqirdieqfukmVfj5lLLgDDiOmd9FhLiqk0zt2bFArWelE7XE4iYcdvvtSuWnMRbZOEmhuemjH7DR3YHlJVrvPd2FpxdRv5hXP4nVDrTlaVeT3D+G8LMEhNeqj+EPj1dPPRoMElOTY9T1krT0PXWHLQC3CT/3oZDpMHOaRN9+IgnIHll8n2didSernH85Jh7piY03vxCglGzK6aWBvaFny3TwQzLyK/oRIGCpv0uwnbBhd8zZaE2ZvJVXIiwYK22hd392mqiIZClPk/PnCGatql0iFaOCKDcaVE3FIVob7j/xAw/ZO9XYIwhdWEVQfggnHDUnbrbtbE1tkXpsTW4MHq/pUS7UXeQptXfwyHNAPYx1WMy4aL0UldO3nYTgbseov70fMMGCvAio0Gq4yHvfBODxO9ckEnoSr7ImciFs1mcuRc+coLeaDmxstHrQCuAqgZtHhr5WNNgDGiR5TVJJCD+Ty2ZUiIAPKc2wgL1p0bnielcZxALobEsl/GIPd4GVOJq08QM5LV7fu3zBilve7TF8Y9BLSQ5+NeDipciwMPvbhiIPNAaeEQdDV7VPli7HPmw82gw1ZaSgj5iWQ1AzSkjbJtf71KY3KCHkpW9qAI2smTnns5HzWWyiicPLY7FsGsqmAxOMkNZMBom4GuMCUwEimoJTEE4bKH7TSf6bcHD6KzJ3TjG9E66NQviwwSXeEH3S1bzg6SVYe1zS17PPJuysiAjtXKP5nMHIbeo7nBy5AOZz9huKlgwkYDQ4fBKy8d0SufoQt5RkwS572H41sog7s4Fn8H92Fh7irxaBUHoO/oUmGwEVzlX4/WFh1UC+NzZy/L7b7S073Ds0FE1iK5tVRZWRijR0BWd6CdCRihhgInfMMmPxT0NdGG750VTERM5GsfIZ0KaM7246SoqjVYGfPb/8y7Tpn2aEYefRviNikJv8AQt/LGNMHUvz5Y4LlFxSveT0iSPVsgB+c78mU9jUNz7g0S6JRufj6Iqjf9g5/Km0sMz4LTRfOUgYcqBG4DC543XOIgNB96zHW4jQfueyFtPKYt+3Y9EUutIw8A2d2mpkFS7Wr+EfybOTCKFm1J/1X3ww0eleQhNUnyfeTVrTtz2pOzYhCxKQHuFsSm4XYnuzYKSOXxKpBSaOMsxtOoRWhwTzyohXTBLkf5HYpgrTJ41jjwAKh5MgXV8hXXmoMn+AemjOz5CxN6KT3snWxlhlpQwAzs8vO/CjlnR0Swt0niPGaFPbOA4vxPtyM14w3SpHlSyd8i1hVhJPQ8s2tQcAZNFs/KMJsA7MR0ka4V317uxYLLh3KDjjC3ryhdef7Wf+YDRKJ8tVxOv7RhSR6+79uylZ6aALWMDBjiDIbnZQcqVTwH46gOAVarGTHp12CAYYVjaQS23YPVzYLL7na12Yyp9lHtiBFBy59nKfw19oMtxo8wgXARdQmxVxEyxDnZvHEgTFmZPk24lEXFbq20ws32PgRMzVOMDwmxeIijLCwCvXG+zXcYWaC9K8NN/zVS6LgcB+F+V0JZ7xWPk4bKVrGDASzuAZ6A7zogsxtNpyCkwR66K/Zkzu4Fsd/DYnTZTiUoSUxe9sAKjWYNJt1DR005qKDq2Jxq2eDHl2fHUlnywSN1PNwYTwHGpgM/Lp49lgtbvYYjtQAhy4KnaZa7MBOpa3i9yCbA327a5cM6uciT1RhrfLYnt132iczAIZI5aJi3vFkT4rZUBa153/0KOB1KJvlCk9U8zPYBFeJxG1y6A2rA2s6gurtkCf/opBNUOH5GEsw9f+rIcGUtT/bAoo3v7xsMx3HHtTxCd+F8h88OMQjHDkSKzSTX6ubru1mLCNjrmw5Y7h7Xg1hOdz9zBqUijSHiKO8yJwgTqBNpVyYlE2nqxIM/jqSgdY2OTVChLFQPsBPX9YOd4+Z/UySaxVl4fYlkkbOaF/g6w0pAhqeKJtD3pjMVQjPGObQWduEjceMgLddoiT2WY1ShU6Kx1VmCmqXtw9tYlSq5WBiPWnUOO7TtefjBIJ4Ek8CUk3MRmR00C94oHDmGbysigqgy3Dd214cXopdYAN8RBPfMoBRfiUEutfpmnGEPpXUrEEHYewE0N5Sx7509SIzBgtU/oSZOnCCQDZtpohRhNaoD0M2rVc6QWDjWVDmUd8NJaGszRfBQs3xWLzAHlqEc1hxp1VPfkLKvx1OwTGHjN+/PFFJ3XCn8vdm+mXB2hDUvMBfjjGJJNX2STlWWtVycs1+lYgllfFjFH7ajMcZfnFAd5VPzxGsZsGeR+lDC3q0UQT3zn2297Lpsh/fKsxT5mslynEkHPAxULXlpo53DZqC21tMSkO0AL5va+tuxd8OY3oVReRNdI9p2CaW0C+19vBmJgGulBkxnQtsqp1z3Pvf5R3UmXlRL/QuKy3lZJrwa+QEbdkxXL9OGJryNzGmEiOEr3X6GLUEhdYy9yUX2FlqBSrH5/E6kKGbCMXhLAI1KQaT/EPUQR6wINiE+i1F1Y/pLihq3rZyBpvsHzPEKyldZlw6kZiDW5O19bXLnM3sBoANx+xrpMdezWzs8fIwE4IJ9A7wtzD0xNrbAZLH/Aueg2v+ny2dOEcbI39NnEJSkTnsKRa2kp2P1bx10rROcOYpWxwJOTnHWf+hDxhL4MC1AjGx5UFr3ynIDdh6ehVdmZJyoZHTN/GPdruVUSu9KDdy3HXM3yc80fP2/3x3n+rlD4lrWZBdzzLzcf6X/GHxgvxudh6Tp2DByzPdL/W8fyqUbkOYzotqnk6VmHqrn4v4J2OEEgpVgRzDOscjV2tNTZpmu69ZY+XosfGp0xvllFUm0JufmvnG21b5OEVvjHQ6gulxsYGpyzb9gNnyiygcITjkjWhEQE9sdqJNUnOV1ClLA/R1eU9eUfnrEnuukxew8lF/xiHzSD9PREB0AB2CKVA1oHR0JzwLmKD5YuCDZY2o0Cap+Y7T7piEA87EGw9TfLJ6jQ5s6LbgzlEHlM2rK9n5tSvzUOn1ZseWkzJO24t1zow5mZ7b7lfBNyT4E9RXxXu3fJRNFP820+IQjvSmXNNF1Ft0DwUzSskCmOSh4ADvvAYNyKbtTM8nMX/TLMJUR+nJYsuRNiaBHf+ui2/q8oqZA2cCByQigxI3JZmo3kjZpy6WsoRuIbgfixdirp7wP0uA5lyBrpK1ObEAKAelAhSr0QZgMe+nQVRwwaImbU7EY7OMeARNCoTR1wTih+w95QDGdH5s7CcGnb0aKoBISvR6AEg1HDi2OmUtDl/ie/qOu19KwCZvS75/8BeUHHN/tn9/t2ujVWW9Cu7H1mjldi/mKr7bdB50vTu1Y62hrE8VRnRpWVcn/7rhJQGNdOjN8dTGsLyZp3CGkwoIwzhE9WYwmkuPr0uR6jIA0UC15lS9kTL/t86fhfZiCGgZQpGabv6tQrU6zDeW4r6MYkiRSgOJ40amB3mxatTNPz54inCrwQ5Y2o3PUNDko6/jMGS8iscTFcZgBfk+GPiPPn5XvoMMIG6wb8Vb72r9SGF5n6inNrlw5XfhDpDKjsNOAhIlgC8zn2C2PbfUtKSm4wCnvn755y6PTCZem/28heSH8kWloUnNINQAMt/RFHJF+8WPvYQW+kL0wtZvitwuu4jc4O3GX22NSBaCg9gdwOx1Y0xoun0TaYWzEdKRNApXzgp6pLQRW1nrfqnnr/ccHseV0uZ8CIYx01HVd7xmgepmoCBMzldwezJYUxOg+EdA6VbTpcjv5il56cpD7iXj4gkw2D+JWyv2NhBcXr7BrAXlKMEEDO0OrJphyWtCjoLkYIqaY1FWoq3/Q12Ue74EQiT1T/vVgbfEGsG+aCL4sXmmlfMyCCX52ZjYV99gjCVwF59Jj/dt9y1O8rhk454rTt97zMJxB5Ij6+NGSVafv8QZFEI1ZnaFkpl90BUCQqQ8gLxMHTx13fUjPVYZHOibTHuNwgA+z+CA7ppD3+goLz0ull/rXPkdncPUIL+GAYlth5OBfZM1ZmkG+8cmneRgp6d7Ch9cKwxm9MNJTIzOp0jgfcVAsTzBINK5fec7MV5lgqTdpaBPjwschEeH/dJgt0/2fw+AiJUai7Akn4vPMbM1QaOMqJrpcTPaaARkjvMyf/2Wr3CHu99XC/F95C6Te9nHr2OqyXgx1xebw9KbkogtQw5wEfQ4Uu8Z8iBLPopHKxir2PC1xECo9n4NOYHWEkpxMp1wIP7iDfAz4+JsT7p9S9Q3PIpPOaGVkMfORugX0KCwZ7nf3pgB66Zqosckdb3eTPfdJfDBjcTVRYxpIqgwhhW75QXX7eYsQZuSuzP8wKVg8v7ULzgPYR+XqmZ31jMh/AB7D2z7fA1+wAWxKXCfk480f2BIFQBuN7h+J6SfmLi3fXKLpvbd10Yi/yPM56kPKr3xir+glrqrWeR1mgeoyH76DZEEs5gOqhs8/ZXVI5OdCsHvJQjhoQuHa4DT1KdAZa25l4FoJnncfmeItPKYPk8GI3SmM5jEn1w3cZM5wLJ8XOEcE5gBmxU1+A1NIO//B4INAXONY02l/I1YTmNQcB26ChQ4Wh5OhIlrPbt94BGW2Vy9hXElcPXYoSDvlggDIWnqWQUYSuk5X05/jQNOePztWBsEgzECaF9KgrmMg4cfJMSILMZSI7l+gc23RPz/gLC0SgtufVOErMYL/n8UMyT+buJ5xI7YqUREJy1smtknSvmtwyNaPBcMhpVVLKOl3hDqiGnQNcMnjS4W1TMEM7B7zNRVibZik2Jb333B+Vp/Eu5fPGt691gQ3DmYnAZdQMB/+XV6BZztshY72yinEExukAldKfx4wGUw+nBtTPeW/xozgUGa4ql7iS7CcAGBOXPDwEKhZjz2dx3Cb1CDooFEbxGHQ2jLeESMmZrO/U8T4yMn7Tz91hZLPfYBaHHAMQQNqx2xBxqNhJhGFphrZd9/sMVg7sJFKjbv0YoPOdOXokeTMBxipAgS0nbEfUZd1eDIaBhTCt722y7qo6gfyKHkVXHAu+8U00ddJhEKOflKirrReB1URInpczdvioDNeWH0cUndLB583q78Fyu5W7m/ARFY59ZbLXYa3h7STiDpD4ZeENYFuy7iMJCJ6ksxiGBe1trxaZFSKpLIlZesoLDVz1Iu63cUtA5cuAFsk3x1DqTJLCzrj090LF0QGWwb9EeChjXCZbX72kvC36a4yK4+AKoWBCVP0errZZZ8jkE3Y2XiIJdHELOgUHih0Pt/aUwK9VWOpZZDc3ZjEJRrfKISBVvUW31I2wsHm1c3BgvaiWipou/Da544PWNkporJ5gM3bsQrfoqGutxiqgzKBfU8eSXbfWGWq594tCxemSaxLJxkfBrdDiFJCj8sm7aimcsMEJZ3XdtWaxoYUeOLCX1Ozyj8MTU/IiO5qXW8DQo6lrZM8JS9xA/8fOnZqaLLzaIHZlPMaL0o8Mv1QmGse8V2tqqfvz8Ky3I1WsWi1L1T1Qazh7q9xTx+xGWSD90fYNdtRl9usTsrcTNHPr0bmUt8GsVNDffJ27DEF0fXyVV1i94wilsLPO5tDIHDQoHmtDYaInMMUjqrnmyuiJHB/sxGzz1AaCO3b70d0B+fyIXNhjfkMpU4xG+nsPYXr1JIsufGul4mJ7aGDtpPoDo+v4LOxOFueDO8WzRtJuc8FX5jNF5LIiaXMRhVcj6zeLJWovpf8oiJA5ORdl4HRW/9YlSPE+TC5R728iXWRerRlR/Uhn5CEo0hSFXE20FnS/pGDbpJ8CMJPZ2RYJeQO8CmOlJ+8M59FTCeO+6cQ6qC5NuDitYNRZM/DNfyG9B/WW64QZUxOmDeOs+xkx6NLMN7C3OizC1Bul/V3Nn8XPkZrWcLQdCbp/oqs3Q2zO60oPpW8xzpaHVhAcZujmro2VNjo2g9GWNYzN4J/8mireV6hDDbL3tVC59ows0TcwgPepfGy9gSHIESmJMGu06TvaJIg6YaeeKIgff6jAqNFAOknI7rRuk6+InPDzrMvQ4wwKabGJytoBkplr/QgwKn8TZQ+/Gj9Jfi9YUpPRg49o6hyFbKNUMQPRhSbIxdvJ4w0gyIvUd6ny4+4Tc326o5lt0v1pDmAyK3jBbIjpoHLEjtapiTbj2T3MYckdD0l0PS2Fe71D+WWDw480CbDdWsHu/+rpE/WdXff7IbLndvGeCj9tcCsn5jefzeXjf212EPfHOv5oXJySR1ok1L50kG/9oqK3X3dNYqFTAjbV+UYLxTOIwvHS4bYMqCeylqbRughw6QIkR3KpPZDEy86o5hsuzPLWAhI+n/k+DX+E04HkkT1+sMZbj0L95MXF9NwrMwv+02qMgOj3eHijBWNXpL42ewu654Vk+KA5g4vnVWhqZ4z5fZcth8542tKUcGwE8G+UI4gAsGHiqj/FpaeG6L2dpUfIDrEJ+xMhMd3VwEd/C9P8NcbgvCMjAl2IRcysCRvwddiscWZl7jI1uZU4pPNlpOSVC6rQk2hR5El6tFcd9OtZTa9FxG9I3P93qNAUig8KSk+kxZJLP7jCS56W3F1MW4bgKH0KaxEPLxLKGiMKTTtJV7+tZlYUGOgnwFZNDGq/U9OyoklGv2OUe1/u6/QtVsCt8xIDkYe5+yQNLgd6X4MF1yVqSR9qzgXoVaaeh5GyU9YFkR7JMcv43aZNcS/BXq2tSCnhMVvPrtXtFZkt9wguXQIpv+BEy5g7UX86BIOw7d0WKuhbWpDPX7BrmV/S5cVX1XJ6tyCwrkxDLM9zM4wYZsl9Im5QZnv8IXLSeXTy6lu1GoTYHYL+/tN2t9HpOgmMVjUVJX+gEtEbywhkgqoR9joZdPIQxQ5ptOME5ZaniANhLiFIBbOUmCtaaoBC8WZx3qImXmIiAQOssoCKSA+QkuHxPpNVtPq27wDxpDj8XG3309xT1ZVinM1gr0XcE2nrFqTXBh4gDbgMo0BLEjg+dnKBO0zTQhoNkt3lq3Hlic8fyeqUZT8Qs13BLIcb90A66ui2ko0RUX1bjMX8AWN23hMeSkhfoLkFe4nkHq2PxxPmG7Ep1xx+W926kPVMPcAccl9hzZtbHWkASkbwYuBpPKuuF1PFS8hPyLcQG9hM32h2+bTe8YpBdbNmxdslOZ6IslO8ZIZWZbmT0lgjg1gEuVmIvHquNp7ACEkZo58Lzf4VwEvGN7J9b3+D5Rvukt2iJP/EnkZOD1UBPdhDL8P4fMUBM0e4dbckCPnB+kLp5RI1I+rWo3h/iElERKuzp6YQiUMFpzZ4sGsylh1P/ipBvE28o0x1lfGJ6reFvBo43a54zXlncnNfEdWQBbWLh1HYW80ugv28KmnsgD1J1dluC7CzP8HreLD+24lR3JAxX8MUejnisrLJmFuNakbJFEU7AJFuETDQEB2/e4W6gdiDkV5LzQRUDXVE7ZCfzW2D3JHImDJ6gZMAl11vLJxnljr3egtQVGKki+IgpdTsBLEdZYYY6EkHtWhh4YqcHk/dyO1k4xf0tgJ9OV9+jBZ7AVG88KJigM9efgp1AdEP+AdGi4rTwQw/JCHU/Vm8WpmBkZlsLhmO/O7xDfBMzC8ht1aqkZ5y4LtGUBjzi9irTtwjUzBEzdOrvKh9IzpSHuhjWilI/fqVrsyq0U4acaALHdV5d6f/ifoTQPDcGzpQjjKu6rCOUF4hSl8j/ERiQTIhacFwtUe++1wV19Q0vrorpyUGYoyvMkqaMQvx1nZNa+onEoaJz31pPmoMM0jThqiaYMezv276muSpSDzbG113v7qWSSzYL5ZqfFahgtky0V3JmXaGO9PUxmLWzFtBL0+lNIKvtap2N9w3T0KgTDBixqPOvNwBPEn5W/IhmazW5U0d5bM4CaVV3Fu37HVsz7PmkyaMRhAvTT2B3x7LZTHF8Ma6gv7kSV33al8DsW7LfbsJcKeJakIKsTH/G3lk7VuWQbFCRIRnKDQB4/0BEg7QwzbYvEmVuJKLbtn0d0J+YfsCFKu0koRABcvNNGOoOMO7mT9B2KkuV6pjx9k54yMGid+rPr4Ff1D9wWIFis3+youD4ymoj9rLEYIeFaKEPb7tRfH+cqOvn6dTtZoTGvg3sgyg1VA1Q09U4JDH0uO/KKAitoVQrIXvIwtV2O86FtwUSEP7hGELzOBHH6SiggW5x3H6FSjnsuNPVcXsopBfPZRxjQTGSzP1zDNqB5Ev75/aakbqN6PMiQiP/sUwuMrMlMwTJN1DuaY7pOztENrGl15LknXLafBQTH09fm5vwCvNqumEx2/yGV8AGzOGK4Q21+xRuuEe6NXkR7XhPACt0UKuTE0vfoZR1bU75F7hvqwEWo3+zfHfX2QFFluFaomVXYXWdCsAnD3P6v2Nt6l48/koqKAA0h8iGLfRNkVitBvPOYmm9sAgaURZzak8f70tpsZFtviMaZDe3+GNv/4jaupbXFdn7OsvY/TNNY5MGL4UdnO0shwDUJsRFMv4jmNXNa1qLKoSwEFNIAf910ZV+CRt0/xae3nN3ge+3MAM1DTJn+2c7fgvj7Bn8KOL0C0lHIhX7NYQBYn8Qfi7u8trwn8w7CG6Eb3/CrMXrguUFKlVjEVREsgNadSULF9Bwgi++Kk6oSNQ3I745GOxDU/LwcPAeoRjr+96/Sc3VNDLxCipf9Af2eVpEjHP6NqWOggKxqoqmSyqepyMQbWauJzc9WvCgqBXhBYqZcSGTwk3rYyJ6AkvIAUGVXzTZWByGB3201kPzV/VRTS68t/Etk3m9ZGpGsK5K+zfWacgHvE3veK5QGaLArmTVimMW/J2HALjTSPvFJDInlFdkdzlh0Tazf4irwx1g/9wPQGLQiyMz6XZugPh7rWLzcW444kzFrPjahsBKuCgtVbZp1MIFwuY6ujmlbuNl9qcQVWvQVVdiCq0jDjeTjMpMZeniCMPOSYBsJ+FQx2j9xCbD4X0Ftw9OkaNDnBQPnCwZR+pIhdgh9fciyPj2HNKxeTZ/GQlaXvpq6v/MKx4eBogR/BCVTDX3ERVobFcHFOe+KCxBwAwZ5xqSNK1VhnCZPYFJ6H8zFC4saYR5lk+Fda+mMlANkdfwOtIRjuo5+F7CnLCqWzi97B6qnaEhDiShpRDl7yqPtzp77BsGsLBEi8QDEvcI4n+SbkJKQWJeP4IUf0P+X6VJ+9eVF7Ki9WCM0e7a3k1wLpqpBGA4zPkUg44xgvAPYD0z9PVWIfXuANEvCt/Jo+D1Ef5d65nDmJcEUVUVlMyKmJSKVkFQxslN5X7Xjl4GK7yNwJPQ760wTbrz1GkWWd/VPxBMpo+TUEq23PNncirbBIuiku4uxF1OUyCx0XPV7i0zRMBpzCLTeiBVXzVtkUGHOb9WFOSDGhzwLTO0vD/JtANK+QlS/YnHT4iEC1MMQgPWDf2xgdLJDRqKLVW4p5rcObS+jn2bAK8ML54ESEu163Yt7kw5tle7GnP1wMuWIYSwWMuqqjNt/XEbswNVQipeO0gkBT79gvNYzhZt1FtzOrY/kuz1N2bBLkeOX7srwhPGg1H6iozKBc9vFe78KNYouH/DuznIbstmpsDarN7zAd3bQbv//RAyOQAw6/hlzVBZvb6mfYP3jyRo/pSu21n59OIgVL8v0ZBm7jJT1vwCr4SlxonSdaJdjzXpp6/wk8cQbK/qvI/oVlSMFsxbbEUoh/l61YPje32CIzH6ARRwE0mPZ7CiGDjDbRO+xuROZOlsC4dhxrQ82fjYIBqDylmD8P5WZ5RPm3auvuXbmbcYlk6X6WDMvcs+cMFMIIEQK8gm6bm1SVIMT5vq5gs7WsjswpSYPYEpDuwSNV4d20pexWUOvrkluJRu9F2cj/TxbbKyLJoC6t262XxEzZakIc5G6GV7GCCaqHfk/h3p2PiJjiyOUbT2MYp1X9L8KfpKgzZyLshXgqrMnWJQvWQn7ZUULgw6YRiWjHv8EBegRGPRv1XqBC4IHxvqkbW2jSKO3/V2saLrqEcj/9ymfw0nrPNu7PT/3wffVEhSgYUglthWyuTqLamLd0lYlFPrK+EKRWBYmOtNsYjvuLK2yLDZKS6TPAs6sqHP+2vi0NA2CsMqviYqSaUtomfpRukiSzuMWIleXfXJZkha8OKn5T6cUuSAD4GVVvphShAfJXMAlbiogekdcM8FETSh/uUapqkZnt+lUgW2VFe3qf6e6Mupo3B6YtesNkK/aP4OCRZyGpSZPdDFG/KiHI3MHzwhJUEP6RkaYhcngPFDG+yAdp1kAzndNbzRLvEFLNA6Bw1Y3NmEgiMMyh26eDByEVokm+EpjEqWyGUhj8O/UjXsZl2/4Y48y0Rje/WUOOlrgJ8VPtrEDVNCZFKB98waMBFsC4KBfYonpZlKl5u/JvCtnpRKSNNSIvy0WYikv/8qGxbALbUz5lw3Rhynp64glCD41Jr3V5O2XvHcK2nLBvFAGcxM88WnaXVo6KSrAQKRB7D6gN3/mrnfZHZGxJ7qKyk96rGqQIDj/L71HTdWv3yPTlDt6OFLZ51uG+ZzbYinkgtjoer4yPyAiN6Ij08fRhSCDFDQTLnM/J2ACEPxTWBlaavcGdWqTYXNnz34glaDu2TDCbasGSMk8tCAD0G7QkwTxH5OpKS8YYV509QqUWvJhBg8tdSeVjVaiowxWjZNR1x2kyNUPH9E1jiPM6NFliyjXzjCBwY8F2lDWFyvGU/6LJBa2PkYwKHbGSLsR3pjg5T/UmWa6vCOAa/n1ehPz6TdVLtvJO/lchNR/HxXb9CuMQ6Vr84ierhuvBWM+q/l2RkOd2OcaPgDHHA7hQKboLI/oNz2F5vmdqfa/eWzcpgwYXbnrV85NQszFBJspJsFBgS78m45SB7sv8DOrzrDpAus6YJgt16epwAfZzTyq/5m033B+UH/nWZC3ghO2AHHvSSPvaBz472pUo0Mq7FrnosgCbgD8AXavh8EF18niAEof4ylot8pKrDXnPSoSBjYvJbSRnZ/tjaECgkVmDN2prKASHV0MFoOsaPbxTTZFQnUNem4MfNR1BnLMHrAXXO4N/z1vwRLgzox3YRT/Oa3/3Z3V0NEOQ9b94lwU6kcChO5fAqqFbRyusr2QoYhsxj4Qi4j7h0Za0h7H79PvoZLsvLnUzyxIjGuCcLWeWoPvDQt8golvwu7KE3dd53e32pFc32A8cOlKOGOkhOn/yaxhJH/OSW5+0WwNjuou8GmxwZ5T30KxWMmajT/k/suFdojtOWDI+QcZ7qw59ZIdEe6LDac0lES/DqxbenO5YDjskiKvoV1J5ap21M0Gqs1rfV7NinrdUEGgwtB5VLuTdbXWwBMowqWairlHBUCx7/KaSqjheeP5q1Z8e4/FqTD8PJEWFkfCw+0DUsmwosXYQTqP2c/IuYbZ37UZu6MwS2aBEWxw6abwypoJTxYPr0PH78dqWwV/B70Sy4fEJH9tfm1hAjyd7y6GhR87DU/goD9WUZtr8HfO58pTUj/FG+mC6J7ySizTZu7F2tTUGo5xU1DfcYgvVIh/2SkhzaBFx0dw6JqEEvFxi7XUE1pmQ4IaLDy/OKw4fAI8ppeEoEnrNsgB0Wb8KFSIUm2F8Gv97u+Ga/HU6NaKpPXYiViIx0g8yFVDWW3ittjmWPIk4S/xy2/SpKN5+pdf67TulQkSvkcAwbcWk6eJr9ZvhTbAETeP2bke9gFAmATUbo4sjNMY+c197IlW8gM7Cw50q1WJilhoTjNkbH4jJEND4aWKY2oGchidvvf9HVRU56BGMcIoXg5mqZBeSZLUP5IDsUOyQGOQ6qpzcP2IZQRNFFiFQRTYgKck+CmadphWr3w6rI02ja8c30AgsVB6Bpw3wbqS0nuawsL392l5QZKL7NFMXrXZ1j4/pluC0rWPNgs9nwxHFbCLILb3s6AjsMNES1UtAAdl0UZFfsSWgQLLKNs+lFBjPXlvOYFz3U++ddK9hK0g4bdsO+eEGEe2VMBI534lC99WSOjayph+HUrOY6RiHRVbdGZWBsmJg2AdZOgZgwdJFlUoysxHPB7TCcSF9y3MelOptaQYm5fbAgU9dMugsm0pYKxqQ16E/6WwTt/6G2mDbKq9WE1VOwWlgUfopq8Qmnu/wXzYu7/d9ZvaSMw5c+Kf9r8OAmyYCNMgrLOLlvRbbnA91jh1XVRBfddZGYMoqlVvXvAz7f7161bwDbnx2u/sYZyVLzKLXNHCrfanaNxbjLjfAo+cvKGWAlraiJQBVhEwMVw0Ezm9kTCkEVZMRkdVWZjSxFkOhGdIwPTwqFY9gg4AAlp7GlDjk3yFJFaj7t87n9EHu05oZ1O6aNNUS+r3GGACdXHC+n1l41KFcGnFMGSrFtLMJHkewwvMteOKeRuRAhfWP5sLgtuXrP0iYJKhqyCxbWpuq18pCBs9hx2TN2xQ2elsxQaqEsT0CctczCI7t4U2FdLuOy/j8fFALx4LJ+rOr/OhPA7eY7vuUlmWTGyNLljNzTSoddVQAtN+WbgYVGDYuiPzM/D+c6dmX61ypYjNX+2pNKrWTuw0QthLxRsgxLbjbBZRNurOAVZ/nSEtcEdT9fe16eBLf4/7TFG7KUGrOFe/Zd9VrGkfNoeF4dF4Y69EnwJZikEPSZyntwrbiyzWxyr/iVrWFbL94w4Bw8JmNVcWersem7zgTdwd90kRh81hCnMohWjTckOsyeCcl0F7pfl0do1KtcZrfFy/97nn3cAnGhKWCVlSCKpZG7HhvzwJaGPTMaiDOisOmX3prVx6OPhmax3iusW76Wh5Jk2Bz1xrgM+fvhgOvqCKY2SHEiuL5xIVWts8b5XsEElhGhBQyvEWbtx3a/6MtlCEdJVyNdDF71fskb7on1CwgEOB2jCTEWUzuF9TT3Md/SadoC0kvTczMzZXdpjrGd/dULeY5wcGSJNkCTjTzfRptkCcOROgmf+ibepMJ58m1+90ZkHBXWBtySyzebJnI6n6/83aCQ2MA5Hj8crJzVU0S4CUNlcv3XBpwLAviPk+yUa1UFPJDNgE0gq82adK1vw4VNj+rYfW0na40pubEoQ620Xgr0ugjFl61uUd8gGEws7qS3exeUKg8h9RUYi6AEd/vQg24RCXeWgIjCtvX6IMn+BzQXh5qoJDPTWO8POjQKMAbyWqBzFAo8JUBckYC9Xw8M9j4/OAB07cyLv+tznjSWjUOoW4nBQyLC+avjheEAWgj7ts/FLr5fPcx0GYoZFXu5+6u9f90IcwjcNKWUC0gGxb7gSP8WYixgwkgXugsYA37HXq/sUznP0h05hiN6k9jANobs/mBhB/bLRwoZ6IifYsNIS1EFH7epFD2bCd8gYM7kr92kyLx47c62EXDupvZAN1zMxKIKJOONbBPMsFWbSgLIERYDIOmWUAJWnbHanQFeYHied2sa7Ocu7L2dMqS+jpbV96vND2n2rPLhjL5U0W1MfannWHjTGhCbXPakPxFG1ryAcx3qMrovSINBozSW5fjavg9t+ekFIfR1wQuA7cDu6RL98bcW6nie269svazQKIyWleNm5xWOlUf7Z92g6nzJOjUazXUFzXogmnVPCDycRsZgRE17SyKR21yNvT0gXQY6iqWShbUiDULEjHLrgFKDBUzOcl44b92TM2YDyFgGcZPgx7cw6xuleoODcG4xcrbmm8Zl3HSi0Z2+h2Nc5PT+VRp8RpeIiTSZ/kLTrsSMKbqpnj63Ica63F8PHyQ8GQDo+R7ZHrLOJ6mRnX9EO7Uf6WKOlCrLbi7VBtT2YdoccJqQYKODFOcbIDCP+lVjCFhKDp6PZPD0shPWvcweFP6St3WVpP1ZHlEpMviVvmKtADA9hzpkVM+5WkIGAsknwYiJhRk0lFJbaKEfKdJaTNidK0u5a9Lf2VzZ9V++FV1KszQMkdUQJFwflb2i0z/aI/UUKyJyR7O3VQfMFGPLmqFnhgOIV8JL9OzLgDT33yZtr/ykdL0jSDbbbvya18ig9qPy+sj9Pj3FVkRzCD4YHeyTgJYKwkN/h/EOsp6sR4WQZNFdVN86grXLWoTGGVKtLEDeHLcJzkYAGUwDIQzHT8PalnWQFC8N1Vr1MEzM9mOk+Z80ZqsFSZvR9NldIMYt65QQcU0vxu/R8kigh8p+muFJl71qCzfLVs7TB6IGlf8pLei9BTCp2DgxFgRJyBHDI6HCNSGIt6ybo8yjhifHDf5MJi13+zvzyHtYA5YxGtbz9egFm7Grjjc98mBlSF1vO5UGky0ERV4bf7PRmamCHMLLnwlIauV3GZY8bAY1KKQdx5jKf24xRx8+HHfDuKM9yRue9PxySh56r2qU5xbntb78sDaW2hka1XimPxFZPrIStJlZBRiMelFsJPwC81qC5ZKUTNz4FwIjX7VXWWtff5rxr+5fYOYsSlyaPCQtD5H2/zIwDA3Ge9xyNW8WWXvfpFWEywz4QU8QAPsxUJJrlSz21SsN0L4TnvWRg2mi7keF9aUsDcPVuEv7UKfgLhGmlpD+De+eJK6sjfZ4ndUg3SCxEkOmPrZaqRpETVQPmFTa13+xSKihPNRS/3Ydi6sh98d8qNhqS4zTwu45z+Vi7xZtdBv7Y/1ulOqsPRgWx3YqNk6o3QfUYyULT6YVH/LfMAmHGE5wdsm3m0O9lJ2eDqEDd0T9Ea0LrYq/7biemzmpRD2BuWPDYOdsG3QKU/XUnav12e+ebkd6yPBdNMa/GWgHneI0JIASKhe9kqvrrl2Ix8nSd7DnY1ySE80HUA2jebeIYpTBpO5Qytz+VV73MJZ7IAuTEGbxYlulk+l9jEnIq9whLZrQa05Uoz8wJTb7P5R4tfili7KZfR9qU9uolthIdJU+pXyXx9AxoBFtumlMJHbWNByaKkgvOX77413+cc1Z29Za38XY8tQ7rskC/Av4cfUMLAgEktbswGN/erFEwF/2dtLPNG4IbvexOOrZrnSjwU4gTBeTzNM5LSZhkToC9B+eapNzPoF1xfkAeJLt943VHYHuJDHIn9V42+MT0QbG+dqSVPZzSgecuMSK4bmZ4L2O3mxXfDlgXqEMz9nS9VIzVrAIpW59xAiPBO4UgAmJW1Ta41f7wYsu1uu2tLVNKuxc5xjLsQya4oxLTfyP8GgFJi8njHFgwatXF/4+vXdqTp2sxL2sK8d4lW+elfeyv2O1QR60F5OmJP2wr8IIFXCARD1JyEezBz7qPr4uQJqcKHF52ZYXR/XkiAYXrsgINBKtjgXw6d0Z/hH5o8+ZM0py85EcSlkIyRsXCN/+zaWjHq+eTCv9Lad28mjXP+g/R93Fwatq4Sq8PpTtYgsRDYzYEN4fiE2WovbfgfUByVn7tz7ifR2mBEuACL2UZIbJ0RnTPDptKQnizBbRCwUlbwPVkSTOJlC4n5s/X8Ci/SlNa9eDHy8DY0r0aOtD2RWvrTiTZEy7f8aHWtg72QzEg2szfAEjWhVeC0MTCuO0Z4ih99HQVgdQNqq/it3l1Lba3aQKcZY5OofkSXHCry3Us/B9sfFZjGng4zVbAMeIxjGanO5VAOSmY3nxjEnT2v/4Z4LNFeVNaYtJr1zqY67OYJKAgksRZN2r3WEOClOa1SmPb4Fayt+LEe6cG8q2PejBP9+zzjtrh2X4oaLXAfuSOF70966dQdfWuPEKR/wpstx1e7qHVSVFUnzNuA4FaJrCXDcd7v2SApVBrnDebkZDUtuAsih8jzaL4hBF9+dk665YgrRKZPXV57e8iLjHk5ItaLzdgfL4Qc/NK2LImtZ8zsGkTuD+6yeI7NlPWlPsWt2DwxY6P5fmLHKerBLb5p/dVTEN3OKq+nMKjkNb/TaGlap+1nBwhLftffyo/LxktBZXf6aElFbUyXMObn/ImCiiWe7rbopgq2V+1QkqM8G+z/QIAjlq6uOknOAGQesP7d4P7Ax9LB+lpPui0BwQzZJRCGrLhklHbhxUq+Y1IiKg8OS+2l2mm2bGeHtVx88seuXkzbH7l3wNdpjUlHicAKDvOLmtUsqmVfq8VYnDB51wZB1WrHRBKv2zKzT5jSMqg4IAuLuZ7v3tWgTTd+d9qDIdYhdcqX13uszPsnyUqgV4RQHuB2F/miuuU5gOi7QTXfraoFgeWmXfhm07VMaUXO00gHYqJdMl1+2wiHKdp0ZQOJQ4exdkAAt6wr453H9PCVArEsS2SD+6OnaIRCTT+23mLJih35ltKXpTcDHZ8MYBPiyTPj/R2RPCt8LwWutXE8w+CsgmoFrLHxcPCKuLTP2wL3PFFm4od+n5fwmtwdieU9nwWygkIFHK2ji+pEVDMOu3+ev6UTsc6ZWTYPjk6tu9YrJOIinS9sd+nlpyX8Sf1BE34B1AxPPLY+NtbGgaLt2id2lPQOCbF2UGUCIHrCJ16l5UObcu9bL5zzwerY1DQOUFEeELfrfb07nSqXSI182FUoAnYqNcR+Nvcmujt+nrkqIuaA8rd1RYFxzNj96CKdSwBptmkOUwx7zsHiGsq9ax28eUB8h/Uh7we2H+itWA6riX0cFbKHtFaiNrlJR+TeGcZdJX3HQhao4ZHdvj3iys3/eC+5ld7T1mgt96NXEcM+w/dPnbfuDz20MoqB6rs3Y24LhFVSlujwMKKx7ptQSzQyEms4SRdnTWzK9EbpLpbfIMS+prg1je3cBpv2c5frFZEARYVo509zb2t38yUM5rWWNTr50OP1vk6uaFYxYKMmDlZLvxZMd9hAXj2GOHJjPcDr63VT2kynN/Gg0ruizY9vYBrguzidmtn/3kEMCZ7CecLFBZuzYFr6XJ9O0DWOFQZB1CmKs96G81tneUkq9YgEApSkp+DiBU5a43VR0IpMMBtFzz1J6Ni8UKBikKlZJO6Qte/ofc/jfctdkma8Eua4opf5a3Zcuv7ksp7HkO/ms7OCVv4H86gC8IsHiHtw4hV15bnCIQYt6wS8nde2/gY+P+mDj8z0SgfEp2ELXFVRMO2waEKbTbq6hx14Nz3ZkBy4KMKVZ5DEBzYROdY4fJd5SJoqlkA9XS+TlenCHv7oSSollRTuQ5IDnam9RC1WV+D3y5lhS0+eLRuyBJXAA3cpdl5qw6xcJ6As7GfI7e3t/KN2u5bpWkjxQv40XXH7r6lfU+hFa3XaXrmNDCTC1obEjl+X8sWtlMoJlfQktqrlyaSEdaqE36kugcCMYKqpLA5bEhDtVAnibMtylK5/wQ4M204INf4eQ1FsdTVkuBWTVswiVbrV/y56TwU3toA5oCf+dwSo5pIKp6EiLXETeYrRvEqFq+tptQAumJCLeC3RbVZ2qOtkHaLaebR7fQaLD2Mbn0LUlN8sGzkFGmoHLgueNG4DkLVoV6iL3KIi3c/2MaWT8ESpDj5WJsBIsMifamup+tqhCkwIDztJvwPXwVrefsoQ0RZRt4Z83CxJwtqs6qTSpxixiYx8SmTwy5Bcst7mVNfkSMZdaPzZ4kbZh3EfjMpTF6n8W7jB+CYDuWG76aF4qe/L7XOQLvEW/NcUE8XfGkIZXTSahsue+JcWltnp+liu1Hbv61O36qWwi0ITppytvEDcm17QpB2ekZvW1Az1zDG4vJO2FHmDN7hygG5Tojzc57iQu4QoHUK+yA184zUh9Ljo6F2umOskMHvbgXJKDuVvUxvPtlQlW5DMjMf76hWOSPkxR4zUdmMePYt6jzF7Y4mqgXq6LmbHyNEX8Ljrnn1Y+kG+sJaypu9O+aUg5dvcegJXqE15II/pTLTMG4al3r+K3SaYDDUOWoKIjpqQT3MrCyU3WpK6ZB8wZnE59wsUhW1vPgSEs/TRNMglg+FlWSmEDRquaFFYvGjq/7vTtRF7md4xycETHKSoZamzBSpED3EcjShfss767qxlThtpA/028z4D4PS9IccMq7KPw+l8RY/6O/8QAv8ZZGrhTjYsYjXMbgHCLdtHGEfcRyi//uvWJoNH2OyaLaQIM1deyMTw1mbVmtQTuiQNFNDS4gEKcmLK8h6PuH67hxFw7Q2H942+a5wUJKfvAfzTA3b6s4mYcKejvDXoTKX7ySAE+8UAAzkS2M7LjikzXHn2lhCryiVfNfngTrVqYAswEOXn1uRJnb9lrHFvy2nSNsCw1sePEwlrzirEeLF0tHjJ37eBomxtN9m8WJ9Uutza3BwdsESXyhfzD8uyW4HH1896aNo19c0waRnslb+6XowyT0G31R4SE9hUIaC94SdOfxcxm+IqtaL7ZLAiCIAylxjlCwg/FZDMTzLtxYOu2zimO4mnm+UnpyWBOdjJwKImEmE4w8l7N9urPZ7CvnOtePOOEo+wp6zOVsDDGHn8dxCBdobvJTQNdAyDyxeUdL5lFwfgNTsRfbbHn2J8JkXVDxlr5V0yoNTteLBaFWUVGn1rwCfRKDguq64sd0W761Z4P4ulQDoFSi91LDmmw3EN1KwjRfLNHvRHRfHv9qtHyvQWNEhR0+FlDvNJBF2ePQ2Rty43zoIW/atsv7z1TviOxc6LjCdWG/KlwBLfSCy13UePVIapDlxDjuNtPajH7yt8OKSXVMZZOMOcNZsTbp9HOo38ZAV8USnRj1v/OOQbhyh2IAWPiwjMioCn59qTzhiiwjCILzqk3LEnKhRxvm8utGROnOe5FN11G7J4dLZgo/7WU6U+74CKLzqrTuB43WhP9PQzCtRTpy+7kjiKelC0z646VVOp+fJniDZ+1yhSZTATaLjKo9OEH+3wfNzjDNVthWnhLBJeYvF6h/DJIvEooGHrM2HzaUGtAODlTn7IMQf2FXtZlYN9yY8DDu7knWpYqoKGKkdN92PjKupI4SPjYzAFpRz+xbKOlpn9P6XHIMuPJSeAyCITMfmdEgSOYqiFKhGHO9JA9A7KRB6wMGDmyL6fZRiBM5NV0EgfZRcW5hVf5h3NktqRdHtn20d1kg7U2SE+ONN/5EHujb5XYelMA2D1UMV55L1kxviGqVkXNIUxtLWUVM2HawSSMnezG3/qpkW5E2oN0PVjtXZ/BSKB/u2SXVqJJebHXG5FlLGglmeAb7DWaYdyMBohS4Gki3A1hyGzViV4dEtOebPHYX5c0RilTAdFYO07MFGa8BdNPf4Cbkv5jPwJl6F49xjWN4g0uKQVhNBCA7StoF/V2WoMjUUedGAhMvYNNaEow7pW35idcb5HZdEnPziP1bFQJTCsOWs1b5OCQR1DU0bZrItm/ODhxQsP4TiszITWAb/zsg5ApQAs6vvDwfzkd2S4r6rRPIvVnkbe2OxI54DlIsuSW4ccUqmkcPrl6C8o4tal25LgQJQTlNaXm6yFMcnxe/ffoWbX6xbYc/83c6IZGKEvNwRhScp5ohTbKG0N4d8tFIAkYSDEEX/OO5jqrXyGRMA5axslmUIsFYCHWp4gB26VnBQH3UGGAKDqXknBmt9/mJN7yUUpeikqRMsAUS6koK6LQh7IAwFx6HrgKCYezV2BeoReHq/vnaDrn7E9tppEcdwqgh9qxNZisbtFpRA8pQJ5py7pNVIojZcNZEsk0Q/lMgwPEkpaMDzVfxFi5wGdmHSfDrgREq6d/AhdZksn2cMhOj5tQCIdq2cyIYE0fVH9jbtbiO0jyD4RDBDKlETWHx6wjjDPdFQAZFnBJfuyh70W680GtaqKEywEXXbxp35u/uYqwoD0pwv8gRHS2mIDCttaNqXySjkwhR3SNzFjGhMwHrIIPbEZEkBhsoQXloAHL3HfDd6iFsUotbnlYvOYz4aeX6fU9322B1/imj3N5MU8VtkfnMNF5EfZ1ToVzdrKQ8EnfRARERNRhqorDkO3VJYVHgvrGgEQDeiTmrhl88faM222pZoET8gRNXnXD3M7EZLN65/xHJcf4Aj2n4B/GaL3BaZprRdXICA7Vqlt886djrtaUde7thSvfERox+YEO8ZCq/2AOEMrDQSVbmdXa5bNNxKMv+rdgk/TRxyMuTxawEaOLVR9uby94I8Vai9WZ0xc4GxHG+ij+TkNu8YrWbek6k9ArwvffF+pgQvplwyHpPQHc9ZQN3A4Vt3Vatw94LEzfxlVBLYSfahvVqDpUAqXFYC8BfF/0M7Bu2pbLvqy9LUFauJBTQTwWbF4r4uBgOuvjQIEtPOUauQlQK6pfohsg73bhN/zSZWzw0yom9VjJn5lqdlLagh9FOiYYzONulWugWs9WRRiZtLBIm0YR0im+E2P8+u5ohuJWsUTcpnuqbBhHbeUhbH1X2WDOceaznS1kGOV6vyEX1I8OK7r6bGIjjfhdxzvQM4bqpzLQNYuk7UOfqdkIgE6xlfNxY5Zj/QZDYlbeR6lMbXTRMepEDEzBHjD45582cQTAWxT2d59Pd0lQ8+QCcA5ufEk0b1O3llmIC2xORiMXZwM6beMqjoartlNjew8Al40ZOmoQ/TV5EmmDC6ouNAabUvxNfzuMqMQZwIdYDPQhyLDidty5dmSWeFe6QI8EzHzKZwgacccjCQYdmKEajXibuQ0QI0S5B6HMaBYorNi+5YSHT4g+eWJeL/0ohfoNZffQSBVP6Js09pWs7WMRLuVbH2FWO/XmmbB6sRObinre1ZGX+oMdLicj4ldugolOXKGqtEydHcPoi6+zw4FCf+Ndt4cIl+DVujgankxxFww0HaC0u3/8YZri3SkMXEMITNg5G13U3SJ9IoG2TVXeNZphRyUQJCPKdABKuANgvrR/4F5IQf5XnNQC1Itf6RTdzGL+HHRa/dFDWAEvhkkFXrXMYX26Lixn2UX801BBKK44gva3B7YH5r+Xbrm4dauiAk8cbWq0uNj/7iOFPNPgcBO9rWiQjPbt3VfltBz/pLxZdlIjdvYNl20fv6zSxc61JEpxS+MdpRArP1Zvs6OOEVDfFfhVtytOgo2IWYQ5zJw3VZrj2pfVnwZDFu8TYPVEmCl2BKGT/95945mcsEGtxryhlQgAR+uXfE2YQKzLoDAnUc3k8+9x5oVsCcwy94HsSitTedpHM4rVu1Hog7XGu9UPVnGm12QPM065M8lUqr/7JxgsBnaa25lzmEIQRSNOLVBoNkRA/P2kh0S32O0DJdsW6EmxDlb42K0mNiDI5NRUNgehOzeTuIP4HeItD7XRHj1fGX8tBlVQNK7Ggela6mhszUMsMiSr48WjIwDb/SrC5qZZBxIjJ+cJdwE8ygdcY1bGhbtY7kWDibhGdEzmjSeK9XtA8O2Ghth1A+jvXKieKBzPMIieOIInuo73+68at/sZM6NpqyCVRQRC5vPc/v+EcSVZLSadYjGwvGDBtie3w2YGVj8DVIbR04feW2cSs7VLnkdyFDIYodSRvzBY6tY+cw9GQrnQ8F1jc0KCVrnvNzzHEx9bCVvZlEvU8JZtycEqYP7Efsh370mvtPafdv1pG9udxEP3jmeJdVo+bIwfDHgs5QwUVg2ieEzj/ze1K92yPjb1fvQXDVgJG4VnUAKFGI8toMVz661g+L6Z9kXFgJV/eq/1Kgseb1ynIRee8z1zDCvnaH4zCnQdswpmJU64DuWdd18hCOmlmaJDQjRI+9riA98YrQ6S4xZ3R0+AGlNgd8oAtU8j14z9GQVlVDiQu+0wiEZYBUJsLfRi5ij3k3Y172KdZnWrlMXoFMNJqzdS8Me0EUrQsINon4tEtpJNtVrETeU47yRrPPfSLZcatRVOxid69E83r6ksjNcTJI0UTvY2snpwz1Q21F8Usp91t6621lev7ns1AuEqbecLjrP92cMfN7xbcqd3vgfc1MJMbKcxx3PatRy+vKOW5d9sO4ofJURyUKMM8Fa+oAibntFdMg6WsenhgMdNoDAw2ttAMAxk9mg0Xl/yqOvApdMSXajjU5isyyDDtNi+HL/cg0boRMnYCcLc/E1uDvueEsDKbD2iJUZUF26g3jGyO/UKsHoTJgq7ATLdcIGF0MCM77AHlJKKeO3/RJIDzoxUyTxGv+Gjp3/9evF2XIzX0DFgJbNdbTnVgJOV+qVX1yMwytY8ncKk82ZcEdA+iWYWgnpAd8xiEDgHcwbVSGoioOpAh5ZyH79hbb/vrzahFrregPpxypug0duwCnf/fMgXKFPe5UPTojKRSgB9gok8yoV3hemlcfvhNYJR8HAxNxARfymCLxyF9z43bxyDLyUUVpunn+KIHf3ZdJL7D6JUAXJB+pch1IeCa765kIPYBbZ3t/Iu8JHrPM1D0P5VX+Bg9G24+q/6LKt3ws7eeUDKWQ5OcQkQTPuvqhMiJ0jsGz97vg9cC6q7v9eTLL3qQifAH92xb3766SqQsIvWYLGM+ntrxPliGz1Mh0Ys3rGUFArqWRgky89h7FLTVu4dFgtMVkyKUj6nmUDYhup1whrEGlqV4BnRepcLLexws3UyUObLwt0CPgGrGqMMo3oysr8MCReTxGmIEE4slk1KP1Y82TMS04w6Y3sj/aPjGZe23t9VNiMl2XYyoc5Am4nUuVkqrssNFNYtFm88BmFVrE5FZB7yzqPpH84hvNsudnCJuzCGIdtb6XftY42/IYnuxorL5qK03U9zdVlwRCrmeFgvsxAkWkpMEkw33OqQPc6vpJsT6QkWHYfC622ijRJM2j4ju+7UTGy+5Ctub73VEall3RmRG/RlTz4L/LBaSzJcUu97LAg+x7AhS3Rxyr6ExH5mWI4iQHhFKx3MO7BV4P7bH9AxI1ixeR/c6th121qlWPjClSr+B0jLReHO1qzMw54iv6vDRmMuTAfxT2InMq4l7sSSYOaD8o8KBfVTqUUjyGpeT2ZcaWOP/mIiK2KyP/Ug0lWkOdr2plJ4BVtnlPDDW0QJevOG84Hu8mzkG3BWgpiu8N/1HjPf/qsgCChrd+BquvGi54Hmj6YZexdVdH5t2NJ6rJjFMj9gwYcOrLVXfTgF6/S7UCffEITlY8Lns4P5YbFI9rxuCIl2EMxS63O7PsKwxwLxEPOK7T35VWwmgmWDoAbbBRHJ5rsYPWX2pKnSeWgjdGCei6l6zQ4LzCz6tFsVnjyG/6eD6Ag5K1bnPbv8YElj6Ch7BhiWFdbswyn6vBJzwM9eiLxuW5tCBXUiLFr9LajyI7XIIJOLAC+JSeFAlTCA2KN5ON06deAkN0xZ0VzkdXh2qXFT8xUvqAuZRI79FiTeul1saELVh0vgA7fsYNudIBTjhmQDYj7cknA68FpM+6b1RXvl/i7PG33Y7L/NE6dNLrnUQILZbDNJIycl9zLWOiUldyEtF1TutLtMdvhQj+kAMH3WxszuNGbgTxEjE67G8lVwZ+4fJQJsAWejLP0va2qz4r/z5FoKxg9cDdCDL1yooUewHM4KCboCuoSWHEjJlqljbUosqJu06m80JMyfk3YNPgwoiBo3B4AZ9kKexD18nhnER+O4zv4eY1uoI1S5t/fVuJ89/lhLi6ewAdfZU+NLZOF1/NYaI3JMFGt8TkAcabmAUfntvBUvXcSQxCxt7tZx+xoC8jTwpBQT0sNQ93lV8VaDXiUjErtMsajgEK1J5744QTswEtiDY1R8wPWVtXiwu0OsHayWKMPqTHmH1D5g+E6Ch6a9ZQxZp9Iw7Zsjrj79mnv/1/WujHIIl3MAFlEHhW5USRdywhpho8wMzZpQAaJG95EBbOkRWLy1GqM8zE3JzFe37O2vDs9saRB14jpJ6uSUU6sokpr8oOEEiMLh/Ik04mN7Mq1sp6wDW47mVM7idGSLjqFaXpYhmktqnDwuZyQ8xZMEA2XibmQq+0Zy1XT5Yp3j/GY5rMUB1pZjfR2VILjThkIzYF+M4CVJQWTV+X+ar+uY2P3JKwXmqMshKvhIqzAVl91j8cGlcEjLrQdlhJT9ZOElcuRWkDbHABekjUw9svfmW6CiCYr61g3oVzJWVS/qUf0BypNvIAzkaYYpxznE2Yl6yHeqB9h/oQzmhNIN7Y6N1T7UgYN6oWSJWHHo36qjKUMpQK9wgTBCt1RlRm814f8gvnjLmcjHsUJMIl756zBxUw9bgredg5wk7ZyFFWO2AdO6pyn2M6tjT1abb0G7W83b0hlvgdiRe+pQmRUexMLQVAps3Bjc1zG14sRJxGdQrXOCWKKxxrpPE1xZYRdahNTlArx1dF3SLiInzB8far+Wtg224tPVLAmqGoamqclPMnGBoAITEFW9Vr6wle2jntJxvYeImhlgMT8BTggNBJwwQZv2mY0sOBHqjVtd3xxBfxDgSlVHRYOnQ5O5tGEoXFJUmJDzZqItz06oi1dJJXfocbOGLKKUONiJrJz9C4j7UUz6r/s2cz+kn25xR/djDoJRy3yD9zcuwPy68XWnpi7o9nKnJNU0i6fNxTVqUjWbF5dMZuwv4cjM+DLHugSxeQap8njJbR0w8mSJAVV6DQVIx3VuD7hTlSj/Ofqr5b3OJ9BkVM873lOLOGu2qxkOQwG+2ywqiJx2cGn3td1N9sil1PLQvrOXkbyIDYypuoXF4m7liYSdv5YQEE9droKgzJ/NIm91tvpQIIOMnosa2yVvdv4PnqK+jquZimlHrCso2d/1EPo4NMmw20+siRb3DAqERbw62Bb18Ycn+EosvjkJbUcxfIxrkmc7T6WMIylL43xc1IMVeIe5JIIOIhP0viM8reC9n+u40PE9HGVbik0hkHirkDv3C/LmXKGy1pyLG46lC49sevBlwlSNqdl9OQ7AC8qMyrQ4xiACyvhI1rQ87flIkJiG/ZF+a9OjMTY2fBunSKCOfVzp7s4qCsetT5oJ3XHx7gJxt3x1Twi+80Aq/pTJV5xLpUBaizgCByyydoB6w661o7ksTH/8dttgO4Q3qPuWN1uHJ5mLZN3MThOQXwZOZB2VQ9hAwT9mOzaY8Cl/S/cjahcHVHwszFol5O4nWt2LSppQjgUXzSz5rcBuPMza+Cyo3pCi/BLtLPzY1HYamSYXe1faXuScUdFFDyEPPYVX0zvFYL7lHZ4Pjfx+atnhU0MUb+ZM7Yb5f6EpXZs5UuG9bUxpPbmKOuykSD+amhL8EMyAMwSNrhDcwUzO0tpsVVm9T1furt3763xRDyvMnXii87nBP+ccdF7QZzGGWb8CUywu/n8ZD1xAkviWoOLX+7/0oxSJigw/PL78HZ78mzwj+f9JOhElFxIaYhKXgkrxPFRYkOHBYjSfVuPRZ8YCyoX05KQdK4cdMb9jfSvmHJc5VTxjPF2qaFZt2xWWqvBdfFR6byLUUpMzNN0FS5qTv89MUFpPVlThI7AVD2l0XMBdQHL7zzkFER9ZbdeWl0vA4Ou3THp8jRWEqn5JnjdYQLTrZz2dLyVFWe8MUn05F41LqirCiMTEVa2FkU4YSw+EoQiMozCZSVW1Vn+zrS9TGLNQI8quDjD7MyKsuVZL/x9FaANXENvyLlSw819azhW6Nn6O+FilErUw4jOdol4VHX/L8Uwj2wBxR3k9ii24V8LqWvr09v76u8n1AHpqjwR+4ncVcbgWoCwwfYnRhhTJWvz2zwz5wu2LTLgQbQoXXp2wVNWup2zeMSjTy8TOEztBmd+NeywwIjx7J5TEqGORsonKDBam/davg75osWtOHbFkn3dTgoFwxMT4ZtW1GWTUi7tEHTaCdreqlHMSadmv/fl8h4bEfDA4XFPnNTQUPZ4L099Onu2FZi5tuTmhagaUNG55xdTDdOIwGoPPc6mAZ1RB6zrn1nFCwnPdiJZLE0Wu0ONJOC0Ug1n4e6nTuGLL2MbmZdXvPV+6sWeqHcO4l8Qh9UnquCQzNu3M+XmAwrsWBS2z5Q0EhlzMaG2RiskXLGZSgbmge/exNcKLZyOkjMELOlH6FM2hDUFd9m8/zaVhOu+uC67JBIoqeJrwBLXchzHAn25pjz+SX2bhskQxVTaeYeJ0ejHKg+de07gUF8Dlrexlf3I+M7W49t1ekcNvhJdIgS7BhBj2xi7ucVkGgahYZyTQBx2g4ZQv9I/1Ss+LxPM1MR+PNB+M6LjyCtzM+zT07A1V1wnTSShLalD1UQWJFHWEWp9E4YA2Lw718mXzN3tchpq5oqQvXR6uD4PfIfs/aOsdP7h7KPEi5uCmxKUkaZ3hfaIUz5TlNScMny1RE/4va+E5mjFUpMmSz5dHNNjDfVcH9OiuqStiSjqAa9Qp0jadbhAsHJBAnb1nwnETjEgWwPuCDSkm/bpCaCPJYu4XGm839LzlmUOQejrjXeZsG4LVSBkar2wETHOKXpHDxLhQQ6Gg/FiNl8lvXOEF+kHj8kzxHNyP3YFi5OJ/flNh+x27SMV07tqnd0jNiHusGcRF9RwA/uptbTKagTI0MQjh4bLeXcCd09+2QV3DLpJkRlg40fYawaGVgGMSE4u9oGQ8ZtzQgj9UCv24KsHiHNa2kTnITD6ULGH88Yo5Hn/S/iWgLGg15f298udFGXxMMR27ubSJJGD7MwVdLNO9dw1s8TSpbn67+qGDkxzx57xfh/RvuvmHBL47hSPDqn/JuqbSJwP5HKJJg/SlMdN4bF7yExyoAQDAdJTBnl1/rDrPUcS87XRG1VkRO63ruITCeFeBPDgtlGcYw//xasXxMw+UAjrrzi/NfiEMGPKOgdEqWDN+QDSBn3dBjRcjk7/nYP0IXC/xiOEo76FIR+GfVADeX6iw6yBVMtDh6Su/rtpbIREZI9JNp7SfQoOVtjEpvo0ac1UP6wKExlVH/5C2prU+BVJI7WFKwi7yI40sAgugN/km/y6MKOP+04EkI7TB7A9w1OQ8UPjumygq3m/0uGkcckmhcik/9jF4bebbiKVHfnJuyS8zA7RgHLWBtL8JuiuLG3Rn//880HqzxxEQkBX360x3FLopbgAsAVcuBAw7D1PLIB/yI6BYvdJrznTqODX9vuASwDW71VwUSQf1fcvPwQyVljPC8yAgcZ+tq78huJp/+9yakIwGEpTjxPsq4P9kG7snGzFChdUMxlVzDj5cs/x/hWSiEQhwj+nwaNcHg+P0r6Ks/hwRqrgkbWdVGxmtXtHSDdxaH2/vs9b/t2+5gqB1JAOEc2LoL66DgNyec2Za041ozdh3CN2cQbCIvBJbZcQzeyhwAKHFOC0YEUB+NR2yoHy2zKpkEEdDsuq6KFwF/ZIq04hhjHLLU0kYgnZd2jChzMJ2aJSOeJWKYQuqvZiXs0Il+2DF4Xpx46kk4cAgZljHGgAGBg+ejC3cESSUT06Bo3iQM+hDUVIjlJLd80N61dR1LR1pxUy+lSbOWn84G2rotgJP7+HJv3/XoP78nCUab/ayaGUUGgmtE7AZ7alu6+jR4yr14P5SaPXs8UfHwmRQ3wt3DFJNARUZXYMUDvj5ltNiS86UQqxzw16oeDOgJEsE7SkllL9nYSXBtHla2RYCa80N2F9WnU3Bbhmsp2PH+1VJGPm05oCURHh4XGqY8L6KjV2arwzi6HgmHXOVb1G7rBL51J1K5pDbwHbKv8L1kIi47ZP/BpVH+Ji7tS+GobbalUJlhHO1VYC1LGZUO9yR/pg/AFDIX/fJ6v+OtW7wirvFYbf3KrkG9unSLu34Xid5m+yMhwSWfRBFl6Us82KGf9J3aZXFtRaQ+V1oy5VgBhxV+gsc3bZqq+Kfseg+y0YcPBY5fcFpNTBIXlzjlMGJ8XCMvGBB1kwt3XPV7Lj0HY2VQIajkXps/PPra0+iA/k1HdnZlyrO3EbMavlDm0//YE9l2V6fLYKdpDZCc1MGnl2eYz5eU8V2XI9MI8x4NBr7WNmFqyxjZEXUJBrPpx0C2qhclifDuV5eSReUh7RPcTN4ctMAiPPbK7KA+2lFeMpke9CjZ9UERlxsN6LfIns6kfsrlZ51dvaRyegBUvbp0xqk01rCL2+ERC1X86umj8JgvzwV43Ip8NvTbxBSQSlDBIJ/XziZluCsLSGPYtdByOSEFgUbvMlJNJYodYHwRydQgqCxvg+MFTGNGZdGoecWkY6nTamswErSCKTtjBnDNFk98/1Sz6gMyol95Lcg+sQhtKRqXq/ZKO2//b9MYZOecKPXDqage8moCSmBA+I2tWlHiWJiLjiVry/IN3fy+hmGvYGze96jk9lLN5KRHvtQMt/RLR/mOThIy7BjU9IQPdLZn2owjhSj40vyhj/F7wqihHWhYalPKSWJeFgtzMiaAXWf44bmHv2WSMckX4yMwTMGJH1zcGuRBQYmR8GwQNEtrKI6vnn/JDflwyhbJy/tzr2EF18Tbkcpw/NefvX0yuQW4M2GyvXU5rfTgHZTzNtLCoxEtJYj64OcqQTkMZjBlgr/DoVLS33mQEnLlOD+tw7we5YBuRlsYzySU5upqh8hQzkm/KQCltVscjhuhtHfY6RnIUiSeo7+dsGJbM9Vm7YNYdK/2Rfrta8lTHmKckQjJN60dbQM6zCCKLMZjztZfBnpLT7Z0USBnkMfc7t+jLtGrtuCcefriD0yXAxY2YQlzowKW1op7iVqB7+/Iv1t0KM2f/ukSKFuLwrgtnAQYnB/wPBYZtHr8ZmUOMQKIi4yJ7yw3E6F9gCSP7C8Bqu6ZOqUqGdy6u9WACLKDTK8iOF9fpdR3cYROG+kY9XMK8Gsnd7zZmgzIy6DZpEI4CkdwKszorA6uP08gmIVadAm2oKFAdDl5qUnRfa7NG1aC9mulfSlCzClx4rT4LgYsNvHOE4d+lnHPXeXlUvilYg+U1tBKNh9mWNjPs10v0gef96nEmNi6jRb7lPfC3IcHLanM2Pr6trmktBFgszN+XFP9A/2Yb0xezFm3tH80hEQ65zzIivy0k+bI6kVYyUs6CT+6Qscb71Cx1ObD6uFv+7xZexF8cSEA3cdJImZCfiaIJwYbus0NvGyPtL+sW+V+dd+NLcZvdypIOMm4glbdUHWbStR31krEIKEgrBpAgYHOjMONwg3uNkqTrkXu1rsb7k7bqTofWjxtyGqzPgklZE7I+zebUh5KtPGtvYxUtzScSBTH2D4fqBsJRu9DkQhbenDtGhcWOl5EOJMtfeCOvIalYS0ew/8GrCp6T3JhVmLN03+SvScOl8v+gHGeX/+Fl6vJYH0IuscMrjbZL+18FXZokkgnn/YhTT9PscM0JamzEFKl9iMEzxDFFqh5wOjFPonfw5o2wf522f6quxaEg8MTLLe7egPNKPLZJoUEFrEAIZc7pYP+3CurhWsoLrFpZ1FW6GdOFN+3nPQa4TFOIa8vcdLQIj84cCFpZU0uy22qNHHJHnGQ1sEFp6d07kTDLuqqXv4k9DOylKlsDaTzgzqfqrSWjz3hLWZcyihMrPlaSP/wK0p5ali3QuvdxgNyxb69wRdnDcwuVKPJRHzK+wItGdnkY0JN2cj8i0fM6r21RQepaNNHheewKfrCuAJSPUiB+gUjr6XVoOi50MwLNolkKpOVuUyCDQ+iviSWEX9Vb3umdskCubAdXnLKE/MSFB5/FkWYAHTlVzT2lZjcu4X0nHhNHd7yLOZHipMuq/3TmiNGxFwgHgK4JZCMItrSt6zueVRrXrvTSJyE2iFJ6cdPv4ck+N4quiRo44fX+ryW9NOQ90iAEz7xj4M2VW5m6nW+T7jmPRe8zmpm+oW+DB3hFoIUgoJX31nAty5HeLH69KdSuU1YizLPrKTKy+Egva5pIT1vSuFaF1iHbt1z8B3hB2GuDbM5oqZb3x2Ee83i2sMHUTlLgJZJRJiGy5OXDVbBZ1QN7RCelBgJr1w/u2/6zZwEFK/4uGr2PU26CrtLSfNf6ilFqBLj7AN2pPTNMNnPMu+Jy8HDOPwLFmxvau9KL49T5YfLvA/xu9b0/TCB/xwr4zd9hneRBHerhy9eowheBF+ns/BgHH/iYdumiMXj3CplqD2AWSG44MBlN+HZYmhKg2JDRUloU2E6JDoAgRtqL91kGceQ+xw1vgg2T5lXCV+pAz8XTXne5Pu3Cgf8ofTGulkFV1HkoHrByT8F59P87X2dz5+4TGXmgvJaQcXP4S1OdUnJxSRfeFCZV4h+0dPEKJ4Yw+GJxGHM7vRsrxHMhr1DxPpna1RzM3fxsgSHKW7Czjdxh1HHDqX8l880kVPr4ZGq69rMcP0N1H/ZEXx2AuCk9ia6bFcOcnux4tIXJ+fgI1M0U1pF3H1nCFEiXadKGXVlPImuLSacdvU0ZTaA2UsFvx0RSTnA6zyPEhzphu0rbVCl0fpq4K6mo4vWCt54JC3iifkfncv3XF/yUas+0i2JTf2KZC5Pv4fLpEQPT3Alf3ov1GlamZzLXXScfvxRwWqy3HyHiD08GNFlaAWuSRVh9wwWq7GntnJ9wPw+kPEbQOvnqoMcEttjEXhbXzxQ2HDr4EU/LHUt9EPjbATa/0oBpLSO+ltRrXjOU2zYdeeEd62Ka61/Molq4saAg8ciDQcu64XsQULa1bFfYn1o4rnQxwiQKZiH0BglL1QnsaNG/OeATXfFb0gIOSH5+/xiRJfRQNv21jzA8yaxR6xyPGQ57tZgDbMm8eo5Q5ZW0Oh/+jP8fttBpHTuCWuUFHow2vUVGZJtIN4o/kFP2tQZ/L9HCxHMpmTZUcztipfMJu1ZhPBW34DVvNsL3UT/5kMjR1Id6Hcn6ShkR66dJxpB1XSmW/cRqP0zvFpTqjKBelZ3krfjij532YfcpatXgF4kSo5pXWi2QXS3Udh+C0k7TmDsoXBuJcSQta0Ja8AHt46d+L+PiDokSarWKcbHqR7x+scEpgtzD/Uuu92UWWet86k4DOCB68/OKjPfkWY6s4gwZ5obL9/aqeORbx9nQkK+JnIBNa2EcvJfmbPIv6+0YiL6zFpLZLV9/r8dAw0oa/cT06kLgK+dTLxsKTrBE4xmtVztj9V/cM0mfnzSn1v38qH/l+tZcSQfpHAdOrf+OnlldumWzkCRy7n6qhQJwn5glvLO3XCXLv1p/A/9Cx3MQU6hh4vvvyAmJ0sILQGbpoQaGGXuFMlYZxVJDoIQYPLhhEirsI0mjn1T73UogyImrABDDCLzskWzirXlzrVbjxRM7lMadfyZ1AaqvSBc3ZNk2tdOB4evrgMOKIAx9yE6BFzmeJ8svn/rAJSGOTUR5/+/YR2JOPZFu3tf3+U3c4NMbyjJVWHtn0tpqL+s77hNFCseSMoOMp7gRj5wYhV2NuHPT/mEp7PpyvDwdHT4Q1ojHsMxjN8yFWV4yr40mZjAcdAtxx99iaNV3GqdSMuJsBbgIjNTwRCZbIyGyYBw7Ba9a5zKufcr9hSMRWVRoLy4gCiIMna3Iqv7zEudDh1iRX8zKYzEtLcBpU5MiU91cuMdUk9zXGjMrImgI/Cof4alPJAecD7I18BYqOQrYStflIFWmSLzPu2DHxPUPwmFzH/2wmptMTpkx+PNdXOtDSnIY4MP+FMreVJIxIUeQMrPEalsK7iMHOkPg4mtY22GY9VIbjylpHDHu1jRcXDEQeW3dCBNcr4bedJuNnuvz/gVG3R6V/ivn6SZvGHSDI5je4QcgnsIiuVMZbH+jFSEVYPLs12bicVAaibOWJJqL+Je8IqC3NnN1qdSKIAksgznT05+vfntWP55HwkHnsuyNjWqW4jGLpnA26ZOtKUJsEQplFc/tIEv8DGu5/wLsGGZk4DQxJ6m6X9Jt8B2qJ7bOrWKxI8WLsHdDm8YOTNXC+02Zhwq/kOc7W5rIjF0RpJF3zEQXPT8BM+eaCZ0Oxa7PpGDivHuGMkby326yI/bKA+baA5sTcS6u0p1kFzgujrvxN5d7HUDI3rQ6GJKXDgAdz/3+wtTM/8C3hJCzXiIPpZclp1G1O2GnwVew4Gr6u3I48eXtH/OHy/qhDZXnwwho2BDUMbsvTtTCe4tNS/NM0jSvM3TqGleQ3svGVBPGMrjC+TygE5c3Qne0cdOgY5QolrRWVGhIgWbm5T46iULLOwYTx8JidAeER8ys7Jk18TtUzUE/MltNkN2DMzJN/TY0Pa0+7T90DAxsJHvAfUjJ7BRMd77qrXARZn1S3KQcNHVTb+QCvKZpgnJp9X7KZ9YIQZ2ntcDPdiwtD/3lg6qBa4xU3icsjzbDXny1sXVdFNE9CSCxlGdqUDBwaDPUE6CGY5iuADQVB0C6rcnKdKfIZvjPFEttClknGRvXiaCsgUkZ6tI53BpXJCKcvyecMaSj4az+LlFvJT0XIOVqi4pxgO45PV1hQQLrtHl46vtgJ77SnDwZpTQpZhGidW1CzLrN/fiqBroLNQxGsQp87HHXm6uD2MZxkD4Atck7yFBknO0SxiIaPVXvh+SIDokG+RawcH+gRfxYw/1yMWwL+BRlEkJuGV9Nf5GWHIhlhHm2TUgwZcP99at0mCd4GhJTJPlEH/fqCC3Ca5HCk8id32GNqcqSwvRyThF/FWPpm8Jwa/FBpVsWnYieIlkp6eW3T/T+a2bv1TvjlQZC+9USN9+QXMsFdjM1aSMLGm1vQwc8ruDQth6jHqLpF6mqLCYj8/TwBI0mdHNjDNbtjVW3daXb8FeQ7vIGZPbKSulnpyfc0nE96apg9M8GbxSrX3KB2RewmkDqfIoW8Rnk5CuWp0QP9Gv/Aw/+QIqdVYWo3q3B1nPJ2d9HxteY0AvlLTDm1clqzqqCPytHPEIYNo61Q1XWt2tn7VwxRg1QNH6fYdKK2sdWRxjIQnxLz6qpqFZF8r0Nzg4906KOld9lmIuxQWo4hBlaW/CUGt690Klr5SqxAk9bBAlZCFmsEIxHoJa8/UrclFdf4SXMEqvXifgV8M8V1gPJ0SgS4sV+j5KRcRjG2zobEpR/xhnm47cn1HpVX9sW1pYmYEo6rU/7qGlAcTPJ+/DVs4rEk2SpJW0r2Nbm8wmoosDTAQBSxMVJLG/nyZxdBOMF3rylvIAqxV9zVvKmdEQVIVXIbyjEAeUKLGKEAkEw4Yqs6X+GIuumeb35U7G0kiz2Pba2xJOmpxP/JbfrQzwucgvZvXw9x4B7dSjwpkIGI0yAkGFNgt0sglphM5rSHD+9lNLEqTzpy2OxJrEREO9ytswIIwv3BY1nglxpxD7CvHkbj2MNT4wVHRFxmwdp/dC0kpiyfIlYRt1Bvjl4bkY24RbvTDZbQPMVUeB6LOwK9e9DpcGbSK70OCKERq0xxvnIpFOz83aUmHHlnT1Q/c3jhhf1NpeCu1VnVWnCJCg5VMkordKUhsk3jIoVqek/4vp4/nD5G5lNpqZCyaV0JIE8L7RCpuPMiMGJoxkJUpjnOS7fd/FgmVL2cPH3bfTzfruqbL6ci1OKSA4zmsIjnHmuM9T+Aitac3J+l4g+7LEWFRIJx+XifCkbGT691bCNrruko986JjXQkWgBsfiCj+5G8EcIFfNqY/Fups3zAEdDcppD8t5/5ed1wsRUzqC6TzoyZVotEgQ1lr4cpXfo6U/qsAvBK8fYyfPgWghIE6AeR2c3fP7ys0Qq5SyZGBk+NPcQyLtT4c7VagUKN3zGBawN/m2iv65xHlcV0ohSMr9szrE1lM0iP4AZEKTJ80hHXo6ePEF3yTw71mPOrLTxccaYlTXmiblZsLXflJuoVH1FksZS53Rnn50vJMGduj4URQ1fgA7bPEtvLN0hAMgihyhelRUtSJPZ1+psfwa5sLmW3kBuuuUegfFms3rfDK4PPSsROohNLFhpRueMTFSixtwHdgKi5u+1Db3wI7KgKI5m+587uewyJ5spniTFktbuzpoqpboGO2SEoQ7UP7o98hNq8ydbdmeXFgAcUGWwzujGgnmcqDT9LdxTXepI7ZY2TXmK9GNavIwylNWRWEr+MsUISTQvfx9Gl8jcNV+JT8I7IrCpMB9djdoYYD/gL3bNqPcNEokpwqPnvw3WIWMF8WckBtJtJ5YACLaM/8LOILURtMAGG3ucIIgkawaTnNi4u8qM6lE7yjFWVJwg+1jUWHmC2GXjDcya4EuQm2t1tkRpjUuFtukVfEBiIGLr60flngvQi04U3KURsZbYLg8Xkf1xgV1gOWTCxjp2WhZPvDfo3uY88ZpmkED6dErafkgF6HShGLE4vdXdZUpQPNER0VAKwB6dcaqZze1i7IREqGua+2KEXTJmB8Wa/aNxPcX/JnSz3dES6vAMzHBoJ1bEfcUMmS5zxIEpEkrNoJMnS/o+Q/Z4uHmDdQMYw3zmmjq8ClbqoFmA55MCJgTCfGQl0e0fYwo9MIUcH1ptl9yOkuRFeE+rb6NFaxrSK3f3KLrgEl6HA+ym63PFjInaaClKjplqOJrcCgJCimulD6GEsRLdId75rz90KQd7KVXAQ92QxtVFHeiBok9km8yhGnMJKwr40+OfrijqdmLFbAawsP8clUMayuuUIjFmDwVxqPNFo6T+GB4mE4577wNwEjSqZetRb4QQItZZHgwgjRJJwlJvfaw5vXTEvrdB9frw2O0DpC1hKSz0Juh6Awk1vjeJWl1q9rShJjSfK8n3rqQs5+Ll8McwEf2bfrYyK1blPHgReBIM+7ebUA/RZWNHxtPEsb0KW4FABngYUm/en51U2oyecWY3l9S2Ua+zqgtulacQp5XzuynEkL+o8qFZykgEEAiwuHVEC6yO9p1E2XqAdT/l3sAnQxhiqa8ro4M9TECETVwkmLfvH1YCTG5WXOrHCNZp3GBc8BWKENGUSxoI8YDWXH9ozSJiYBaESjDQ/Oo7f2vi9AROrbsZJgpaqsuXM5rvzBS2vuiLhbRfDG7cmWslDnka7ejRmWwG9rdNNqmCwIi7TREEN9I+SB1GNqLVbaoig/DFw9RmdZ9dnktD9emAqzDMcjV/NakvXVynGHZkmG+R+qmMsvvkuyTBIL9iijZCiv5MG0ZMxWRr+F7mZCFqxlwAuyK+3xkxJBCmpF2XhRVehzkoZ1yLS+nbFGQKtLB+OK2MhfwPO8VxobQLCmJodjTsDg0MqHpCRlY3wDXh9MnB00fjQ1c0qOLQsgkHKxLNQ4vV0yL3uiqPZlZQIBBEKyX89lqbfl/+aJLAnKdiq9sUGUd0iOFrSDJX6EPUpVQPf3toKi2/ayotT0aC54SyE7gls02jkJRpbFx5I2o8nxJip/VQdX3UgAL08Gln7vPIJXNBYP/9y27XrWkW1RcRNrfVe2Nj/eOrjhlFlA225ETIYpNyGJTdGBWr++KbJAJe8z2/tPkqoC1GCh+nqcy/mHmYsezlx85PPBmEjpHk4NXYZztXOdfMEPvncT6F2pjeW4d1y/Ec76QB7KJ4pKczbBLR+etn0tEr4b65vokT8ol5DcGTngK2tRGYV+g2ND9zZyKruRc5t7aevjV/WLz+ah1UckJkwdn6GrVjf2nKIA1uPrZfrNOxpCWgf+Giw2OjppoEWKNnEOo7ThXmZ3XHQ+GwAsw==" title="Mekko Graphics Chart">
            <a:extLst>
              <a:ext uri="{FF2B5EF4-FFF2-40B4-BE49-F238E27FC236}">
                <a16:creationId xmlns:a16="http://schemas.microsoft.com/office/drawing/2014/main" id="{CA11D8EE-2014-1164-AD88-3307CFD6AC00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6394855" y="1639961"/>
            <a:ext cx="2477492" cy="5070122"/>
          </a:xfrm>
          <a:prstGeom prst="rect">
            <a:avLst/>
          </a:prstGeom>
          <a:blipFill>
            <a:blip r:embed="rId22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6ADACD-6925-4DE8-A425-F595D8D8D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0"/>
            <a:ext cx="11526838" cy="876687"/>
          </a:xfrm>
        </p:spPr>
        <p:txBody>
          <a:bodyPr vert="horz"/>
          <a:lstStyle/>
          <a:p>
            <a:r>
              <a:rPr lang="en-US" altLang="en-US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O: </a:t>
            </a:r>
            <a:r>
              <a:rPr lang="en-US" altLang="en-US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ve America brands have opportunity to focus on unbranded terms to unlock the next set of potential customers</a:t>
            </a:r>
            <a:endParaRPr lang="en-US"/>
          </a:p>
        </p:txBody>
      </p:sp>
      <p:sp>
        <p:nvSpPr>
          <p:cNvPr id="24" name="Rectangle 23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z2dD7pS103gZfJ6l4USC3jqtWOPR/ue0umjYEY9KlLthURXCUyUuZbmGDPUXB2idlVQc+R1c0j6vNnMaKvr/AghcgjyTjoGcS2U6lyGcWZbvoYqQsrFJ5DN1RdHsB5gZU4BjQJ6xKwDUEsW8X/QQ4uIPkrhyjIfLLN7ZR3puqzBiN1rMnctBA0J594at1EN5QJYMsPufr2eabAYzIDriNpy1GurybA3KWqcTPRKYh436jQqOHiPaCJtAtzpRgB7Igk7tw7BcBhai66Lc0jpyzFEK/4NRoFF+cso+ThI1HNgDMZbpFoCsJQtilLqk9nQPGX6RXGboCTf8hOOcHaKoTUKF81dro10jOa8Xb8mBGZBE+xk1l9MAy6INl4AKPS/xcz5nAee5NU328meUQl46/WxS7BruOJN4li+dIuWoiAXqr+O8iqJFxUrkzr/HUtQUu86H4PEykD2UwNwIV9mCQsPm8oHb+WbYc0UtlLL09IiODAu90uBx56a/V+Y7BNHPh4mcODGw0jSIEH653OfjKcxSZT+dFxIKUwTiczZBeqTIuXM9lvYZ5AKRQGqF+5QTZghqEI104FPlZjrLG9/2u9c7CuRpOwXzxiwaqjkwkGqxQsbBeVYJvge29o/FMpDWgzXoc4GDvj7p4CfPvGWiRIu+7/drzj35YbHGFV+fCkVoQr/qiFnqPZYHy3872q0FouOgU7Fj4lBNv9ni1v8hLILmVeHrd9YczZm4JH5/PLeE0KWIxl3jHM4FJmzYT3GG41Vn+GL2+FD2rNKMlEHL9aYjbbMZhbe4mTyqpZwXJ54eFzyXno89966lTdnCe/+iQIPKtUmJORn9zkHdIIkCnqs/tcT3xgiXrn5AXvKS+cIEvTpksuiBg1txaci5mHVTxMyopob4iA12TrcZjKV0FfyByKjCjnNzs+yC99Z97ep1gyskd27heaThSgRIlDtmLMrV1BnuLZg7GvTvFuqd+EuLlmJOzoFl4emsRUrKoDLIxQW6d7KVTZK8W03mRwwTG1KfKDyS93YO4Oz8Vyn7SbrWgVbPheq8000YVI8K89XS8HTHzuJh6VmU6oNzs40DeY9NYqyWtBB3p83sJLcYzDUW0BsTLUUTM1X6WPHSp+oiOT2Opxh/W+yx27FJIc9/WdlhFGOiu7j0ZYNFqB2ekX25cCCWci8n0FoFmszToLXlr56C4A6qoVtXjMg0FznvYzZnJGhSDF0NWoaMZ4AuLeunQikPc5rG9MtWHYdztHQUfC/OooZEMwgbQLzB+po+JJHBJgiEQ2F70FuiPS/bWW+2cKO5sBdMDMyonYLdeoHY3/+2vxyfUFRv2ThqLZk/QS56MZROKjdyhfQ/xfZ4FKiYurxaYfbBDUdkaro9H8Kh9rUUcRGIhcc8kaKqXill8x+rKd7tcSZeMLtA6AL2UKudFaahenMNBcCi7ZjuB0epJF3SnWlRUiagJasG7LVI0oOkLqcEnwto+My4gSu3efu/Jz/iNIXY6aTvHSjTfXIXunUg2MQgA8sz+AO1YupVqFXj4TMSzBgojlabwfZ9ZxU+nIOePDjE546Uttr+XR7UpNx/+GT5n5V7JbQUYDcM3lJADf6AfGFaGvlvZrdq0ADYC7wmQxO/evuVMlRU/FiB56WlQ8fwH9U3jEeNEw3mbyv6q2ACMcs7v4OsVEbanoyQYuQqNV3E3me/pErlcMGG+QXzE8SC/gS0hKRpYALleOIqrxC6IPXL+pIpU3V4qfkiSP9jJmsnZlf+hHn1CTA4rrdTl2RQb2IclCJkDCHtN1QG7YbF4zHqBKUsk3nitUMwPkjR1xxHKclkP7n87sV0ib2ednVtXWtgm7Prn6UlG8igAcQxx+wxFspozaixJqdXbmefchJifFQdhTkr5DBBgI+beCat+/DQuCYkBHY/aq+ygjqy5J+df8mU514/olK0JLQzXmrTdfwbCavgjDVsYieqzGOv6JMKucsXaDvCjtyKt4haev1Ab37ep95yi0GTihnHBubq5EG+cnQ7M4jI3D1XoYn6GLMsMk8yhAV/Dm8QvQxsBgsINvn6btpP06RSzo8kOlSxuH6K0K2RWrqKQrrcKk8w399aLZa3tIkSmUpN6RpuNH9Ahai0lwuR5bwm+qHb99Bu3x5uvx2MIAy62QiX4UAxX1GKUoSVJferBshcmVvmls2vVb8RvBaNA+YSRbO58cQBqYJjmEn1ywq8eCy0WM0RAMqn10WCnvntTDkIVVvtd9Caj5gifwb87OhHuBhFsQ22TnBhJQv3qK2m9GdaywJVn8DVKR1A/xwLjcJW9vHYhwC19UBOhUcCpPZpJxt4vFJ1Me7ZMrtxelBye+BGBehEiI/O3q5ELggI99d6n3j4/l/8wOjfOe7Wdn5khl1gdAaj/FJC7RwlThHeC9ULgEYUOz2/C9MyX2+egZKkFei0j7oVl2FnttTxOJ9x4mlq8xJpgpvSe7iZPlp95sHOhmnuqhNT2cz0eDTBKbOjkkpFY0gnneze/83nmCIYh7bm+E4OW6a6yfHGKFgtfWVqMEmzAjNX7IbOSYUzCSRnV+ltfqL2OupEReuaeLOhzBVZzj9XlZWQ9DPSpW8jnRiUnHbWRYPlilIyL7+lFtDH7dIA4M68TSFlR22N6aWwA/yvlDGVN2NeovWk1MWXdc3QstZVG/9AHxzYA6IJIBHvGM4QGbDJy5hIusYksutRIxsjt8hOL+mZEtgYNSvalYm5rnynAnF/FXniYIIfd3Rt2BaBBDmo7Wv2mQoBMSjMCdIvMjDwIcQgAhXqvHvJHJMDt4jF+ZkEP6X+BvUKSLQxZwn2uAFq+Ou3GZm3iNmgdA2aL1L+wsSpEe7mBsNPXEaHkG0D2ajvaVx1S2TObdwAyJLkCbwFkoHNN+dY+Ru1GRk+PeQEfUbuGYbWdJq/jMVRJy/rn4jdr550KLWhq/yAXuscVVIgXMbXrHvy1h4OSPwCVLLJlTHi2a+dZfyP98fODGTVEchRSfukxdzSqaRuOQ0gHHgrJ5t33LV9pCyngf1EP5I768r+ogIjGJfAzhsH6TrzxhIqqh06Ye3ATCIL85U6oWpaRDkx7Bh8ku9eqXbP5hVvXP9fAfMH0q4JP5vs65ucqUmPGRid5OhWdu/cHP9TgPhQ7NRzBAs6Dcd/6jwecninX/9DBeAWpJ+91sDbZ8ndiS6DVHOlpBQyb65Bhh16u9vZM7V/hCQJmqGavHTPvNItUFeZjQ1BNcwDRVRFOIsm5XY8gh0o4c1AIH1bKDSvWxA9A/5qHrubbq9yWddeuu+Qc4jvOwpNi/AriXR6lDQ/xMZI4YcTbBbNvmRp23R4Cdv9iYRfO7F89iTVwnbt4ibtYaPYkiujrBvGeKZfMyLbg1BZGBpsd9gi7LLHCUEJBDNjJp9oWZtyljL5R2w+R3IvGP5hgRyrsPFRRz00/HLiulMMhBTAKIL0uG8S6FKZAUUGYxVJHGF3ExOu6fS4nmS/vBUg96vqt9MVrV9LLB3w+J2dIChGVcZMrHVm7o71ULRK/um9wBj9XUDVwRDqvLxfwtKIGNsrJdAHIE6fa91Oe1qx8cXvpr2LNHVk6RBELO3YycT2DdaPwEv5pf7p9RFSPTUdLvMuFP2FVgAbqaUnBDZjGARIpOa1U6K4b5s3HKoaSFlZxtEZyY+8ou4TbXA6dHCGjlFKBku32ew2GweFSl9i5rZpGxHumfJcfMIhDlfh9X0IC+Q9HMJcAcB4mNBmK0wC5gYrO5Xq1/uTVprikmCLKT0Ssz9AQ+gsVRcnz6f7ebFMfvOOPrZGdSgOtD9WGvsrHuq9KQKn3dTqM0mkOc6QJPURDjE56RKrIu8Q5ZkGqA6+SaAX+xF7ZRQyES3gw0Nhaxl31OpKpk5z8Bm9XAUU9hz9cN4knB5KJuqyol4zXL4CD1ZLZraoHyBs4nrQr2je9up63BxSWAvkIrlTF7i2DmdksKNLYUxWjj2h+d8bR1rqPbzzy9OGKRkUFN17W+Yh1uw9ujXFElXRf+Lm1zgH23tCil3hwhB3apPi2Lxf94AllpH6jVdtbp2tFfKhYkhzC0kHi7dm40E7lsOButnvhluFPHOquoHtaPI4tcAkDSrPZeLWTzlQhUzFgmVng7YJj0+3IdVMKjjoPvIzzVmy1jXu739Mc3rqPrvr3xf7ET0qurpxaTDCTcLNp/Ye8GaWrGrHR/oLPFOzwm2gAd0PA8woNf64fz0TwAK4PBiR3e/8xh7GT1/Bs8rO+Rp2IQBfWEeTrw8jZxeGHp1yuPe+O6HLJn5XFMgl88jT5J6f+XRYYxEhErbwYzixNmR+uNROSvfisIDzY9xfuPwPo8O6ICW17MWWaL9yn0tCPHeXnhe0l4hI2cGv62jG++1J69IB6LiCWY3a0U5BqT04x8gyBrEpzPdtb6lmE1vPA+EWo8x9IVdoO7cYnu/rMM3p4nGoA9TkFEbKx0m4E2VrpgM6MQkpMxCDxUXdMgHqy1geCpuUArlyb4nlEon5W/tsHUyU942DF58HU7YpQpXY1h2Sn0u6kjyz/iPPcvP86VMdpt3e/3RCxbu6dWxDnhjtcI/B2qGgdUJ7OkGRP489+xlTopOFY4lMDVp4SLGoKeIIGJtI2UaPalyfjhweRW0t2qY43AwVliH8PUXQa/Lw5IryrspirO3LSMIaYloDXogv8q5HjAa/V0Gvsw5MAR6N7UBjCPjOXPnrCZe7XDzeEgLmk25/lACXvNTrBIjhruWY4QqOE3Fzfi/c92qqx/b6k1bAcIG6sDj2Ci4+U8VYs61bAAIGkYiMaF5CP8Z+oktqvTdT93hJTnlY1AZ+0l9apVIROBtjgYMIXBuyXvmDPVe/z75oTMrasb+4r2Sea1fR4dGwR0+2reCGh71mm+VL37riI68xDBrRoMITVvZZLlRWAq2ZGt58W/4jClW/2uiG+GwzJhaTGjH2V+3gMZ9PVWmm6o4Boq4U16rd88KWvnxuoTaQXzHqh5znisTII6x3qhsroebc7sHpybh4jYCuXIoTcwhHmYBQdbZnDXbE1tAvDZmDm34HDFpDaqitUqNXq2/IsZRDERn5OULif5GO7Pgu3mPoV73X6D0EjHUOQ1L8LCmWEyantlOetU78/EjDyFLfYcF5Tc/AX4tRUfQm8awNynjrqi6Mc5Tu19EdBiI0pNM+h8/g29lrNhk8vdwEOd/R8y2wDa0e1jVXN66o4L105n+886X0or8BVIpcsEMnAzR9zzRuy5HHSHTFBVOkxrm1yXdsCtRb58JnZb2f6HYNz0W7dLhvfVuiU8qJgWX17oL6FHuG80uZa/MC6HWYPk9DzWwHFjlU8A3c8B+O3c9ST43isZJaY9DFFPAOlc5LRQbUUDnfhwALXgS990PlGJ1odUeSMhe/r5w4ntJqTg27eUoYW+W8sD8Pv2MSo470wUQALCDzPaiyszq+vuvDk6g3d9lasMC98o1yD9FUW8h0W3wQCCU6U/lXESAvge55Lfbzs1rRBrhBIroEr7Lfs1UdylD8ZNKpWinf6ABfmMcLMpOtQrDSLzLQ0ycHDAzvuJQoo66+K6YFXmm5bAhn6Oii97+0oQZ84Ch36UBZm9pkbXfPImyw27xcIJX+HHSuge8G15DztGnqIsHwtgHpy+HrcJuT70igNkHp5q8Tl9Hm5o+NQbHY6M+ECCjlOLrm1wsXLVsTEM6fkAJr+BSa1NILu1PtMqyWCiHbgBNgdJe5k+Yy15GjnP9MReuVdKY0paObQJbV5Y8aLdu1XsKYy2G5YIUkqhMfeSf8WTbjgYBG4fZKvoWqs7E9PAjTqhrIta/brDm8dkIHaNS3kHDTtoUL54ZjsCyApvdm6op5kMbbru8h99P87fePpfaK6y+Ixe69qYLSYnqOm2YPG/zCFEmi+1yvERUXWXcP6gWLaE8HzOUD2jl84ivWWRUvRMomfjdAJqrJZAPqHPwW7Cw+4Qb9pkO10dm/PW7zIvqlDZjVZW6Cdvu6Grm/0rDiO5vRYHgUyKvLmYUqbqs4WmdHvVZtMWDf4HwJWWWZaC4rzqTCWdKQ4AyoDHQ/bFTxgnbLBQoceNvveCgP6PDB16Zx81M4XbDGVSu6C7jZQzsVb/BgbHPFC0BXXTU/RqjNm8bn4pJKatobZYkn488QAIXsSOi8PDkthEXbmbbLF7UdYScgizGLCLd0NgKr92T/oX8YCUYlUBBZHw+vczIOoTIPrYAPhKjfBKISNnxWoqmRaCigCNJr8P+2NaqHDrlCfa4JcaHXy6hFs0+SRO/sf8aWrkFShYFHCCd0ndjMbsyyzQ9F+87Od74kC1B87cKwzBzimoyMVZeQQc+MZCx31FSKg9nDQKGPL6ogg1MlWpTagHSQwyjIYWUcavkU6EGMEnuMdVbS1BHe8qsZuTuLXoQClBnUN8AesRRunPsEQ5mXXHT7aIeSewtyxchuS5Ua7VxPtlRTHFeLA5gF0doQWV5/pxirjLBeKzRb+6CACgeHDpEALE3q5Ss4gLydpizGbUcYsiOLTbgTNXp/ltcIbTDX9ySfdAr5TxlTPZ0IkoRVObUyt1aVeepwxI8UGs7qLbTO0XwYotMmyMbYGI8unXPI2VHd9XM15pbljMtEPNu9hWWB3Yoa2CGdSZuu6GtVNd2NX1J+Pjj4KuvZDdDFatu8yBsJLsIlsU1wenDmBqoUbSvfrEEW1LAGSPHJWIoVHs8zxC7b9XEkgO+QauO/ZRt/XIVjc/m1Df2Gu8ZJPRXEK1+YOpLoG9rjCqcLM40m2puKnjAnSx3xI03aiKgumIixYf3hzNr3V88jG/oZaVqFWRa2OJwl6Cwi3liKf69CamO/Tyo47b7+e7UtjsbyhyafK2SVwRey2fLCt+viT/1GLLz/UcYSyjLL9sxWeQCyFoleBxS5oOhnM0IXbdlDTDoPdBimgg3Qchi10Ri5uEHpyZVxu3IcAAYcXfEKqdbbbYbTOswkx3814vUO6AKJaDZKsPcDRnNd2HlHgFGNVi3R/XeBuLGlgsNBnXltJhRG24n8ASG0xUrajVJmj3+Cn5+6iGgFAhQsZaRsaHTSbhPdx8dV5Iif1XPuLjtosEZxoyn0wUM2q44llHGeDDuXZkThNLWMDhOyB+FgFv/yr5qBbXI1Q6FiPOWfqS7ad3Sukl4QCTPTmGJWj8ApsJ/yumLfnCpJPTQrGmImbo7qGKN3cnilaqtJSdtHZKBmPVU/QhxuXKBx7DCUlgmaGdfNwPxa+wFUz0BLDsColTCPND7aCfhd418Ji2w0ejzodj8p6QFap5DEYuocWeCt9guq+9nvexADg45eruelJVo9ReH7Y6YfFRz78bL+HUeYqWN393TxQtMX8bwlBF5RL8QVccw0kxazlVGOuaB4pZTJ/7aYh/xfBsbgTlUnWfEuEYxDkjP/Eer+IxFVOBT2Rc9XpLqzjSK1vGqjKOJkggNIcSiFYvw4fIbynFwRHZY21jvF/FRB/14I7YY9LCV5oT2YHHzLe44gynwMCL5elGyaJ0MvWWYDx3GVBzNWP5qFA02OrO+H71eC3IAzalCv9pOTRPQWmyK2w9duGIEwWfyVOQgFT4QwX/MOGRbJXh0DN67w6sbDgdx+mvNcgW5Ba2/L2hW5aNV0s/OPfaaymR+bn7ltWRozBJTUC4dTu5YDrep0anfe4S3WCbV2pbXW+gT9A/YcfySwUZzUqY9Uwd61KDVC8Nk53/PllqFZXi0g19md03bRnnCyzupcxeiE8QIW7WBqq4HEz45D9uNIWOrOXwTWXhALZ05wBqdt+OdBe84RWff9/n+6jjmcmzLQglbbo88O12bxFCR2xfVJPpfzt5Q6DkBDoVJcc17XfahN0+YcpVE+BEWdj/5ZgmlEdlqNFBFe2OeSnvGaHqVBwXF+J+EytPMgv7DTd9NW6Mj4ajrhM7EQvGxjC8MbChwVj82Q7G7bV6mwlbfenwC425o4iga7MtnvC8V6TW4tX2fPpMrpNWRNdt7TstTD0eeeJSh81BkXgaxcYZsseZQJ05Cncx5FhIQjC0SxDivk9HLwLGiCXZAgBt4Te2UZWeMCCYRapvp0DGCtScBhAjVlgVR8VDFKFiP3yTb7HVlintUZbH+EC+2lx9LytfIrlxOOugGzyiLriJbbhitYq4l+uaqeCbfmlHL0ImBSJWhscFRNJip3n6xaTJYNc7Sxn/DSzRreCgz7xFfgXw2rDFBa1rozOb2BeAo92Mgbi7QfYU7w8Rc7Nriqh+ZHmnmbuSZb4/m9WVRAlQV60og9+muFwsj6W2WUEKIsd9tzwxFfLU8eOeLMczZ1/yv+PBwR0FdWpbBzI5UY6Yd8RAafaLvbPMz1gN8OoH/+WvlVB6LvMqA3U294eKk34NRvnGF4WILsY61agHBmejbTJXlrSj6glTnbAHBxLg88MwHgYixM8A7gTEgCR8dW42DCXzwdzZAI1XF/drUEE2elZ17hQkvoh9++HOU/B1OHqpLKvDa6vPKLvb6SxDdnc3GYY7w7FZqHWyfTS9iU53irvm5RP+t2tWmrOTiGiu3DsAsGBXcbN9sr9Eddb+RrowT0vMjHY4yPzZWTn/NC+525YFDmF/e2y1ZgrObAQym1CTj+eIjHeNLdI9FzjSgAAiAOjg9DuFeigpz0jUcbJyI9ENyWvt3nDECdKjXjerhR+RTRouLgzWklRIHS4fC9tAyft28DymE/GAvtPa81v+hZyRLMVlRBWasUegXpPOfhKVPMUFK78s1fApOlgc2h7TGridgqB0bruWna0iv12/iou2gAYLwlgUkGtnnVFnvAx3e+hTHlS+CabZLjmgz6znJCTSoubK+IFuQYNOLZnhloeWZgqopSm74r9F9YCXmTicy7ah5Azd11gN3SmsHZnZ5DD87DGZRlTcVDg80f1PNqPh4/nG7lNB1dvUhgkb6OVM2GaNfrJ1hYjxnVWmIGgfJhtZoee5e97xeU1bE/8FZK2bPjDAgWpRggpilE634ex7hCful4qzTs25fNnDOYDLYtG3N4U25WNqBc6ijX/Y7p7/oj8p71v36tbb6VBRowSxn678dQFnRbVeEdCU/AKCvZCDYiAG5fOpwvpL3eNdTUU4sI38dgVF3ntn6Uwsc3ZndCovanm8PlxzmQ9VyljQObEV6zc/vSUYLX++dRzcm7rDnqnJDnvPokHoiHzizzdRRm0cSP0YJ0RBepNiZF7jFAQF7jYM/5461xjaUg6WoTFTLm1EpneJ6b2OVHRLcHG5LEHRub21b1+sltLYpBcSVpfkzAzF1iP7398QMxK0SrL1kDg06CCGqrZt67hsYIe1FqcFkIwpugHkbnKlsc+Lw+KN+jbMEvWzRl4+Y/cymw2NPeBFfaWpyo/oEwiHKqm37gJvLnoYbs62GsvFtHaZFOsFIJ7jiHLTjX1/dKgFsqXiYrXQ0wtgINU6Id6zZAkfkL0X2BxBhx4O64frL6040EqHMk0YWrmbh+Kkyxlqi0Iw99pNpC5DsmFPWBcVfFM+E7T5EgwHMsXvWuc2J+0seaCrX5Wq+7sBmGORAJAuE+RGnwixN5RnN7+uXsDlWvPxiEJDHr1mbCvw/XRDtui4E4/MVOZyAmLqH9euJdVhtCxnQxgtgk9BiCv552wlO8X4gb8ciJBPcf6AH7cLPKjHwFbhBgMT5s9l8HTvZeA7h+TSabJhQMP25B88K8HWtrD4bquhlsuzZCUHTDdCOYarOYVpm/oQCiTE7OI37MZYkMUvjN9xKi8AjDRfDCoOliXsJJAQF44uCxh8uaAXRuNNlpxQla4/iEwB8uIEJ1r34yMHnV+yKdbVlLo8vkqgn+2YrWvOEnL8Tzc+1rsCcWXfDExRF2STjc/3K3K5nISNsxbbDt45vID51Bw40P8lBqfyIOk7tsi7TA0I5ZL7kWIvca/GLPnBUAHluwXwsnaSVh5+1mirbNeFQdSSuA6yKKeEkhz1KXFA3hlLDeowHEi5tf7glm0Wqvzq4xmNdvgrH1JZOw590YZgL5ckqh3Zvx6z96KLyAxzXAJ1FL9ibY204Tl/CwRTUJ0QJT0XpJOjJ/DIPY6wZxiBCc+VyZMY8T2kYT8EhSHtt9PlLmj2Q0/APNQOFh+Hb78sgRqJ7b/TRcc/aZBKlQpNc7XZwbU1OLcuUb4aWbQwYvRhT2dOnbVpnkflfJsvYA1Og36nMFHuE2wAGsqBVhNnHPaqyrUk6Mw+X9cXr+EvToq60tHWzkMK+WK925MtxIOqCNWNADObN4psSS0j4cdEtnpR9GpF1lQEp0KTni9CpMReIDv1VOy/PfLrWGJP0qHkfKqBIJaf07gVMDG4EJNFp/JZXSSYZsTvh+iGCWsv9cOfVWkHwn+BeqaUowQGV8QIKeHmnWooZbQivpm5JtzP81PCQQeIEJXG6VbW6A5l9e41//HLW5+M2Wl0HF31R7kUsaZSTFUC67zyYFfsan8HGut0xpMhv373NYF8QlU2uXeBCmKz/59nfjU+/SnIzzydjd0RguzoMWr35OGRUQJj/S5B96USueEpLUYK+rUJh9T/R0kRFIeO+myWZX/kOqrfodtmbqCPCX6GXXB47Q2t/I7ckKfINLXSmPA8xi4C1MiImvI82/M+u7w26rZlJ5whpFlUlPfThR+CX51qRYDse2zx/xy5chayo+mkw3TMtRbY2gardRrphOl6oBzaGpGdXgIOE6XW/XCeq2bCJChu+cNQfKE/9x1AQCuE6ejkfxGvgDNEiYUCX5s4cigFNEkfbspZ8ySzd5sjhdzBs2Vlg+UKXAbJDV1BR3rKw8LWyWEs1wp7w1CzNeGddlJzAU7NVf7FwYGHlMXN3RRR+7ZYCGu6ebgqlLYuCKe120w609ZcSEi50f7YTthEdIbWHmvvkjPu+tLJpVAqg/wA7NRPkwFmRHXTzStXgZlrWjuaXj69j37EYkvJKKf266MXkZj+TmURWQtAQ8C2JZ5BEi+eDEPBGfZaMFZt9v/gjLEKpzRGGqCAUnxsXrYrhZ8D4xaK6xsrxP4bjbczXamkgQinLqzkt1S6Urx499ghmUEcD2v5eEQqY0JrKzDEUWz6sB716hDch8/yAGYQi0WTxUP07qYXNrlwWlZAN+K3Koem/0c3QaMO+ml9ZqLHJLP77TRAt5PYc+UTnVA/pbDfo2GHbRIAkD7UnizPqXqrKCs2a1kNzziNkYZbkF1GdgUHqwl8u0fzMxZumpATCkbd2cW2kdnfI+rWkrmML1YZ0PrdxaJtQxuePco//el6sOfu7VXRroOLNaEBZFgU4w3RUuJCP/f6Bi0Up+lFlJhGa32Potu7qVF6qXqCwojjBDevqGCD7piwX4+HrFhvXk1+KaKe8/zGQMhyQvxfxOJFoprflX60Gx5Znx2XAYM2e2BOF7+N5IvwLN2h8YK+rU4U7Iwo3D3tIzkDmyYqYCXAgjKfdYJDbF4ByTPRUELux3GqUXAfC8KJWwUAPKtTFblbH/TMYsVuLH53sJDSrj0JHB5vKYUMpCSK2ydb+UzZ5KveCbFToAJR17ETCcf4zMjMUeyf2bi036NiqZvXj8YvkicAcGORpGb97XTWscmlYArn4xN6CmEfG76Hf1qAt9j3W993YDsdEx+YphRYqJ5876Da4AxgVPKJtGe+E+Svc6bw0ON59YXwArXQbYrH2MTk1oguilp39y0o1kaPAM6vJC9bPQynTVege8MNJfnXOBS4RvIQ/2WIfpWEtMV+1nd4WrAIRuXXKXcwfrDCmi8oabE83iq+hpZNbDPedUv29MTVJLaMNQbdmFd36VhkJBHV/t+iArXIkOjvSTv1bjEOuW4CqH4Dx2BvZiIGQKaieg+jXUCMNecFIciW+6wmgppKUU05qnMLs7OIAPMbXQUrkFndbDwHFJL6fX6iNCkzAnQ0zbQTlf8PoItYSgds7VwsFVdgQ1qyuiZ3SmPyfYOV8dnChpLKWUpAi6dDmvOHM/I/dQc0vYzmBfzPyDOFWdCdj9yEr/8dOYI4XVcs08CDsoi/sC4Vkgv48vVvn/VaaGJa377pI1+RS38TDeyY2wzMuu1G27FCUL7TvZf95qxn+lU8tAOfTQeko1cKbh9sFxNaP999uTbKH+4su74DoivAbOpIJJlCO9BKqwZvuF8F2nYK6zxYKYh5g1aQUYKNmug1R1IxA899D5XkNQryux36jmubRX3WmwEspHm+/7HQZaARo8+CJJMD0PYnRr/6YBU0ElCEMG+dW/62nWqzqaTDm8nDewafAvKcDW0G4gEEfxBvrUcKJm3ToDFcQhLkhGHwZFLxk+qCby70En7DLcVla+ql/It/PwW++sDp1HLCrjmO5l/02pxj0O9gyh8mw5QXxaejyrme0nq4bCuk/7jCR7qCD2g65O1+cAn8/pbPA+8EWv/IooiGPIfs1BbOYFdfHJFpnFB92ifYN/IRC4nLTbKcT+el/hvIaMI18+pgfT/oLvXkZvMd5zSSCdyOcxCUxX1sX/ltbQsRoueM60M9VbGOHRHVjI2G4tBpuq8C/lYQ5nmU8BR5qsJV6OKmULqRa8+BQ0d7r1M1+ygPFPINJCGH+NaYjoblYjKAXc2IZ8bQSppCV2BpkpIpdx9TKrenHkiG6j7rpzgxp+YeU/OstoD9iAdEfFWqRnBENk+OTXcrFvXGXzBE1qnmYkpR44ciUHPsvrusaRv7kx7D79Ao0DzlUcBdq+khOvz5bd6JPkf6SlEd5uhS3l3YfEne+CU8VsRdJVSilHjBPp0VaTrxPFlDl8AgbdRJ+Xhc5gd+BhAtHvAVQgp17nxRKKIZrfVjQwEUyqTFS0ZukRGrleqTVLxYD2cmba/QJKQnlc78ZeANB/IEqPHp0GKWPcla3KT3ftXyDyh8dq1s7e/Tfvua42RaQQw1IfYem+lP9GCs5BDlD4Es8l0YaUP1sU1CVE1sNigSFYZEYIXagMTl9q/3yy0u0dGSprW5RK5PZQTaqzutGyr2t4wCDSeitZpweoz2Xsj2pqr7IEGKMLvMuqAnrcUzjqRbclGZd9wN1q6e4GxJBk474vGVSTZwqVVj9v/TA/JFwnTr8xNRD+b1019gxtSA36WfMPOHFuPTM+fqlIqqTod39O9aVA0F9hVfUYl+UMLmzJpSnbD0se/tKvLN+6MWkyGDK32+n3JjvI+V9sBa2/uxr/pU4vNFIsUXP8UvLDb+nwKKoO97trSYuemclIxK+2L7AZ6q/QPA0/Z2/9qMQgP+LPOC5l8vTlS84X/vE3vMa7A0WyH3glNc+Ol84hHkH5w4qDOdgC6Co4oRSOSeKobg4ltHEpLiYE1KxExlQYqqkuJZlauIV7gLd1tJqM9Nic8MSrxrDEqKGED+Yuxll2EEjZAluT7X5lsv9/bgK1Ga4GrdfrnwN1thKCrGzU+Dj5ooyFEWQg7kaDHuvyLRZAkC4FpWNKeErDxdXhBl0T8urdwn8gx1c9cRlfj5+JiXr5ApddvPOIKtqjFNMrfMgVwgww0s6Dv65AqfRa9yUbbdkjIVcKiArikUzA9HJ7nZf6nzRP0wQHiP5ZePpjQFMpAk+Q84PYlDXNgTWt6D0LKE82RtH+akn+2zr98Mi+zotH050wu+VkFB5PV2aQN9zKcRFqhxuvfx80v03X2dotlTqE4X9asQnEUt4TZShX2NfWsenCeumoMnphy0HDS7bIU0rxKtBhrY48c1b1MX98QAyyAblfyQKg4wzU1fe7VvR6Kc9AaxSoUCAWsSbcJly/lcU7AZrlGEz7RA57z5I9TbDBAOB2As7cLMJSSrSUPkGhfaByLs31Jw3IjbmMHknrx5Ymm2EcduZEVn0YvzAsbBeu4guJRN0bW71MycskYs1cctwt5O5txRSVRLu+MyJXyuM0fDa76VfLXgq7Y0/3HsnMo7tKnny9uHBfbGk6gaw+cMOPYAPAaoiDoVSgsr47mECCQNv7Ml0mjVq7Pg0mE8PiCPbrB9Bw41JZ5XwMZO1SrPQENQ8n/d2FJ/ppo1B4Vo+hmwaepBeRtm+g8yH5ZbJ6bKvI9Kv/ypLuEUPhGyjgQyvTPAaC8jRrrKfzTQifCuEa4h25ghkfVGvApymyh35pu+7Qcc2/YrwuPnV76b4TCOO9SeyHwd9f9zyooq3+10Sm+NDZyhiL5yXWxeFCueNeW8qhmnufNMMh0wgwgE3jELCn5fj5+0HaQXThPa1q0M2cfBrY1yCtHXlBU6aQnNDckIhmCT+7joDRry2zNFSLNc0nSq7IvsRNGDxGC86MotoZmpljl/Htj8jA0Nu92xiyDPop/68S5JBXPRcZeIfAkqCNQUnqkOve7ZfxTEm2ky5wezexUDX+Mp5e+ppEFJ+Bh+E5TpBV76wOS3y+Yn6aKA7lvFSC+H6+KpcVylA2AuQ4f0YA90BGAwDkhjphBmJnnIov87x+Fgh4YgKn4HPsPpBzSlsGsZitZmr3NHmMhzMBrdYhfMpsKF6rXaRpUCt/ihqocOfAUe8mQV4n8e7dDsRwElQXZAuJlUa5c4bR57SxqdT5lzq2e15D7078oatalOufgD+FrP6Fhce27MFdqGD6AL/yuCN+p1n625Z26IblN+URN4Ds8yvZd68XC48IQHGMrQLqS8SrqANKWdruSyfHP5Empv801Enq6Z88WvefYlb4isiwyxMJCROyGHISscglBZjRb94SWwwrkWo4NY4lPRe6t6TSJpaU7gIh1SBtXno9xBNJODl+Y4iCMzZPiNhjIRFEx463UXtSquer+VPh4rYXoMCl1+2t+bcwZ0mAIzkRKs+hc9+mOZVD8Agbz0+qPGdurKxq/4lTCjhHkOQ26LJTVo8j4xpDaamSvNhwrUhh3W28mu/bnr191AC6SycVr0HH0nswHViEgzWakfeMCRKnwtL5VFmlMAunD1lltGBwOSmTxRt+pQWoyc58wQghHar1mospJVWxL9kEo07hWFIYwGWQP8dBdr6Ip9GPhatrdcGGZ/aiTXnCWzX/Zt61000D3qJ0KZzDF9xgDheJTsArTi0W3fudjQG/PgYCO2sHQZn+PLnB7JVfwTPwzpibZDGxZ3gA5oTVd0YyqGrdUBqPrghN1OLKHRrM6oY44T11tINbX1QrSENFvAg0qqR+BC0T6qnTJsuXrQaesT1jvLjHd5/J/346tceeBPU/SMZoJ5GOCjAROh06CDt4mFYYs4fZJXzbUKRYqc6vEylucQE9yawIUzlMiGEEvkDXpkYL4CHjKvF1sE2BfD8bSGhNGJENIEC1LIMi6XOqSpBexScfwWgml2o+mJhEC/zK3u+tJaNwtVra8iyxVw+UNL6CSA9cP2hqhl1XDaFlzb6+XHdRMp+8SI8CzyfdcgzB8b29B5l1osUjKV5fPbGsKA9pCVjoAm0o2NuWzhJBlJS0xxH3V0rnnDD/2dtJ8mwDD1OcLfCk0VWAZdkGPnPHeA/PFr1FVxiMHgV6gufdAD9drOG4NIaCGimPKS0WkGSIu9B3DQxzRvUb8IqaaJwjVdU7jxKJ35vtHeZRXvzU+g5D6kPswQE0o1lKpMjwRw2Bf/zafX2QpfWO+nmV8GGd4viHGRhtSpGXXgEcuVZXjIsmiaF1ltGVHw9zZhvnXP+/nr6qvbLbRaLp+DXc2t5tLcK9cjhhhmv1GYEWg/7u7MVbrx+/Nw1Tx5lryZi88VC0cDvQMNZvWiDJ2JbAfa9h1JfUMe8jND8Xy9oa55mUtPGDx7URDK9NdnQgm4rMbK3C9q6z/BvqypLQEhzLQP3dwHi3BeNknPsTfqd4gHo6f/lVRaYTxeiC6L6RfusoIyVv4s4U7404xrTC1EAYAJkoweUbyn1UyQHTGmFttyBIsms99Md/wjj9FHjfD6EnVo/Fw42/dRHvBASlpLyDopGjtgNJT3Tf1hTlcz1FKQbTilnchBVeSVt7nowBO7glg+H59IXazNckVQIfTiCXaFyN+10qY+MPoV/cYa3pZgE04yOM8WQNi460+eLUcdgJMyz232365o+DjuMjhKEVNAPTH1i0mctXfny1251v884SIN1dn5dmdeSjAd6UnCDT1irMQ9abNMixMN0R0dlpqGHJr8dh6qVxw0WvUIhhz8/kCjoh8BC0dfNEpXtw1lOVuTU56WWnGtmYofpY0XYZ8YPIZvsvpoLdZBOmMEWn/rRZgChYjQQtHqHs9gUzbBx9TzcQ23RHu8wpcBfpWzJgrUAaFmJRDC46Tcl1Dw4CkIbR8EZgHCaE3ayFVzIvgnn5HhcZJZKYl9lI7Ft1TBxMTOURBCaDVtPynZDXREi8tPmEnHE9VNtKsXOrDVmS+TsrY1QGPX7eDhiQ91xeluL9G1Dg810TzJ845gPeJBT2W15RwFfJfNuYEEy4FwK1CObbfdjuiMobeahz83JUEXl17NfJHnG2yxH20Jgdpp39AZj8SYHq74x0HIGTAsbRCmPdfT/61GKVFKYndQkxNDIVWYZKa5l/XC+R0eN9KynfodTCbpmQ/L2yRSLBDz2Lh+3qWiuBdXgDuzFHU5ybGb/xR+NboMaNGxn5fKQc8yCXSQZVlNyoJciGnOr9H+pz9G/M3MVMo9EPTVwcgUj/Bo71HKev3VgOVnROToSOTQ/+6Y5LEvZL2AuOobf81GHRRXU47urUvZqX6hQZxgZSz9BnsUt9fi/XYUIaG06ELlaN6bmVYWbd3n6ImeongCDxzc4pA304f5kVpF0FjHlrvjmIy4gTCF09x8bpNE9GBdB5855T57Cg27c/RMHi2MCvDTkx+gTMMmGIbPRAKrf8b0m0C3/wZy5HEjdTP5Gx9/F0rlAVTT9K0E/ltYY8TjKOt1WC001lzbMUsWGCZZnKnucH289Pg+18ybWlUIgqcgNnfnaUM/SrDCKUCJ7AeF+U3iIRxblZCeINXD1gjm8dUuIbI0/XBRiNP+h2dMxWUa3hGkbo9V9+XKQBa5YiUHHXbs794lalyy5+1t8ZYNaxIGg6apqUQr0B+xDU7IIYrdlejIbjWkPdrN8653bHZRiPOXCNl1y3fTV8mWgteP5Mx5xF3ss5Nf9ix9jlKfXqKHFv8GdQYakStka/u2zfyyujn3iGnkNQePrB8bhROvYZUW5lFS4wHxjEwO3Op3TmwLmYMb8PM0kKSrxsgZN9KQkFeGJ5nM4s/jamhGLlxryDYKHuodKw+sp27ZzSX/RQICQoSu5ZH6fxCauw+YsditPvADDhJGrkxZHj7dQHW9rKZ4SfkhfAFQY3qeiFEogSir0+7zlXndFFZM7k7fVKiMoFP/0TkGyVFx3FmxjObWOFvfZOYBC2CeQBxp7/sZRGCdgP/3d59P2UrwLngpuH7qFC4mUIt0UNKPsKEe2W85kW+2uasNOGVnahYnRJoBxus8n1lDPSYg9tz+YFIkRDlfECGHeVVg5nLSyiPhnZ9swa/uv8XJd72c9iyKbX7qdGIawjzXnW3he+QMs9WNirmtvGloYKtHo9S/Yj06jv8i59bfiTPLKgrwKYbShSqQdf5RLVITsd/Dz2i98F1aFNRo2AhJr97Rk7BsLIclyzctEl9T8zZFkNJtOU0qd2klYUZibrDkYo3nDTW9kk7sPwfKce7E3uzgepZHnVmhUgBLcQ1jpK8oUlUi1gr8y1I2GbNeqI9Yd7lMdBSA8n3jDfB79IFUmDUB0BqXw380Fz8yNPPJd0LiHU9aFKm1KHcUilMQcMyXLb4iJ+F/keDxt7yFN9oO77hT+CyC73ytO1XW+Jfy+gZl91TlMPoraDlGZDpL0j68Ste97CXTlpjVjq/iYfJ6NjpYGkmA7ejzgJljD0L4ndV1xFp3CbAil8iQzc2O5oWMS6Lvf7HcByFV+UnfSpBelCDo2yrPaDr3ennJ+dmG7H3UWg/S41zrQVQUWRPAzAxD+mpLB5IHO2d4pN+UO9cL9dUgYjs/NeVFSEPwbifxgpuxftGwvdL7sAWj7HlN4pTsqSSnEDo0RcHS94W8dfT+r4yrHL4nqHHe9ovRdoUTFj15B9JgFQgcMTFpDUej+gV3lo7MNLsirTUUwlbw4859V1NPK8ABVtVzgBDpoJTi1hXf2jK1sCwrmWWipTUiELGEihkN3jCgaUhOg9qrr7vLdJHTSp5r97V/450LKPrwmPKPI/kTLz1ibG15mvZ6qmj8mK5DLspvQEECps/HAdZ/pBneMkM4qNNVXllHwH29BqcPMgRalMSQwB60AFkKmlgRbM1rQufKgiNsVOSjxMic0KfwgVo+AE06Z87N2wWQdEMYQyxc7aGhAtkHJB4VvupD2iMx+8eFokf2p3ihuVfBieDkT5njJ/CbpG8dCCzw+T0BaQ9le4+utMBZkeKjYOv489L0mgRB2zj2pd9/XTzVCAz0zJVzOrtNMESOCbvyS/RQtCnrnPeOx1jXxT8uCGWxxrlXtOqC0wJ50ckil+aoOf87gDeB9u8ot1FMwm0YCC5/6ZLNL6n/8qnLeyaMzvXD6RHVGo7YSh+BgAW5DG7EQS1x0WLd9cq3Y9JoklSKeFXC7MCG+KK0jTShX+R/+jv12QmZx75oFwkjgj+3JQePFUyRwo6IBmhcCHtRqxCk2rTZEn9qCq35BbR2VeOvMlDs9yH71K3rMrKUFwr3Ds2kou0y6JwK9n4rOCgciLZWZa38Te7SX+IOC0OwhzBkbdedJuZqPPASR8SofJVQxPOyN/X24emtSQdcti1CIGb3HLX8mQRajgNah6caNSqAZBUp6vkWK1o9JeSc+eH+8gmeL8tyiImz/8IQjwkPTms9QZPFX0x9PZ2yvty6CuksNAhemqpA8pY09NCINyOTwjm3Q/07CGZTOb+83MT3xeuIvbykEt1L2wiYo+M/GxxdaXst4c1KjShsyLWH/nT9UNR8CrZsO/45j0xp9RugdPN5BNqE9ZJTYE3JYSoVhMl0OpZJ2q70oIvYkmmvGGOUaGjwvlOVJsXLI7Vx5zLm+0muyfS7S6KYrcLfmmsQf+al9OgP2b/cWPh8KYRj+Oo5QbNWfI+BeHY8iN/p8unS4pnIZqCn9N2/CSsBBmBqPR8/2+Y+9G/+qc1Z55PLQxeqtaz1OWwIQYcCTBEzH/pGXXjqDj8i0Sv0SIzvApjZbmUSYiAxC3FwsW4p2+Y2G0x+kp4cU7ieYvQxZbn/KhkOjotaeNlCMB5p+i28Zk8BrYxfkk5x30Vnc+16mmUoo/aV8cfRqFMZwAn//zj2ce93E/yP+3TDzPzg2HAjG75XnHt88YHo5Z0ee0DcebASPnB6o9b1OAJKz4v9Ecn3Q424bEtIpP08SjeDCJ+GXQncJgEjWsYQn7Kg789dUY1pgGzsjEcDmpICOBWwxVUzHbAI18Qch1Tz9gkb1KJUJ9G61Jb0r6+vUnVLrAHQqVWYQ6tTugzLHDxQ6tSb1AxwfxpOSjUYfcVzGb9J0s0QH1PXizgSZbTA2Lu6KP9ov0+VqsfsVmYk7kI0+GLxXqSH0n0tYToJjSRfE1qbGk13E3/8JFcJF/pF1o9hSpwP6mK9luxBPqADun8f9Lgzp3IcXCfC0tlUdDEOp+pOCt7z4fbvTwxmjYROw4sq8eUPX/TPqDXd2vOxhe0kziTj42WhGrTNSLdd8s78wfGzhmN03iR/ZJ7XoU6Lu8jTizy9YHiNb5wiurgb1vojLxREuXq+m/eutiByj8bWRxdUqYLi1eQhjBgu2DUBGwL1awlHchMt22ocw5LfDN5HcZ5roiJkHI4/g7wD8lzWf4FcG1MbwVD89gXHVmrulGQ1ccplS3CwbdIMZFVcq9BloivkymTWsiBdmTjIUVh6CHtMryVmL9FwWXvgLrao1k+U4gYrxCRxSS/DLdxJxl+CgzHZuJCmtSa/iBqmaZk6CUP1Fck/ULqCNC8BVdGObRErJLF7z4MwVe7ObVaKW99MIkKzc6ALeEAZU4RDl1Eoqg9/e7Y7JfcQwreu4+OW8pgO74gsfGNNc0+eWV+tYt2fMxEkuKLfRwFvZK07Iu/4fc4JVGIPcwPbCCcDaRbvbH7L5mgIDuNZMAmoWanO44yWglIgqy156NTyiDrnvki02Rptx3YflVLIh9yq55mTb8NYzWGw2sjsQ2wR/gUtoLf98pU98pz3p96um1I+1QLhKm8GesQe7vRwke/wSpLOf+nrUKGMJqbP3uePLtkfyTxESF1JGv87mtPmZ1ZX6KGkOUptjIyAKFzIGcyK7nbK0jgQK2UpZ9goAAE3FAm2kfs6sWA87ntV1QV/BS5338n81k9/E9bFCJVKad447+24S84UynhTXr7x4VKUIlktACzD9OSTKWPgwyqsVVtmoKMnrWypeOvlr/Ygfro2MT/m6OAMqakp9GsXj2BJm1qqTr5uJ8yh7G7lgVESJcS9idLCH18+Tpq9a5agfS7UgsvNnT1asESFyScAK7dYmzThN87JaO05Y0eID8rx10Uo57Ra1+rFupD/tLhV0hHsJjuXSuzuSx1evC+FNlpR50tt1apIWi6HTjYxK2VybFw5zYfs9t69Nx5ZgQBaqm7KNmZ3/b36g08QPbJiEuJ3SwtiQBoVVGTTlqEufu0AgQb9nKcj7yMtlvRnjUlyfQ+lrP4BGLy6zry6KAOOxnxC/7yCQjoNLqdNYyZ1Dj8pXH92qAg6bOztNjS85WTHLIXz4y2B28GpjZPElwBAO8CLhJU5hBnQp4G3VFkN2Ycb5z8WyEbUDKBHOgopOG71zTQuMYBmuUY/3oJ3oeBrtAJuYoHAx+DEcyMRVOVDhmRHRj9Aul75t3q18jPiAZxy5UwIUZ8qELIV0DW218eUpL8XidNY+0kiBCVNu128rIyi+4pUzYdayTe8txFQo9BcaXH6U1k4uzwMiIcxQTZfYILCrZeRCi3GUzjurdoyP8TYoCwKZcy5JEOXvd21yvTBMfqhR4plpMwhMWerMpmVT2J/9SJwZAI5igpGlnxhs/dYc0lTB4eMKGkxHah3mE21vNTBON7BTN1qW40YIv30aLbGfYzUXzCLfyrFesVgmVJzwaK/yENAPu1QUHzBrZvN5Od1lIzQuNt0rjoyMdI1uL5Qpc21wUF2X+l4FLaNAxlYctOfY44tbmrqJ2FMBIXoTiQuZ1i914CfAm0VgyqD6hW+WngcBx+ik/Rsjimib7+bRYeW8gm8N1E3hezTjO6u2Mtextv+5DWyCmfBaa8Q2HQDVZpvfJepCG8VFpafxaFeFKPy1i/6WqCEZwqC5p/iXa6y1P8Q2H4LwU/rZV2hsvHfHvU6bSqFGVZN7+WYYml6KDC3kwkb0w9uHZukGv1YdN4r37j7P0exM8+bfjVXBN2vP+cB5dOj00g4NjlZn9ZUNllLPenaXO7ksEcXmto+STVi26PD84zVvuSXcEw+Fz2VHbg/alwJ4wA7bBSnLl7kQ7tpv5HEtGoyhvwathqyVDmSGflBrtLY5/pRzHLeKi8PZPwmPn6U4GE4TZcL3HUShQgSo3W9NjOU4M4ZtMQE+MLuuUIhL2ahEjbRvfqeoVHT2TZEluZEoOnAzt5tAMoYz+qGZDgSuwPicTmpE+iJuqXJ7aUwIfVGyv1fIpHo0tLD3gpVLb8gjuhOZ0rzlZAZIltL0hd1sk0cp0mSaRTsDc3RF/1lkYH5Ce/tHbV5RjbnUXiHJmbpo2ZIsdeQMlaEI1nnVVhy2le0YDIWUbwQKBMh4vQEZFfo7Sd7HI+ELJ9tB6R45Y3JYDRB28+VvlriK7NQSeZWz5gcEvyonCYTd89ZrWMBiDMMtldf4U1IQ+W8BNP3aa2Ui1bd2RdM2lVHesSBa4I6z/bZ77AnLeq105OWLWkSKwjlOnMbQd8ZPuhpCltaHAKCrgA5TmH5jzM1yFYDZ8a3+VbXrrH1XqozvhoSjMYKCATcDMGGLdG0cuzqieqKiTpu8yzSa0WSrHzsqg+IadBLsz1DMf3G6yzyByTmmDuV+ObO0tMIGHTckaLJXUNIf1PUflOwQ6j7pWD4C0nlWbNLaAO48t87TOJcs9vJ+pJr6O/I8W55ckPmk/4d83fco3Q7dzB81gd/R8AnERUVOzbIUmGcq+iZ3joVszfdC4bXrEZCwfSraAEuvctH8MnB4ScASqCRR0s3fCkH4Ah+Gjcjb7YD+Q1FSOYQ1rdboR9QXYa5NPRZy2nm9PDl6WLbItVVIx1SjyO9eatpDXeJcSqww9fxJFQf7ARPiq7iIIJJJOr/MCaZctPiINO3xiqaiOwDMv/co5NotIOjRrwsjX/px3+XVxqI6H7plOnvCNbgwG0/rPGqcBNudVKeKh1uQOu4A3cxfTeOS8SM/YzXc/f9TL6ZGdRTquzCaHTj3LApZCujXHLaYlkumHSTrHWaoDJfuD8zgc0bU2vDj4r3xBJpdqJwGjPJ1sTuHhkM8lX5aNCRnztfbNYmhu5nPgzR35Ko6flTmeYURh4dkbxMnMs0e4vO30Yew4kaJBaAMAkbHLNXTnoUMxdTfQIjP3cGoDh3Bo3v3MaslrfXeqfvPhCiIpO4M5eLFRiqXxD/b2X1x4pAwx4OA7YE/1u+Hfx88uA/QbiZc9NHwC8Irc9Wyl1/a0Bk8SN2U4uYqVjiVyfSTXXqBcSlxSeBu+VHbcrvWzJ8qd51t3JHKuGasUbi43ZRGVNZgkTsWdB54ITDFgAb4BIbG0P+JCHyt/z/2s9SV7+Dwe32wMAYkisiokjZtxBNY/RdEpu6R5CAgNzpZmO6Vi+dV31snCV/fRxqiDqcUdtcskowy+NLPjuIgXI73+4SDlTpZ67h/occdQ5oeGnX2OBI8iHS7rUSHQ7D/ohTK+Zedal2iQji8ISdX5Br9V8/gSfj1zMo8JRyDAZV+CWN9uMt6++vi781ijDIQq2mTdeYeurK2bAvoYf72KZQ6LyieLEzYqW62KzIrXlQoZabztj5tya3Kc+kfO6oa7i3SbArZFz+SUKkYA5Y6cKne3DzEvrK1kT7Gl5KTnrw5U85rqOYlqo5erNOB8zDEde384E5h0O32EhDuIHrpreiAP3BmCFnWAPF/99hVxCYaLDmTrkN+BaJ7NKe7k77qSLgiBQQCmqYhmJzPJ5lXt9QE8JpAjCmDePQkAOJjKjz/dK60rP1MAIIQo+EyXYk+cJJ9PWEesVGNGs5Zg/V71s1zekN2/OmrkBEFiG3lFYcobRkt59JC71/kJPb711xSNIlRLiwQ2uXD3mfsBagps/8OCSL2OGZwGZu0YDk8zsBHb2pViJEGxDtfrH8H/DCTXTWhFSPMYohRWNq7gTz1ve3KfsTMSVlRXQqDkxk07e0+WARFf52iXBaY90lUxzkqI6PkyGHm8EqponaLh3zYNY4pZhM1Mg/L6FxsbSpTuvLiroudIrqyigYcctwk8aCy1g6Stp4o2hikMaFk3B52WIUoAdup4INWahvjiPMZ5ly/pekkwiml9NYI77oXt+MQ4w0/QHlcqj2NFvdstFW/WOOIpRCmR+hjqG7/Jy26oWb+ejiTlD6LwvdXEe9Q5/FMdiOFMiv+/PFLcig5Kb7Yf+m3ulhemrPqzMi2SoP2zSLJVVFPiDYw1kYG7moqHgYqpeyZZ/VpPVeJUaWHhfWE1KkEhxcqO76T1MICMx2wX3oAPuYdYOfn+y/147LYA8jSf/rP6WuupcyBajBQNBfpitlngMmLD5JWcBHueMo3AaRb7u8O6xBE7RrqRRVVeBax3BXqxwtD9Dq7g31Y7B71OKh5BoxFJ7vjxIhGzqM8tPBO/3yvcGyNfd51xAjLji5rHRFdpFyIhRCTPzSFEIYMuXKADYDMCnmYtYFDcMhxeBXRDXXsSsRZpyMq9WURuMSvcBpYsBHWI2OLYqOz+02OUrAEmpLARAsGDyRCC+vpDuPjpKkNu7fPjMC/JpUM4Z+DmmVULvJPre7ry+aQN8DSMsARBqKzneUtP7uHtWhmUSKvnr91M40lfdiUaDohu12v9EIRTwYroNgGrszb6ggk0zPZvUxloIWotfVSQHwQL4xSWwcE7936bwwP6/7KnAV5KXI6NvRUorb5aXvaZ/iADUkp60/2AELCwioL3Wx3weU5VDGhZ6lHPlEuuWw5HXLk94emwUd87qdLDor8+fq5/89TWKrSnZF6qAUfpdre5Lql5sll8dJB867yvAsxkHoxmxmpkIjJpawc4p6w02gGH20/GNRit/+sl1ROcpKxqcHhFlPavpG+5novui3JgybkLiV/Hu3FC0kDHWfcLmr2nPdavavBTfIojr+/a3y8Go0i5Io7xGDi38m5XIa8GwcejYwL6vMHh3+5yewR66/lwb32T40HBZqxom0evvfCX/sZ1OxJbVUyEFOJkyPs0BEDKJlGBUkjy7W34s2dPike0O4NVEalNyLwOE4FIGftDnie1qthJprp40pV6JXxQAdHWMtFnzNPSSfGZEmvLCSCilgu8JzzlUFhsaCXpVyD27RQkxBGM6NmwFCVzAfd1ovtti81y8pmnRW4PB29o0mL9NZs0YJi1Ls0b5W7l9PvU1K9jnlarglhBjcynSWUAI3ZwDECZDmsauFTRgvjU0IlS4ARai4shhbp5rU8qZls1Zcfi5unPozbW/jndT/kUlPehGSv9uL/GlPW9foXef6g/fpmg4g8hqAuL4YT4vRCq96Q+hfL9tf9mlj0OndmNlcUY7zRyoBK4uImaHzb0smK+Ui6IFrFmFFW1O+4fLmKQVuHuFFqp9v5bh+R7jwdjRjJUd43BC6/lwKcatpX+s5/N+VfCZPaSB+POs63TkLc1sbZD2u1zRmF2aHglwXs4csxZWU/k0drj5PiOBzSfRUES8U3QfYINYOzhp4HRn6b6CqmfO/h4OtBCX9hDnUd0PFxIZpgUAeTDLvznit/Fe2WlGBJWoDFdHcO3e1PU9Dj/pj/b3YudRn9P0S/Xgm+ZCQjzUP2jF2RXAxm4RMM5vAGUDEirjZXmsBcAMWm7ESWGRUA7lmssIHbQ7ZzXVSmXb0DRseqhIVwymInqgr6CZ/eTAdoOLwpmM8Ep39OU/jaYHweJLiXBc4eOg3UtP08gcjdgJgzFo0AkiU/NFItFEiajVClw6caWeG7AiiGiayEZwh5TkMJkmqq8CZTETibYuS6v6b6GpH1tTP+gRyJR6+jDS22CciEQdzSP2c5u2P23boKz1IiJPofb9vywU/1z/HlHrSXHJpfJ9RC4clEY7GEGmbcmnreKo2gXRX5nwudBJd6rtdWc4HxCJ93qih/hcCz4mU1oIXIhBrnh6JFQOpR2L5LC2j81FzXWF2fPh1KoKZ0c6UwzrtCaVEMSKbtgHKg7so5kHx2ZR+Oe9J3vF5P9PQa0e5Zn+HSu2vSW8DwNNaXKshbj3aCqvZNgaCFyqqn3G/Ebd4EOgBTQZffSkCU6DnrfLsysLtJuEhUOES602fzR2m7/g4qS9ld7x48wUgn/7jjPNgkx9fqa0TKuN6TQeRagDbGahjePFfAD9nHiCChYv31isJDTaHihb6P43c2pyO13xeBS6gNrd4IN+f/5rb91nd3mHibM+8SA4kM0GZpi2tJZpYzGGaAwg5oHp1pNRrijXsvZAx1ne7dtd6JotCy9xRp05jfmZCmx1goxZ2mzA0Vb6DAnq8zRK7aU2h50UiMowyUabEAlMHheUSIF8LX68OABO5/K4i0bTE7l+yDrN0tG2V4yy+jiLhPcGoBlfeewhA6WMI1i2QAPgnxR14ecWId2gyvEZRO5dmiXZ6hBZcjqYQBZ51oHC9MEHGwz1QtkDT/BaQaZ1RQPqjkWh+VmYxmnCR3iiuiA+o8QlhcCVIi3lGYZrjOuPLYEqmuXnIh73tXAN2bi9J2t4r2CFSiNmWnmMVEdhK+/TfQl87Gjvh6GCUBJijyDzxD2A6/HEOVyASuDiCPGMY7wG/tYpHQ+9Buk3mgV8qRQIzea8w+Bsve9sUnmy+rs3jbhSdSxPW3QNt+2lhAYKgJucqmq5jkMQ1t2gYV85tH/aoyw3GiCUvDoeTPNWgf9ypLUcEsakDF8q2RUnSCyzF2oaP9kPQ9Fw+daFk1SdSvjuRa+cJ47i6JU1m/T0WnUFS3vkQ2ooedwVMw8CN7+Z52YBlbcp3zItJwM68Z+dVsoeQSu6C8Y98lZ9TIi71BvVoI5Qt0pX8gZSsgPb6H4derxtNnNYCzXlP+WXu9Z1vMFbZuc4WHYKVc3InD6U984FBkSkdhqodPKdMXhgGvISd5MPxAsx1Q3tdc2mOPfztNwS45qhuTXhNfCheSKyQ+FhfrinMC8Ib+06gJ24r+2Ibepuu/T3anVfROgBNGTQeneBMJdpbw3Q4/Y9czHRyC5dCNttom0KxMptwmvpF7QOQpTb2LlvRZR/s+c21TKd+/MVlqDQo1ZxQAmULVve3kODHTylFB/vCPAbT+gF4/SUmyhyf47peiAdTbwVZHYVLobz7I1jPKi54EXZvLDLhTKU8AsjSYW6BEHEOHXEHo+iOL3RIVR96trpfvWLKsMkmEGPNjrAPRupNRUzk/RP6rHznmPv8r+m2aYFkMvIWSdxP9l08AuWdfq7ckzoRr1SliQai9pJIw1Lyx4PBVMOtQsLa3vEql6fM6Eyi8XqrC0kOsqila05SW99D4VAiA43w5DYj2WyzH7NC59+PKLiQ4H7R42b2c2Ot8eShIZcR40ca0YiIgwondJ3qldqL1PRyCBNj+GX0XF961vSRPH0QeLjqURu2rbLsYLfHoIPkRLuf0vaOd3pqONdb1N5q90krgBKp6JrsdojuI4hLUsxcmd2IoKlYvqPhH4WJ1ygF+/gI+NT+9/b+1femuKjFeOVbgRgDyh9/UrFipl81GYH5Nr/AtcVuQXHLImXPciZEgtb87zBuefwuPpoDYFfsQmDQg259LFXCUvOdPBPHLv3d2IxGAXZ4ZPX6CK1sp7tEgmkan20jobNv2JiBLy4S/otaFnXzert6lBlU52fWR+Er9zLLByiFfBq3TGil+j/6oJJkrdS0wu4Ww9uPw4MYfBbedsUzi80L9yWthKpLNZU9oaJzINbGWSpxmgwun+2Ew9t39uFdFWgykrHbMmf5Zw5QqErVhiqlB5K9WHDXwmuf1KNuZEHJjwouZ09JGRjUbOHUJavpERne2as9ik1UUmhSm80mw+JF25+F30KUqPyGMcdj/uwtUiuS3TFeGo+RioPObTRqSMtVyQ0GZqbbvkgrMh0InUw4f3V3iVr1EYZmDYqvfs2qR+8CnXFuZx8WN5wyqWEOCjpqadmnc8in0+2seMLVFJMIp0khUfNvE2vrd8PV5eNebFK9fFxAk6RTP4g03Zs+2YtTalSRUDJRLWXx9K0Ik+31DuFmJ1W2W8rd0fHI2uNfVuw/iIiklj6aOyilqXxd71Umn+7sGpWb/jtosg/nbBQClSjkVi4+YYFDUku7MSd0gQHIQkyn3TMdYCgEU7K1swKLWHt5LpGq1u78OR/UiFuQur6GwYte51Gc7j0U+7YW7xDlh3g++NIeyDGZCVEXT1tZ+lGY24VgfiJPiadvfxldrk4ASpvDJRVP+MKrm/GHt5g/lofEnv4WVmSl0+dwIFFGwvxLiJZdakKLDHQ5dCTPzCtIrkshmxUj/UY8e0aCLToYpZVWCxQFcSjp250phYWAKiQRs+YhFWGCLcwdanx0txfHq/NDQm5R2fWWJkWYSTJv82sRjSnEWGO4bsAYaKltEHHaXsluPOJuTOk8EeSd6ZhJKKo+3Jb4aokBd4+FcSheWX9Rc+U7YEBS3PVNz70Zhdi5Ypgk6O8yfusW+158nR/s7ZZyyPxqnMwMY/e4xAv1XgGddfATHhXBrXqo06qM9kU6rksJ4z/nYMJ8Xx5feexvie2zsbRLbTsrL8Y5tk2kZxX/e6KaFfbpjZVpvz1fG0jSQ4kATHA1fvWTr11NghuxP1i0Zz+Od32mFebH5TPnWzL8LKPvfL6Pgsr0E+5UdE/i4jMlqbXDt+lEBvJmCG6/wE8b3VcncQyNbDq1MZ7xv+aLO5dqNze8+FWky2fjfh/dfRvoyaXLMInKu1RyKVBiNWWVLKiWeF2IgbnpR6egk21wUo7e4mop8LGd4AZcgVooovGZbPKxgkVBwEeDYCPpFIEdFYuL/GeDP37Kaap/whl3hsXOsKOq1nUfyM9sAEt/480lUY59glR+ibLaAITJQDL13LgKZOiV4UlKt2VOuzbiSas1cp6JBmkl2vrVm4yityyFLA+glc2hVvQ/MdAbjc12l6cXkjdCHDey6suT9hpxzHHm9XsJHNYe55DNpJcj/40kzOYMNUA0KzTuAMqB1hB6Ji06Rg7PzU9e1tty4YozDs4OgxdY4jPOzcXJgWoZW9VBPrafFki8VOsH+Tx54be5LwFvXv2NM3mVCvLRs5AyiJGKb5G5WDhd26rnGeASkpVN37Wrxr0PK/qJBe6J/It6vessrzPT4rb1YLq/Fy/XAf0uptBlHkECiE+Cdf2tRk6yxUioM8eMHuZTEcTbdANUn8keqei7KT3SkmOCK/YmqZeo/+Z6d3ys1gDm9tHHdsXkVbdxsc1UluOMzttUeU1ANTNoRTItlbUdjX8ullX1RM93husWdy/OTNa9li1l96IPx/l66SLRX1hTAgFtqS1rBgiONMP9Q+MVK1oPuMyOSH5HG13s8D9kw51lzxT0gWZkTDnsopZl7vqp+SEg7Rn4hhOsUNr9zGSnLNHtNISd2MZeSrpf4PqkTrUyPNb+7VTcjQ5GDRIxy//zm3CzgENc+LIa6NoPRoWgYDNxYaTQgNHjyxRqh452KGdIKFBnMPEsNzG5IUlrjiot+1xqGWMzjEWfqyYroKcCgXotWJLjprIcVkB95HCY7/1/V10IFI1rcCQunnJ/1g3/fcGLKnL/Qd2/F7go3ZDH6IMlZ6dOLJLnmFL2G+xbssde7+HzoXdM/wIqX4u3ghJGr+hLS9g5Yfs6k/lyEsDhqpgp/x7B8helUtfnsuMnSqsACuHiquK0yScsWPnZ0GStJhEwUDAWGghtamxw8mO7mh4ozPmWoFqM2qyJr5cHm4//Fm1Ia+D4WgGNJoSVAaVwfcZXvi8hvAqDJWJhyheqMGn+R3+y/CU+SRaxEhR5SJr4UfkVwlD1T/pkUPhuCYOAwpVRZkzagybMQbkAfzp6PqA8qZdJYkbu92dx6R6awo58RjwpKfsHx0/X8g1s2czBxvPPtIaBPsDtMRpWFeT0TbS5FvQrLZlqXTnI/ORwP7R4954uHbnApf1d5jrvqeUDFdrQcj0etjok2VAmZynFcWr964VA5mIm3RJAGQ8or7ANW4ZqC2TUVyATDAxnRmdGJj2tXnsuKqH/d5n7ECvkCgfTWOj+V9K5e85vo5DqD3QgmJBAw6UoAuRkGv1Z5yH4HEZXJCSqkzdYObTSJ2Q51PY4ys7s0FGZqV6nHlomd953h9CptKjNKQyXH82jlpJZYuRb2n3JgmOLvBxsKVoiQyTr+e7oY+O+xU31l/Trr8f7BwVS1wkmwuQHXibN6a+VwtJ9D2ofQQzRtN6ZPDW1+NoYazUQQVr2e5g7db4li+NVEGh0HGDTlTdS3eqLm2dzqJhMHs/MklqOGo4wigQIJdgcwfXO22GQ8w03NxmMnq1k46W959bOzThHqXEqzNnA5zXsdO0VWWJ2UZgdhDT4k1pclwW7ngr7LeT42IkhlLtqDHPjLW3hZDukGPvrK9oP5ZaVVA015QkTaOdugCFvgq9LrJpyJXc2ZGk3LJMY7mh7Vy3/tCRlKoS6gqI6C0gnrm1kjzvrm28AgfYYR4a1IW96jEzh3rE2w+0PdTfDOvoL0IxMogsC/zooSVegIxelr2T6JRkFAAUdVtMGIUDon2URyb0YwCwnU7fqgYUk962bkvAgGdm9PectcUR7j4dWzYEBlHu1nxT2b1PdnkrmYSfCQiLKPB7IidT10rwoamvboSMGPGwF6en5b3I/QQ+D88RqVRAZM96+VmWgh6VHJK+0p8E4zteox8mynSmDM0bMJFlzrapKIXWIb86DOBbUlY2q3RdKiofEK42YWuVWFCZTj6wEhBHWuXzVPn+6l7y9Y2T7srKB0+ddJ1jTC9G9uDxCDb4trceki4uN2m/Ku+8fEDuL5O0fbBS6xQL9bUpnkOWnJf02nTCmaFaYOA/uN+6J0sSygd1STOflOsatrFFoRPpxxW4xppY4F39E1MpROaFhpiAgkN9dtoNHU2MtZuCbE606TkzGsPBkHUKCawbqnsp7kH+NZmHsAip+yQfXmGfENxYdJ4AAQRtfJQKib7wVeUSxTOqUcOeSq4NZQsohtcVOdfkYRoNU0BY9kxoX9oQASbJN+v1koywkXlf2jBKtxhNKw7pc8sPhN1BF5s5fLe02F2DB67tNwqSmYll+PQxfaJbCHHOiAOjfJgYm4J6/FKlgAA8Pz0XnYOLsgPXWwvftkGAt3R0eWdxGbS3cw3cwyz8NAv0HqFuUnsM3qX5QUq0yKMAToKS69FKECSrQ95e7Mnj+gA7UMj9w4BdKUWvMIlI/C6Z/zk8psvU47mlroLrFbCOVd6+2rpLKcrFYOp+GC6OLQT/5UypZ7aStcI9xyEM5TatVC1VnX4CNy8WcKOiIN0szEOG5S5lJhNULAI+JZYK3KZ/urTd4LUfIeNwAqIOeHXC/6lHUcTDotIzyA1GaqK/oFdiE13d57/xtQNytTvtdq0a9RhCUYDKo7lHl8lU8XCe5XnSDummfnQukbPei59fQ3NgCbd7Q3aJKlutH63sjfkjXuZXRt3hzCIYLFDfWQkfvOjfg08eKIXrItfPPg2IWpXlm7dSDHPwQ5EAkkEB0GG2SpLfCAKQ/KM2O8cMGQ7a3m4t+BrtOW5J0vKHDU4XdLNSR/Wo2KACl+sOxMl707qtyUFm5ipZn/gvsZueFRcFFVlcynhbgUOHMBHJymg9xliB9IKQX3MDtm7Hs8Co/DWc/CO2ldYbfpFCMC7nGJt8hg/ppQCYm3svhXEBAZ1T2cS7o9Sdi7fdBTS8vb0u5148fSYpsr+O/Yt95+gntdjyvhw0Ztpv3FRtQMnSyyVhtt8er/KK/vWBms3A18qSQI9Y2GZIvQoWCja2RQmgrLAGP2E0n1Vj5pHDynn4V/pzrItwb0EH1woZBuGa2URBO6Lc86ByXQOdab1KY1mpvJbeINMOEbedViZu3ExpLS3/YNlCzKPTrTjNv28HIj50m5yuIA2BT6jBc5d/Y6GomW56ADLL86rRt+W04duWVakc9eaUrTPIRr9hOxTv+7k+WZ8EQUopbZBW9QwY3eUZ/1zPyS7UozyykvZfOrDFeEnipbeVUn9eyTTTVTNaIIarTP5U3pG/hzZOTczMQs4h+u3p0OdOE3npJihoSECjSuq/+sHRxi41wM+Q1caz8fVZ2hQ7PFUfGQQWvU5iyKw19mkegOkNwuIwWF014f2yjpbzbaA7Jd/CHCcc6r1eHxH9cnTDDJ+LNNC9jG2sWSBV5h6kbGfvH1g09348gm9mUVCQRkwWM8gTqfu3VXwKm/prtqXd0Mgb8cHVqxNfID2rbrN6xu/OZCCAYHd9i7wx7zJceNU/Jen+jL/eFQW4zgepx8f8iHmrUTaX6Mt5LiCEWqP3Tb56rAbIyCrVvA2kuNRcQRSv5EpbpL1KBWRehoTasyQ9z8GqVwEpJP5koLx9Hri7ByQO113OSm8LQ1+VMx5xqIFGwWkt69Gt6FX4JAQDj3mwlbL7J8PTezrM6gMva5fE5W4jprLAd5SzDu8cjf8zxmqBMaMvvrMae2ifNWpft9woNfHh7VUsJA6TGbAcltbnHKrjQqdMUk6QnPs73udJJ4QmRyJlTfT0mmPA45v7fQ63H8LvsVsbvIiuKHM4TfDZ23d8BWgDbvasmXUbKTGMF58wXDmDEhFEbozqAJsaOvIP0OUxvw+fl2vlTv6+sguAvPX9O8FvOVTQjqQWkrWZFp9fqbPAGEiEn5IWWjiyVa/PGgb5LyyvFNKMsVXRG7k1ZlfnBeHnTaEwGka4eYjpkibRQPdxawbWPm2daSEZaF2wFS6TE6xyln35Ba1j4WjucSXIf9Z1X27PKgusU8Dw/09RUoWlXD855sGve9Uki0F8PeRZ8NkLxyZpIjlCBXEZ1ND+XXvtd7Nqcd4G+cOQBL6ZUE+YRAxXEFB0vskYWfGdEUZmnWf4PlAHTG/cauFFDJsLNcpZtzwFWz06QW47o0kw5OebSca36VAYZ04mB0Ap2TOQusy6AZVshROFLCv9HD08BDZUZ3oX1hj99Mhi5vN20iM8QUsR0CqM+y6JXgu6hWQntTjggdarV0ofv/PDbOTcpYPT2HvRlIquBvslVrz0zwTobcMTOwPuowNNv+Lf6fcLonRH40TfWtd2JfHjbOJ2FQQ4axtLqm8JzYU45VksRXXc+xBgIyr81KxITDNPycWdQ+I9zfrFoahOnMTq9KxoqUhEWihhKy0pX0mOwVHE3fbILRjXdVDbe4TLuXX4TSWAmetHO/AVH+mDQXDi1yfHiy2okMQlldC1FqQ3K/MzD9zMZzaBEd3gIxhX4ngjImQWaIZQnLlEZPaO9FXRbJ9IaXG/FRhYWpIK1xNHhJt4VmszB6sk60igQ81gB9ba9j3oB9Lngah6xhNePwZTNrmXMilO7cfCengqi7mDGt2y89B/6aWHe7RSC17v9pvzjqF1cfF1qME0lEW0trsR5DStSGaF1lNLb8RjjG2hm5We7XjH+BDHRUtK1J5h6O2f+dihKsvW0Jr+E8dOCcJ3rfvHDQjmKZIkzBvfgqAEvE9qkpw8scywmVtKAXVK3P1FtkRu4uspZ9sajMGcdbF+bQuLLUZW0NGaYQwewWtgu5e3X/ral1fgSRkdNUaIKtziEz6yRfK7+RWPGpCJCNB3NQKq/iI84EFwxSB84CQMqlxu9B8cMteDiN0IKtsmwESDOFb9xUyLID8UdFBqPMR3K0RcCh5k3wDhZGMX8z3HwGVhD4myS/MBcVxUewfy3hBIjhkWfgs9AmZKsZ4adTYu8otDXT09shFfil9rWGQQmcxZTViVbWKfjpAS3LYqYxhhEUhsz0QwSGfuvKitTF/l7AB+u9g9gbsiE1NIFne1yqtwbwHiY6GouipdGTU3cvwlVvHQ7ocjbK7vNlHCDF5barUsTPqOX9++fYHiogMrHX1RfhjaP7H4XQDM25IJVfTePjJ520Zk4EeeAXGz7BkuhS+ZKLFJpiBFfSyXhr2VtjAAI29eBJF+Gq8Igk+Xz1pyUlkDk7b659c1s87lvN1lq/q6UXggipt+OhtEn6COG4sLHkZ6wdngZfCXSikGnh9I8sjccwUm/hQLaeYf/F4eAiz6ZAQsp5VE4A0HUITQwYVjaPDwaH/A8xlHwfrx51f6v1RXoCpvQ0xRnaG+kzy2u0THX3wqaJMTGqq33/ZSfhlaYZPiZpIJV3wOiVCQgkS0SZVHsSjzeIPkz34X53my+c7KxgxPGPgOhI6byiIdyGN0yQk/+b9DZ0pfIpzyiPUdKP8py8rqP/uWNQALwrrIIatiIYb2yTI4OjO7CwnfPYRFMbQD/5dOz/qqEazxe+px4WS0C/vLy0CgntFe2Pn5ctHHtsnAK6Xos/ZBULMVFi2GbtowH45Npc/Uj+7mPU8ujQHVAw1lbXySiISHlYhN4Ur1Gs9Rw2h8GKRFwZiv4Go82WJrllSHy1fWEUOfFU7oaoJceNmntkk0mLtQKX4EEyZj5InctmGZrOzr0jSduigm1ndIbOZ8e2vkH4P7TwqUBB8hJ91sr1daX8JEj3flfWbIsrKnb85y5PzojfgeidaTi9zyVHGD+SKTpW/kosjrL+sCha1+wVUFCDtww4USUaZtbbHm3LV1v5Qy8E8S87k2tKRDIhRuYsLwLthJtZF/xDj6+AB9YIHeX5zgOciPqEF6yP5tgVK+WLFwxOy3TlmhdXhiP3pjn3naDB91Z5LzztPJBKSZoNydW4FyLnCaE21g5riMn4j2xqcLQ8r15ZQsO6/ptTRyZuc02q2ykftwCBIHVJMR+xv1Kv+3+dSfJAJbJ/fCAFLqa/G0suhj9ZK/bEcfHGtyT14wOOyB/OuMWsusRwEnUC1KBY+arGjXizFaqXtexYMN4AaTUlUfwKTvAXy4VKlCVp72zq5v3GATm1FLKHFCd6rg3QQbKDcrP0N5NsME8SCqqA4VPQg2gl/C3F6bkTqSRxP8uvFSiiJgkHuI034XSO7xXGhG0WsbdhmgqPrf7Ck0WBbcmPgABbgohotIVTFHAZiUzhcAYmo4PQRgadA7LyK4Tb3qbiqhUJXGXGDgcXp8h0yavi76ipp9NlxNM7mHRQ4yb82i78B4QWrSpVagWzUWICAe+OdP5OfwXFItvgMoChZK2sQNDgj/6pstgyh+hsio2mnObq7avkxoyof5WxMa+PIh8GZKauNM5ZAOjSewFnxH+zRFgPOvtgefyWpweHsdW6jWVd1g+Z7pHShu2y6qFZDnWGB4sRG9yyVFo6rkISYRLG3eZkNOjE+vrcvnbVgpOOzI46Nr47QX8j1zd/WmZNGcifxYKzVp66PnhWyCYM1UBXPZyoN4rSqAO9xmncWURhCQrkLF4ODWCYnHmRG4FeRs/cOUs8VYqkkZDXSspIWsB3NCrZuXQ98BHbTdOw2M5UcbwldCwWHEcqv/Koo90SYV/p8cAZi8JM2Ay+hIwPpjTFJYsmJuV2iICo6nOjTzSeEhbpUem2NEEywNiYJZdh0UEosU8oYxcGY3uBZZis0eKH/Kok7EVvJDZ49s/G4Y0p89yniucWxNkdjwYsYDhkddLUc/Wp4xCHUePP/Ii7sKq9bpygTpY6CTjHiVVO0BkdkvGxpLRwnaeEFrV3wmWLE7hIy70m0HVfm3FPi3s9yXjBjFzJTUTyhGrAA1Z+IjDtavbyaAZfKRFVIA9m+0SLbzV6takh+vASYmFbiY2s6FjuR4XDI/XIgegpcFV3MjWI6Kl4YpiL5xl2Jt0DR/OKo4DhshxRDbj8ZYG8Q88HlJOn2yFTCxUDBoLSMyHCnQ8KRaWb+pAt0DdIm902jpHXE+BJapH4oJx41o0drszktqQVnG6sbKcY7e5yw+LDWFVGcedM3etgIdnFXteN4ErZ9BTmuCPd1l90g6axgsYO3Bo3KtB0Eu42FVzvrBV4Si7SS6h/T2LraN7XzLfzCxijgHOcS7k8Tjyg88xSojnM9fBADG+DVYENPr7Vv6n+QimVsHZYCs1aD46135xIhP/yCP5krXuo+qWnpF3ziMFHTEIcULsn9lJC5Z5GbS8GtivxSYiUpyN7OOB1ZQ52okt5Xcw404iA/SQKjiQodsyDoKNhMGoiwHr6H003hiC77atEfqYwPMEsYjSArXcfWQT8Y2SIzBMdD0IJyHJK1P/vctd8ff24FRZ5wNhabKW0eKetjKeV13xA6e7Hh0Hjpe91cKZAYWYp1K+H0IhAadQmipMRPowWav7O9+dj8SEKKyOm3S1uzyPhtlKCgOerQO37pnUoXW1fmYtH5JrGiiDaQhKT3eCl4satdBCUiENRD92TT0lNPbxV3eIus2W/0J37n3Q+HkS5WJvVM/l1qd1zbh1NOYWTn4JWZrG/hvLjNeCc/U1aHAOXAWgWgCP24rcVltc9rylHXBAtRFvnoI/fZ3Y8cRBDylCpmuvL/6GHOxrdOYZ/PEtg19qJOEHn51ZZu3Cf90CATjsZwYnzSSS0VYRjaOsvtp5Nw7uodjza8bThL76c67Jz1DBoTrWeU7don2NYyGeGcTCQvRib7LwgTPaMG26Gjr1g00/PjOF0+tITF4L0bdbLYWX/uPexhFSqs3nNaZdobkPlY5W94iUNkLFFEv//NqjUhTmm8vEishffyOWEQ++9KbEEkiFUExjxTDbI4mbVVPJ4pR1XpiwSiOSMnQrx8rQ5TBjDi7BAMaIwbEYWXj/XBQL4AuivzIWzYSf3WauL0Ksxf0WsUAdw67ii2kAfr9fTA//tO35Rc/Cg0tc0VmQFDozjS1J1/3jGpasjzwjMHxId7hvQPZ7blCS3fwkdTbsCdFsjYLKq6pHIdMusUrMp+dkqJKiZ2wNkXmKxl8nnuY39Bt14Hmq8JMzjYpIpvTnzbbRiJ+5jzJM72g2aa8mLzjLEvjeYST6Sq7LYAYtllq+B6PBYcDg4PKFCpKxSbr/0p4ihv3N/m5+m9TBYPn1Cr+K8JyLE4h347eh3Zf3b6rToDHgsgVHZTXfgTy+8p2HbEpW7dSyK2MyE0dzxAuhqO4v72onT07PUE66kK6w+X2fSXObsQTiryRFz5dz2ViGQHI/Afl3UteSZ2QmxRWvLKFwyeJFzVbueT5DUBdjEuqQMLOcHM+fRFFR6lZ1DeR3v1sDkaa8p9oqOYUXVAg+5vR8vqPVgGiRwYcXzkrso16fSWjjTkqfeffXMZ45j0pVOGE2xAuCiT0IwLo5fFZSLd/eMw5v9kO+gvv/DbGXssmSI3vnxssqnoLYgraySEdrHYE70ugSa3Ahfu7RWpEMGHD0p7qzz6AKaKTKRNRy0Oj4MBuS9p5lYQxRTqWBOPIcZ9rtJY45vemad5YhBL1f0aZNNXpGLWLiyulUbysmOVDxkxmzOm3sjS0+RzYnVhp5+iXQ2TUuTQnIX26kbJSdosm6dq4TK+Fs/i+XunbjDOfspIWGKSMvU9JVqsvrWFOsXRV2WS76+WS0L0q3nxcQEq5htn0zq0Sb5M+O4OOzeLRxFzDALfxloLxT4+TMJuQlEgbI8zwn5qcW//afiOPBMIiohdM0WXQ9g22f/obbH377GHTmMoOARcy3F/9ec5oQ+rxKhfkC9YT1Tv2iYKpKmlHIIql7mic/pmcLZQ2g0/LSjmKEyqa7MrmU7VLEnqiMhvYnCXkelIhiBTaMXi7IINrsrYzX4DnmhIbGOv+cVM6HT4FzMoGlvpQ0fF9URBoN/UX8QNFbEl1FhhKg60zJ38zFsviSOz0ylAYiUP73TK8abRf4kzb5tHom9EzEjXXh3yaMICgE0uQunN0x/nkp9wU3ZMRpW+W/AIHLDT0zx0Eaau73MDM2IXxAsdKRLMZbplDGG8Y7oiCwhbnJQ/AdpIcyECWhblx4p4L0qdQXHN3YaTJLO1O5TYcer4mD6939Srlx9hVblCxb8PR9PN4UEZehOXNWWDVGKgImzUAlkCLR19D+dBFF69VRlDhNbe/saPZI51oDmJ56+66yOJoElxkuh+1k92atS0cjxxzsmaQVHo3rPmeegjt6vX57nT99w350wVWPPzQRe8hBfm7joztuELy0WLSFw7bVzY5SsClE8Mckm2ib8hLbhQdkUcEKy2vXKqiMEekDvKWmfPJsJXW8UctrtnFK7XxkrR8Yi2M5LGdVVlJtF37geR4qPhVVlJqrlDa9mGB5Xv9z/KDuNnfW8+LFnHLPyEaSulsyOVCl40VcTxuF37aoKmlm2n7cG1ZvQmxIvPeqKiGUEMNdz+C+cntrI1wdBpDWRcRSjctUVKKHWwAeBXfsZ/LFoD5qkfIPaqa25ukf61k5PUFXzn/MkNGczjDBFACq17DkM+EoNOCx9mbJAykYiyVRtgq2cMQV7gVqHAQHV6Vm8BIL2G6EMtQ+0VtcxjqY2N3odtr+slxSO0bwCKP3V7xBd0elXy74Z0SH2AxvNkgSiwgXaLBCtOIGntyqQOddyvUciy8waf2iQYIVEJVp5GMGVgyRnJQVUGOaALTQ6om8kg4oNsga6UqK/NbIMxv116K7mLm7GpuWxfjkjNpjC9Was8fdbE17+t00zu9ZfvZucjY4jqyyHJMBF6vDtZ03ddBUUrtGQmLwFSEltWnp5AcfTjaiuyoFYWj2xvJO6T2Zkz4yqdvVjmADG50LdSQ64rQA2qfe71zFfDcxNQYEdQLjbe0gx4sGEZmYXd/0NnfQDkJLf5NBvhZPfg/0hhS3OUqtRx86M4ysUCVmg6ZRYfU6z9BJwCi/M93JcPswlCe11xlEbEgd3+CjNgRPsmZd1m46TpT4DAsmJ0RRQ/0y2few4tneaQv9tMDM7rvp5yy3fvGI6am9Xnz6cJwFK4iH9K74JNQeVeVGGkkyDgXZPTGbWjJFSH5NQEn6IZHqtHonxNc+DOtUt0NR7OZCecfpI7wv98o/fYWDpnB6jnfszXxfS7xItv7hAriVf1alnKGWd6usL8bAWJrug9QD6+rISA1tnhC/zHrCfDhAi5LgHxK8HpewO5Xe8UOqX5QAMTVx0oE3OKs+cyF629QBeoH7qYL4iLbOzdg9Cnz1zigiRt8jr+aEq7d/SaHgvO6dqO65PQf3W8c7N6Dy2sW86oagSflyrsgHG2C7/0IayJnsYc3E9RPS41g/5PDVnh4vt3l1R4AfdokDnILEb9gx5Ajg7jDrcjwjPpGi+IvyB8YXB/UNvIfYtENbeXMUsaisK564O52yByFw/YgINWM5TD2TkSXHqEuBUKTWJF2j8/gejSDM1ZLY0n6NNfhi+x15ULUWPdJSoY81lWoBiBuOLA2917OyXpaH9iLFgqbAaQyFLU+RN/zJY8Csn7bEWcaqNBfOpsDvsIqhX+J5lkvWUv1retlNM6fTBcrPaG10CgHLbTl+/K4ytWu4bNi4iXJkxgRJHJz1jdmCYRAcvxgkCf5fYCiQLl/P1Vy0oSBF+VIp1wppl/Ri4iMu9gZS4fanpZnA49zts7U3XC5V/rpCRKEue7scRnAdAidg33YuPwyK6ACCMKLPOYyVWyXnjlx5cYacoVetjDf5gFL8EdTxGhg6asZe8xetk+ZnALV1qSjzPmgKEx6j7w6NxqfyfLiSN+RHryKhaStn54AHWF/FKCuAIaQSwEvK1pyjom45yQUzVK6pF7Q2Xn6/ZLDaHFMp0qYxW3nDpfKUW7KXX8gt1fWtftAibewiQ6zGgMXM2uYc7dJcnO8zhwP1cllaIXkdwYOaymwkFJRB1DHUBgLdTWc8ENS/pK06e8DZlCpWA5ZEspWF5c6+mCTRStc2SYgF2MPWd2BwMRzxzqrl5rZguWg7BZnYhFw9bRReBCZ0x0r9xwT3xMhrDyaTVuBMwATLJTTN8F7kKLAK2HB5XwKH0e7Mp9QiF5CXyo1W2OuxkfPlG+zXMEq7MGArXDjJo7MxPiLzUOdg4nOaUHXvAUnzSsFX6ZsQyQpc63HbfUgn/Cg/jV1tI4uFF4/Vz2SivgW5qHbQEHRv12rjhq7/BH5gx6zRnzk5setzS8sucMneQrDdOGQi/Hiqa9eH/RPHG0to4yxySmT8hMWqIHxc2aGsypmhEcobQnI/QOF4SxTn0PlEycYIewJ4qDUGQby0PzSjkRLCQzrytjBhzie56lUnmtVX0H/FA1iyofp0RJ8n5zk5LxbdQDLRMmd/CAeaUyggNO/aR3SRSdH+LFfWITG0xmBkRyrnA8p25gNTqYA9Wm8/COODILaZRDEtxrgxdKXaeqBQpP0SExKYXkyIEYnCFQvFRoWolTkBALrFso+H7mUMSAd4wR3za768iEu0Q1xm5+dtZKR5/kPDrEhFcudiA9cC4hUrDHWmjYyEebElEsrLW962s7PFb4WFH1sWpac0cMQlbI9FZ3XTPTwegAX/8qPUullF4vWlt41SUs+ZhnJ1yDmNfmjRU2ntbEs7vbChy/U7h4oodYq74u25YkD22EfrJSJYdLUz4Cu73ru8/m7I06z54FVUd8I51kggJxaS4zQxvYvdO3v0h2/A+ddd49nk6HNCDJ1Ns7GaJS1viW/hBNZHZacR1SwLYRd/YKpCgTLE5ELGEf9/Y6GxROT4TzDgFxxtSjgbMXLU14wnGaN9n3+rGzjNovTGYm4un5I1Fk5jYsSA7JDMrX4kblV8CkumRT+dFRpxuVK+64Pt0aHXrtqLgL2o+Ob+qwxRSlGU/xLPFaph85p+GN4cMOaaKzI4wA1ktIqFm0M2NjShJO5Y1AsHa03lyZiFm2N0+LNfIr6i5gfuaaRwa9P47uRHSDkQ547ABOTvFqqPVCKBk68aCM9YlXRpKn0xsxd2D+lakEulenUqtJeJHRDCCEkF5ulge4f4MfUwu3HuOPEu6rp7IhJF4iYTMG6o1inbbj0R7chn3dT08oUYI7mcwUtHNcCHRwjTYLuazbWhl5T+VUYdM7JB7rc4vrgRGe0jJ2CDwYMtNTd0Kl9iyA9lef7+n12ILQhYn8hrYwxfffNVzE33leu35Gvctw9abcy8XEcv1qsKP7poZEtR42YuxbdhVCcIuoR+eA4ZboVpE2sDqVgtfR/4rEKkAyiIq7YkDZHJqgApkgFSSV76K4D5XOIti75U+y3/K3oCoeSqR0h93+HNRCMbLr1m/pWtum4iG6NQXWEmWmOr+dQBLOCHJHLhUYKu0tXbQql4vbn+0KUxW2hzXHiZzyQ7HZfcwXhe9EFMGKHpegDTLUsyYAE7RKzmKCvz45p/gVaLEI8nvu//co6iL7i8WS9pWkSqHhUA6AJ904YHtUw7Hp5xlMt0fTGVOT0Tdv8288k0eCMbrqR71XXnaeEi9NqTuGpcp5tlC6kwIRu6VjSEsDqpr5k5+9m9G/jmCEga7j1bLb48VTTF0P2JfMHNM1S3g79AZOp9SRGLYaYJKIoPpgUtGkX41SLVwboNpx4jlu/zDBXX/nvTmjXk8Pb6MJVEaYRV6wUOArzNZHSHLGlVyEDuk35/Y85hDQqOU16v3s2oRJaGjpGCxQeI1jyn8tvPOEnSRPCSKO7xtyfFacuiDZCnNeU6/2FDXMGVwHcxp5MN1jA4m4oHsFgxA3qfkb8UX7kkK4BfQPujKdvpjnxL3RvaLp/RdQktKBlGzuRSgUmBFexcY0Pa7Tbpy7nDcSuM5CHoZzxQFQCH/jJ56oUaTNo2ElKfFpcwEa0/Vk8S0iiJnp6saYoPJQJekhi47j/EEycCG+2pCLCCsf8TcEXdgIg2uy6CD4hU/PrDzz0jo5RQNqk8W07NovAx2N9AKKDnTE5DUzwNTIRPkFJ3GvOIAa47pxwHum3hPAAXvVHnMQjfCfuEwVVTkzuB9PtHiH6XysQr5iQSaH6cn31bvC8VVD4B62FbHJwbSpJLdW+te0t1GR42muQeQ/HLj3/5H32Gpzs8PRnjpoU7K5WSwlL2r4Btke/Gn1fs8VH0j6ZP1Ik+dbZ9assJWCxiYkO0GVyQZ4Ixo73uylCOR9diaFYprSkb7tLvD453Pk4zzwNCmUj8Xb+TYbqiJi5JRNBfv2ozYsqLRo5Y2SqdT/UHWuw73O69K4p1adjbve7vh3wMbny3Nq4fMzpCeRFO7YNQPWgnhUVhFlCNy7AlfGrZHfBuvj5AStz9UUbGq/tO1qzeVP7XPUGf2pAiI7aWJRcGNZCIJIIegDAk6pQJqWyDys9m0bi3BPmuNiJy6pY4FhOEnE5FOmc1h6fI/EWxIpu34Kaoeki/2SYqLDC+BcFsdvB6ZU8/Bp96pVcdfU9wnnDJSsEUY5X/edQELhIG9RSLzczl5ePQZgbwfvpg/58yau8WSbZwJjAkfagvw1FouWCyZXuFFFmJDE1mQb3SRiLlIKsxtVQqd2612f22LMvvGgK/7ZwnHFC5OHXxjB0WB3v0cisOZQcuizyoMNJ8bPH3zMwFWMa7+SuJjOjJhf41k+nH6t7shYYK9obUh6YbJTZvv+SoTPp7XQfbC+n1Mfd+MnAHq4BpyWF7z1qFSdAfgC4shEfB43+u58rtuw+DJ6+fTJC7fxeTmW7XngOenEvjzILyUAKdXPfFkut7qHsH8fsSs24ntvRV+ndQS29wsGjbMFatgRcaEeA9Au3IS/O+Py76ktGR1mbRCrwJA6IbwLzOdhBUG2ZbTMoWlRbID4bmfSB2Chfx5H9uMwCSfQ6LZ8uflb1ffVtWpzs9LKQycOqtplSkNQnpETxqtnVmTiNqOgcTaZevCy2wcReBVeD0eKxZhlBSnTOmtL5aG9Z3OzCCWP4on4mS5Z4lNWxgmxcV+i5wd2vDFu0C95eI2adStwr1wheIMjkIBzZeQN1XzVf7nO6ITJ3zc+kL6iRrurcDViE2b9aU1QXn2ZCPBcPq3cvLP8zDYRr86oYDQ6px18nYu7bEzAu/SbAquxiJiupUlEjtpaYz4qev3bb4Y+Us7Hosyy0gJpG8tNem96h3MiCg0ZDfxrAz9RMYlDmZobxWo1GhEc0Y5Llp4nNipbgucprQErh6JniaJKUYMI8L72w3Yr0BtGhMfaFPMydHYfRG5nW0KHxn5OB52uI9KD5HrvIk46eShMi9vYaCK80jwPBYgC+85+CWRnIGEQz4AsrqpuynC1ljFF4xnQ7pRfHq32/dL3irGHHh7V0fDBqj6YB9vH1fBsYA7inUmFeTu+nBda+TP/TpHuhVzXjCcaRpe4QGfQQo5K26ZunWVttBHnTu/vUxmAWkP7JcybudX+C/IWcr+OmBiDNLZdaVm1b3TKrq0DFooMZigyk1CUJVePd8XIkfjJOb8DOpFU+indqA0M2bJwIjxPB8EiFGpFLBN6iECcyekL7lQN1lEyPQkLn26l0iURPCT+1EJ7g5Nbn/tlegbf4+J1MQZkQBbZDSGI/4m2Dk53dnyvlVP4eVhOnMCq1h+EbScrUiLIy32PZ3m9ryH0O8GxfcVNFTJQj5nRiFPWvkF+7W2RULvTLdYWiSds/AlGAt0DjECfwDkMFh9cR8cllUj8LIE6VdrHqKAvxoNQhVm2y5fhL71bo9dtPc6tb1KpOUvVL9ADIRzSsqjk4uGRQGhWQ8xjjLK/IJP0+lAcu9nqxw0KxjLE9/jr8xslHfRW4D6nhX2NJz/c5eETvthq35Bhdov61pQYvSDcDDOemO20+CvfJYb4f8Ta4LNJivlHuOHZqEY+/T/N3d/LUm3d/XrhgHlze9tt96TgD0tyUry9XppVFPyvLYVUvt0d9eUIpeiYQVGgsAFuwS4JSCI6tpATYB5A0oAFSWlH6NfYm57QKADCWVPteFckJyG6GWFVHZ8DHfAOZSzusVmLaFE9h3VKJKdF1SxcwZiHpdbvl17Obt3hmw019NLOcetTe+cb/j+fxyNChpTCkzl82i0eZ7o5d3QBn7hbWndNEZph+1QTE3URQx9oAmEZnY4wU4Xos1CxtNfrcxjYn8hCKbrRwxIOy513HD6jISaRbzCL/IP/s+oWJKF4lei+gQj2UBGF9DFxY9LDaPNHJNurBz8+7ov1gKL6vo8FORisoFkWI5oCqBWtjRCej9kDfZrpuTxdOTbOJHBUJODuWed+ehNSfUWhYCXzTlQJ9Yk4fX2cCvgXQc6KySQ1Jv/Q9UsOL5MWyBMmsCDuGJS5MnlvaU77d/7k3vW2DzRXgfABsXV2C8L/Hh0sinONRT8mcqgq69lYbwakLfsP7psA1PLu27PgYgnqI0KzvBHrfMzPSZORMYXXRuGr7HZtnxUnnV4wOxezfnOvb64hhmRCUb8kJ3Q9jZZviLTa7e4Hsdop1JKPYgX8u2x6ij0RAYOfil/74HFmQ9IK7LeVBX/eUZaYOSQNl1xHD76RoK26NJSAOI+6osxyyetBhRAk+DDUKBzYo8bw0HyBV6Uaz9nz2zJrQywV/UHveXocPJ+Ee86V1vEtMt1dWElZUi7NMP0pSaC4wl0TObVksJawTSnH8iSjSfUa7wOFKYm9F2msOIwdEYpmkGO1LeyZTTwoqjH295ZdmuZR07r8SfbEbQ1/kSPnZgAgiEQ2YK9gRsoxE9yOSpHcUvooz6ELIYKEg17FLUjJbv9deNzoaoL5He9IiJfdLbY+SFPQ3lcl1gj0q30nk+3jhXNp7oXQfRI4C4iDn3U3a6wns5VTrx2EmPNfy1F4Nk6P0GaUNf7/m0VwaGbeyC5tRjxulfiB4UhI0odKT0ItQE0XPfd42VG+MBy6dMN2l6sfhV3UsLFQ59LIjxRjNRs4AVpvbjbAblivOLOwCzsWD2HYkJ5/y/bLvk4FNxQJ53QEUFef3+8qL/nG03hAQskgjyKWebY/ykcz1dLJUE5pLFM+7NFEQhZusVkKp5tsZ8DbHSx7rPBXguEefg+3npk9FPnrN0tLktTDv5ClE/6Pt/Qhm4eMjUfNz+NdsqJhHTylfvP/oq177LTkSC3hLLzc+uvC5Gkp1OnMGjY9jM/R8J9u1qr9921NJ+y3ldGHWdCw4etB1z/Fw0hzo33EhGgyXR/+WL58zcnwIBjMu6h1UZo1Qy1/YNmAaXX0TS8oq8M+oIXStrspfYWUV0uYsx0uvdM/WEFiaxPFVPRcQDXT2zR0qW0AQEJKJ1DmeEAIW7DsSWnGGKg6zjCpXV9Hfo9MbaGVx7YP71+CyZTEWFOSYv6BBebpi9HJEf0nGHpCezXwD3C9m5KygtSf1lDvLGa4l5nLSEKOCkP7/el0o7OrZ+S4YEl+pN9uUhP2f5BdZBkrhO4PKBY7lKRiIh0vxPFDCtTPsNTTU+/Hex/g9fMTw5Z4N901CcCBTm22FYjm8wOiZvOg6VzG4xCRxkFQ6oX/qLCJqsPgsWlPM9FP00+Yhaz7qvLfj6joda99ubR1vzeWt04NNNStl4wCyd/wV9lbnmEaXAl/7k9ZDE2SnhlDROHByxJz6OqnJCALaURPgxYavXCrWtgiqSwgJn0duBwJ0Rix0xF/T0mgPubUDs1jfOhP+wl+etRRXcCwYoyPufTxB5JZ99XEb+O90KDMa8W815MB4fHadOeerHOwrBc4MnrZIBoei805SDHLhiGfpJxazlXZlcydJfyLiZm8zHPCP+s0y4UgH40neCVywHB7vYyW+XYAYJ54rx3cmFtKjUu2cW6Qf8aDsPN83XO7/B+2r3EtIFcmFrUunEW5O+VWjYr2AZ+xb3eamQJWbSMXiIEILR9Qx9pZxCdy2a2xCpSC3OYxJjOrCS+cAVG5vMut81wHj3ZhaD8zvU0gCmmIGtH3z/I/TcZSOB24NCeiLoYijKW9sv/PHp+S1rOn6Y4GNzeWcvdbZIDMqwTWB5TNfv/AEsV5zIvI0l6c+cg0+DDEB1KP5+jDdxZ97sQDerWkWwdn5ItBlyc4pmD/OjByO8Zw5nt9rhfJ0dSkBhPJRyB2iIXoqIsT0DXQ9YKSWmij3bQ65noDmxv0hFpFEr+qLqmQKwWYXEZttQ0YY1VRFU+bHOWJPi3FsDnhWkZaNHTUdaVi/ayEVYqFAPcfg0k+bXKVmSwSD+3Zw3YRHrw2p3gb3QUT26aZMp3y8gYmVafZsVah12wsSrMyndrB9FHwSWJ/8btxgp5dGMiBMJK5s7/vysBfMzYg9bJewPqowqI/kIG2nwGuxBLD5yGWp03Qs1iupId/gbbu70Gj4VDc8/lzEw8prAMXKsGnKi9beAcfM9Wh17IfSwwwPwHTJc05QZEJ6rUQkO5ZgyKTJyItaaO5LKip5PodRDSR38XpBeOn8lfSz7epV3chHe1uSPU+aHs0tuiPMJuT0DV0qjfRB638rj4uQGPeMx9U8CTGV7eEZrbgDy2Kx8q0k8hk+81mEoNeLGY4zPbsOpjNYRPEDO5DD7me6wU61kZr2o144vYwjhXCg+vZZYk45gRvwhDX9+UtAs2GCLvAtajZnw0lkxO63tcWzmcCkmJWsqd/Jx2INCuromM7shjB3AS3/vZ5SHl89GTbuz1iYagZmmxSPIhl9FXv2471Sf1rtMBPCZx+wsDYVlTiA798VitXVtx7g7t4wPITfapad4FiVZhde45kfcVomAVXLQ1yHA51+vNpXRCNOnHd+JG8o8h8BiXte6vRtYuqx6rEJFcUM7ZsW9q6REhEcutNnP0nX2bWNuBg1mceAFvrhapUaZOfv75P11jtbCOmswqbQBqiaNyjMC8EeAjbI3x/n2nnt7RGCV3giBMECgAwVPOCz+vHTyusuNtZ8vmyWM6/wXmR/NrfgbafXf2/g+2+UaYGEnJHwdSoQIfV1/GY6EboIBLRX9nwfvi5bicsKEGfNb5gNCygjAR7mTN4puQqp+BMcqFPiNXnmKtUu0AiLAOpKWF4XCsQnv4qCBvx1R4Qfq26vGFT+vp1F7bqqp+5evNZVRo5ynz8hgBOJpMGnw4F0tlAjJv2r3PRg/mQjQ26u1zgKj42/HaYbIugH44n2p/xfaqlQ1E+9fWAYN45iDMyl6Qh1fzOUs0dm7qKDeo4N/yawJOQXu2k+pKqISnoG5H7+G2YIBj4EW4+9GolOZm+o2evxex7sgINWqaoS6159ZP2lLLP/jK22zxpn8YjQrn+g3xM0YPbao+CB/md6QRZaYQ9TtjnqSGqTGGcF/gtzqL2m6kbze1Ncw6xcO57LLNY3Xe8MMcSJgvaFhhZQ0GC8ZsHfaUI8LsTSXcoOPso05S8qkwl+HK0Wl5EOgtb43Wct6fqHLUjowteHp0RsWYN678pasdFsgAvI9eHTSlXEEF8yVuEhjmWATajV7+rDcEkImuGOsXnFrcdkQspwZqNx0C2Mz3nHzpuuFfJRZbAPfchntGjKpIG1BclKlLEMkdkBjgzwclDiHwGiWm/lO3uIPrtDNiEm5qD6/LG/3sjuIbcTjTOyuigH9lh43nzH5t49oqrzSgbDC6GBsX7VUGTk/2y6jokymhZn3rBRdgiOBxC8MuivQz+/IZFiSNNKGoPjIMBcw4fRd8zAGkjw+OSaVj9Ho1NpUss3cayKGqYfdYmzZFRVrbhp7n842J2bgFOwEh7Xh6Ocnv13uGHl/r9p8U6fIWQ+3zzzaYMmkZjyFXoLv3jc1FcQNNqbFzFZl6d6EBuROW6AOOFOTMbjZLO34Hzqag08kieiPWHwjMkbMDVK6wcRjs3fqEnmkbcQhwyzkC09Yl2FFKAQYap/VfoXZVpzdYRPwqILPUqhf0Fw0qRTAE3hPgoO6DC1GAmHSvCKiYhOSDBJrwK1trPPqoxOJCnDomr8jucQgRdEtcO5n7/d5pHQJZXxLJ5EfDCoAijT7eORj5vJHf0U0okDGvY3dS202EQCOPVcRkmPiPI/OQLQTIQa9ssgcozx1eGN/nzAbMVaDvzLMXnr3R5JcR5NyHaAr4HgR+vugslfoBNyaxyU+QpXPRNGW+Q9ZNR+UPc+hg7yQLAE1qzH0eCnedf1/BhhFyOiHmQ+UEO0t+F29AYHsTBB0qK0GKCDCY1wD8UtFouApbr4KNz1wJDMstnkfQjlY1f2xRGXT6eFPjoA56NjkmKbbKKWYttL9dspNYIDqNV6ijrwVOFL2EM+pe+Bsd7/eLZZCcoFFGMp2aC6BwmCd7WLi4ebxkL2ARcsqw3pfLp87FEbZN30zzIHf85MfeeyMMNlq0eOUxjjCHEVlGVxtAO4TQTun9odwyQD1ojyYzbxspfROFKEmZfmjK4qB/tL8sEaMqgRPvWUYL+3QvY3kzxpWgniRg88GOCH92cs3XLlL312+GiK7MkHPzobEsfEoDlszS9lNEjRe+w8vIC8PiMaEq8fXd90ZQ2C2txpX/YkJNHTZ5847FxBtNmlzwcGRc5LquUUKoFL8OnZdRl7Fz8xKfdFEfH2u30K0HxFYFF8l9ACZl/UGigt3SK+SbOQU8Am8q4B5p+3365fCMPLjVJcDqzsmHwuGNDtNlFRglk7cPDLDS98/4WlLLLdmTsnv8phSY18yAkPrFlTFFqn8LnPJqKdo9Yhb5zMZ1vCPC3Bo4XV6Wiby11hG56HgMNIUHbTjVeOtQYyVu2bYarKQbLVCglfHfN3rkgAFt2U+JIrmF8G67dJsTngQg8EA7hgbmYWvTblpmYdiFiMf1HIJ07uBeNbETBlvcj+ojoCkKguJG2yHsobKFL5qmvhz91i2e6tCMCTsPhn9GxSJLywwXGETsnamN6DL9pdPMCIoqABVKccH1k+KaUtNykA5Yff4P9T0GJXXTbjHpsY7gf5NFKSB8ayPiEBh5C+v5Cd+gEXqb2XQOVIbnhG6L1hsJLu/Fc2sQWu4vMFJZurShlJfR2RfxgcLDpdaJ/kxKlhRV3SYYyc9hwjfvMbth4ma0TwasMhQEUjXwbbXiv5QYwSyvKUnPfhXEudRr/vnMKDgt6T3iEgTEgn/kYK9XrDN1beWRw/d1rgIYvBXdTQamevXdp75i5CQTJcJs8bqAB9FJsdCfVrEFJ3f5u+xJ93i6PlfHf45e8QO3wQHdQRe/IVNfR5YtOmmv7RynxOVoylN0lyeTsD4eF9cU4YsDBMbC5bBCNhvajBruaIf8LmyuYutNVKx6zMIt8MuRCzgcLUjH5kb9B7GzR1o0OlPDn4Og2wUHXhYp6nla/MABLYllKj3X022Gt58Q/xFbPs552vEInHaxL9sP+frjV4FTFqLaAkB+zcbG4OkrQjutGm298miW5Guh/bvzc7iQFwzlEtYAUsc5yLU6oKcAsol3V9qDDEpuRn13j6dRVtBFqwx7yQ8PIiVOXplAHJjWXvDvpbC/mqAUQOL4lDiHppr3anAB8Gj1E0UIxrtPdCkZbYP9Q9HeFFFPWgVqSNuQJmugV/Ax0shc8avWONv4vycgVr9CPCKwLbxen6hXq9CTCVWCH/EXraB2D3hM9V9qoucCaZC5W1rw8WIfMiKC3DQlkVop3q8UT+D4HxmEk5n6dqz3ejAdqimCpWNs+vE6NYlMf3cbmQZyF0m0QHfucI63h93WUFcEeRA9U1B5/dtKq1kmuXE7HZdHJ2Ecy6YCWb28mgRanHAZNW7P9dlefSn/SjeySunu0fKg4XKuLoquDWg0Y7y105+7wzzWaoa2KWcVOJv6daGaIvdEfrp5tN0SHBvZQ3oLzDnHMNPam2UY8UoKtaNu0no6RoSUAj7QJ0fK+4SJ7mIEPRq7YYCLsDZljpQw+QMNUA1IIoPtEkoFeLbBr2ZaHtmUdcCMhLiDRFan3/lfvwim98anFgaLNhRajR5Y2I9XvVlhZJgJi8aeGdv3IGmzOg7K4yZzQt1jfs17Jfa/CgQDdo+LnLnlisjLYdgCA5/1hdfIwkbb0SOVg2ACYeWpSLq+oZtOifYLFZmXYeb+acTUq8RNYavS7dTiSmnU1rY4U8836go3HhvRElYeH/QLekuh+sVCPdapjNoKKdU0AqmhYdK+3w3OD36k+tqsFEBPfE3TYKjPnydmWJOBZFAfUCg/iJEsb3F2Vv14xGcn6vs1hlbtiynzwoLwfKz4369j6VG67BOeVbjtVfHf68eGmS9ysEZQ3e80C+vuyi15egkpydLX+jN/9Z32qipZ5/12YySwxTsv9hIA5b2x59h0J9ijeTioEV7gyfLvo11548WXMLXzNjF7wYGmbv5dWKROFjeoCOQmJscafzUFNvTIijcvPTQRBp9mZ0/cO+FhoiSlwMcsamTAHbxZ2tcmjBVxSTK0F1tFcGj5lYz8Fm+QSjX3tM9wI3Tt2G0Yph0gPYYUkLUH6d/9HO3dTBenWLyy5K1AQLOmPD/69W/mAuV3dldDIAoZltOo0yayFWMj6sLXA4PdA4H7GkW/3ZAh5nBc1xnBcsdcEm1/UMeOv0nYxI8MereTgeAWvYSRHAzlfug01yGi2qeBDwiq/XXEYUiMkL4kKVcKzdrP+2HtlB1xVUexI5ejKPUmEIzk5nkj6mZSTr/lysNcdl4tsczhZdZ8bA6Ags5nmIh93O6yQN/rDudgxljjsHrxH8VyELxS/03MyUFZcbVKNjsgO1FYYDkzoP+5FtWxE8W0wi2zw+qz4PJOCKFjf381XbtpGmPCfHEl++CMNQ1ulzOhACWV/e2mC4ehFdzpa4B15GIOE3SRrMcTSCR2kvPOcRa7xwDOpNdT69v89y8GxKn/ckbnFyXt8sDxLbE5r2yLSCcvRgvHXY7KxEBlyYgeJTc52CgAqn3w9xye/zWPsldJGOLSVnJCX/Xhsx8BzGWUwX59dDDVLWYZv65sVaVXXOsoPetlaAnS5b1gY66uf37QwlxbFsNcBGdqoPSFiHuldYYtC8im2AOHBsNVg4MjY3DNuiWC/vTERVm5wlhVi3lLV1NJzhrSpq2UW11mZCjWIH42aJ/JozItTd1ZNzNiWhmik52mQA2hTdnPhLocvXlOYQ6s0oE8OpOXZHkv9d4Wt4phQ+y/BRGFagUYWPmXiH1KmdcqJ4mSL9ORIH4ilI0O6bULNIPBpwuHVmqTAUVWeXcE/ocQBrDMAQlYYtnhxXy5zsO3E0ZTaMfmW9C/Ot3xg4sj3lZnMBa8q7oSv2HCeNHK4hqz8A53Bjs8IMCZlt0AlKL82UPDWi1sEanQWeAiIMSKXHmdoQOvee5vMSl7XKE/aNG0I2MM2dxCQsF8592M6GuqFoOasAz01A+NozPzbyhVs6jO3VQSNMUZCbmAKnHvv4ZMhgYiWVovha8rVRU49lMdbdSmkI1RJEwPK3qOWuZxd24qGCrWFSb43+nsoouc5K3dteDnz8rH2q/vCTr6T4yrmCKDEVLuD4Nhb8l+ANVJZn3ryknhBUwD1y8f++7SpoQwokThzXKeLUSX8v10P6wCk4ePne/IWS6z0/wNVe4W1nOOX8WgeQXX8tiU631oGmn8q/mh4rWM9bBTKi6Tqn6dIFTGz7e8ilAF8smfG7NwPdvSgLF1HFIBYcG5nB+G5GxUBi/oqy6Pe2LhZoDvKLgeY9VJOqOKKaxrlMSc5WTXz9F2AUff2P9/2UvUPnXEFGWplxqNuYS0uxeNIm9JO2U8aUzCEEugTIB32eEg4wpgzrRxF/u3AY60Icjn377e5TfzZvK9nnLatoNwWfymSFXKaK2042Llr9mCumni3cD/cbYo0rTDv08G7feD67gMBE0zVgn70CTbRBaodjRhEuWIPc8bkqYI+1BNFxXRORyq0giDUp0vi+C1yeONvEtNuaWueFgqub7+0eEfw0rha/6BVQ4GONgFUOnk9qtUkO0nVVJgEows0n5ercomCD94Cvy5sR84kEh9dFX8ulNlWWICaWR8D/39fvAvTjzwiWveF27gF/hKuNuAEQ1viuo+Z7l/UAMP+N2Bqo79y6yjkHB1Hb3P4ufgt6ZcfqE+BWfCZx3Qlht4hxxlKJ/orBKV7dfdMcgGL7FRXEFHZQGT9eJ8IgXT5gz1HcK3M2a08cFu77mS1plKhfGw+MHm1Vs6g8t01L18NEL8f4Y+FYjEC1wsjEvScXPyuC+QLPPQ/dgDjA+mEGri9DpaH49pBP1acW1sFSCFwU7SZuRj1Qfl7dMYDEcrLQQA68O2R8SAG/MeFt5a8fqN7Q4zPrO223+WJ0cUhBTY0mLF8Pl9214kr1krVxbIF17zmp9p1l2ibbkjzNc7sNod08jeAeEfzDd4V6Mlrf4VRDRJydRDhL07cdL3a37lj8OlC6g7XLXQLi8Fv73DSXUJEJ1aiF1s3SxSzkzTapABbI8HJ20AhHsn+cRC/BB24ZTZgtQnBxkYOghvjjf/rff30ImlJXO4KVAL02kJBiWjoQUSyGTzDU7zg4TBmnnymCsv/ph9pneyGhQi2JDpOEYAYYdMGXBZMCJi7j5xcTOETYtHTf0/rSHQuIiD9EWTo9Wk+zcynSWN/jnkMEJbRR2J9FWZL6N9REg44caU96DMeJQQrploAJFK6Fh4QQgYspjppyh05SPcw1FDrp5W7vTVsP130xGPv9lk6THrN6ZsSAsjOG15kFElMLCkS/Rm57FUHHMy05Pwveuw2Q8ejj6/36vfBkJ8PTS4Heyg8oBxkQnkGvOtgGGSMlNz3fFKfW9wK+nQrWl0tHMiDeALFlu3C+NDMXWUFOnmAuXqPTxWUuGO/qO5hGTFcKw6s7tVfqlrUs8OfcGs+2ErYwOlUS8cNTlu8X1jbL8P9zQXiCy/qK5xDDglGU32EdwtXUkR0hOv2aoSQf5Be+ChbWX7NkAQZv2XD4MrhhEgAi8PazkqDT8LmuVDd0WNcZIw0nxs1iDq8larQT+kNSJmQulszf5575WJWM/jOM8d/+vZgY51JvusfJbTEqA1+qCEPJgJHIgTr" title="Mekko Graphics Chart">
            <a:extLst>
              <a:ext uri="{FF2B5EF4-FFF2-40B4-BE49-F238E27FC236}">
                <a16:creationId xmlns:a16="http://schemas.microsoft.com/office/drawing/2014/main" id="{5AB8A48A-95C3-4954-BC1F-A2A8AE81225B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 bwMode="gray">
          <a:xfrm>
            <a:off x="330199" y="1633415"/>
            <a:ext cx="2641600" cy="5072185"/>
          </a:xfrm>
          <a:prstGeom prst="rect">
            <a:avLst/>
          </a:prstGeom>
          <a:blipFill>
            <a:blip r:embed="rId23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6" name="Rectangle 25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z2dD7pS103gZfJ6l4USC3jqtWOPR/ue0umjYEY9KlLthURXCUyUuZbmGDPUXB2idlVQc+R1c0j6vNnMaKvr/AghcgjyTjoGcS2U6lyGcWZbvoYqQsrFJ5DN1RdHsB5gZU4BjQJ6xKwDUEsW8X/QQ4uIPkrhyjIfLLN7ZR3puqzBiN1rMnctBA0J594at1EN5QJYMsPufr2eabAYzIDriNpy1GurybA3KWqcTPRKYh436jQqOHiPaCJtAtzpRgB7Igk7tw7BcBhai66Lc0jpyzFEK/4NRoFF+cso+ThI1HNgDMZbpFoCsJQtilLqk9nQPGX6RXGboCTf8hOOcHaKoTUKF81dro10jOa8Xb8mBGZBE+xk1l9MAy6INl4AKPS/xWUJD/GXtnIK3FutlPH3lUOK6QLBqEMiv/S40RjvaG9s0w9NAYJm9ouMja+DBDxEiECBvmQ/dTAlg3f7e7VezQT3GrGeDx8MvG0P95NT+Eaj3TnTFD2iwL19g6/Uidw1vnbshRRU2AHTCVLVWS2QzDUJJf9o18AutC4b5rgru28hTgfu9FfVJUYurVVFbmNcT55Vdpmez4DTnIz+bmKSypYAWUZahCUoaM0tyOb5PmYFr4WFEBeWNCb29UdFo3N8ZcFriyxLCFGOed1MdqqWwtpbzAItYu4DJfCbTx9L+D9y0yRBYIkKgNkQaU2pzLeRx/J1d3kmxRYKlFh4cjeJ//rbMs49Dp+1TLbkRin0zLqab9pMVqj7M64wZ+dDWe/7Uk3JItlYwe/JVDB8tnkMw3yH9J4EM20AC4HITWmbe8pfBOMDO/VcHUo4H6jUMGYQKHy84M60caYM9VCwB/THuuppe2vh2c2XnMEkxwjwKJHLXlYW6u7J7SIlo7VhxrsnctoiQMQMibDWPiv2Ojlb1CIiimZU8zi4xWs5KTMoTFdp9/9iyaMlJRxvBxPZHhc9asCgh0XCbgd33bhoodO0SCoxczkc6sCyiED0uRwWe8gazHmFnu+4Pzyiw1I1lB7zqBS9U8Gd7MotbxWSGAWdKL5wJ5aK6gMX86TfxrvVMtLYG/zWCvqubVv64ydr3HWLWoMpvS+g1KuG8Gpt4u/LRY9hqIrzA6IsF/JjvNKsWuwKzebXSWEZZcIQ8lxH3PBXMYl2kuWXMI/SU2quKtM7HL5zSL3+39nCHmcpLzxdkd5XcI/QFa5YpmY3pyH3KYQLDvIRfcn3vJmMmP987bar27hKMxthYMZjyclIzKFeV9g4aWCxObgOz1q6lhQOUTD0fLS560gxuvZqh5v6vAfGSaJ0ReAxZuA+mGjRjeTy34bY6Ub4/8esgMgFhp3ZUfxX9F8L96qTc7hG4UV0AhchLddOj1k6Xi7XTW8ZJL99+Tw4UdR0vcWJxtQ/0lvo8OH68aALoE22Y1SppnQubhc7ClozshjbpkorLwai3ZM2ZNuZTacHBGhyg8fUc+m/Mjd29oCmpOKwwJNoPM9fdmwBDz6mDSZnOH9QHHl762N+I9R1Dg6jKPhQMb99z+EXL9Kuh9iKcZw4CfwhdbdsM3i4CecwzfxZ6hGjpsBgv8ZeNUt9Cd15ieIdCxQUbtsT3Jf+RQLzXSZNTMqrJ55dd2SIoA58PdBO9K9FeFEqkulFjnjsj8iiBEKYvK68wzKvBeYGEFF7akThGRxABXwDG+KnDKX8Yw0Ocm91Er6YG2UrZ9dycUVDUn8KEvYnF7QXgD3Q9g1EmB/MNIYBAg2Bv4LaUE7iIbs4Js/WmM0CZL85NW1ezTRckhCxCHhVritlrmgtadCpdGEDOy8Vo6opGrRbRELl5hZ01d0SSvq2aLg1EiCIRXwJcbV/FK+B0ygmt8hec2Pbk5/SAHNWVdfiSvvTWWxOhKVLA5pgjBgF1vtDkruhlQ1/1sD8xVcS0nMC/iu9ZdyAfMRyuBaqXW/wTyBAJ3lFZA0yKR20him4/+OcqhIHt+eDDqsPkXv2By8cgzbDnpidJKvAmy4P3p2q00XDLvx1jmcy6I7hLfpgv1hqw6m6VAJkMAVzD5GgpdeaapbEhVD7twC/7b+dW20+0kYDIBGYmVQh7oDIwRCUOvuli+nV4JjYmAenTKv5fixH35FRj+MRjWZRqMQnYXSLOdFu6DMGUZeo0aNxUJ+zpYz4wG7b9B69W6B8a+ViKz8EXe0mBqOgluJc+3Zrt19UUV25Z5ved7TqzgQYHhyRMn1rgsZ05Z1ECWrlaCBZlwyiLN2hhmn9OsWbNos4uel3j83YHwO5qeopQo1kUKIF7t6tkuEy+SsCXnvQ0e0rJiGJdgGoBdTmYHi3a1tUziCSWy8bMz8swSFtFYD73zp1aQtHd2bO78P3i0q0zxjtO1Cda8yvvvEDXWt2lMJfTKCqJmWpqaUx8JLF2tAwOpj4xyfdDtUBG2ocaU78fadHnT65yZ8gRXBVQ7dkb+RHizzbUgpxNjEXFuRbqlkv5fbawdU++7bGqzF8YKLq1fAFcvHYQkw5HnLxgPDI3WmqjuPUdQKymESWgG8Q6Q4nyNK5TUuzmGL3JoEBxn4iKclDdbcsjMSyyi4znPp5stkoKZHefndU/mLLpcoowJjATtK/A6sXDqKXi4/pIcS4zjjL3jRwtJIu7bpGXX4UpVOtyrjnMvEittUHexFxC4Bma8I6Zq1d7FM/Pyg3XBf3xmyxpb2zhJVxPNpYeYJzAtVtMEN85xvabhbYogUXc4vPjaC933w3hiDxKTjHWnD5tsraaUHBXvEIh1jaFW0oc5JfufdDXKeS+Tz9EhmXr/oyV5cgrZSHYRthlSss/nMTt80CkdqvTEBGZk2wWY5mkhRgzRTf3H6mbtSUfihQSJJ/U3Dbwm5EALhbL1P+zUUJI6r9dAFd9abGma6ZQ9in4MWqDTrK9kNbWZBXhdgyBCBold+k14s403h1bv9xrwBAr6jLyOYecQu5QG6KswcE8syrGS65EFozurzegGZAZ+Fyc+MkujR37qiOT+jyEEjci2K1ud/S51SjvoPB8xhBLuUjHqyf9rYmV1Wndr5TiZP/YU4Ldbg4ehjJQ7eCDVINR5KwWa2/WSaaSne8Z8YCUV4NlbaGcb8eShgbcxBTV7kId+puBRxFpQEuK4zPyGlqnhp8/hj10qea3BOnqNd5/da1xu2quVH3sstaPRoS4wGYGX3kS8SNZ3mitvd/+KYXpKOXbVpuKn3MsB+iEr7yO9PrMnMwyDolzRtvCoLkJ4JDpdu7R+yt2h9KprFeBr5WTdsKrZ4V2X8mkkaLoIXTQTwoF3mWjVpcutaBJ3XLAB6V1XFM6mKvFr2zYmRr10XUwAdRzEWbkMWDSz5yeKl23Eyiwvke5ayWSD6DyRX0ePkq4FDwCNyXOokuX9GeBm6bAknzTtK3WWjGt5Zn2Twj1peZ9zgMI4v03l55bomCmxQu7sk4VdoUYskqyfSL60Sck1vjO+rU+ycrXa4cLEyfx8zII7cyoAPr6NU2kbO4Dqv4tTri6UNAV4a3o09+ZZaq0x2bLc3kqx/pe8Z1cr/X9aiXfkEwbrJHhTbNlsUFJ0EYCvi8fYrILckHMzE69kB5Gip0wToCz/CDy9LZoIXgs794PlNynsOEjJrchUUb5CVpYlGFxoG7iI+txqxeeuQ3L/+S/YFIlS9kDOASUWz+xc+0+gSBl+9VqUyNE+RdHBqRnKTBoit46dWhx16JZCmHadyLINXYX9RlYHnMf0ND8B/SBPgUOiYvkZY1kr3GrDrCWUWh96xqG45ISGFegQPf+tlK6UPvztA8w3Vf1/Il6Xs/o2BUqrgEfTtr2pED0c7Gt2WENVv4c3Qe7jOGRHZdevR8/NkDWntR82TOvTgfzbrCfTjuSpcRl43IkfLNIHeGCBUEtyS3LUk9HSWJguJ3u8RvsZbt1tBAk+vx4Pn7xbcdzWzm7vV+p3BH8MexsH6145L8FgupiT0t8E28EL97UQujplfYZAUnr5qgDFIXzi4TMuBvHZ7/lsVh/B3ecGpZFq+F5TorWaYDUXvZACElGr8JGhjaB9N+kwkpjD7VkKH45inQ8kCvag9Wes7rejrimXPE8UL9+F9L1j5VDM/zYbXpcVeDheo/b/ZsP9fb8NuNzSjmPebdRn3+5/E4T7rKn29CCyR03N270j+OlT1LtJ2d0zaAJ2N2RpZX1JLNFtq2Tdm5IJOe7PEFOcP4tMH9dYnYy8zRwWjjJTqjA9FRQ2srQ8kPUuJdWx7TY2Ze0mQhhCaK3/3t/yYjCgYq+bsfcQGXXYqi9EhEd1pT007xhCt7vOWKfdgngcmg3+AFLhwT/GVzfeCGg+7VrNzrzu+6EJm550s8KNFAtfVKEsmEpR7nu/kJoHc+XLQMJbDtFUG4eYZHAvrWxScfQWuD0I+/HwoVbuDhnslCIgMkws2XSA5F6lpDJnX6+RoU69hK6rMqpat3OlMBMf8eyyf43tVxTvWh4PFJUb2nTBTWN78fV+PAF6q9shiPVBr+Ax4UAl7gbTLFj8CcWqbu3OVT4XXr7aFXnqx5d+PKz97MQ/cRkK5QUyO/o7Si8KTidDx7A7H63dzM7gsZOaKs0f2BKXl5CQ7T5mNceBPC2aXVPuITIxnUG/7NmVza5uGmVPvIxN1ni5RF5Lb/2MH/p/d79UewV5VJPWUxlkZuJbZZCINkryq75j7LAkYX4RMeQ7bBUnwtbpYLs5+h+Xd+bkFILQ1WKKNZicJr3MJ3bjnK9f2e5P4uWah0mgtPr3QgZi0cqfa4twNC/88NTPCpRE9dO8vEo81SX72+GwhnfyKAm+C+t0aNZ2K43WzhXq4x9hVU1eDG92l07vzyGGye51nzlXnw6OaGbREny/0dNe893Vo6mwE9cs7s2Qq13se/cFmJwB6tfWQrMK+e5AUv6JRKfpbGttc9z2mo6KoN5VgNwaEGbtzE20eX0TwNOa3NhVOnBut+4wx0T+uSwep+tCeDm16tSTmer6DetrQJQk2mTJcutbROYD68+1MRxxXdk66UVqDl38jucYu+azLNIrE4ozT//syK/JIM/ouPPSPsF2ZY7RpKCCGxEENxGTjQdG5qeVTJaDv2S9KOaZNgqo83eJjsKf5Li+1iHQmeYmFCls9unuJlcg8E2Fiig3icGPucsLXN0uRVMCrKdWkOHptpOyFW9XPFjeTFatouaFtNPKYRGD45AEyAFPti5EqfT06DDaQnlb2Rs1CTGx/3WAW3uXfryDg03Km9pDI/ONdRES1AEGYhHyyVeEDs3DHb6sIBypcE7UcCYYZp85/hRGkPiT4y+HKxoxBnC7VhqUwD1cl5hSg4yjpptC/ytRgFwCAnhzqJC566RbyKT7yC+1p05oRHN9tALMwH8X4v2Q+8t0G+p0gzxLOesutu1ifHscG35eY0uowIHdGnhC3gpjLgR4r1/IFLQ9pt6XpX+SgmOtnuUrtkWn8lYuaImWvgcL5NLsPzqByY2UxvERQ5xgsIgVtWsZ71VWEGvPMeLkbQMRH5MRlQyK0WXneY8Db4LXI+sAbDUscXvfxSoeGIxno1HZEl+0a4IWp1L9j33u4B6tucy1G/4dAI/oOnb+pMyjUQyxpw8Q1Gwrim69MdkJj6oSwjpEdpjVK84oDhhXo56BSFkxFUG0GZpZzxfiVg7FYnHU2FqdN+NFIjk6jczM83V4n+LrUYgiTCpbGHEKQ9RbgfSGsoVLmsizFgDritIKt8mIj2WGpVo09S2h1PBkgFfITNCBMJWv6Bj1HsOIYSTvcgPu+7iLDBxYCKOdnp/12j81VvUV3OwzA+KSCo4ISkgFd+T2n9Pw/XTBe1o0dN5PImIZOXQ28y9UpQ3MsgOuaSBA76cCtqtnXujgT6KGQEZGl+AUg74Y3lgemdSaaZuYHQS45u86NrChbXgSSg9YbmurhxDfCfig7rlJ+h7ZBWYIhZJlkqPzyB3hpXWZqVeUcMgwaeuj+RmFyzBmYlV7JWhJ9SCBsmPYv9gQ30dXpPK5SmKmBZ4v8NeBrYGKUnCCUaHv0vCnrw0i4w0Lq6XvPFjEyigELWhH6UyEMqTCKGbVBmpo0FHPWbgDocaebobu9k3idS+XqSKCjAiW1xBtzHm9b2E3pBc/HSDO2OPXCUDYTRYvOaJ03YytPXGTF4mdSWw4YZJ+wr+KZoXfc2vkPdteG5wpOH3FBRXc+gD/L0cxLRT++h3xtjxHVwbrSszUp6NGJKvrqwiS9nPyfZ53jl9FahNx4q0WOCZZvok4oOKzJUwSHXx8KXWMeAIgg9q9yI24TV51CHaV/9p/fNY9ipjhKo5UJf8q2Vyvh6nYIN+5qaF/+ZsikTAGJTVZxBIQo84RK2pXFGApVja4IG7zvmG+eLb4i8WAq2gfFBGC4zRQY/Afx+lpv3BRaMwmPVV5b3PCKDcR2VmFpuW8fHfkJUZ6Ctv5XcPawj4Obrt242zNizHCq+IenpKWLIxsdVBvGU3gpqrtFZ9Nc1CcEkyb5oNMz1rcl077mLZHpQOjcIO7vLd4e+v2zVrPRKQBlyn/y0616vqHXVUvfXHc41IAX3JFMZjvN8Uph6kWQXgsfBt3kbiKQRQIO1//isnH7FeKKUkgMFPGsojHrA4oFvPcakvQ8yH+kXHtfS1/tYi8vGumqd1lSI8+4tvW571KYe3rw0QkXj5nb8qbuyy2AZHTM4H4C17fQT9cSXjDjLMcSI5Lg3Zpsq2NJrltjpd8qvWQ/bjTKHrnGC8rGrHIYcu+ktWKTVh6MhC9rgvKoLCJkenbkmWzW9QhTf9VrU9n7KMRS+lpiyrm4F6T/4USfh8HGo0CVTiW0BAEkQ4Jwt6JXngdlJjNMcW/3gd4BpeJ3a4ue3oaDafMcNHZBDF/3CYflMAdpaQmN6kwvK4jSEs8qT4R724dnWWnwEF1k+8zdAwoHpdW8+eLcsr9yR2OuKv3MysJq+1YVOcm/hi/CHkCh/LRPWhoLTzomaM2dRGMky1SqRT00LUR5kFSfDECHOE/f3BUzfCedHeP1obPYWsicggVv1cTzxkq5Z6KVLPAewJVAjF0E6rYb4xFpQ3iJ38OYyrT4CmAi/XK6mnH6t2olnGZQeTTyQrdiOW+mqzWFPq+/FSiAY8vcIlq0S3BSR3wOz2NfrKHejRSfrOpmDgbFjSuDWD1QTeICu+XztY7NmJKT7bF/5wEhGX1BDNx33+6D5ClxSV519jWQqPMU6ec4zeMDtXjVn62rPF8OD1UJbVGZkU6ZEfCSHfEh+z0ZgYAljthz5r/CkLtklqAxN9uBKE5BYS0L+Cd7XP/kToPw3sEBnyRSGEJ25DM84C5RYrdEtIdwceqCpHOXoXJtEt18EW0BFLyopd/NIxn2iOAK5mmwaB7ea5OIH1+AZs5VVw3GAjJVexK9sVV/v572LmxZpf/b/8kqB2DEEW1N4UzZAG/DIaeo9XockCYrzEXluFsYE+jJ8dB7QZKhmH9DIoK7EADHYfwiCDeVuhgEgr7+hlWop0ywz0K4CIvTxvStALIN436oWH5CmJ/j5AU2wEKh6JFYJbClePuZFCnzZailHgqhI/1cItYXBsSimuJpOp0kRo8LKvh+ETyHu83jSEcf/BUVytbxXOqmRvRWh3S3Sj+1lK3pz/hx2W8j87JGvl8FULSxSvtEHv5SNDxzd8F+FerNQ2bbvlGoLVReMP3su1c5ANMQUJw3x+9ywSWyk2HbBUEhC8i6xx1o87EUOTBcChBcR2a8P9LxAwRBMiOrwhB3CIV9hP/uRPvdV1hxNw7c+t/mOmEkCRfbsjZMv8ImQC77yZS7+14uOPZt/lYZ/galWZK45QLOAgSk2ykAAGVc0bnz9/ESKqtRnvldLxkE93rf3HOrvaeSPmhCEPKU2SHeAg3QIom+0R1WA2R8YHRw1RPD//UdXoacI0recDjaZu3TOl/V2jMa7IGuWzen9cUkI3D4NJhBNeEr1IIpkRhi9tcSkC/cHoVRPyhUM373L9bSaIvvZDeM0Fm+lKX1PvpfCVX3E/kWEL0SPv6bhOxKOCFuRXRrqYD8S4c27nEO7xiOUXSkDEXZrJ3Lk2OQ62kFmypTpQi4EnoMORDVt4BbGc1S8PIyFYvhIeOAgSn74gNR4iK1clkWvVbR61t2LZBySfN/FQyecDSormeryQhhFdaDO8PhloPM25PHIkJ+WiKufbiKi+tpCgGFtY7Iss+utmL6Roznbs8wsWuFVYG1jdAinZfmq+LLTUIkhAC/MRvY5NY7EmgdM0ahfBEfY3dznC+cTSTp5ZSXM7IO4HmCHNp7kA7ABFT74gvKH+4xoVRLdJ89DCYfaSfZIOcko+HkSlr4KCWeqplGL2xrQRdP5MoXq/Y+jrI4l1vmIb6AFAaUMormNKTqunvW3I0BetmrWJxcrNJ+lOwxRdKw9bdlCmlySBpSM3vvxPFBTkvM6/4nT0HoMI57GN9LcdAPzVNm0Z4p4eZD+1Wu30UHcgAVpNdRT8y/47OCE8H2lbIXRxY4/4e8Gk0N9n/vk4icp5V8LQBaSh7WlWsx6+SAT4kNaVAGF2qRHcBp2g4ES5gK0t1+NRNbHi2E+nnAjkAeU3/ZRaMEQl/VEz5KPJAlQ8J8/aR+2+9c/rliIw7YvVcHm7/h1s9bnBhKg2BL46ACHcgT9rMekwYYLWPV7VE/M11RN+5du538C/cOtC4qU7iZijmmwX9XzY7h+H4d/bSBzXSRoekuYtzYRhoI6v+BctAcjUAY0AFTSwiu+2lSuH44s1heAbHftMET159tYAc5hxxgw0TvX97py/TblzlNRPuVCgbFWVEK6wVJH3C9Z55hQm+/DbsYQeYpV40r/m1qT/74cusnNcWct1CpxYS4YrfS6FbtNU9bRu0RkzNZglk0FLYBq+9TNzN+8wVgueRIgTBn/7FMG5T+ln9f0OClNwyhnzU4Or2ayotpYdUC6sbwqDk5p8izkQ5UVGtJH6dsGnI1/4jQtu43Go7AOtTdT8Hz5UjHZ/+/vy1+Yct380WqtSADkwGBRUWjaseh1kbB0bJvXV2uy7/X2y6spA74/pofMm4YUIErtpDUX0rYS4M4ZYER/2yk67QHX8ynQPisk7r8Pb07kiHkbmYbru7O0JGVckckwVN+/QJ6p3sUFm8zLLhhn2p2unekbwSaLglKdEEQv2+zNESVzSwyMUAGlJ4sAHBrUy4+tUmjGwOe+CUklS0N/TAcaN6t9RWhB3ciRNThGLJJ6/C+Y33PvGdqpBNGN8lI/7nCZoDjXyYrAkR6pyTqX5vi70CLnmgs+xmfhvpIExUeFkJ2yC+vPm3f55kivUnukPsNinTQfng/oyt7rDiuY00yIBNg32JrGbwm0BYHLwAPSd+e4nvjQt8NOn7tV9qqN95tEaGwZu8dypg4dZAypuJ5oLhNtoXwZFcJ5jbgN4PgKtYV/z28uFKXoMSB88/JwCc2eg9226q63Yyqqf696MCBQ5ZO5Q80aBwnai0oKatNtNfpRQ7kAFEtDDRjfJPxTsi2wtvPuxFjcgZjC8rXIbfE9YIQAmN4ULiC6fvEGEanCSosdcOV8smmRee0qoU6Y0APO9uXMyby4qE8Z58F0pvIQwPcAq9hCNHPSFpS8QU01HuxCJIpybnRtGjgDw0EMnZUcrkIFi9UAlNjJiMxzrm5rnp1iMiaZ8JSN48xfqagLD4ofSBZ492v0UBDT2sV+QXGMQoPQexb5M9LFMocaS+uDzascWibQCY3FqtXeFboF1yH5oaFsmYgHYh0kj6mSHw6hGaBz0v6p+ocgmTKcmsXGvs31cPB4x4xo2m071iSF2/x7Pix4SZVuj/YUXWG/mK2UEmsPZid42Zs8HQHfcfZ8bOGPwSYdj7iygscQlnA92fWc17K/++Olf9cXsAAuN7HY+cNIVarpe/N3YArKEfoPZ6QeQo1rcoJ8/fvillg8RJmhiU1O2R/FSp3/3rw18LSq9OfIsFRnL3Pa6IoEECpUzsdPLx3kD5OdHG6CNU8fmTtm1lmOBEDwF63ptHPb+pjhwBKilgWOtAD5TLqI1NYdkB6lYQwIcAGVnxct+c5ib+bDZLg8xD42qM0ncFSO5N/ZlEbHhMEOnTnS/vqTLMD0ht80Q2Jkq5FUQbrYE7xt5ICTGxJALxeV9tgF0PAcGk9wM+/k1977ZsOTfdUwuuUvbrqQ9crif3ZEip6V4IWyJPMWjO6FqsZhop2tPvpp9Nm0EAbHhZSnV6yC3cg0bJRV9bdiM0Qg2F6nLdAr1d2S19AGpgZdwnqRERoSXbApH2Rfecb5M/GDATY2QKOEs7de/TJtzHxdNcG/X91U0pBLYN7+NIgHl9N3oMyyCdVAkxOcuN6f2SMxPVtJisQ1TvFbHsF+RRN61P5wbRnWsufVhWsRcZ9GLYRSiA938XZTlC/auJuv/rzJLnvmJFuVybiJZlhEZftp1Q02KwvdkVoISKU0dyX4u+OB8Eu2mB3qYa3UOdJ9nCypXR9fv4/sNlIzS8mj+LnCyqhvY0Rt52S0SyZqoGAqVQv7kiu27yqnL7Zn3GdtlFHiqGSAiuXgu/uRHo1V693ShUYVbbMiI6meEuuN2FCWR5GoQQ+4BEaLvFRg1MR2ycLM3TI+XVOoACQdEhKDtFxnHpLXikA1eLjGcrqa9+z/i4g+FZRXgMlBedQOS8/nTUDQ9YE/6xNs9wOwYr3EZz6kWHGforVmNYo29yJHxeDdxIwHSnz3aMcEWx1JDgAf+ors//VZDEE13e1cVhnczaT2vj//tZ5ytAk5DBxpQ5S2bJxKNJ321IhQlAXAzcxvZ56KrSp7GMKn54gN/FQRd0rcn59PEz7fVl4cT6Xfp6eNFKCLEFSmIXg65mAfsj4zXy9wabTvMsCe9XC8a0c6Ryfa5AQqvxvThA+e6GBFXWA4qeOPlYk/Lj15o7XLpRZmSHxgAnUWCWMalF3V92ssC7B7GiXZ3KNlHhRaeOadbAuAKxw545cruj/rcEOP8E5ju1Qu2hFG28bOuCkzOBrSLZHrztGxfFUOJ9+/oPkkMunltN/f0QMVnk1jaIlobntSrv07hebxLgUPeyay4I4iO7g23X9i1MGI4m0NEaw36PVwMXGieJxE7PHqC1p72nXdWnL1zXV9B5vjX+bRVAJw8HJOoAUk+TAE1V2oEALhmCgb9YOtC+iklQ+LXediI5GgaoUiEIwE3dBONOqA7h/kMI10oYbny7nQVl5pMQRC8KE8WxyRiAzXFOlJ7mpkATMPgWtLSQbCbbPtpMRl9edgEAu3qV+rANzCaDEykVdRNvnFOuHvjxBl5u1OsgZ0feFjFAJfyFU0FARFJr/i7GRZ5HnSvHlZUpHBpBHcLERf+Ho5vOFcbDPwbEXMx45+bm6MaZVkyDHx90BOQUuROhBOUBOuFyu4j4Y/9Qe4I06je5VMELzGUyGymlqzSAE3bHQ6mHqMWcf13R4UPK8lUucYQenpVDdjKQw0GQFi6OORXY+jvBBWAy0G0HY4xsQU//yOzwcnvP43WpQ+qfvtm05yLmawOuSE0PDaoCI6EH17WjM2VRLyLBqpAvkRGFC3Je5wDG4n8lwMuCOCTjCOjZ4r/HQlow2bDvT6rGSX/3bSI/B/7/JtQr0eDYbykYFIEWtR9IBPgJk7uMnj+GzBW0df4MV+rAfpHmmcVTo3708fiVn+h8//g2BgRIwOAuwpIjTiXpYBfOmNgQDkRedXjY7sb1EQftABoyfdF/oXDnQO2okFD4BYdSjQ+pkxr0uj1mXTDaMtbUWcSVCqalAf+XL7e557Q7qVubeGqkaohNoA+Z5bzcqDyr5XdmrSDjifkCDWSUjLBPOqewD+M54ZT4A0lAwb/8kyV49jaOAbckXqYi9lG+ZxFEZv3iwOmF1YC7tZkMEFFAkwxxMDcfEaw3RBvqTSGU0yQmX5QPGSmH5JpMkPE0cfYKs4kPqFKfFzbTrNPO4PTB8UVa5yK2C4ygns7uDjHAhHk8NUTQuMmfyJX8avgF0E1Eo5fz1pVU0u81AFuo8CDY7FzTHMaWgLiRN5aCUlbbDG8TzQ4P0+Lq1rKRP43ZL7cJ0w3eTemf8bA9rGmbDzlrNC5DvZ/AUp+uHEM1asNG3IMf/Xhtkp0dVp3JZpZQumdWpdO9+W+A2xS7Dt4hm+Wo//p8IKiLsn851RhG9lzg/5Aebu8azVCLGXXmUrAvq1Au1xkzfqDMOnY8HT8Y/ZidSCp5CWfeohD2YWDEdoLHuN7gUhKBvVz9afU9r7/bvqTgeaPqD3jCNO39u40d89tQKzQiDbyS8Yz7KvUVT+fRIB73UMoCNXWwujJo8ra1Sf1mL1MAtge4184kqA57CH6aUnEC+AGVffbsBYDkgbA03tq7sjKM56kopx1Ivr8q57ECBEs24/k+DJBdaS++DY+SFTlHkgWlvXHqRA8v15BYLB2ZrNHLjxDwuPdgtmIx7vHevkHigQgl9V0evXjzhAD7B2YwwRB/0AymZQ/ndE78RQPRNio+E1wPfvnbMUp3l9IWOyuIw2HG7jlSDAHU8P0zsXSz9GEcvY8L2kAxqkZ4AAztwiftb2riq5Dkv1hkQnf/XhXq16Tm/PMGaY7CkD6AbnGWujCQSX6yXJaSas8VnLuYWvraG5wqLTH4dGa2GNh/FpT64RBiIhLnK4fFZNvFf3YgfZy0kZSby6SKoKJV2fMaKPsn/NLBopElQ+sQLaAe6yjgHR7tyYC3jDPd5bChY0EAE+Rbzyeoy6+b1QMYl5AeTyMNMxH4HznuolHn2TgFv8iUQCYWw1Ce32BE/F7TknFHthhVypppSX0Et1d2Ocdvxz92qX2U9Hr2nS4d6byTFOmR4DOHT5eDJa+IRoT17RWPHSEwm1TPxMybVG36pZ/K5xyT89jRwtZMUkTm2lUf+OjlwUZefcwfb8I7JEgb335SZUpzCXLEuf/AEyuICXrj+bxpg4VyWhY3FNmCuDt6jaRS4DptDNYXQd69pUGMatDaZ6wuodcDkZ02O5RDTqsFUX3ACc+8eOGqPwvVoXDIsEIpXDZT8V6bhXP6ToplAjgLozNMU4BZSuFpP1NbtKYTvikITq5ISAtBDDXzjIo4mquwfzktcxeIxAmaZXARCMlvAzI2BMPbJ6kcSD/C++oGbuOt9twx2/bh6lFR8KNZuW9P3kOqk+31JSi89GlcHQP6UUnoZSDzkIKd8Wv7dP9W8dnfhY0mN6TdmPm4i1ah5ea5c00WVLazXJVYvipiS4j0U4LuHJu9GWkXu7JTWg2Vl2WbEzSo0eadolEQ0Nih4IhBwyTVzKau9THwZYsFf0QQdNNb2UPv16sCo4xFZNynU1m9h4JkEbN3ykdJmMHdWuoTk+9tHvCoE4ghJfCEOOfTnMCAOj4UXAhn2707yNNXAtYlNuZf0zvbziyYHV1SJX2qsBCxE5GBxzPP20tznJQqRhCNS2qe8X7+aJS9mnqLaAvGugOuO+4Qo5flabNWvToMJkYh/kUor6522r+Mnx3xUW3GnNEd69Af2HECBwR84bAb733FTJycu21qVIXrndEWl75RPp5a1DI21LGMKS0qZFpizTOeewqU2jJub3J8MBxbO35FojIjlJ3fQidwTYsy1qHc2rNGIaOfvjx7saj55ohNZ23iD8mX4GxVOiwJt0lk2uSM5Pwnd7cFz2iKo9RX+L0rX+nCf6CnpbqBtoc00vkrSwwADRYo2LomE5SjtCwSF8+io7/x+T0HD6Qba4hmjr0Kjx2Nm62YudYlNCJFDU+SfEa/A3IMgCcKPkWt2yDTz59xIzHfkde4183sdqXhXLfgGm9sSetg42QLlMUXGJa/0Ehdo50OQtVcMjUf8t9BarDjekPM4xnTLk6b7X7fhsBNY5kUKLfXd1MaOCnSDk2ReZvg93TYJ/0us5aJoszpjzQ8/jfjLTqLE1eKqP6tHWyT4WtAku6/FAYJOI1iP65cjMqNLUcVVPSiZohwSrVyNp8CO9JVHGzNjcmmYtFM62XDFebwc7GlwEIbY/xKu/AFYbKszesL5nvT6mP5sTBV1bRkL9nyEmmJvZHleocq1IF3vmxU22H8p0qcawYfbtnY+giV9l0792XOW7pF6Le+wt6kpGYAUJWLAhGOgT9Be6VVLblAb3VcTM7ReFd09GoYN0yAW2UP0tJnyJnASqkk3sFEtEITwhcWCqjp1ZCDLuwZqtgYlYEYlM8FuaXpnpN3jPblKN3xD1Up+CMeEEail7z2rE/ltXJvKImJWnJdopTuSq6TITlD3VKVAGrz0z3wZQdhsnXfIxlaea7vToCEKcL7TdAScVEvF7NKgKoQoFR07/K8s6bh+2CUmznfVDSQ+A+lCrz+P+I+WE5HGJoyIRqP1Z6/ZL3MOPIMT8So9MovP3zxhYQVDvWq0kXdMxDHVqev+uOqZ4iBhG503iaCAjKPfL17bFSHK6V6VkiyioBuF0jhGbm2UG2Dl0jIRv5a6JB9LiWoL006BozNiJ6QEwRFQxMkUXmaDU56maSZvCfUlze29mrQ2OXSfMoqRLcfyOcMfVSsDJA0rmljWD9aB2aVSThdb6cBmWcnA9wxmLeIJ0DX2mnqPTmoYPFGJix3LE+Q7jWtLUwIBjmHCAbLn6+jdFrjCl0RgN6gGoo7pg7eAmdFovHpCJzFyTh6iv3p5OdBTI/SGFIDM+ET9QH8R5s/ZK/B2drtBj2AR7evl+DG8/rDiMayfofmtW9lM+Cf5jBDGrHp8PL+JesNEHBxkEop15UhSRE7C/HntihuwP/pdmhS00Cjw818XgSzee1Kwk+yRE11GQdFOSnf2Hk9ihw+OqXWMYFWIsRvnKcWDyYRDYQEhNnOha74nHQ4iHEa6oLM/cbRtcium5FDCd/xg0yYAO661rGksdiHc+p1wUbZXe1ymnGbptXB2n09fIy8ynrhb/ifU2XwZTVzQ5gbIBObngi0Hh0pCym+dO9GjJ6lEdu0bC0u7Hl+vStWsI2SYya/GZc31qw9/aR/qPkTO8uHfdaHy+dMNGxhaN0qTZNv64/wUWBzmlxDM/iOEzo1RHRcdMGdRB+p9lb9/pxfQXt9y8cqeI6Fgw1jhXqPNnd2hHhadBpLV14HZPo8/kJnKzT2nTfEDTOgKHpkxsgqF8qPBLKMkL43w60rYkJ2ZK7lPKD4XZTZgpnuNnFVvRyJae1r+tbLAuRHxXxVHZruNnE0ilnWsiDtvn95hMeS063jS1hHoYqguf1tMGd3c9tVSmu1CTdYO6IpNETkq2gq9JZF8sS4reebLtMioQ+wMtipEdRShyIpmlbO6FVr5WoEJUxuZld3EB1PKiLEVjhmqWX5nPcT0CdnA+tO/gQ4LFacb+sr7W9PKlLaawmPSQpjjSTLiscSRpVD+DyvFxg1GDAc6o5b8Z20AGdtQixqonoaJbx/xswmAEXC4s/e8rsGx88Be2N4qHlin+b3VYNMvS9FBrM0Kjteyu9658zJ5N+VejiGsu0e32BHJ3RCx04DfeUuNG8ImOmDjTkuY7A6TrGijmvMKlkZ6Mw/W6UVCInuX6vuO32Fc4GQV5S8oacwdA2wEOK/CUex4q2k+os6S5qqZ/wDMwO0IvcuoK/qetuSMNXvY98qgk/e9uKU0gyLnQFm8jHqWDRK3rU95OSuHWYTVoSrzpBPR9WxNf2HM47roBMg6D1najxQ8ud9+VXQot6X6USnae0/Lgx2KSKdTR/CKyivhfXiWHuf/kECczaJWHpfbq2+Uptll8tT4ELgIp8ipHlc1vYlxJ12ItTNumhAhUmjb6VFlGbOrSn0uiabJCsSeP/0xmF/mNeKVOmUkk5WW1n3ZwTe4iNk8uEQIFY98x3Oy3Rw72ccpX/LHGNvAYWI2UES/LxkXgkJKvL+wIGRXfgzjTChxJ902PoRasNBpG9zJaj/idB47xV0o5InlIsSIlvkGWBQawsoHJJK/q7anK0UKNZgQV+5HXLfIhXz5myBprjc9O0TVGxj4vAd5cmf05jxcCMrBwenmpYTl35A8EDhpF33sC3EXDw289MWv62Xfy9XEANScpN4J9rrkNQEf2FEfgM/jwN81DkPoWVeu+0db1g9YsIJZ6S8iSHuRkJkAJBSLB8m6fxpno4omgnq0KfIOCDkNRPoddeKD6yKqoFlH6JdKgki5dOCK6iHJuiIRn8Lp92kUKp0Wr2IBZ2x/VVulnDP5jkeXuqNeWLo/fW0eO5M+Z/r8+sYmgmPYPSZUcrNKsfvHGs9JXIlrm82RzPX25ms2ymLHjrx6By9WkHkyFHKWN6tLDfLRJP5p0BpJnKQMPjBDeTm1G+vaFj6P18V83aaZleY9inmQpK3UlPw1tHIS3yGfGuRl4nfdShs/G6Fli75w80DO/0P6Uf9s0Y5UIy2uUqi8c/k9290ejWE5sz8I4E0FMWiheIAiXfH6dxwApOarvP9a3DxgQv9ypO9q31FFGMJHyP0+v1yzl+Al4lOGDkPMuPcnxMAOQgbwmrTvems6f46BSrvBk6MAq4Cl1x/rn1d2LEkrQprtTy+I1C2wNM+kAlJFUTQwtatCTXfV6GESCsTUkd3ASR7iMW2yMXlcNp+GNZC9TzzrZhVLLQLUmENJ2/TzkrAhaaifI25awhMj32munNLEBUWgJEoOi8x+J6zsACAoYL8iSXiLBhKP555PqSJydHC7Q/rRryBXdBn6u99Tp3lGFAm2JlZAFxq85OiDl+bjKYuhTN9cpZbM5QkAmWS4h0rvX6h5NzSK9hZO3nGUFxDqIOS+U2TdLiDABrB0OL7deiGL8cZQaru7qEXa8+IyXGRa1MxpmyLjRsSO+8Pb0zyQXpK6ZjbZxWOcQ337WjCD5tllB9fLT2U5YoqG/cNKb4sBhp6juc7eoSCbA+bu1Mb3AB/PcOUk9NE1tn5o3HPEzpiNHGCsW1QjNsHIktQMDANlycyx0fiKWlrmrSPeWUS46400sfXJzWlj7HxlWIi4djX0F+uhEe86wq/k/Y0J0z6bRKiwfkL2rjAfLIoJRoGPerXBSO3Sgsh/m6T2R08cSCmCv8msENSVJbwCY0XUHzUrmQeER7pObhx/rHXN4OjTm4+Ja0GCEGp3No/0Cr88jd71mle+CESDuu+SqFCjtOdsGQ8KcCIbyuemjIf+oxTavHNywsCm+5AzgybctdiODUdcTXUYPHxr+FivTMjYdsqkm8eQsskxDzefa9ap8XdFwrzBb8P9jveoLgJJYeqGNXVlcrekgPD6ldxZVFUpzVDlL3/tYI0XC+/Dmq+HLxO9d5eM4M05sTmSCr3YcbjRl4kBSSURW8IuO/1juH+ujD2iu8M8gytfGVuQiamSwLnkSv5Yt4HuYkneGJUDGz7mn9Ei0+WACKDRSlKuCrQLLojTLuktPNZ8uhzPVVxnA45fK4fub3sc1mRSfCQ0rmlcrCt6M8gPAhkm2zbAyqS9JuvsRCVHbAJTu2RpuDF0i7cdkB/PycRyIfMDAkRpZeVJCjBVei9AAS9cjYm/R2YFPFpOGE1uefGoNsvXVUMwa0mUqVsZcD1siM8sw2GSTo0+tWO8kVmb0BfhfFqrOLBdphc3IGGzSkbfqIv5dOnZEAUEFD/0YjhU8XftnZHbFmnv0kS7cgI8+anWiormgekGcgKTopdlmPNZvESfT1mLPltk9DY/cy8+HfFNnsDH83+VmrJFfm/nuSj8k1xl4ablV5Ig8gJONJjwdhqPDmzDlyH6hDACIfz0uvru5tCtSLVJKXoDoTxTnOV1VPfhV7XB9sdCHEY1NXhmbf/TI6eTXe5Lv0Qm9dLyE+g0Y7fkfyM1/uSKIXolsuSLeqmPabaYjJ6MfJx48GtJ/4LVedyMYgOkOdgcake2sQjoE1HX9NKuEVD2hzl97FVea6ukRPcbFZdEUK8YqkZID6UEkVIN79mTY+JxMLFEvOXIDOW5j7S+1Xg1nGtAu1MuQ8nC5xOdevb3Nur7k+x3CoYeVSqfuocUBTwSqoxoWhMuEsW3h8LfDP84cU/99YnKBquZHU1klQP8LpUVALQMaJRypE93YrXubQzFo9dXRPt7Qv2TBKl0rVp7R6rxvztDHUIjlwFTFwGdZ2orS65byNa8zO9c+313U13nQSoFxEkqSkgujzUnOmydD2Ttlx+Ab+RsGDw/zpVW2HTwNCGf8KTg2Y4ekR2BKhMYaE+/sV9dPDo8tW7Y6ndXdknNR9yJGPbp4XIh40kawyJsBRuoaDyfERqW99MvYFfipXiZyXvLq5NMkjxhdOY689grfFOSOP00Y2dIpZdyJvi8aCGojHRZJ6etAYcjXR49Df63v6U+EyG3k6zkFYRZ20fG5nDKVfTcAlXrICQc0/LaeewoRQPDPmcsNEIU7gw2GEqheprBrUAXN69+ZIazIN+h+WvHAjJ4wks0FflUDIn9btxBloZRCtSrjLCEg5zL2WzMfcoaFf6fdReZR2CfO8dtHphbrzOpHk0oY2lJTwItwhGqnZqcCXplM7GLhmwZqSdgP/KRXcaWq+eT6F+fIi188OMrg95JeGK90npJQ8wyQZKc6zBFJ9PmbvdljNkDcX2T2D4SNbzyaHPikj4X/ErSy2pQVNPqre4wjsUThJJ8yJW/GobCh96vczC7/enga4s9l/GJ8t2NTSXvtDJg3eBhqWoaG0efXJbCi5lT4nEAHBYidXTgqPg89Bd1K2/xuY81dKP0KzqEdykxRs0KHuiypmxwfdvxFF4EXiMDFJN2+edtKL7xKAH2NYLrDFUeftvlDdyvhaJEpoTtv3QQGDrCfv/QtoP21RGZeRaTxSMNosYQ+vCmxk2o6szEi3YU2HCcqtSkOFM8riV4E4Jo0tv8KQjFojOTDc2GT97b6XHNo907YyRJg/gZLk14dF0R0hEdfKZju9tPm7yX4eRSJ4YejoYwaFUwjwAw0eW1Ya+UVz/x3+uv4nDyc4eKS9gpT6ENxzRLI1xdm4RQ8atkl3Z9WNyX9eZtFBOoaFDUcmxxWFfyr3IP38fGzSax8o2xkvD2ymCi04DUl4tzPyZnCv+5RZhlJUEe1genULgmM0Y2P10FfgJPG+jMxq2YPl8Mjn8ZopAyBHMqMhmjtW9IOn/bpvnIsCGQOBHT9/b604HreBCn6b3ZL1xVdwYH+HHPkX64zt1Ae52iYkvrnr3xiikZHNrfSwC1idL8bDHlJteDQubj5GTvIi1XQcALmWJ1AdS17HdDPtC0WfKW0+hFMHgZKnr3VPtUcBuvZ1SrLq3gVF4W+XoWc64G6BgXnucWwu86yK088+NnxTEtFNZkkhtG5lWLAy0Uz34ael0rYeu3T7QDUGLpPw3MbCTqoZiMjPmSCmk3xKR1Z82cmQ/755BzBHSs+BGIv9ua9j1PrdmxdJyU3NaQlMYqBWqfU7wsV3OZ6C2zk8W+25zzI6eYadgNl+QAE6xrM4Bp6e8wo7JFaRxlm5EdkmTNCQo+VE4PQScYkRaJvP1iuWDG35lkpFTtIQvtTTYBn2xGu1IXwvLEmf5G9SFsvYVhzAYQ1797V7rrg4/EKDQbCLh/GpuQgeBWC82ybQlUBf48FLhoGOYilkSXBxUgnEpu8PtIxCmhGJcCS+g/NBUeuKIY/Xr4jn4+PKhNoZDEGtz/aWLrvjNqS5VCXjYbB4q764CIZ1NPLv+vMq7rcUD2zTumeVPsfOwmZNowpt/v30Lj1k202x4lzcA7tX7z7L64OMl5oIlD3GftnQWVtRImPpFVu4Ywt7IYB4iAtlRwzDJzXkGOcT/1c7OK0wlyxT0y4h0sR7Lr/8pLOKFLAXfDK8KUUMACmoU8ZCd6k/ueF/tNK3V0bV5EfMyvTwFfX2ERLw34AwTrypzXbveCCqXLL6L92t+K97hFR7Cqye8iuIuae2VaISpFLJssinh4LReSSZtxD4WPCvBUQ+05s0hJ+Sq3rTB4+j+RfJYXauYmjtUTO3VKyPDhRP7B78JEt/uRGTkuve8h6lK3XEN/wpz/0W0FAK5fG8ZINmg41gzFRj3YDF6jjsaq0w8pwpqU9DCwxWUPU500EeO/p8lEb/lRc9bReKBpp8OEr3tphRCve14blKBTrbm3yLRd6I1g2Rlu9xpdRtLmmESilDrT72sP7KbmIRRmdo+ZUGNV8FtmDvCaYfLzxXcplIFXN765e1ptMyEuNnPVCDQ7LWGat2Ad4yjT8r+3bAKGIApaXBvEJHJehfVLVTueiXEzX+tdk9Y02KVEM5kSvvBeZfxGRLtc+GREM1GhQ4UYsqFDdVwmrQJ0oehm9wIHmF+0esyGl/q+/564SufLvkEWWKyAT1P1GFoGnty0LkL5mmQKJcsWTnHQzJtojnhllfW/yLyXS8alL/WpkeQo1m2ZU0gtPZpONRi1ld4cWbwVbS3D6wbE0UIg9HwXxSeO8JWFa7IBkBOp5i2jj5Hjn5vfWoL7GExygSTgZ8Q+QSKrCSDLsMeSwnjcm26khrrTddsn0gh98H+/Z7lxMJLmFNh+++WL8CbqKb3mkCLUrXhgnQ/mXfrmbj7aTL6is35DW9MDAcXWHOiLY3JlwvQRYMwbr6//N4c2b5vAbistjFvsHujBzKUOxOEt6rRRtIE2mmRWs+dwXSSgttTA18a/81HMcEcny01EhYKmOILBPdLaVIE8mKT2h1bMn7Cgkk3hO9/OU4rw3EkHKxQdlhh96DNrWrfhJNe4FYi1IlFqF8BZNrJGJAHme9DeXGGQW1hUn3naie0g1SQf2T3nLmfmPKUa82RZWMBZlCA+9T/9NGhdfUEXDgMvxtYNdPcoKvSVnuuhjRh8PUVA09rpl7m+9DUB81HACWszaIoFpS4kM4C8TdWEYFPNIVljBcdDQTo8L8FtMWRmYzJv5LqL84PKwQeixUV6mFurkYTwISnyfUCFfn/JH7iJ8iQY6U4h60LZix1+ymLfl3eawhiU2x9I/pyp3snEkE8zxtNrGEt8FrM3jo/ckUVMjonp1uERc3md/pV1056C/PzS3Sw7buVcWetnSmhQtD1nEYq8jlJ5vOjzwfYD6wu2ol1R6YyfoMgUUVBHLotOTB3atQxvE7G7/p7v37ScN5ufD1kDZmSVS5HgCDSJJrUUQusLOqdFvUw8HBILrV0hf9V8GoqFcy7+zW8XRdq4TlbR55A/ZnpviGg0uAtiWQ0yyptCNZLhkown2OvaJkVi8/RCk0FbbP0bOv5o9KTUgkM+o7JRpi5eFmxuFrKTiuvJxjYEgAQLKExOkv0vGoTLrIyK2oBnbAKRd12CVeLlJKMmcQIRvcAgnWTQ0sU9czwVbhoBIaWNvMpXIGKV6zV84R7PUIsRfi3iT+kFRLuB4lmQ2fRxU5zTb3hTPXE7RQ7uJFhYxN6+wGKQl4NCf1cJ+lUbG7qvKyV9oJ6pZIx/pyrFbpkM5ZeOa+Ox/i5MHDjpAZqpmUGxVa7ddf1CMSY1DdyahsTbrU/GJuD0WvcX7opgXQup9n3LZyrZTdgttn5eb/2I6ihe9T3fXftNFNhOog7mhqUQ4+ZG3jp6bOQ7DXGexzSYm+AcEGXfF4KwDk73nqrdBzQgprcx5RQhnR0HLcCdb8fBa2zkOri2kBXQ5cv6t7Yp4JborwAcgSqu/3yDWi/GA+DS3zpRcHrXwKbcfkkunEeXnLIP8TrCGfdR3FN8BHERpXSWrgQbwDTjeV77rR89z9SDcSSDJ7M/Mo8q+0XOZckTuhHaV4wv8kppz/O0FO39EH2eBUfiWirvKfiLT/F1Oe87LL8GO6XunniffB45q14pjOvloVT2GM2Maz40AWH5LgNQj7dd5xJOpOqwA7dw+VTE0zEiALly9ilhoaddB+WcRmZB7r8+qQD+kbvfLuE0yWSHzLMvUxgqSrqzf5veDyTgmIQj8X5hyXbLyg5rjoX/I1JuXBu2r88h2rs8IKbcG6xnqI++CSOfcEHy8pluYSJ/UObKxfPEqgHBAoaJMbkC1RFDt52S3nOk/s+VftjjiIYhDn32zQ/LdyTU34AZoEHyndkUyBnqd1XXZl/0Q63YinSol5B7HOVvivbimPoUe+M2CvWrLIjm9ai7u1BphUcAZdWhzrqnnC0bdZn6B00wFeHpRnRWuWx1MhP6pMqqc0VsPV8oV0tvcyElAsJKJuddvrDKTUeTarrxoH6ApfXDlbrN0DKwVYitvNKebXa+L2i6DoAYW2i9k+Ud01vl5FzP1mb/lLzesLJ38qTm7yHOWZtxPBzaQvCsuyiduP71ZTH/TO4ZZoeeRc1OiMdi7rDTKpMfwWSTKKa/kXmlyw4ozDXVuhg4moHrKnnewlW2rSIhkMm+d+8FgMhMEtm2cTKL1MtGj59IWOILPQsRgZ5sR2k7W26EgAao55IsAIoERYumn9gkZ2LAsmBRApSWSUjlINBITRCBgJirHS5YZNwRNieHAkEBJrBC9KY+S3rAjwWNTIbrJlpzb0aH8vFBfsSenoZYayiSqQqooujrpyRpR0VuXf0oJz0tWTMg4kDTyqult11hySdhAhPlV0to6ExmqFB9zm29YWwvuQMaUQivhx007HN3+QRO5TQQSL3SsMSfmoUblsIcK1X38n/0q+a+i4xXnWeKf2FFd/Gpm8Ka5lkm11qyPoTEQpqQQ9Dj2d4pYxm3lW5TKtcwhCu3Vo/p2/MxTPyioxrB9SoYRRKYL57QzunK+xoXYyvGnduX6S9x502oO29w0NNhVV49Zsor5KrwHHzKVMQ3p/0eRA7Wsdswq+bjwURzwkLQmOqSEh/+R/TvVPheGu6W8yVMoXEzo/gBVfpF4FIhfEuFoYpNPN3JXexgfTAVaaip+k/sEqSk/00BPJWbryc6o0UObV8cAj04cmlVHaIKZvIsIxds6XK2RcIfMRoyqzUX/9/TNiZXJ+R6gDwFo0dyI4AfxNzBTYprfHxL9qZtInLLK0AYYc1X28TDPNDP6PEW1LEomXFw8KDTm6HTunUtzTz4yIJmchEzMLT3HjQfqRo//YWDaS/id88XnE59LaxUbeYAG1AJ6ldh15nudkAMUTfWi3sc5VMOUd6V3ZT/CO7wRWtuxLvUNiFJuhXrzdDbWzKZ0ozPGb9gy8Wb6BB0L5IXoY5PtwV8EELNcYAzczNZSAL3cYWh4hEy8LCxAYbOUt/yGF529XkE4BfUr+0hjrDVP3npHTgYiyMpSReUJoHcm4h+M7wgam61Xyz94ATVmZfqdVw54V7AsEgPba9UjHpgT61QKJUZVGJmtffxxFMr0YeAE5FROOUmdHLNPbtD+nYTqxF8sh1VoHyKwlfQIcMq8InEW0cJRMWEssAefgTpGJFFma4QiM+7znIuGCj4f0IuFElP5RW+BWQFmkWZw49GQ5S4EOQYz5qtmsxIIX5/lMwdRGPV4nGC1Edz4ygO9E3npqvfJTUQu9WZqIE4DpU0jQbdSHudSrkGb/xSKkT8ONN2wu6YbVLKUJBDLYfiHp6897yXtTlDB1d1ExG30D5G32VvYQy9JJ7sE5bHsx6mld1VhqAcdKfjQvXl7qVcotI7PrqT7YCPKgAiVnvdHCvpeFVO2QEGeA2RXQXCKhBA0sHEgN3X5Y8gnUIqaFpmdfT51I1WMnxZtGxTstVjbflDLXhBrPQe4MI0amwGWRGaUU5NRsnvZ9q2VdgCpBWyjLgEJsC/heUTrDLt7gXeCz+g6MmpLZNezR/f2mC5L6QzPaBPky1hfxPgM5Mvar4tOYYxSIeeC3ZLj9igYghyUIw+eXgfphHVAEfN7Je1tkg/1zgh2WOXVHtj/73iGjquufrsAG2Ox9DYAecubYoLllCyIvSJD3zIvfnlHgQrfTmUyO4+UXBqBEtcSdvsdlRILD0DNo+YOlExbJVLlO1erJ/6/tdoQRBPatcUBokVJHIa8fmzLn835+L+CN40a7yp7mie+HPM4IVIiAdaPK3wKUK226f9T7Zs0NnKUHbbtQFH7Yee0Lel+dXEQ1FZL9oWDcrdXmE+vBKUQLZDngzJtEYbo7nk7fDRyrBfE+2X+sQnAOBC2PIivhkmHBZA5x8eW99PtFMzjh30/BMYXvi+z0BS6mAzQ26xc8md7usFLqMQH2S//lzErjKxteCHWrwDjlg8LqqWWD/el1CWU2/48Is3In1FU1nQl2k73iQZVEDMP2WzR3gDxU2iEZCIqboYSUewFxOOjcZ9J42/MCxZpRNjZWodSAWLg8qtQeMSpwKbQDJ4+7MbF0wLZKdG7cLiAqS1sMkqP14zHtytWJIgbq1sDzuu+l5cwpfpqp4CajEDH+bsIH4pv07giyjcB6E8iN1ZgShe/t0fyj9auHT/rh3V3MNCUO89e4a/CfcI5beYU9rY3gDj6RkRcxJ52Ne2C3yugOeT1pTYlSQoGxF3Ks1Xgu3viFR+LagPKeuvMG8W3KmVhwYpsL8tlin7d975eRJp97TvPG6uzg3nthJNOahOEFl+iN7kRHvZRlP1FNHGX/D2C41IvuVSKSvIdH00yxrDVSQNVHG/fbQVL/XH6g98+BPHiNQZP4calRqbkVlbcanyzxqCksZ3dokzEf5JbCcHsLSVLuGF9V7ycjJEwUZUaFLrNXAMbv7HhyBkWYSeEQAtp55xLCjrdPvtNxoA0gbVqHTckX8zZ5xTkb5A+RBROP6KwgfUK7FOWIrAk1+pwJMiYXkmvcGequYoE4agTc+pxo+kuWmEpgI3hV674cdcsC8sRh5uMzMPQDs9UUMmjalSaLerPmjm8xfoOcoUNFhGX6NVCSCFAYj+H64dASROmaWXNMDlyhn+zmKkZCcWAAdfjvcfbHxq1crrwOLX9/0ezMWvpEM0gvYEzTJY7pTSLbRr9C5yMcDYZPFKTYjIECCL4Gx7mW3278YbbFeo03aXb40iqOHs9EbDr9qdW/QoXUFecx87cd6njxwV7uB0fzhomD026GK3G1m6g1wE3C1XAWjJzcgmFxg1WqInu27np5uOTJUg/L97tqTgoUphGe2ycDRdMsakqbu5hUytu4QvDVgCNMUwXi3pKwwtK1eDMY72W6gcYWKaj4z2pJV6nZPhTG5UmBrN2aufloiht0DQbayH/9s2IGeNseaJ1tIbhLyWpfR2CQ/CtQYCJxHBm1dCvQOYMyYRGL0rpaOzlkEYs2En+CZRYutNHddxltm22044og36blGSpMc4Ppi0wgORG25JDfWsE1tJFzo7xq6ZcbOd/tLiYCE2HJXVoft5hzGt30+KnwZj/WnL74TdYbSJSfV+fVMB/UJMoIm6Rs2JizftoscKJ+fFs/BnYZ8C+POSGgCRwT6WepOiq4SiGe0VSlnvOj1/tSJ7ZZ/40xTRB/1kpSmBahClQUjW7b5x9EksMfE0enXD1Ly2f6NBo1eJnp2wX3dArsSV8OhGZ1RJpKkrzlDYAmpcxyPWlyCk6ugBwGZBbTuXNDufSHVqjzCJkFIgVKohumD0esz6j3rxGPYYlqM97KTx67C67b1N1N2Pwk5sBrC40aDI4l0HQyzWGYbF3Zu2BhKeu8hezSgMtRAlTTixtbRSBnmhCEczcg/e2VQd34W9KWf2my2z4ZqyItyXECOyur/ET2nMCJRG5TYxxEMsXEsz+5dci6PBom2LGgSO+KekMpS0Ijxs+MphrQvl8uZR37AOqk4b42vyZlf3rHtmUStLBzukJXnZ5t+64DOFB3/pOIx8/5ZYRK9oBYPxVKbAR2eXQF/Jdhft2ptZQcz7XiTBQiFJJCwtp6RDayA9Z2ookNIrQvurB+o7n4wfMuwdYLuFXZcpasJnv1MXJtpxWLpoK8oFdv/UwbukMcZWn9qZcVQsBwrI+4N/Z9TrTx0cOAPrdsRxlnlniiyJ4L/jVdsTiej2L6VXAk3inTYXHO1N1vJWszvPfAc61B7YZHwsriPWRg94dpCunOJ+tpmt5MDhQTzkZLY1hpbwMPkeRySDqO42jy/GVSmhAkExhC5bhBSMmIA/D7oFVFCc/0ELOqocO29rSW39xs0TruVIJFG6FEWOld8T3jc8aXeHia2yQ0EmFK81IxwCJ8YKkrSChXTsPgTPoy6PUP+s0KTGfg99qKbAfdfIfLCqdydO3e8iiuM6/Q7W2IPpkTTU9KPkWwY0Cdfwx/a9kQ6HyX9STpF6HIiEIjqIF2SFVlmnlmNFnSJk3R5lgsyiQpjei8+uAVS2PIrGiHgSjkEar53TgK958/I4vKQPkBYiaC66Po5D4Um1xV/vDm0rgUPQ6UpoSOW0kc9EJaFtUZHlXpU0tqknHpuSBWVcZSVc24ApdHHAndnVEUOnu/DzlldXHNc2g6INyUoZoLpy7oaJ2P2sKvkKUPPuFSxPtpC2lcxeDWcNCk1bjA0nbRG9J/8ybCIjzNrWau1BFFjw/2JtHJ9mLFqTl9DEW/6xywIzM6vkwMSaMd9jjeElIze8z/ScndqeZ6ZJK3+NA6yqLgXcdPugr1QWNQQnka38CVNi8DUUUvGOQjHHn/oZjdsIiJLBH3PqFg0KbXWVhD8bufWj3CDVE4PQvO49dCZqlMIUcLLsj4oKMHXRTQda1cGFef4blszQU3tee7d9dCw0ecKiKj88bgSeUPU6IBuznFzN8UeHo53/IigTOx4BPm2G89QYSdfq7dmPRMVjASf4+Y+FWeojrQN9wrQ6IfgR2ViaLpIyCA7QkvvDEwemPve4vIORdkzDbMXBe9TTu7Sc5gPoAF3fZvW3v5Sqb58KrpjMWxIDAUy43uRJJKkuveUAIJnzW5ATC5r5954Rv8n7bGaWpMzb7tl5JDlYPjEvZ5t1ILh8X72iLhqVWEK1/trSMd/KXThxkVpfhggTkXVlT4eUZlZtungYp9LHCjw8+441SUpbf0KkDx6Tts3KiFm5kFfD54tbsxXze96DkcKChHDACmUWxASt159IENEYfwfsR/SR1wKFkmANYPC02FpwHfcZ57tHegzJJrT/XmRkgc7ZGDmXslFeKGSzDISTGSnAUtUizP+5jEOfyzM/DaiWJJF5fqoLEWjvttiQldMBIFlaGM/qqmmx63zZwo6aAxWdAHfZGgUupkbxCb2o71LWffdHLbF8dYuB2/zRd/6GYwi9BT53nI7QjKV56+hhuI62RrMLjeAVkY/SvOCpsBABIPCczc7OpkTWXBopsrqz0uymxFax+0qPU7p9Ks8fGtQkZ/MUNF45MtrFqnJuemaOMvUTfKOB/4TJak+4I8DWoRdstvCyMiLgdohJjwUP9Rj+2asoI90/ll4UScpIKx2vyFr4VJA685qTTREcKiCnYlDfPgVI4nIFLuTGZY2YHLluHiZE/+SRa2+HdH0hV9Kb4j+r3+2jgCh4BdxLc5fULGgfh4tp+gupz1TI8GPsQntAgAZAYISXeWbZkTBLlxvTe+J+ZX7SDx9uqGfwxvtQ733+yglzG0FXdLKQM1MyOS4VPC1WC6gka5j55gD9IyLqUFRAgk8/fmzPk5AfAMxd3vuY9TC6Za3AISa5vGWFHnXGuFAwTvnWdG8dEB3yOEDQCLQ16R8GVvukHIoCatV5DNYhWatp2DUzaC+4MKsvj0rwSyUotCRTk0oXbx2y7J9Zv6huzvNS43ZijMK4G9LGGTzjBIAH+X6Cw8wMqx9UA1ybFwzZe5h7pdNVAsivyY5U5fko0ttuz4KGyra7zacafSfEe3nhMA453PNX085j3NVeYvUdUGiXl0KyaGLMmR3Z0dC30Doo+ehKqzlvpvCyty7tsv80Lu+sSZ0Zy+RR2Z/Q/kA/fURS3qrBgA7m11408gaHILnelUKL9rv6jugFshDXIyWydgPXPdyC8mdenVmJIrD+uUHAhpxZVmga4Bd3GivLqJEJpH0CeblQJQxbtf1UAdhq16fXZeYDUN2MMEL70OR7Qv4xcZjrl8A4gW2vJOrXIfzKh9LUH0YzHYn4FKRiUGsuT6up2otYznbu8rohc11wTEjlpah5YGP+mB/IjAY2tzxJz02argzN1aq8++3Ki3aZnuzNIoObgIw6CtQelvC+Cn1Bd0i+zu9JOh5XYTozgROyEbQITJmvuyhv/2Iw5fpEq8T1/Tzpt5wMXIvHHv+ynZ6MdnUD9o86O0KwXZ7ZTjPfUdiCUbLnoK+08SNz7PyydD5KRaIn5UT7yI/7dwxtpRAbaYnesNOfpoOqdl9Qr57Bss4s5mlJ384L4vQ9bhbstK/95ByC1omcAJPMhOacpx9f8zi39ETblylVU3mQHmlSnPYR07oORLiOoFjfnFnVt7F1gQHOfnBM2J6Lj5WUMeKu4CB8jGETBaD8xxPbOGJLkjkMxz9EeHNbUwNWHgmP2fsT8IgT7ocf7qqYWgMjWxd2CjCnqnr8o8cnFzvrE5PHettNQCjtS8FuIQqC33jm/TycymDbaf9yaViUSUGWcHoC6HmzAMxcwNKmyIHVrXXWOAB1PXcuppKzbUNmterGjlK/PF+Pacp1U7KiU/sSxhNeJYedxsFQ8GzN9vJyL9/d1Got7GWb0fquPSQO9xsEksIdHfzmfkS00eB1a3Y6tD5xIXAfAmeSqvqvlxC11w02sgYsDRzu3d+NlTpcxmH4u5M/5iJtxNGkhagKF+B7ADPbghJM/8JVgHp/BQ8bpfquhPGWWWUQngyYQkNyeiLXXJBzVWCPzHU9Pnfv6ayUfombajXjGTpJnuvS2x87sJYMl8daO4TZHWFv7HCFdwp0PHd8uIOraWvGLFe9OjVeHrCYG6a6FrndUgVX6tm2haLYRn1Wz9utA/BM9PQMUVTnecIFzmQVnLEVAqG/rq9t0Hvuj/p+VyTGENSPZGXhqc9gS5QtNTSWGQWNY6dRGjVXvZ56Uu8Au9k1j+LjYCejn90sf+pGRIq/vGXvHggMqeleO+cdBVK5KK6oQF81fis++FfhjzNmSmd+oVv3Pe+IYvg+ct2HFUwVFTScbqN1FInMaZFcA2vZT263j4XNh2MszKaH5dNenBbcrcb9l0G5zpSlAxDDucCZKbMsAffXIIj2wmfRlSnJ5gbXxcOKkL4dv2fb4HRd92Az8xuZ38LGqqA5Ipevq5kDE+m0jp2S/8+jQjK6cJiUlobfQuj4woTzozK8yG9no2ZY0I5amXLieyiZjDm2hdhF1nIFwrpu04uvx82ryA/O6/sAmgf+BMnKFoLmmyxWQ847Eeskg9yZrt9u98MDU8iZQYRTDWV6CkHjiMrEV2Yfi2xI+6/BBlKykFIFAIWGQ2gXXwcIrAHAQSO0O2B3dhhCGLaZSgAVhhZLUqIDxgOPinCqDVjZCCUQUTTnqZR0Q4KVs5sgKN8xyo/1oy2UGIwyfvr87uohrsO27wp4zpM73n5qhFHazvUtaewit18Sh4FgMFKXHLTl9TDfPdxRUsbwROxT4DzLPauXze675PKaIlGcce5ls1iht9pquGTilPMtL9LbCKRXEXVO9BlVIa2F6/f7yBPcPr1Vt71JMcEoktMC70wDSqVWdPc2hWwUdER2NkoSx+cIKg7m06Fito3OSV65qJBf09/YrZLj9WXyr5jTwaiQkd/bQ70QbW97vF0YedLRY0V58IWSX0wVeq6VX3XaudYRcnzmy3g6l1A73zbvAlIf9f0ncJZmeOGrP77nqsEkLi5pvY9Hfo21PVs/ADAhv0InGgBQO1UqQC93la+k5V3YNPoS8+Vi/JZxd4GnBa5cF3VrxrDxaUnPKvMPqmOVzY8E9tXTSxnisje4BYci55tIJoCggE31s5zbmMQGFH4d2hzsjtGr6pMx5KVeGCrLUwl1NIM1Shso/+MRbaRoJbcqcKi7PoXHN+rriXohYY2J/DUoBu5XspUZuKkhGlDHwI/8oKQkEmsgcDbgol0C8Y3wzldWC4X2CC13sh7rPiL/QrcWV3A8ifp283/7c8PQOXYDAgJwxHsatRYQxEycMD1BrsfvcEBX3aRwsVtuHH0lLqpxvDFVzFYb+46kuc8J2eSeO9TTHQVEbdYM7vPkJJbAZKIz1AqTzSf4jPQEmaTXC9bkXVoLSH6WH9IStTTISAYmMRLntLgHW2PIMin7X4hz/dW8zL12pVZ0UV3Z3r3RgmMC68kul8mH6qALT5+bBmw9n4h786DRIj8XLJvWl291GKTKuh9DPsV5MypI8xXYAd15g2868ufKLcNb9bPFH0oAYKcww9+eDQpBDPCbL0fF8GVgh7WcR57EaaRyGeEdgqPJwGMlllPCcqHfNGSZm/3HUUBfq6tT6rC4NEe4WKltWGSPOql6WUNg9TcWVGKqPP+oLXhpO9bLQF8VjTiS8OR7bvdRN3L3EQK/LP0HBmiNcQFdKrAR1srGe1xeuPhySXnRMRVABGLlVT7XQKULs9QK8RdE8Sx3pNnRf/c56vSFN1H3j21oSIEIDfijk4yBkdqVeLH+Zl7dY+v8JCdVebUQn1BLji2hB5mHJL6xtc4R+j8Nj/4ofOBRDomxuOR+rrLaCzmesTIguaPXsixrKKqWxY0KadGotVtPkeTVTTbiiOfUC5C57sAIRgCSKJBQ+j5X2Wv03PMFbPbXynNXLnM7aLAqoS7hdXnzIVtBBYZz0Vf72YNqMEt6x8AW+CXh3eIghOMbPrNLVVwweZjQYJvdQE6k1PoZOYH1Mc+HIyvI8gZbWxsnEP965UxOjONGfK6E185cueF+31gsiTrkY6qPCJu7a/+S/S8TiLpFZjh/7gZbkvpJAyb/Yz0GRMo2F/6Eo8wL738+Opf0E+teQaVtajb3EKLb1zfiisiVYH7yv1JbPQPpBITjLyn3PQnuYzq96QzVIgbyTW4EE7aTOXqZzS1RFcyHIFmqDCXLWzZXzL+w3/Neeof+Tb3ROVooaUM1llOyuegSpBGAdTYpBg3FJb+CIcF3XEmotISSZ3xHN5Ssr3ki+wRIhy2fPBw8ppJaSmTHGzKwOe8msVVdTU6D7mkOL9TEGbE2SBUwL9yQGeYAQxRnBgh2vpDS4/axhr7b/NUolDaYRZtLMzk27nDL2sRE29kzH5ewuiVYRZk3xTWKKL5O9ux47Nq++Wj346mIG/Kg728njUf+a5KtBO8PS2bN+p4FfS/72sFADViDCl8MJUxBb1FPXmAgr77oPg0nLjMHnHdaa8JK+Jz1we1EbZ4vBL077W4NinqpF5rP9m6/1KzCWpRiiImW9YgOWbMLRbjlU5kupTX0yzRdIba1VNztwlkNsTRh3dUt4VYeUhWm4+EcnIMvCq+4AlfbSsz/pL2mYpH7ecaIlHD8WdeFnA9Sdc4KaZ1bO9IPzBxSwjBryGbv3hFuHWDEAJbj6AP8aPl/cGegjnspPvrVgxfUpqo9gW2JlGC7om+84eQoDyQff0x7pA3Id8TbREIUlqUfjTv+N+NRJCEiWC4gcjk/w37t0l+A5aBSJ1NLNOqCt66WEcTCf6Sdp1fFcVmRhuJdh9y49WnKYc74FnoD/TGK1bMHNyq6M/tZqsDZ6Jh1pjKHf98hMLR4L98FHri9/1moK+PUS43vv0zpxTtvNaLKGZzhAz0miqIKKM7+DRdu6IrL2RtUCzFCd1j2vmZPG2tldrBF/UjCfEs6mCowWEcNubYJyP1m9i5tq0zSM7gyJs+cc06wNh9wBwAd9WuxpsxgT51E0EC+CmdWawcj0dP73alvSnqN7NdU/jxfKsntrLbrJFZtJar5zSwU+YIQv0D0PZls8ufTHBgpufeZwgOnq6v2KMHd+qsMr0XtC9JVdbEwZKO7YJR3Ac96vGkarmC/WnMFTzpGWHh59D6ytIxK95uBF2TLbos/0k1la3nYAbqR6T7jkDarciUTPtyE1hmiCgO3fMBYuv/3A1LU0RHREFhgoPv7UvxUXvTAxzoPf+SbZVWLEJiBCIloSTdHkxzagK0SPH/SVgZ74FNXA3Bk255pzScjHufMICWhzo8IB/anARH5irmj6QnRJqdvVS/b8mDgh1fvivKxR44RzqE6woyFgNFyE+a8IIVdCRGaWVbwUX4L5NVuJ/m6NfwJ07wQKNvmAlt54lK9MX9dO8sZAuv1BQRVHVzCqkxgg5wB0nWjDyXo8VqeXN2Gujz9e7/F8+g01cZ3U2ydwvMLBPwkRon3z+7tSLZy1yt+ZB0/Xq1HqZbENRbnyB6vKMp5iREmfIyq/g8fdwWDpwaaEbYhv5vBs3fZRNO7T/9WlRP8cgKCkMXHBH3+WoPEwuEZ0WKfjFr1INDjHBWwIfAm7SEkD66WVHNGQ1k2tk8WUUR8BKf0EEb4oZMH+0vUTaPaaI4eYnkNCldrJyT47OOap1nsiWOlSiKRP9iujdjkVRWXl+pHwEvz8aDGOabu8OFew7+MS8btytvzwgWBFfx4N+KvcAz4IFjB/Z6Jc4nwXCgrkPq8AjS7Mys/vvdHqNATRmviGxKkGB6ZfdA6SXh2DNX4XSBeFFkHzahWj6dws/pwEnGfFEXUZ4mTSlanVHwbQ3+ldkOiOvFT0hzSWp+60voWXH4FcKiTBCF/J5fOYcsvJKOHWTq2iqueSXUW7eXIeRbQoBZOMp1S7pIbyUpxq1Vg1TyY4bTXESdhSRawiI8EQDH/9lAIoZyKriMR7+8p02RsH5rywHdSvSHkZc1nXxK8/cECkymk3yBLNmU5slP0QvkJgAW4S4yD1Ia+OZD+e8ViojKmEjHlSkx4v8FgrkvgVYtTUfYViEQEPdYcJuhFlepFvABZjUWTcpw5M7kJvDapOr9uLWJHPMes3OZ2rkONSTs6sVwaih+M8oOir5D+mK6ImoDphwB7GLDS9XZzIHjbtRyK3WSysqY/aICCTSZ51GKUzbcU3iDMyi7jU8sOIvMPp/Qlr8Fy1Ly29HXjnzZO+ZRnvT9YI2HGveyQKEOQwVA8zZEidXm9w+LEc8aRnZrP+JC0GHZ5Ev3yLpCCrBPWICGY7+Ja78hyuJWydSogsYHPc3hw3L8+k+m7mvz+82ggCoxLIFTZOMJ/bUZzl18DaotDmXRBanf607FjBDa2ih9o/LOguL7mO8MFjIJPA3W7+bbk2tQ5i+4rN/flJApxHN7k5eVrQFxooDTV/SnWkvdijBGTmujhpHy8s3y7/acPr2wXHHZrUPBWIu5LqCnDt4QC20Ibcd+C241u/Mjl3cZ+gobHYkhUzTwvo6kREmRViecT6LLV6Hi4wBgLERXfDtpZu9r08ympdxAtyup2FHdGpAJUpk/PDTb1c1OH3Z6jAcwYbeMC4rhW2p+rBdWHpO7JSuVrW3Jr92ryghT1evF5QVJSwfRbowblvsp2nlp+gLbtIkgxKwhs2/BmU8PU5UPehYPiKIrsBtV8qky/m/Z5qLiIlsNpEIegsLfFuc1/JkXgqDpwe9xJoNnBlK4m5sRVq6IPvPZkFkwQ1anX5KR+DVa3+n9Ja5fRXS/VJGdMUuFit53jDxpTN50grSItpRbJr/Jxj6B3EPkkDtJbEz/s6HXzAmhdrpFcW0+4lEKdbSndZH8IOQHYFxWyXni/39AUyrrvLUi2PW8ikFTtm8oS16cm0mkqwUHBi7BN7plMuiGNuQoZXIq2l994fLceIrQZ8gO+Y95UyyeGX0KmtXe4UekIVTIQqDjjc9mNxDhh8wzg+SbctmaWPr+mHUz7zbaME4ESvFDiqS2Rxe9srYAs0va8yqAl+ucm4CQi5Ag6Ttb5nZMqorSc78OSnkVcgDHB+9apke0F0GgwyfrIpcsTdTi4UvLf38e4mOwvn+nyPzKjdRk3M7hLDJct5IRxqyqkRpnBV1YvYd0T81CzAp1M5WrE3Ma4NcNJyiVmZNFu/0cpPzYRm57YVIvjoBZXWfq64C3602EF4cfCVc2zAmjm2W32KEZgHIuGEt6vb+WLyW7ag5PJJzbvQsf0UuW5IDrtApGUaAjAHYRFGblZOnVEgDA8f0BLXAFbPHLJMVTfeKyevUjs+zlomI0wQRKDrf4E22JgwdQh7NwLGk3EaPk6uJTylL0IdwnXdP0mL+joIQX2tmRQ2i+2asOMR1N4HJcrnA0uuSuSlmsfubYd8NPo371Mz4QWiDsg89mS2/vHaK07lMiPb9NDTYafDf2Evr5qpTjqXd1RrRn9WRgCdirgwyIEX9zKoD7jEn+1New1ZO3/yd+Y49XKD0hft3U0N3qJM/8K5zreCist2UEjZXFy1Nbl6shz6yRddxgo90vLBrH0q1iLleT//txTJ65MSSkkEwohZkeYbI6/U7XwwWGRRBhpCRU669rc1eVVqupU69MBkQowYRdFkA2gwhHaHv0VKVfzjHgCLiGJ920QgCV1SiKIH3xeLZQ9nPzvWTLVjMxP0eJ0gjEE5xitYwP8dLXBpZjxEBBdWRJu/yva6f9RadjQjus0bUHzhXlOGW3PBPf9XgIcBzQDVk2biTmeb0jp7ZeUnqJZN4vPombEyP8jOdSbwXd95BofLouPFOgvxrboJo0XHRPsl3xK4S+N3AYSgTLAvBzdjrADqqsMDQMYDxvsbdwJQYXOaAtdyzBnZyZR4iIjUz1PSXFkr/dbj07SnkBog9AWP1bX3MxbRAnK8OG184dvXHRhyrOnx5IYXlaLn7Wl+f5R+2rhO+zdkM+4OihbYnWM5uRc7Ll08XAeXQqonmpkJdZLgIxzG3v0FMtdJ20u3s5e+HnehY10C+p/DIUkZ5EK6BYvbN3WeY9Wx073FkOmXESfNJV5iDO/IvaQyFkQLlOclAcglkjrtjMb4YTzV7N+E+lEBeKOMVlnYXqJJ8K/r5ZxQcUebRJYtdPQgZHQwTf7Qh7GVCiCxG7f2AQRVQH2Hj1CAuZ+tUviZFMJ3b+UZyQ2uUB8Jcv+oBzwkfhZ2JvWVyii4vsuIrzsSnCR2hFv6QHIkgT16XZ0WhNIgMOtdCb5iH2EGr4q75chyak2qJ9M6O8V0N0Hi9oAyNI2vJ0rwsRRSeHMNt57ULqvM34qaC7KA4FMswu2Vj4ZFIhjqkKEyHDwlMs7TdMmKZTyjO4gizsnWubFci/BhV9vJCKteCM4rnyQdR4N38Yq6aZT7l6FRVcAJ4yOW4x63s/DuPAz2qeA2wJ3WyUd+A513Er1ilJDR/19eZf1VxiuTXiEwVHTT0CHJVu04k0RFAYSLf+xsQRdWUhffNTsbz1vxoyhm/TbdmQPnhsEtBqh8T4G52Y6oKMQHMFailjII3o8GaMmWBVT1a3peYxTe5EG18tfUuyjEHMlrSfUGN26MrA/xXXL1SHDyeR/XEdo2LEY1tuO3+f6nVFUKW+hX4fLL6x+zO3hHSdV/uDXuRNAKGSVU08AwzuZDZn42DanHSvyd+rX9QRgqVdD9ifiQxmBl5TniXjN97QMowQya+hEOX6e6EFr4BultheaMYJBgzPC4YxG6MXqitntFqflvFvMzYOuFOnVXBVPW6vwoNqrLyCpwloxEysiReASm18lx0szDohgTNx83XyNhU210eu2IonoKjoD9Qb4c2GeK5azoXNs6SH0hkwXgRjtOfzIneGLv4iac4/hiuCvhBSVMn0T0jbnlDC+ZecmFCGI0ThWBPTqf2B7xewb0KSoXXiDyQfHx71O622jLiU16ICPlHLZlXBLifzctwmpqCG/qkbculXVhy6obS8rt1T4kbE15mwpX3fBwzrdG8RZCaQuGKkF4VVUv/j9XT4BT/Cn9uMWTe0Bd0o5KpsMdAFmjk81EU1RheZbedQmJZ+WuySuh0cWP2qAnbN20UG7xNNESpolmseWAdjLwarUjOgjD0iCLMDx8PVQgTrCH+Qt6e3fgHek1Fmrf281DUC0o5Aj9Uv/FRIKr/CpDPfPzqqo9ZHS1bspirJkgVAKDlbMfJuieW9b6JU969isupNeEBEDlnlZpaB56nFFaYzYBvhyRKJJQD6zFao+uHWhiBHcGiQhoxcR+unRGuP4vheUc3OAYxStuEP5B4CIQHeMvBaIbcEufOW94+EpA+C0bahpB5ZYb6aEo8LHGTJdvYr9MxFwZOJ636pHUSnyXyYKVHTycQGvgThc4RNdoLB7QubFjdNGaILxXnrKFbRwJyvH/W7jQ4lKg5HLDYHlTJI7Oc1Sy4/p3d9x/8uM8MxOvot/h8k6i+XqAOa/bS71QT/jKTbykYM46AbwF1p5MSvOM1xG2pVrhXprspljzPFqA/ImWh0bs5G63wyECrT3vKSo5ykAiTYDx24MVm1oLlhLm2xHrD2xSlcaYX1FFyb6okj9LZpmH+2ObPGky/ZxzXfpa+kVFT0QPmnF/zOy6UJxMxeFmp84sDEuOAroHNLar8TCb1xvWZwWrXRB/q7I9GblNd9/L7Nj738zzW2IT72AlcGnt9mrNYkalCzpvarDezC7I+jC0pN54wQY62lHDpLr80jhYNUO2jgA96WhQNJo2gDz7Gy02is3CSNLoZsKOoD270VzpYnwvLXUUAYxS42ePPaFo02j2iFqUp480+rIb9Vclev2/dfbK90yqN5zi1hRvtZipeJ4PpOR97vq2fPiP0Gf+xEZD45qIi3OgmpGdc9A9CN6RQQdamtLGHjXwScIWGg5gpNPSKtaibG/77Igh3fx/OLVqlykTJU7iUTNwFj/6a82cDfii8LTo2Huo06qYXc/xIX8RcxNWlGlX+QWTJcBdhBcHTHyLRq0ygMiFTt8rbydzftRGf5q8VeNsazPNsGS9asfQPFGi43EnbDoCaxnVn7LQxvT5fhLxJznh95FQ7gWM4NrNaqPwzlKnJ9+MFIMeJB/F2ag7hKvGinwyerDiZ1/tpf/+7k8MGwVnZM8BKUBoMWZT9SqhZOh1QoU8+GcIcGJqZpPZtnwUbHDAWFxEqiTG+XFXiZtYec5V3m8+ipymtt+2R6EPid4PEI55m2Un77lCFqvzTbc8u2lRcm11O7uUzA4IH30WJ8dEcVQCUPI2mzkNftO1Ai0UV3h7SZy82dSufgEKBnwh39ekImYoPc0mYEdnedPXjVgWjaK2fktncvSJdLocxjfTKCkIc85AG4si0R9XKWg3FVkMzTC/UInGP9GqYgTEFltpAnTKT+On1qj0o/XOY/bgr2e8Ox7Sr3maZ+y9ht8QVLW5J/grhIE+iOlK9mgIMJcSYmEpVlwQIQfuZr4c3XB13FOTmjU0PwIlypS0p1XEWBjshR14rxBvRA/MfG9w8eY2YGy3Zx8KbHzGHEYqCp3sS9aVeLKySAAQnoJk/kUw72uagCWg3LDZLaMYKzPAJWOiC67ib7wy1fNPhWAVKq2loOCt8g0IKsMBGgbm5+uAm82BYoKC3/6UYM3PVh2+7VfybsDpg71vCCwFMpzZuLkyE66+LAZr8nNrjcDQ0nE5bzUQrbtRFuZXP72cPCHowMCohcxt7j/tTKveoZZ/FC05VBw4RFluibqwf5/kG6b1UUTt2YXitI5sytpM69yq0Uc4sO8C05+hmcPqodkvZY95N5/h1H2MzNtLgovoibsIV2o6b25fguviecnypXwGR8DM+lYnVhaq6h5cf20J6lIFnusdihHoBgYU92vHdtIVVwlX3xX5CvV8E7xQYwElfLvmik4r8IqwrfKpsQ0ZdJMLWD7ee+phD5dnxCeaclfegZUaxMSOL2Q9RUBEFd/x/JJcu9Q0Rg8WC+23EVO6u1dda2BEi7GrsCeWYY8oJ9s1pUX5rNl42og7vxmL1GQKm9TDmki/I5fXQVz6rRoeDwH0mi/htEPLuBj90t2qzLXf1g6haYq+QLyMZSDoAnVonkB+X5VacvvxuHbtahv/JSir6VySeoMqA4nkRLcp4RpaQbaXBJIWvfp3ZcjIVM2xqaH5QONURd4CfaGw4xuzAsDgqmHjYkmlbcevDzwXw+57RpZim0FMTIZbBsSAlWfbjs7WG/Bx5FTxbXYrnLrD4stSYFCwkEzjJ3LQqWJmg8efDVIGBC0jyPVVkB/UQm5rhnCMcgm9iEekmRNwa3NciwfsKm3CbU4n1KPQWELa9O7Z1qcX5vmvuR/kfZtS3FZ34c9asZaWbL5cbsjPnTow0nDcFuAgyjzp7iYJb6oPl35Xtxgzq9AWFy2jHdIdm3xJdmXCD3JaVmvCuApZpvn6/zyfaeyJqstuoVSG9GHJJ6uzy3gdejhtAQBdbuODZiHmRHF7lMs5R9tHQyAj2ohyi5WdFbLwX4q0/aiooSc+UdgPYLEv5plN6f+NIj8bVHmNc81wpFS81o5U6OXPsYFyTKm1YfzrUIGmt67ykiN+HXn6yH+hwMEquDClPosXr7Xpt4eKqTaeVHgxMqVrynN0efewRYvYy+DXwAbZ/GUxtPvHvG3pZtBTnMhdyffUFTHfwj5jbSsvixJthDlzYM7xCXJET0p2jCB8iaEI+ez21sekx2+ALbcYMYQlmNsMRmt/5sm3nuh2jM6heObEuNcfevB1hpylZ8QTQq6SIrjqDgRVYKCkaHfmR7R9DCvE4P6h6IBjGWTUW7FUPWXiZckwWY9aOPfLzeefmYmwXlC8mdmwz/P/8oNA43l793Ix7lxh9Y9ceaJi3GE3e1NH3jextm0v/8USxXLfwvuPIF2wgl5cMEmqVSix4yY1Xbfr0ALdMx1HldBjM6DPKLMT8T0eHeOs7guYECcTIKQY88esty2zECD1xLjOqEeIHW9NTPreO1xAe3iWe3Bt3Qm3tXAv8G1VGvsBpR9Io5VzrQIuZVAvbQr2+XErR/fb/DllKDbuZCxyuW99Pw9AXZjXGU3HvUOh6gLpi0mZ665QF53YiAja/FYdlEqLCZ1/2Dy/iXT7RHLU2zPuwyNDXcjBr/V/jTaTk5W390Lh3MSKqxcdpOQy4n5YusvFccyREJnCBDK+vTHwtFYYmR94rw6kHIqP9bqspZ8FBhxUcmxhjy/CvTuhUChRhvOkORLC18SnaIGUiFltpFBRjqYRkNks3QfQBnM3NAUcc78FVPDG69NoRS32uxwNk9LNUQiyCUHL6iotVGWPT1MysAJlonEBTP2gYKwY7veMfC4V3z7RdZVZ+074ijD9x7R7ba25vHMCI15cyhC96mYn+0YfYKuSPlHc4/n08i5CdbtT/wTr9KFbwGvLs+PsgXdE6fIAhHrYWGfUTzundCU4nJWLPIak6VXnny2/rIAsfI1C8bz/2wUP6hCjf9bjcf1kHTe34A0QBEoct8Km1+wH7yt1PPr9+mhGqXR7Q4gQru/e7qCX1IIJ+m6puvBrNLIHaoM6KEeqg4wizPy4LK/BkfgT8WsmROTeddk2vbruYJZN+taNZcNsM2UDVNKqNYIol3I3pwVq2TZQ6oodA+QPN4PiMsCJ0oaNSXsJTaF5lttnof/0/d9ZxWHUkJLEcR5rU/jhib1wbHCTk11GvFY5oev0S5VKbwBh15sASyzr0qkarp/21sIaHnDf1otSbPa8sOofpPtZ24NhyTOl6trSrb8udpK1GeGXFmlWo8PESRR7GsbVLaHZM6KYABWvPYkJTU1PZOuH8ZCw3Df9JzWRObIhzbIFto+7O2zmOoeHKN+t3cKg9OOkRHSZcmn7yxx6Ap+qalur7Zqgj37qUM8WS29vf7yr5+QFPRFkYKwCxdXGLscLxNMfoaoKKEswfZph0CidS5KOOtVWRBsMYx41X0Q9HWYddNhFG+ZKHfJQi7YVyVhOEIghLTPLSYDAd1me6TUbQtY1Ri+88BkygkB+q1EgmqaBbYJUSkUt1NxxPpsxDp4A4Hoh3YfmyaKtb8/6xglBtbEc+qOhc6fl3c4U64KWHtaFYNnSKQzWgaksuiHlkxgMUHHuJ5o4a8xxUbhpCgWyATs0gTZ1Ok6L2o6R4CLTM1LMXMgKg/rJhJ4KUIhegJrYWgOJRSE/iInt8IYdLAnMyzZDiZkIPMuFaPNaI5lz/pfFRgbBBqEn9JeeVotwIBJEvQVcmXbpIN5EYYRhQ3kj81yhUvxEvQqZvZ8oaiIf5kl1+AVHKeObrJtXn+bwE5ab3lUrL3AP56+XFyKj0VGU3PVeLSkjjKM+6awJbya9i8C5YcgVbu+i4BagyybXHL40q9yCj1sOb4ehq5WDeJiGIhPOL1wMqoEF3DL62/uN9PIgDMXwKc28pNNFZb3irXOBGJ6rUKeu30Byo6349ldBPsTt/mVa4jLsbA1LGHuzj5uE0HCxL9wwtlRsoXfNGtj2dJKzt7OWPyGmVCNBLx7z2mDfJyjEyoZPXpn2VRBIVe3qGf/7yBMZL2Wu/Qy2HN7OriVxvqHglaxXAOsQSkWOBV0tE04v/13wMbv4k2g5f+g2E4C5BPveYqZ+4atu9Z5DiaCZMlbID7iRHDoRD3JDGVASUbBWXuW34iWGko3AUQ2ZM6hgKeo2uNLrB8Vbf1pXzCmph3M29k2rtycqnqqxdcTgu7ScDgfAUmq/NNHTC9fHJ6cPQkACD09q+ghpde7ltcno0WmKkiotroeYCwc8JWze+p8rf/Iv4s7O4wEUmN5L7rm+mqCxBcYGRNNdr1zT1xPb6DuD7zIm+n2ADynTbKlFd5gbhIl72VXfqQOZhoBLgPK+z2Z4DTtVQ0e/M25uOOVSCbPg8UtvQFA3Fwbq4muD5CYZB4Pu02GSIKToK9f7xjqwWodWEjqFlY3P1ETGnxtCA7/AUyILnaNJsyAny7wLV520oK4+BbPZz1jx1wXyVr4MMbP4oyoXQP13RKD6kWdXrnvr5hqOoOHPCzOV9dK5b2bJ4/wvVLmI2SqxWoCUjJYbh40insGzCnjBFy9Csq7pu4CSDYVgCxEHwO3vYwRqaotA78BFqJK+8i6GbID9ewhiPvnXyrj8/tsb4IjfPyGb6XaJLt5FcLKEK6816dK7ppVpuOZhx5NXTl7s6LADYr14dHsLDN9Nh9RIbSuwwicz3oUDFE328i62VryEOk1i/QPMk2llFI9YHBUIrpD8uwYUxibzSRzxmo+GM2EejA2bWwIA1kUvQ8ozqN3ZejBepJdwuNZ3dqSkBv3i/knNnyoshxDhQKArsZD2dYrpjoVl/QZmxHVlUrtwLZ8RYF8PqiOLoshVhi3kNbsD4KuZtOyBShjFHj2dHyKRRFzrRVlb9swi8WzkYRS4CIsiSG/pWECuFsiCYcfqK0ly1L0hFx0Auel5CtTZafeA4WjSCrp1KYHdpfVYvRsJ9XU8ua65EhZ5VAOiN6PM2OwdSUXUhrMCBe46Nvg1aiQtK0VB8rg2nIW9ij0If1L6BXvTCeLop/Jo8K8+CgJ3fhFN/VX81jWTk1df9AkVwzZN5sotrOBXKcTw9CDA+TthcOGY8044gwigVY/Fx6AdDT7g4FYkkjfWDy5r768HMdxV/vHuUjllpeQDcvzvEqv6I/CANPxQPgLTYFs/qKIzA4+CJCfD16VqoDIFC/eyoPTj9BOauZrgmpS1K6nAg109Wu0O7pzJ7gOdLU359dLMs+RbWJjn0vtswfR7yPzN1CpxmCtwtEuhwn7QSywXqriOPlr5HdbNoAw8DSe2LsgIByLwDbibVt73LCzOgdUOdVdpMUjUa2m/gE/aEgM1dTWhFryYHM/55ffdhjTt4WubU8Z3F6cGSX4H5BIeYPt62yeCOoifPSiUsQgmYYi9MazIDjktoyKMkVx8yHk7u0mlPNivU1fvDr0J7KcqE8LeRy56gckZA7KVplTWzxJuPqys1nchiScY1DP+KKIUuOLdKyEiV5Z3enjfZrHkUioYMqxr464COFsZLawcT6RwD6Lx1tjh/OFH1sqz1k8h12R1y6FLQq7K8c+bfE4lJadu82LDecbN6DJdbnLsOyLuCcZO717W+ZCGzS1tdrcnWF/JkNo5H7BYCj4YFiUg88EzTFJqwwh7PKbKhjk+9KAXIaM0wEASi6mWCaTnhlnAyJvl7CeXjvafP2TD+6dqbdkDm1/pM03Gw9TegXayascg3584Hgphwx42lBYgmlxQI1h8jmHfB+iCjegDh5y2yLWSbhf9iVZaT3exhZ6vtdvq9aQVsDbVVW7WLLhf00qHsgcaib4CSG+Q9IuxZjJNKeV1KXWGuMtiQryf06xvJ+4zWm3tIWbcdC+VXpjBXhX+NdmTqySW4vlxNmfFSIxru5n/EM4KqFNhR/mv2g5MCPrqCDRvk4bBCzR79G5ATs+4Vejxqsd6MIOlrLpWRPfwfOroL/iOrPrC5CsnC12eDrzoF/YgdzXfhtzjlMO9rrl0M3ZXvAVCFsGFog7ygNtCwAB5pOOkCI02odQ6AAPJFOm9JM0LH0r7N5mzmwPGP/g8D61bS6c/yDOoUUYtIRvaBoWWFwRmJcX6yUJOu/J6A002WfB4BB9RiWRmON0ZT3m5er8EEKX3eatp6QAIC9hfv4V1wCVu5Brpx0Pkso1JZKxOvUCX+VOjzgHnsf6NWTtzAFtkzzNlRnkEzhyH+IP4PC96KUoOEp76YrWg9TxKExcm2kNZ53crzUMBfevCb4w/NKGI0dfburwixfkrZpwE+0k9KEwJaeVg1RvchBJK+Z6nlSHPCw7c5+cAzqwuc7nQtauq4FdXqqzFwoTxPoZYu1OfZyHzomdlVWDD1opLNCJ3lZdFJjwYlLyZAQ59c0+u2174Pwg+crJYs3lsbaV4/LMO4Xg6ykl2kclJHr+nxYNUo0zuZ1kTqApIF/nRFoSUDACqp6GZ/HbVsbTOeOJC/eHScl201Xvc5gT+tFL6laupavbsIv7aTQvGaF0gCyJvCxmVtUDeM5ByTqqacdgykzLaMp6h7R2JmzVN5j1fJfmpPOv+fJCDO0xJxH9VnPMs/euYUSbbyN38kpObhCFVB+ucYgLgqCausS7/eJBGepG5U1IIxE+vo3sdGjkzsk8/WxPeKta2B8uh49pgxGqoQQMONXlanvDdzdnNCO8AJOZlEXl13msY9Uc3wc7kh7EX3bvjvKA41eyXHmvcy6lEsPUM4yVyl24DsE4MIzNFmIukg8rw1UnIwCR5aFVAG+sCT0mxuFrrojMb2FlSI5J5YNJLamkVVJHBWo831FM3xoEND6Uxil01Vd6eZ1YGSRxAZ2XNeUgNcNUJGZxjdf/lZZUYEmpE/oRCnuDoTa9caLmjJrTBxGoISCHXr9OlMkqwa8Fi+s2YIz4LzXUiYJ7eI+YOtyGxaroOAKbAq0TB8aNJnktZVUxPFGEVNVE6BrEXbFiFC9fF87vcT0ON4qbCMi6Aq7eujWeOFCtQlHqAmbAAmIRhB3cor+s8nRA7WxOH/wc0lVWIOaIY1b9fBTC/u8P3zXl5oe5CjW5XN1PEA5P4KM0qAyLUwMaLcL9AHCt0vn8mO2RCfv3NhXKizpiM8kjLmd/6scuqXZfKzGq3TDENmI7YURGOiEnsaphw8zSEcO/goCYmNdLNZ3/UaglzwVBnnICM+rznmi/x3ffjELfUuB34g9VTUCG+45mspp/jlbQYJd7QEiyt3BA4g34cyrbwYOpO0sz6E6t2NS5b806+ykRMTfhd2eJ64eOSdfgYPCXPy9WMvAWqvOF3gKcMcQp5VZXgmWaUSUc3qHV/QPqK79R1VtuWO9lGcaVHkk2oMVXOhMEowvl/yd9LgO6WCc+IGyjxl5uf0DE2iIVmgUn/9IrlyldEXVNwBVTpr3Z74w+09v/L7/5LsfEkFoHzrYEP7mKxDeXOaVBmDeug3PcG0RAopdgeVT3njw7Wzld3KMdDSarCPPf6r51gh9hMjNO2TX1QTjhz40oT81IjCFRZfy3MTvZiZwIF9jkhb8EAxGVslFRPADU8SExnrdOdHLfl21WoJimrnyT/TySE6jyO59uykgCoTKSYL+Djr3yXadMPnouL7zzzDsRdoZmBemhsRKkItatwsDVJC8eP9E2GVnM1f1oaAXKMnn0XzciBpFf8i+tKRWYC96JlHg1jtVOTye/52lU97C4ni4dWGBGNhgA8ARG2cITaMMJ4NMII8EgBXZLunsJtPu6Hx5ihUYnhTu2IhX/vQMBsBHNRXdFauQtWbKk0qOq1Mo+kFm/E7ELpkszH8t7xS6YSVutLeeCDxtHFYgFHqU8fknwCKa2ZuGNuJIrHLSBN7fzc0tzPWW7ilDI/iS40pMXbPsf0uj3Z59WryeWNfa5mIZF1lmDwCzZdK58B01hhSdzq/OyNAKTT294ZRNKDLuAftO8tCES0lx5HJ5jczXkzkc+uA/D9SHLKG+Md0XxKO4UKrLqRqh42XBy3QE6IxuLGFzpo5vDI2LXnjwz9tfb7J7n8cpt+r3mugNYznd402aHp+XYrtqvTYlI20ved0fg9VuVbOyedlu/WeL68q3/G/qfTVB8tHNIPR8GSovP1wQFOcxwuryhsUzQFHmqoMRT1x5IuXtYVVjWHzjQbjt2Qj51UKATzwpTv+7uLcXgtBUsE4I8IvJtwPovtpkZvHRxOwjAAatMRbqzsTt07uhG5mn34+Ul7NMOefsxpmFaKT7VlZSmjRDSq5mSnUV34OkXEbN4C9NVjjrN6rpgndOnL8jn/TGQvdX51PGywdSCINkngghxkVxmZj6MWB0CZiAUf3POsYJar9i9cfOkpc5XqLe+Pm9kA5rtazOUep69mQuntaFvex+NXPa8tTyAp3+TXPnhCguZmHGRLft8syasvhzOePcIMwuM6HXZxFoyyJJAsBccPE44abFR0nUNrRGPFlNiWCJ3m8KauhIDNEihHP1m2xZYiga6980i8o66lRSjdFEe695+TUQaRbyYrqXG9OazZraKTrjRPsiOpnrkP0NyVD5gUCXuET/5nKNh5FZ6MzKMXO9wVTZaDmD2vYXRYLdQVcpBa7FTcWwU2opbSRI5m1jUp2MlVqqK29gVUKmFGASR1RUiCiA7huOHXMMbV0pGLk5c3TvuA=" title="Mekko Graphics Chart">
            <a:extLst>
              <a:ext uri="{FF2B5EF4-FFF2-40B4-BE49-F238E27FC236}">
                <a16:creationId xmlns:a16="http://schemas.microsoft.com/office/drawing/2014/main" id="{DABE4511-750F-4EAE-849F-4442A4EAB0D0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 bwMode="gray">
          <a:xfrm>
            <a:off x="3451420" y="1636410"/>
            <a:ext cx="2477493" cy="5070122"/>
          </a:xfrm>
          <a:prstGeom prst="rect">
            <a:avLst/>
          </a:prstGeom>
          <a:blipFill>
            <a:blip r:embed="rId24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grpSp>
        <p:nvGrpSpPr>
          <p:cNvPr id="3" name="btfpColumnHeaderBox386460">
            <a:extLst>
              <a:ext uri="{FF2B5EF4-FFF2-40B4-BE49-F238E27FC236}">
                <a16:creationId xmlns:a16="http://schemas.microsoft.com/office/drawing/2014/main" id="{CA681908-250D-1C55-8A41-3A2C9B1DB762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6366272" y="1396917"/>
            <a:ext cx="2477492" cy="444596"/>
            <a:chOff x="6366272" y="880465"/>
            <a:chExt cx="2477492" cy="444596"/>
          </a:xfrm>
        </p:grpSpPr>
        <p:sp>
          <p:nvSpPr>
            <p:cNvPr id="5" name="btfpColumnHeaderBoxText386460">
              <a:extLst>
                <a:ext uri="{FF2B5EF4-FFF2-40B4-BE49-F238E27FC236}">
                  <a16:creationId xmlns:a16="http://schemas.microsoft.com/office/drawing/2014/main" id="{2F45D7E3-0DA3-4128-04B1-9F41BA82EE1E}"/>
                </a:ext>
              </a:extLst>
            </p:cNvPr>
            <p:cNvSpPr txBox="1"/>
            <p:nvPr/>
          </p:nvSpPr>
          <p:spPr bwMode="gray">
            <a:xfrm>
              <a:off x="6366272" y="880465"/>
              <a:ext cx="2477492" cy="43783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>
                  <a:solidFill>
                    <a:srgbClr val="000000"/>
                  </a:solidFill>
                </a:rPr>
                <a:t>Pave America behind peers in Unbranded CTR (avg ~0.1%)</a:t>
              </a:r>
            </a:p>
          </p:txBody>
        </p:sp>
        <p:cxnSp>
          <p:nvCxnSpPr>
            <p:cNvPr id="6" name="btfpColumnHeaderBoxLine386460">
              <a:extLst>
                <a:ext uri="{FF2B5EF4-FFF2-40B4-BE49-F238E27FC236}">
                  <a16:creationId xmlns:a16="http://schemas.microsoft.com/office/drawing/2014/main" id="{9F50CD24-176D-7610-269E-47B19BDBFEAC}"/>
                </a:ext>
              </a:extLst>
            </p:cNvPr>
            <p:cNvCxnSpPr/>
            <p:nvPr/>
          </p:nvCxnSpPr>
          <p:spPr bwMode="gray">
            <a:xfrm>
              <a:off x="6366272" y="1325061"/>
              <a:ext cx="2477492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btfpColumnHeaderBox271946">
            <a:extLst>
              <a:ext uri="{FF2B5EF4-FFF2-40B4-BE49-F238E27FC236}">
                <a16:creationId xmlns:a16="http://schemas.microsoft.com/office/drawing/2014/main" id="{9328C74C-E81B-4989-0E84-72905ACEE712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3430181" y="1403681"/>
            <a:ext cx="2641386" cy="437832"/>
            <a:chOff x="3348235" y="895857"/>
            <a:chExt cx="2641386" cy="437832"/>
          </a:xfrm>
        </p:grpSpPr>
        <p:sp>
          <p:nvSpPr>
            <p:cNvPr id="22" name="btfpColumnHeaderBoxText271946">
              <a:extLst>
                <a:ext uri="{FF2B5EF4-FFF2-40B4-BE49-F238E27FC236}">
                  <a16:creationId xmlns:a16="http://schemas.microsoft.com/office/drawing/2014/main" id="{C7A387EC-BCB0-3717-4E24-FCB4851BA6C0}"/>
                </a:ext>
              </a:extLst>
            </p:cNvPr>
            <p:cNvSpPr txBox="1"/>
            <p:nvPr/>
          </p:nvSpPr>
          <p:spPr bwMode="gray">
            <a:xfrm>
              <a:off x="3348235" y="895857"/>
              <a:ext cx="2641385" cy="43783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>
                  <a:solidFill>
                    <a:srgbClr val="000000"/>
                  </a:solidFill>
                </a:rPr>
                <a:t>Alpha Paving &amp; Pave America are positioned well on Branded CTR</a:t>
              </a:r>
            </a:p>
          </p:txBody>
        </p:sp>
        <p:cxnSp>
          <p:nvCxnSpPr>
            <p:cNvPr id="52" name="btfpColumnHeaderBoxLine271946">
              <a:extLst>
                <a:ext uri="{FF2B5EF4-FFF2-40B4-BE49-F238E27FC236}">
                  <a16:creationId xmlns:a16="http://schemas.microsoft.com/office/drawing/2014/main" id="{F32E63CB-C347-EDEB-501A-BFD9FE294A61}"/>
                </a:ext>
              </a:extLst>
            </p:cNvPr>
            <p:cNvCxnSpPr/>
            <p:nvPr/>
          </p:nvCxnSpPr>
          <p:spPr bwMode="gray">
            <a:xfrm>
              <a:off x="3348236" y="1333689"/>
              <a:ext cx="264138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8" name="btfpColumnHeaderBox896171">
            <a:extLst>
              <a:ext uri="{FF2B5EF4-FFF2-40B4-BE49-F238E27FC236}">
                <a16:creationId xmlns:a16="http://schemas.microsoft.com/office/drawing/2014/main" id="{D6CC18D9-669F-AD3E-0A4A-DFCD6A643E8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330199" y="1403681"/>
            <a:ext cx="2641385" cy="437832"/>
            <a:chOff x="330200" y="903589"/>
            <a:chExt cx="2546350" cy="437832"/>
          </a:xfrm>
        </p:grpSpPr>
        <p:sp>
          <p:nvSpPr>
            <p:cNvPr id="59" name="btfpColumnHeaderBoxText896171">
              <a:extLst>
                <a:ext uri="{FF2B5EF4-FFF2-40B4-BE49-F238E27FC236}">
                  <a16:creationId xmlns:a16="http://schemas.microsoft.com/office/drawing/2014/main" id="{8826F626-B687-8B21-A32E-42F2E5B4D79A}"/>
                </a:ext>
              </a:extLst>
            </p:cNvPr>
            <p:cNvSpPr txBox="1"/>
            <p:nvPr/>
          </p:nvSpPr>
          <p:spPr bwMode="gray">
            <a:xfrm>
              <a:off x="330200" y="903589"/>
              <a:ext cx="2546350" cy="43783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buNone/>
              </a:pPr>
              <a:r>
                <a:rPr lang="en-US" sz="1200" b="1"/>
                <a:t>Pave America group drives traffic mainly via unbranded terms</a:t>
              </a:r>
            </a:p>
          </p:txBody>
        </p:sp>
        <p:cxnSp>
          <p:nvCxnSpPr>
            <p:cNvPr id="60" name="btfpColumnHeaderBoxLine896171">
              <a:extLst>
                <a:ext uri="{FF2B5EF4-FFF2-40B4-BE49-F238E27FC236}">
                  <a16:creationId xmlns:a16="http://schemas.microsoft.com/office/drawing/2014/main" id="{23A4AB6C-2779-B776-8E8B-EF8FC5B3BBC2}"/>
                </a:ext>
              </a:extLst>
            </p:cNvPr>
            <p:cNvCxnSpPr/>
            <p:nvPr/>
          </p:nvCxnSpPr>
          <p:spPr bwMode="gray">
            <a:xfrm>
              <a:off x="330200" y="1341421"/>
              <a:ext cx="254635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1" name="btfpColumnHeaderBox279529">
            <a:extLst>
              <a:ext uri="{FF2B5EF4-FFF2-40B4-BE49-F238E27FC236}">
                <a16:creationId xmlns:a16="http://schemas.microsoft.com/office/drawing/2014/main" id="{196B721B-AF0A-4E3F-18C9-E4BA2A2FA5AE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9384308" y="1550210"/>
            <a:ext cx="2477492" cy="291303"/>
            <a:chOff x="9384308" y="4861757"/>
            <a:chExt cx="2477492" cy="291303"/>
          </a:xfrm>
        </p:grpSpPr>
        <p:sp>
          <p:nvSpPr>
            <p:cNvPr id="62" name="btfpColumnHeaderBoxText279529">
              <a:extLst>
                <a:ext uri="{FF2B5EF4-FFF2-40B4-BE49-F238E27FC236}">
                  <a16:creationId xmlns:a16="http://schemas.microsoft.com/office/drawing/2014/main" id="{5B7014A7-943F-0240-1E53-9B187A3E8183}"/>
                </a:ext>
              </a:extLst>
            </p:cNvPr>
            <p:cNvSpPr txBox="1"/>
            <p:nvPr/>
          </p:nvSpPr>
          <p:spPr bwMode="gray">
            <a:xfrm>
              <a:off x="9384308" y="4861757"/>
              <a:ext cx="2477492" cy="28543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>
                  <a:solidFill>
                    <a:srgbClr val="000000"/>
                  </a:solidFill>
                </a:rPr>
                <a:t>Commentary</a:t>
              </a:r>
            </a:p>
          </p:txBody>
        </p:sp>
        <p:cxnSp>
          <p:nvCxnSpPr>
            <p:cNvPr id="63" name="btfpColumnHeaderBoxLine279529">
              <a:extLst>
                <a:ext uri="{FF2B5EF4-FFF2-40B4-BE49-F238E27FC236}">
                  <a16:creationId xmlns:a16="http://schemas.microsoft.com/office/drawing/2014/main" id="{A9F82BB0-3060-5BB8-2EBD-510C04B9E599}"/>
                </a:ext>
              </a:extLst>
            </p:cNvPr>
            <p:cNvCxnSpPr/>
            <p:nvPr/>
          </p:nvCxnSpPr>
          <p:spPr bwMode="gray">
            <a:xfrm>
              <a:off x="9384308" y="5153060"/>
              <a:ext cx="2477492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StatusSticker719082">
            <a:extLst>
              <a:ext uri="{FF2B5EF4-FFF2-40B4-BE49-F238E27FC236}">
                <a16:creationId xmlns:a16="http://schemas.microsoft.com/office/drawing/2014/main" id="{108984B9-E886-5691-F63F-AF24C774D716}"/>
              </a:ext>
            </a:extLst>
          </p:cNvPr>
          <p:cNvGrpSpPr/>
          <p:nvPr>
            <p:custDataLst>
              <p:tags r:id="rId10"/>
            </p:custDataLst>
          </p:nvPr>
        </p:nvGrpSpPr>
        <p:grpSpPr>
          <a:xfrm>
            <a:off x="10102664" y="955344"/>
            <a:ext cx="1759136" cy="235611"/>
            <a:chOff x="-2269853" y="876300"/>
            <a:chExt cx="1759136" cy="235611"/>
          </a:xfrm>
        </p:grpSpPr>
        <p:sp>
          <p:nvSpPr>
            <p:cNvPr id="18" name="btfpStatusStickerText719082">
              <a:extLst>
                <a:ext uri="{FF2B5EF4-FFF2-40B4-BE49-F238E27FC236}">
                  <a16:creationId xmlns:a16="http://schemas.microsoft.com/office/drawing/2014/main" id="{E9791AA7-14E8-AC44-F75A-39C8919F3F29}"/>
                </a:ext>
              </a:extLst>
            </p:cNvPr>
            <p:cNvSpPr txBox="1"/>
            <p:nvPr/>
          </p:nvSpPr>
          <p:spPr bwMode="gray">
            <a:xfrm>
              <a:off x="-2269853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19" name="btfpStatusStickerLine719082">
              <a:extLst>
                <a:ext uri="{FF2B5EF4-FFF2-40B4-BE49-F238E27FC236}">
                  <a16:creationId xmlns:a16="http://schemas.microsoft.com/office/drawing/2014/main" id="{D68F35DA-7978-6692-3160-924B3FDCB8A2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69853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btfpRunningAgenda1Level385877">
            <a:extLst>
              <a:ext uri="{FF2B5EF4-FFF2-40B4-BE49-F238E27FC236}">
                <a16:creationId xmlns:a16="http://schemas.microsoft.com/office/drawing/2014/main" id="{EBC226C2-C68D-A70F-E8AF-8DF9E73CFADB}"/>
              </a:ext>
            </a:extLst>
          </p:cNvPr>
          <p:cNvGrpSpPr/>
          <p:nvPr>
            <p:custDataLst>
              <p:tags r:id="rId11"/>
            </p:custDataLst>
          </p:nvPr>
        </p:nvGrpSpPr>
        <p:grpSpPr>
          <a:xfrm>
            <a:off x="-1" y="944429"/>
            <a:ext cx="3007453" cy="257442"/>
            <a:chOff x="-1" y="876300"/>
            <a:chExt cx="3007453" cy="257442"/>
          </a:xfrm>
        </p:grpSpPr>
        <p:sp>
          <p:nvSpPr>
            <p:cNvPr id="25" name="btfpRunningAgenda1LevelBarLeft385877">
              <a:extLst>
                <a:ext uri="{FF2B5EF4-FFF2-40B4-BE49-F238E27FC236}">
                  <a16:creationId xmlns:a16="http://schemas.microsoft.com/office/drawing/2014/main" id="{DA9670E5-6681-34A7-8240-417B4914DDEE}"/>
                </a:ext>
              </a:extLst>
            </p:cNvPr>
            <p:cNvSpPr/>
            <p:nvPr/>
          </p:nvSpPr>
          <p:spPr bwMode="gray">
            <a:xfrm>
              <a:off x="-1" y="876300"/>
              <a:ext cx="3007453" cy="257442"/>
            </a:xfrm>
            <a:custGeom>
              <a:avLst/>
              <a:gdLst>
                <a:gd name="connsiteX0" fmla="*/ 942786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42786 w 1816204"/>
                <a:gd name="connsiteY0" fmla="*/ 0 h 257442"/>
                <a:gd name="connsiteX1" fmla="*/ 888066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1111101 w 1111101"/>
                <a:gd name="connsiteY0" fmla="*/ 0 h 257442"/>
                <a:gd name="connsiteX1" fmla="*/ 888065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89034 w 1289034"/>
                <a:gd name="connsiteY0" fmla="*/ 0 h 257442"/>
                <a:gd name="connsiteX1" fmla="*/ 1056380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4 w 1289034"/>
                <a:gd name="connsiteY0" fmla="*/ 0 h 257442"/>
                <a:gd name="connsiteX1" fmla="*/ 1234312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1 w 1289035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1 w 1289035"/>
                <a:gd name="connsiteY3" fmla="*/ 0 h 257442"/>
                <a:gd name="connsiteX0" fmla="*/ 1457351 w 1457351"/>
                <a:gd name="connsiteY0" fmla="*/ 0 h 257442"/>
                <a:gd name="connsiteX1" fmla="*/ 1234313 w 1457351"/>
                <a:gd name="connsiteY1" fmla="*/ 257442 h 257442"/>
                <a:gd name="connsiteX2" fmla="*/ 0 w 1457351"/>
                <a:gd name="connsiteY2" fmla="*/ 257442 h 257442"/>
                <a:gd name="connsiteX3" fmla="*/ 1 w 1457351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0 w 1457351"/>
                <a:gd name="connsiteY2" fmla="*/ 257442 h 257442"/>
                <a:gd name="connsiteX3" fmla="*/ 1 w 1457351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1 w 1457351"/>
                <a:gd name="connsiteY2" fmla="*/ 257442 h 257442"/>
                <a:gd name="connsiteX3" fmla="*/ 0 w 1457351"/>
                <a:gd name="connsiteY3" fmla="*/ 0 h 257442"/>
                <a:gd name="connsiteX0" fmla="*/ 1710626 w 1710626"/>
                <a:gd name="connsiteY0" fmla="*/ 0 h 257442"/>
                <a:gd name="connsiteX1" fmla="*/ 1402630 w 1710626"/>
                <a:gd name="connsiteY1" fmla="*/ 257442 h 257442"/>
                <a:gd name="connsiteX2" fmla="*/ 1 w 1710626"/>
                <a:gd name="connsiteY2" fmla="*/ 257442 h 257442"/>
                <a:gd name="connsiteX3" fmla="*/ 0 w 1710626"/>
                <a:gd name="connsiteY3" fmla="*/ 0 h 257442"/>
                <a:gd name="connsiteX0" fmla="*/ 1710626 w 1710626"/>
                <a:gd name="connsiteY0" fmla="*/ 0 h 257442"/>
                <a:gd name="connsiteX1" fmla="*/ 1655904 w 1710626"/>
                <a:gd name="connsiteY1" fmla="*/ 257442 h 257442"/>
                <a:gd name="connsiteX2" fmla="*/ 1 w 1710626"/>
                <a:gd name="connsiteY2" fmla="*/ 257442 h 257442"/>
                <a:gd name="connsiteX3" fmla="*/ 0 w 1710626"/>
                <a:gd name="connsiteY3" fmla="*/ 0 h 257442"/>
                <a:gd name="connsiteX0" fmla="*/ 1710626 w 1710626"/>
                <a:gd name="connsiteY0" fmla="*/ 0 h 257442"/>
                <a:gd name="connsiteX1" fmla="*/ 1655904 w 1710626"/>
                <a:gd name="connsiteY1" fmla="*/ 257442 h 257442"/>
                <a:gd name="connsiteX2" fmla="*/ 0 w 1710626"/>
                <a:gd name="connsiteY2" fmla="*/ 257442 h 257442"/>
                <a:gd name="connsiteX3" fmla="*/ 0 w 1710626"/>
                <a:gd name="connsiteY3" fmla="*/ 0 h 257442"/>
                <a:gd name="connsiteX0" fmla="*/ 1710626 w 1710626"/>
                <a:gd name="connsiteY0" fmla="*/ 0 h 257442"/>
                <a:gd name="connsiteX1" fmla="*/ 1655904 w 1710626"/>
                <a:gd name="connsiteY1" fmla="*/ 257442 h 257442"/>
                <a:gd name="connsiteX2" fmla="*/ 0 w 1710626"/>
                <a:gd name="connsiteY2" fmla="*/ 257442 h 257442"/>
                <a:gd name="connsiteX3" fmla="*/ 0 w 1710626"/>
                <a:gd name="connsiteY3" fmla="*/ 0 h 257442"/>
                <a:gd name="connsiteX0" fmla="*/ 2023210 w 2023210"/>
                <a:gd name="connsiteY0" fmla="*/ 0 h 257442"/>
                <a:gd name="connsiteX1" fmla="*/ 1655904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023210 w 2023210"/>
                <a:gd name="connsiteY0" fmla="*/ 0 h 257442"/>
                <a:gd name="connsiteX1" fmla="*/ 1968489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023210 w 2023210"/>
                <a:gd name="connsiteY0" fmla="*/ 0 h 257442"/>
                <a:gd name="connsiteX1" fmla="*/ 1968489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023210 w 2023210"/>
                <a:gd name="connsiteY0" fmla="*/ 0 h 257442"/>
                <a:gd name="connsiteX1" fmla="*/ 1968489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191525 w 2191525"/>
                <a:gd name="connsiteY0" fmla="*/ 0 h 257442"/>
                <a:gd name="connsiteX1" fmla="*/ 1968489 w 2191525"/>
                <a:gd name="connsiteY1" fmla="*/ 257442 h 257442"/>
                <a:gd name="connsiteX2" fmla="*/ 0 w 2191525"/>
                <a:gd name="connsiteY2" fmla="*/ 257442 h 257442"/>
                <a:gd name="connsiteX3" fmla="*/ 0 w 2191525"/>
                <a:gd name="connsiteY3" fmla="*/ 0 h 257442"/>
                <a:gd name="connsiteX0" fmla="*/ 2191525 w 2191525"/>
                <a:gd name="connsiteY0" fmla="*/ 0 h 257442"/>
                <a:gd name="connsiteX1" fmla="*/ 2136804 w 2191525"/>
                <a:gd name="connsiteY1" fmla="*/ 257442 h 257442"/>
                <a:gd name="connsiteX2" fmla="*/ 0 w 2191525"/>
                <a:gd name="connsiteY2" fmla="*/ 257442 h 257442"/>
                <a:gd name="connsiteX3" fmla="*/ 0 w 2191525"/>
                <a:gd name="connsiteY3" fmla="*/ 0 h 257442"/>
                <a:gd name="connsiteX0" fmla="*/ 2191525 w 2191525"/>
                <a:gd name="connsiteY0" fmla="*/ 0 h 257442"/>
                <a:gd name="connsiteX1" fmla="*/ 2136804 w 2191525"/>
                <a:gd name="connsiteY1" fmla="*/ 257442 h 257442"/>
                <a:gd name="connsiteX2" fmla="*/ 0 w 2191525"/>
                <a:gd name="connsiteY2" fmla="*/ 257442 h 257442"/>
                <a:gd name="connsiteX3" fmla="*/ 0 w 2191525"/>
                <a:gd name="connsiteY3" fmla="*/ 0 h 257442"/>
                <a:gd name="connsiteX0" fmla="*/ 2191525 w 2191525"/>
                <a:gd name="connsiteY0" fmla="*/ 0 h 257442"/>
                <a:gd name="connsiteX1" fmla="*/ 2136804 w 2191525"/>
                <a:gd name="connsiteY1" fmla="*/ 257442 h 257442"/>
                <a:gd name="connsiteX2" fmla="*/ 0 w 2191525"/>
                <a:gd name="connsiteY2" fmla="*/ 257442 h 257442"/>
                <a:gd name="connsiteX3" fmla="*/ 0 w 2191525"/>
                <a:gd name="connsiteY3" fmla="*/ 0 h 257442"/>
                <a:gd name="connsiteX0" fmla="*/ 2377474 w 2377474"/>
                <a:gd name="connsiteY0" fmla="*/ 0 h 257442"/>
                <a:gd name="connsiteX1" fmla="*/ 2136804 w 2377474"/>
                <a:gd name="connsiteY1" fmla="*/ 257442 h 257442"/>
                <a:gd name="connsiteX2" fmla="*/ 0 w 2377474"/>
                <a:gd name="connsiteY2" fmla="*/ 257442 h 257442"/>
                <a:gd name="connsiteX3" fmla="*/ 0 w 2377474"/>
                <a:gd name="connsiteY3" fmla="*/ 0 h 257442"/>
                <a:gd name="connsiteX0" fmla="*/ 2377474 w 2377474"/>
                <a:gd name="connsiteY0" fmla="*/ 0 h 257442"/>
                <a:gd name="connsiteX1" fmla="*/ 2322752 w 2377474"/>
                <a:gd name="connsiteY1" fmla="*/ 257442 h 257442"/>
                <a:gd name="connsiteX2" fmla="*/ 0 w 2377474"/>
                <a:gd name="connsiteY2" fmla="*/ 257442 h 257442"/>
                <a:gd name="connsiteX3" fmla="*/ 0 w 2377474"/>
                <a:gd name="connsiteY3" fmla="*/ 0 h 257442"/>
                <a:gd name="connsiteX0" fmla="*/ 2377475 w 2377475"/>
                <a:gd name="connsiteY0" fmla="*/ 0 h 257442"/>
                <a:gd name="connsiteX1" fmla="*/ 2322753 w 2377475"/>
                <a:gd name="connsiteY1" fmla="*/ 257442 h 257442"/>
                <a:gd name="connsiteX2" fmla="*/ 0 w 2377475"/>
                <a:gd name="connsiteY2" fmla="*/ 257442 h 257442"/>
                <a:gd name="connsiteX3" fmla="*/ 1 w 2377475"/>
                <a:gd name="connsiteY3" fmla="*/ 0 h 257442"/>
                <a:gd name="connsiteX0" fmla="*/ 2377475 w 2377475"/>
                <a:gd name="connsiteY0" fmla="*/ 0 h 257442"/>
                <a:gd name="connsiteX1" fmla="*/ 2322753 w 2377475"/>
                <a:gd name="connsiteY1" fmla="*/ 257442 h 257442"/>
                <a:gd name="connsiteX2" fmla="*/ 0 w 2377475"/>
                <a:gd name="connsiteY2" fmla="*/ 257442 h 257442"/>
                <a:gd name="connsiteX3" fmla="*/ 1 w 2377475"/>
                <a:gd name="connsiteY3" fmla="*/ 0 h 257442"/>
                <a:gd name="connsiteX0" fmla="*/ 2646779 w 2646779"/>
                <a:gd name="connsiteY0" fmla="*/ 0 h 257442"/>
                <a:gd name="connsiteX1" fmla="*/ 2322753 w 2646779"/>
                <a:gd name="connsiteY1" fmla="*/ 257442 h 257442"/>
                <a:gd name="connsiteX2" fmla="*/ 0 w 2646779"/>
                <a:gd name="connsiteY2" fmla="*/ 257442 h 257442"/>
                <a:gd name="connsiteX3" fmla="*/ 1 w 2646779"/>
                <a:gd name="connsiteY3" fmla="*/ 0 h 257442"/>
                <a:gd name="connsiteX0" fmla="*/ 2646779 w 2646779"/>
                <a:gd name="connsiteY0" fmla="*/ 0 h 257442"/>
                <a:gd name="connsiteX1" fmla="*/ 2592058 w 2646779"/>
                <a:gd name="connsiteY1" fmla="*/ 257442 h 257442"/>
                <a:gd name="connsiteX2" fmla="*/ 0 w 2646779"/>
                <a:gd name="connsiteY2" fmla="*/ 257442 h 257442"/>
                <a:gd name="connsiteX3" fmla="*/ 1 w 2646779"/>
                <a:gd name="connsiteY3" fmla="*/ 0 h 257442"/>
                <a:gd name="connsiteX0" fmla="*/ 2646778 w 2646778"/>
                <a:gd name="connsiteY0" fmla="*/ 0 h 257442"/>
                <a:gd name="connsiteX1" fmla="*/ 2592057 w 2646778"/>
                <a:gd name="connsiteY1" fmla="*/ 257442 h 257442"/>
                <a:gd name="connsiteX2" fmla="*/ 0 w 2646778"/>
                <a:gd name="connsiteY2" fmla="*/ 257442 h 257442"/>
                <a:gd name="connsiteX3" fmla="*/ 0 w 2646778"/>
                <a:gd name="connsiteY3" fmla="*/ 0 h 257442"/>
                <a:gd name="connsiteX0" fmla="*/ 2646779 w 2646779"/>
                <a:gd name="connsiteY0" fmla="*/ 0 h 257442"/>
                <a:gd name="connsiteX1" fmla="*/ 2592058 w 2646779"/>
                <a:gd name="connsiteY1" fmla="*/ 257442 h 257442"/>
                <a:gd name="connsiteX2" fmla="*/ 1 w 2646779"/>
                <a:gd name="connsiteY2" fmla="*/ 257442 h 257442"/>
                <a:gd name="connsiteX3" fmla="*/ 0 w 2646779"/>
                <a:gd name="connsiteY3" fmla="*/ 0 h 257442"/>
                <a:gd name="connsiteX0" fmla="*/ 2815094 w 2815094"/>
                <a:gd name="connsiteY0" fmla="*/ 0 h 257442"/>
                <a:gd name="connsiteX1" fmla="*/ 2592058 w 2815094"/>
                <a:gd name="connsiteY1" fmla="*/ 257442 h 257442"/>
                <a:gd name="connsiteX2" fmla="*/ 1 w 2815094"/>
                <a:gd name="connsiteY2" fmla="*/ 257442 h 257442"/>
                <a:gd name="connsiteX3" fmla="*/ 0 w 2815094"/>
                <a:gd name="connsiteY3" fmla="*/ 0 h 257442"/>
                <a:gd name="connsiteX0" fmla="*/ 2815094 w 2815094"/>
                <a:gd name="connsiteY0" fmla="*/ 0 h 257442"/>
                <a:gd name="connsiteX1" fmla="*/ 2760372 w 2815094"/>
                <a:gd name="connsiteY1" fmla="*/ 257442 h 257442"/>
                <a:gd name="connsiteX2" fmla="*/ 1 w 2815094"/>
                <a:gd name="connsiteY2" fmla="*/ 257442 h 257442"/>
                <a:gd name="connsiteX3" fmla="*/ 0 w 2815094"/>
                <a:gd name="connsiteY3" fmla="*/ 0 h 257442"/>
                <a:gd name="connsiteX0" fmla="*/ 2815094 w 2815094"/>
                <a:gd name="connsiteY0" fmla="*/ 0 h 257442"/>
                <a:gd name="connsiteX1" fmla="*/ 2760372 w 2815094"/>
                <a:gd name="connsiteY1" fmla="*/ 257442 h 257442"/>
                <a:gd name="connsiteX2" fmla="*/ 0 w 2815094"/>
                <a:gd name="connsiteY2" fmla="*/ 257442 h 257442"/>
                <a:gd name="connsiteX3" fmla="*/ 0 w 2815094"/>
                <a:gd name="connsiteY3" fmla="*/ 0 h 257442"/>
                <a:gd name="connsiteX0" fmla="*/ 2815094 w 2815094"/>
                <a:gd name="connsiteY0" fmla="*/ 0 h 257442"/>
                <a:gd name="connsiteX1" fmla="*/ 2760372 w 2815094"/>
                <a:gd name="connsiteY1" fmla="*/ 257442 h 257442"/>
                <a:gd name="connsiteX2" fmla="*/ 0 w 2815094"/>
                <a:gd name="connsiteY2" fmla="*/ 257442 h 257442"/>
                <a:gd name="connsiteX3" fmla="*/ 0 w 2815094"/>
                <a:gd name="connsiteY3" fmla="*/ 0 h 257442"/>
                <a:gd name="connsiteX0" fmla="*/ 3076383 w 3076383"/>
                <a:gd name="connsiteY0" fmla="*/ 0 h 257442"/>
                <a:gd name="connsiteX1" fmla="*/ 276037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236683 w 3236683"/>
                <a:gd name="connsiteY0" fmla="*/ 0 h 257442"/>
                <a:gd name="connsiteX1" fmla="*/ 3021662 w 3236683"/>
                <a:gd name="connsiteY1" fmla="*/ 257442 h 257442"/>
                <a:gd name="connsiteX2" fmla="*/ 0 w 3236683"/>
                <a:gd name="connsiteY2" fmla="*/ 257442 h 257442"/>
                <a:gd name="connsiteX3" fmla="*/ 0 w 3236683"/>
                <a:gd name="connsiteY3" fmla="*/ 0 h 257442"/>
                <a:gd name="connsiteX0" fmla="*/ 3236683 w 3236683"/>
                <a:gd name="connsiteY0" fmla="*/ 0 h 257442"/>
                <a:gd name="connsiteX1" fmla="*/ 3181962 w 3236683"/>
                <a:gd name="connsiteY1" fmla="*/ 257442 h 257442"/>
                <a:gd name="connsiteX2" fmla="*/ 0 w 3236683"/>
                <a:gd name="connsiteY2" fmla="*/ 257442 h 257442"/>
                <a:gd name="connsiteX3" fmla="*/ 0 w 3236683"/>
                <a:gd name="connsiteY3" fmla="*/ 0 h 257442"/>
                <a:gd name="connsiteX0" fmla="*/ 3236683 w 3236683"/>
                <a:gd name="connsiteY0" fmla="*/ 0 h 257442"/>
                <a:gd name="connsiteX1" fmla="*/ 3181962 w 3236683"/>
                <a:gd name="connsiteY1" fmla="*/ 257442 h 257442"/>
                <a:gd name="connsiteX2" fmla="*/ 0 w 3236683"/>
                <a:gd name="connsiteY2" fmla="*/ 257442 h 257442"/>
                <a:gd name="connsiteX3" fmla="*/ 0 w 3236683"/>
                <a:gd name="connsiteY3" fmla="*/ 0 h 257442"/>
                <a:gd name="connsiteX0" fmla="*/ 3236683 w 3236683"/>
                <a:gd name="connsiteY0" fmla="*/ 0 h 257442"/>
                <a:gd name="connsiteX1" fmla="*/ 3181962 w 3236683"/>
                <a:gd name="connsiteY1" fmla="*/ 257442 h 257442"/>
                <a:gd name="connsiteX2" fmla="*/ 0 w 3236683"/>
                <a:gd name="connsiteY2" fmla="*/ 257442 h 257442"/>
                <a:gd name="connsiteX3" fmla="*/ 0 w 3236683"/>
                <a:gd name="connsiteY3" fmla="*/ 0 h 257442"/>
                <a:gd name="connsiteX0" fmla="*/ 3404998 w 3404998"/>
                <a:gd name="connsiteY0" fmla="*/ 0 h 257442"/>
                <a:gd name="connsiteX1" fmla="*/ 3181962 w 3404998"/>
                <a:gd name="connsiteY1" fmla="*/ 257442 h 257442"/>
                <a:gd name="connsiteX2" fmla="*/ 0 w 3404998"/>
                <a:gd name="connsiteY2" fmla="*/ 257442 h 257442"/>
                <a:gd name="connsiteX3" fmla="*/ 0 w 3404998"/>
                <a:gd name="connsiteY3" fmla="*/ 0 h 257442"/>
                <a:gd name="connsiteX0" fmla="*/ 3404998 w 3404998"/>
                <a:gd name="connsiteY0" fmla="*/ 0 h 257442"/>
                <a:gd name="connsiteX1" fmla="*/ 3350276 w 3404998"/>
                <a:gd name="connsiteY1" fmla="*/ 257442 h 257442"/>
                <a:gd name="connsiteX2" fmla="*/ 0 w 3404998"/>
                <a:gd name="connsiteY2" fmla="*/ 257442 h 257442"/>
                <a:gd name="connsiteX3" fmla="*/ 0 w 3404998"/>
                <a:gd name="connsiteY3" fmla="*/ 0 h 257442"/>
                <a:gd name="connsiteX0" fmla="*/ 3404999 w 3404999"/>
                <a:gd name="connsiteY0" fmla="*/ 0 h 257442"/>
                <a:gd name="connsiteX1" fmla="*/ 3350277 w 3404999"/>
                <a:gd name="connsiteY1" fmla="*/ 257442 h 257442"/>
                <a:gd name="connsiteX2" fmla="*/ 0 w 3404999"/>
                <a:gd name="connsiteY2" fmla="*/ 257442 h 257442"/>
                <a:gd name="connsiteX3" fmla="*/ 1 w 3404999"/>
                <a:gd name="connsiteY3" fmla="*/ 0 h 257442"/>
                <a:gd name="connsiteX0" fmla="*/ 3404999 w 3404999"/>
                <a:gd name="connsiteY0" fmla="*/ 0 h 257442"/>
                <a:gd name="connsiteX1" fmla="*/ 3350277 w 3404999"/>
                <a:gd name="connsiteY1" fmla="*/ 257442 h 257442"/>
                <a:gd name="connsiteX2" fmla="*/ 0 w 3404999"/>
                <a:gd name="connsiteY2" fmla="*/ 257442 h 257442"/>
                <a:gd name="connsiteX3" fmla="*/ 1 w 3404999"/>
                <a:gd name="connsiteY3" fmla="*/ 0 h 257442"/>
                <a:gd name="connsiteX0" fmla="*/ 3565299 w 3565299"/>
                <a:gd name="connsiteY0" fmla="*/ 0 h 257442"/>
                <a:gd name="connsiteX1" fmla="*/ 3350277 w 3565299"/>
                <a:gd name="connsiteY1" fmla="*/ 257442 h 257442"/>
                <a:gd name="connsiteX2" fmla="*/ 0 w 3565299"/>
                <a:gd name="connsiteY2" fmla="*/ 257442 h 257442"/>
                <a:gd name="connsiteX3" fmla="*/ 1 w 3565299"/>
                <a:gd name="connsiteY3" fmla="*/ 0 h 257442"/>
                <a:gd name="connsiteX0" fmla="*/ 3565299 w 3565299"/>
                <a:gd name="connsiteY0" fmla="*/ 0 h 257442"/>
                <a:gd name="connsiteX1" fmla="*/ 3510578 w 3565299"/>
                <a:gd name="connsiteY1" fmla="*/ 257442 h 257442"/>
                <a:gd name="connsiteX2" fmla="*/ 0 w 3565299"/>
                <a:gd name="connsiteY2" fmla="*/ 257442 h 257442"/>
                <a:gd name="connsiteX3" fmla="*/ 1 w 3565299"/>
                <a:gd name="connsiteY3" fmla="*/ 0 h 257442"/>
                <a:gd name="connsiteX0" fmla="*/ 3565298 w 3565298"/>
                <a:gd name="connsiteY0" fmla="*/ 0 h 257442"/>
                <a:gd name="connsiteX1" fmla="*/ 3510577 w 3565298"/>
                <a:gd name="connsiteY1" fmla="*/ 257442 h 257442"/>
                <a:gd name="connsiteX2" fmla="*/ 0 w 3565298"/>
                <a:gd name="connsiteY2" fmla="*/ 257442 h 257442"/>
                <a:gd name="connsiteX3" fmla="*/ 0 w 3565298"/>
                <a:gd name="connsiteY3" fmla="*/ 0 h 257442"/>
                <a:gd name="connsiteX0" fmla="*/ 3565299 w 3565299"/>
                <a:gd name="connsiteY0" fmla="*/ 0 h 257442"/>
                <a:gd name="connsiteX1" fmla="*/ 3510578 w 3565299"/>
                <a:gd name="connsiteY1" fmla="*/ 257442 h 257442"/>
                <a:gd name="connsiteX2" fmla="*/ 1 w 3565299"/>
                <a:gd name="connsiteY2" fmla="*/ 257442 h 257442"/>
                <a:gd name="connsiteX3" fmla="*/ 0 w 3565299"/>
                <a:gd name="connsiteY3" fmla="*/ 0 h 257442"/>
                <a:gd name="connsiteX0" fmla="*/ 968435 w 3510578"/>
                <a:gd name="connsiteY0" fmla="*/ 0 h 257442"/>
                <a:gd name="connsiteX1" fmla="*/ 3510578 w 3510578"/>
                <a:gd name="connsiteY1" fmla="*/ 257442 h 257442"/>
                <a:gd name="connsiteX2" fmla="*/ 1 w 3510578"/>
                <a:gd name="connsiteY2" fmla="*/ 257442 h 257442"/>
                <a:gd name="connsiteX3" fmla="*/ 0 w 3510578"/>
                <a:gd name="connsiteY3" fmla="*/ 0 h 257442"/>
                <a:gd name="connsiteX0" fmla="*/ 968435 w 968435"/>
                <a:gd name="connsiteY0" fmla="*/ 0 h 257442"/>
                <a:gd name="connsiteX1" fmla="*/ 913714 w 968435"/>
                <a:gd name="connsiteY1" fmla="*/ 257442 h 257442"/>
                <a:gd name="connsiteX2" fmla="*/ 1 w 968435"/>
                <a:gd name="connsiteY2" fmla="*/ 257442 h 257442"/>
                <a:gd name="connsiteX3" fmla="*/ 0 w 968435"/>
                <a:gd name="connsiteY3" fmla="*/ 0 h 257442"/>
                <a:gd name="connsiteX0" fmla="*/ 968435 w 968435"/>
                <a:gd name="connsiteY0" fmla="*/ 0 h 257442"/>
                <a:gd name="connsiteX1" fmla="*/ 913714 w 968435"/>
                <a:gd name="connsiteY1" fmla="*/ 257442 h 257442"/>
                <a:gd name="connsiteX2" fmla="*/ 2 w 968435"/>
                <a:gd name="connsiteY2" fmla="*/ 257442 h 257442"/>
                <a:gd name="connsiteX3" fmla="*/ 0 w 968435"/>
                <a:gd name="connsiteY3" fmla="*/ 0 h 257442"/>
                <a:gd name="connsiteX0" fmla="*/ 968433 w 968433"/>
                <a:gd name="connsiteY0" fmla="*/ 0 h 257442"/>
                <a:gd name="connsiteX1" fmla="*/ 913712 w 968433"/>
                <a:gd name="connsiteY1" fmla="*/ 257442 h 257442"/>
                <a:gd name="connsiteX2" fmla="*/ 0 w 968433"/>
                <a:gd name="connsiteY2" fmla="*/ 257442 h 257442"/>
                <a:gd name="connsiteX3" fmla="*/ 0 w 968433"/>
                <a:gd name="connsiteY3" fmla="*/ 0 h 257442"/>
                <a:gd name="connsiteX0" fmla="*/ 1136749 w 1136749"/>
                <a:gd name="connsiteY0" fmla="*/ 0 h 257442"/>
                <a:gd name="connsiteX1" fmla="*/ 913712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305064 w 1305064"/>
                <a:gd name="connsiteY0" fmla="*/ 0 h 257442"/>
                <a:gd name="connsiteX1" fmla="*/ 1082028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305064 w 1305064"/>
                <a:gd name="connsiteY0" fmla="*/ 0 h 257442"/>
                <a:gd name="connsiteX1" fmla="*/ 1250342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305065 w 1305065"/>
                <a:gd name="connsiteY0" fmla="*/ 0 h 257442"/>
                <a:gd name="connsiteX1" fmla="*/ 1250343 w 1305065"/>
                <a:gd name="connsiteY1" fmla="*/ 257442 h 257442"/>
                <a:gd name="connsiteX2" fmla="*/ 0 w 1305065"/>
                <a:gd name="connsiteY2" fmla="*/ 257442 h 257442"/>
                <a:gd name="connsiteX3" fmla="*/ 1 w 1305065"/>
                <a:gd name="connsiteY3" fmla="*/ 0 h 257442"/>
                <a:gd name="connsiteX0" fmla="*/ 1305065 w 1305065"/>
                <a:gd name="connsiteY0" fmla="*/ 0 h 257442"/>
                <a:gd name="connsiteX1" fmla="*/ 1250343 w 1305065"/>
                <a:gd name="connsiteY1" fmla="*/ 257442 h 257442"/>
                <a:gd name="connsiteX2" fmla="*/ 0 w 1305065"/>
                <a:gd name="connsiteY2" fmla="*/ 257442 h 257442"/>
                <a:gd name="connsiteX3" fmla="*/ 1 w 1305065"/>
                <a:gd name="connsiteY3" fmla="*/ 0 h 257442"/>
                <a:gd name="connsiteX0" fmla="*/ 1473381 w 1473381"/>
                <a:gd name="connsiteY0" fmla="*/ 0 h 257442"/>
                <a:gd name="connsiteX1" fmla="*/ 1250343 w 1473381"/>
                <a:gd name="connsiteY1" fmla="*/ 257442 h 257442"/>
                <a:gd name="connsiteX2" fmla="*/ 0 w 1473381"/>
                <a:gd name="connsiteY2" fmla="*/ 257442 h 257442"/>
                <a:gd name="connsiteX3" fmla="*/ 1 w 1473381"/>
                <a:gd name="connsiteY3" fmla="*/ 0 h 257442"/>
                <a:gd name="connsiteX0" fmla="*/ 1473381 w 1473381"/>
                <a:gd name="connsiteY0" fmla="*/ 0 h 257442"/>
                <a:gd name="connsiteX1" fmla="*/ 1418660 w 1473381"/>
                <a:gd name="connsiteY1" fmla="*/ 257442 h 257442"/>
                <a:gd name="connsiteX2" fmla="*/ 0 w 1473381"/>
                <a:gd name="connsiteY2" fmla="*/ 257442 h 257442"/>
                <a:gd name="connsiteX3" fmla="*/ 1 w 1473381"/>
                <a:gd name="connsiteY3" fmla="*/ 0 h 257442"/>
                <a:gd name="connsiteX0" fmla="*/ 1473380 w 1473380"/>
                <a:gd name="connsiteY0" fmla="*/ 0 h 257442"/>
                <a:gd name="connsiteX1" fmla="*/ 1418659 w 1473380"/>
                <a:gd name="connsiteY1" fmla="*/ 257442 h 257442"/>
                <a:gd name="connsiteX2" fmla="*/ 0 w 1473380"/>
                <a:gd name="connsiteY2" fmla="*/ 257442 h 257442"/>
                <a:gd name="connsiteX3" fmla="*/ 0 w 1473380"/>
                <a:gd name="connsiteY3" fmla="*/ 0 h 257442"/>
                <a:gd name="connsiteX0" fmla="*/ 1473381 w 1473381"/>
                <a:gd name="connsiteY0" fmla="*/ 0 h 257442"/>
                <a:gd name="connsiteX1" fmla="*/ 1418660 w 1473381"/>
                <a:gd name="connsiteY1" fmla="*/ 257442 h 257442"/>
                <a:gd name="connsiteX2" fmla="*/ 1 w 1473381"/>
                <a:gd name="connsiteY2" fmla="*/ 257442 h 257442"/>
                <a:gd name="connsiteX3" fmla="*/ 0 w 1473381"/>
                <a:gd name="connsiteY3" fmla="*/ 0 h 257442"/>
                <a:gd name="connsiteX0" fmla="*/ 1633681 w 1633681"/>
                <a:gd name="connsiteY0" fmla="*/ 0 h 257442"/>
                <a:gd name="connsiteX1" fmla="*/ 1418660 w 1633681"/>
                <a:gd name="connsiteY1" fmla="*/ 257442 h 257442"/>
                <a:gd name="connsiteX2" fmla="*/ 1 w 1633681"/>
                <a:gd name="connsiteY2" fmla="*/ 257442 h 257442"/>
                <a:gd name="connsiteX3" fmla="*/ 0 w 1633681"/>
                <a:gd name="connsiteY3" fmla="*/ 0 h 257442"/>
                <a:gd name="connsiteX0" fmla="*/ 1633681 w 1633681"/>
                <a:gd name="connsiteY0" fmla="*/ 0 h 257442"/>
                <a:gd name="connsiteX1" fmla="*/ 1578960 w 1633681"/>
                <a:gd name="connsiteY1" fmla="*/ 257442 h 257442"/>
                <a:gd name="connsiteX2" fmla="*/ 1 w 1633681"/>
                <a:gd name="connsiteY2" fmla="*/ 257442 h 257442"/>
                <a:gd name="connsiteX3" fmla="*/ 0 w 1633681"/>
                <a:gd name="connsiteY3" fmla="*/ 0 h 257442"/>
                <a:gd name="connsiteX0" fmla="*/ 1633681 w 1633681"/>
                <a:gd name="connsiteY0" fmla="*/ 0 h 257442"/>
                <a:gd name="connsiteX1" fmla="*/ 1578960 w 1633681"/>
                <a:gd name="connsiteY1" fmla="*/ 257442 h 257442"/>
                <a:gd name="connsiteX2" fmla="*/ 1 w 1633681"/>
                <a:gd name="connsiteY2" fmla="*/ 257442 h 257442"/>
                <a:gd name="connsiteX3" fmla="*/ 0 w 1633681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0 w 1633680"/>
                <a:gd name="connsiteY3" fmla="*/ 0 h 257442"/>
                <a:gd name="connsiteX0" fmla="*/ 1886954 w 1886954"/>
                <a:gd name="connsiteY0" fmla="*/ 0 h 257442"/>
                <a:gd name="connsiteX1" fmla="*/ 1578959 w 1886954"/>
                <a:gd name="connsiteY1" fmla="*/ 257442 h 257442"/>
                <a:gd name="connsiteX2" fmla="*/ 0 w 1886954"/>
                <a:gd name="connsiteY2" fmla="*/ 257442 h 257442"/>
                <a:gd name="connsiteX3" fmla="*/ 0 w 1886954"/>
                <a:gd name="connsiteY3" fmla="*/ 0 h 257442"/>
                <a:gd name="connsiteX0" fmla="*/ 1886954 w 1886954"/>
                <a:gd name="connsiteY0" fmla="*/ 0 h 257442"/>
                <a:gd name="connsiteX1" fmla="*/ 1832233 w 1886954"/>
                <a:gd name="connsiteY1" fmla="*/ 257442 h 257442"/>
                <a:gd name="connsiteX2" fmla="*/ 0 w 1886954"/>
                <a:gd name="connsiteY2" fmla="*/ 257442 h 257442"/>
                <a:gd name="connsiteX3" fmla="*/ 0 w 1886954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1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1 w 1886955"/>
                <a:gd name="connsiteY3" fmla="*/ 0 h 257442"/>
                <a:gd name="connsiteX0" fmla="*/ 2055271 w 2055271"/>
                <a:gd name="connsiteY0" fmla="*/ 0 h 257442"/>
                <a:gd name="connsiteX1" fmla="*/ 1832234 w 2055271"/>
                <a:gd name="connsiteY1" fmla="*/ 257442 h 257442"/>
                <a:gd name="connsiteX2" fmla="*/ 0 w 2055271"/>
                <a:gd name="connsiteY2" fmla="*/ 257442 h 257442"/>
                <a:gd name="connsiteX3" fmla="*/ 1 w 2055271"/>
                <a:gd name="connsiteY3" fmla="*/ 0 h 257442"/>
                <a:gd name="connsiteX0" fmla="*/ 2055271 w 2055271"/>
                <a:gd name="connsiteY0" fmla="*/ 0 h 257442"/>
                <a:gd name="connsiteX1" fmla="*/ 2000550 w 2055271"/>
                <a:gd name="connsiteY1" fmla="*/ 257442 h 257442"/>
                <a:gd name="connsiteX2" fmla="*/ 0 w 2055271"/>
                <a:gd name="connsiteY2" fmla="*/ 257442 h 257442"/>
                <a:gd name="connsiteX3" fmla="*/ 1 w 2055271"/>
                <a:gd name="connsiteY3" fmla="*/ 0 h 257442"/>
                <a:gd name="connsiteX0" fmla="*/ 2055270 w 2055270"/>
                <a:gd name="connsiteY0" fmla="*/ 0 h 257442"/>
                <a:gd name="connsiteX1" fmla="*/ 2000549 w 2055270"/>
                <a:gd name="connsiteY1" fmla="*/ 257442 h 257442"/>
                <a:gd name="connsiteX2" fmla="*/ 0 w 2055270"/>
                <a:gd name="connsiteY2" fmla="*/ 257442 h 257442"/>
                <a:gd name="connsiteX3" fmla="*/ 0 w 2055270"/>
                <a:gd name="connsiteY3" fmla="*/ 0 h 257442"/>
                <a:gd name="connsiteX0" fmla="*/ 2055271 w 2055271"/>
                <a:gd name="connsiteY0" fmla="*/ 0 h 257442"/>
                <a:gd name="connsiteX1" fmla="*/ 2000550 w 2055271"/>
                <a:gd name="connsiteY1" fmla="*/ 257442 h 257442"/>
                <a:gd name="connsiteX2" fmla="*/ 1 w 2055271"/>
                <a:gd name="connsiteY2" fmla="*/ 257442 h 257442"/>
                <a:gd name="connsiteX3" fmla="*/ 0 w 2055271"/>
                <a:gd name="connsiteY3" fmla="*/ 0 h 257442"/>
                <a:gd name="connsiteX0" fmla="*/ 2223586 w 2223586"/>
                <a:gd name="connsiteY0" fmla="*/ 0 h 257442"/>
                <a:gd name="connsiteX1" fmla="*/ 2000550 w 2223586"/>
                <a:gd name="connsiteY1" fmla="*/ 257442 h 257442"/>
                <a:gd name="connsiteX2" fmla="*/ 1 w 2223586"/>
                <a:gd name="connsiteY2" fmla="*/ 257442 h 257442"/>
                <a:gd name="connsiteX3" fmla="*/ 0 w 2223586"/>
                <a:gd name="connsiteY3" fmla="*/ 0 h 257442"/>
                <a:gd name="connsiteX0" fmla="*/ 2223586 w 2223586"/>
                <a:gd name="connsiteY0" fmla="*/ 0 h 257442"/>
                <a:gd name="connsiteX1" fmla="*/ 2168864 w 2223586"/>
                <a:gd name="connsiteY1" fmla="*/ 257442 h 257442"/>
                <a:gd name="connsiteX2" fmla="*/ 1 w 2223586"/>
                <a:gd name="connsiteY2" fmla="*/ 257442 h 257442"/>
                <a:gd name="connsiteX3" fmla="*/ 0 w 2223586"/>
                <a:gd name="connsiteY3" fmla="*/ 0 h 257442"/>
                <a:gd name="connsiteX0" fmla="*/ 2223586 w 2223586"/>
                <a:gd name="connsiteY0" fmla="*/ 0 h 257442"/>
                <a:gd name="connsiteX1" fmla="*/ 2168864 w 2223586"/>
                <a:gd name="connsiteY1" fmla="*/ 257442 h 257442"/>
                <a:gd name="connsiteX2" fmla="*/ 0 w 2223586"/>
                <a:gd name="connsiteY2" fmla="*/ 257442 h 257442"/>
                <a:gd name="connsiteX3" fmla="*/ 0 w 2223586"/>
                <a:gd name="connsiteY3" fmla="*/ 0 h 257442"/>
                <a:gd name="connsiteX0" fmla="*/ 2223586 w 2223586"/>
                <a:gd name="connsiteY0" fmla="*/ 0 h 257442"/>
                <a:gd name="connsiteX1" fmla="*/ 2168864 w 2223586"/>
                <a:gd name="connsiteY1" fmla="*/ 257442 h 257442"/>
                <a:gd name="connsiteX2" fmla="*/ 0 w 2223586"/>
                <a:gd name="connsiteY2" fmla="*/ 257442 h 257442"/>
                <a:gd name="connsiteX3" fmla="*/ 0 w 2223586"/>
                <a:gd name="connsiteY3" fmla="*/ 0 h 257442"/>
                <a:gd name="connsiteX0" fmla="*/ 2484874 w 2484874"/>
                <a:gd name="connsiteY0" fmla="*/ 0 h 257442"/>
                <a:gd name="connsiteX1" fmla="*/ 2168864 w 2484874"/>
                <a:gd name="connsiteY1" fmla="*/ 257442 h 257442"/>
                <a:gd name="connsiteX2" fmla="*/ 0 w 2484874"/>
                <a:gd name="connsiteY2" fmla="*/ 257442 h 257442"/>
                <a:gd name="connsiteX3" fmla="*/ 0 w 2484874"/>
                <a:gd name="connsiteY3" fmla="*/ 0 h 257442"/>
                <a:gd name="connsiteX0" fmla="*/ 2484874 w 2484874"/>
                <a:gd name="connsiteY0" fmla="*/ 0 h 257442"/>
                <a:gd name="connsiteX1" fmla="*/ 2430153 w 2484874"/>
                <a:gd name="connsiteY1" fmla="*/ 257442 h 257442"/>
                <a:gd name="connsiteX2" fmla="*/ 0 w 2484874"/>
                <a:gd name="connsiteY2" fmla="*/ 257442 h 257442"/>
                <a:gd name="connsiteX3" fmla="*/ 0 w 2484874"/>
                <a:gd name="connsiteY3" fmla="*/ 0 h 257442"/>
                <a:gd name="connsiteX0" fmla="*/ 2484874 w 2484874"/>
                <a:gd name="connsiteY0" fmla="*/ 0 h 257442"/>
                <a:gd name="connsiteX1" fmla="*/ 2430153 w 2484874"/>
                <a:gd name="connsiteY1" fmla="*/ 257442 h 257442"/>
                <a:gd name="connsiteX2" fmla="*/ 0 w 2484874"/>
                <a:gd name="connsiteY2" fmla="*/ 257442 h 257442"/>
                <a:gd name="connsiteX3" fmla="*/ 0 w 2484874"/>
                <a:gd name="connsiteY3" fmla="*/ 0 h 257442"/>
                <a:gd name="connsiteX0" fmla="*/ 2484874 w 2484874"/>
                <a:gd name="connsiteY0" fmla="*/ 0 h 257442"/>
                <a:gd name="connsiteX1" fmla="*/ 2430153 w 2484874"/>
                <a:gd name="connsiteY1" fmla="*/ 257442 h 257442"/>
                <a:gd name="connsiteX2" fmla="*/ 0 w 2484874"/>
                <a:gd name="connsiteY2" fmla="*/ 257442 h 257442"/>
                <a:gd name="connsiteX3" fmla="*/ 0 w 2484874"/>
                <a:gd name="connsiteY3" fmla="*/ 0 h 257442"/>
                <a:gd name="connsiteX0" fmla="*/ 2645175 w 2645175"/>
                <a:gd name="connsiteY0" fmla="*/ 0 h 257442"/>
                <a:gd name="connsiteX1" fmla="*/ 2430153 w 2645175"/>
                <a:gd name="connsiteY1" fmla="*/ 257442 h 257442"/>
                <a:gd name="connsiteX2" fmla="*/ 0 w 2645175"/>
                <a:gd name="connsiteY2" fmla="*/ 257442 h 257442"/>
                <a:gd name="connsiteX3" fmla="*/ 0 w 2645175"/>
                <a:gd name="connsiteY3" fmla="*/ 0 h 257442"/>
                <a:gd name="connsiteX0" fmla="*/ 2645175 w 2645175"/>
                <a:gd name="connsiteY0" fmla="*/ 0 h 257442"/>
                <a:gd name="connsiteX1" fmla="*/ 2590454 w 2645175"/>
                <a:gd name="connsiteY1" fmla="*/ 257442 h 257442"/>
                <a:gd name="connsiteX2" fmla="*/ 0 w 2645175"/>
                <a:gd name="connsiteY2" fmla="*/ 257442 h 257442"/>
                <a:gd name="connsiteX3" fmla="*/ 0 w 2645175"/>
                <a:gd name="connsiteY3" fmla="*/ 0 h 257442"/>
                <a:gd name="connsiteX0" fmla="*/ 2645175 w 2645175"/>
                <a:gd name="connsiteY0" fmla="*/ 0 h 257442"/>
                <a:gd name="connsiteX1" fmla="*/ 2590454 w 2645175"/>
                <a:gd name="connsiteY1" fmla="*/ 257442 h 257442"/>
                <a:gd name="connsiteX2" fmla="*/ 0 w 2645175"/>
                <a:gd name="connsiteY2" fmla="*/ 257442 h 257442"/>
                <a:gd name="connsiteX3" fmla="*/ 0 w 2645175"/>
                <a:gd name="connsiteY3" fmla="*/ 0 h 257442"/>
                <a:gd name="connsiteX0" fmla="*/ 2645175 w 2645175"/>
                <a:gd name="connsiteY0" fmla="*/ 0 h 257442"/>
                <a:gd name="connsiteX1" fmla="*/ 2590454 w 2645175"/>
                <a:gd name="connsiteY1" fmla="*/ 257442 h 257442"/>
                <a:gd name="connsiteX2" fmla="*/ 0 w 2645175"/>
                <a:gd name="connsiteY2" fmla="*/ 257442 h 257442"/>
                <a:gd name="connsiteX3" fmla="*/ 0 w 2645175"/>
                <a:gd name="connsiteY3" fmla="*/ 0 h 257442"/>
                <a:gd name="connsiteX0" fmla="*/ 2813491 w 2813491"/>
                <a:gd name="connsiteY0" fmla="*/ 0 h 257442"/>
                <a:gd name="connsiteX1" fmla="*/ 2590454 w 2813491"/>
                <a:gd name="connsiteY1" fmla="*/ 257442 h 257442"/>
                <a:gd name="connsiteX2" fmla="*/ 0 w 2813491"/>
                <a:gd name="connsiteY2" fmla="*/ 257442 h 257442"/>
                <a:gd name="connsiteX3" fmla="*/ 0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0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0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0 w 2813491"/>
                <a:gd name="connsiteY3" fmla="*/ 0 h 257442"/>
                <a:gd name="connsiteX0" fmla="*/ 2973791 w 2973791"/>
                <a:gd name="connsiteY0" fmla="*/ 0 h 257442"/>
                <a:gd name="connsiteX1" fmla="*/ 2758770 w 2973791"/>
                <a:gd name="connsiteY1" fmla="*/ 257442 h 257442"/>
                <a:gd name="connsiteX2" fmla="*/ 0 w 2973791"/>
                <a:gd name="connsiteY2" fmla="*/ 257442 h 257442"/>
                <a:gd name="connsiteX3" fmla="*/ 0 w 2973791"/>
                <a:gd name="connsiteY3" fmla="*/ 0 h 257442"/>
                <a:gd name="connsiteX0" fmla="*/ 2973791 w 2973791"/>
                <a:gd name="connsiteY0" fmla="*/ 0 h 257442"/>
                <a:gd name="connsiteX1" fmla="*/ 2919070 w 2973791"/>
                <a:gd name="connsiteY1" fmla="*/ 257442 h 257442"/>
                <a:gd name="connsiteX2" fmla="*/ 0 w 2973791"/>
                <a:gd name="connsiteY2" fmla="*/ 257442 h 257442"/>
                <a:gd name="connsiteX3" fmla="*/ 0 w 2973791"/>
                <a:gd name="connsiteY3" fmla="*/ 0 h 257442"/>
                <a:gd name="connsiteX0" fmla="*/ 2973791 w 2973791"/>
                <a:gd name="connsiteY0" fmla="*/ 0 h 257442"/>
                <a:gd name="connsiteX1" fmla="*/ 2919070 w 2973791"/>
                <a:gd name="connsiteY1" fmla="*/ 257442 h 257442"/>
                <a:gd name="connsiteX2" fmla="*/ 0 w 2973791"/>
                <a:gd name="connsiteY2" fmla="*/ 257442 h 257442"/>
                <a:gd name="connsiteX3" fmla="*/ 0 w 2973791"/>
                <a:gd name="connsiteY3" fmla="*/ 0 h 257442"/>
                <a:gd name="connsiteX0" fmla="*/ 2973791 w 2973791"/>
                <a:gd name="connsiteY0" fmla="*/ 0 h 257442"/>
                <a:gd name="connsiteX1" fmla="*/ 2919070 w 2973791"/>
                <a:gd name="connsiteY1" fmla="*/ 257442 h 257442"/>
                <a:gd name="connsiteX2" fmla="*/ 0 w 2973791"/>
                <a:gd name="connsiteY2" fmla="*/ 257442 h 257442"/>
                <a:gd name="connsiteX3" fmla="*/ 0 w 2973791"/>
                <a:gd name="connsiteY3" fmla="*/ 0 h 257442"/>
                <a:gd name="connsiteX0" fmla="*/ 942786 w 2919070"/>
                <a:gd name="connsiteY0" fmla="*/ 0 h 257442"/>
                <a:gd name="connsiteX1" fmla="*/ 2919070 w 2919070"/>
                <a:gd name="connsiteY1" fmla="*/ 257442 h 257442"/>
                <a:gd name="connsiteX2" fmla="*/ 0 w 2919070"/>
                <a:gd name="connsiteY2" fmla="*/ 257442 h 257442"/>
                <a:gd name="connsiteX3" fmla="*/ 0 w 2919070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1111101 w 1111101"/>
                <a:gd name="connsiteY0" fmla="*/ 0 h 257442"/>
                <a:gd name="connsiteX1" fmla="*/ 888065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89034 w 1289034"/>
                <a:gd name="connsiteY0" fmla="*/ 0 h 257442"/>
                <a:gd name="connsiteX1" fmla="*/ 1056380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4 w 1289034"/>
                <a:gd name="connsiteY0" fmla="*/ 0 h 257442"/>
                <a:gd name="connsiteX1" fmla="*/ 1234312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1 w 1289035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1 w 1289035"/>
                <a:gd name="connsiteY3" fmla="*/ 0 h 257442"/>
                <a:gd name="connsiteX0" fmla="*/ 1457351 w 1457351"/>
                <a:gd name="connsiteY0" fmla="*/ 0 h 257442"/>
                <a:gd name="connsiteX1" fmla="*/ 1234313 w 1457351"/>
                <a:gd name="connsiteY1" fmla="*/ 257442 h 257442"/>
                <a:gd name="connsiteX2" fmla="*/ 0 w 1457351"/>
                <a:gd name="connsiteY2" fmla="*/ 257442 h 257442"/>
                <a:gd name="connsiteX3" fmla="*/ 1 w 1457351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0 w 1457351"/>
                <a:gd name="connsiteY2" fmla="*/ 257442 h 257442"/>
                <a:gd name="connsiteX3" fmla="*/ 1 w 1457351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1 w 1457351"/>
                <a:gd name="connsiteY2" fmla="*/ 257442 h 257442"/>
                <a:gd name="connsiteX3" fmla="*/ 0 w 1457351"/>
                <a:gd name="connsiteY3" fmla="*/ 0 h 257442"/>
                <a:gd name="connsiteX0" fmla="*/ 1710626 w 1710626"/>
                <a:gd name="connsiteY0" fmla="*/ 0 h 257442"/>
                <a:gd name="connsiteX1" fmla="*/ 1402630 w 1710626"/>
                <a:gd name="connsiteY1" fmla="*/ 257442 h 257442"/>
                <a:gd name="connsiteX2" fmla="*/ 1 w 1710626"/>
                <a:gd name="connsiteY2" fmla="*/ 257442 h 257442"/>
                <a:gd name="connsiteX3" fmla="*/ 0 w 1710626"/>
                <a:gd name="connsiteY3" fmla="*/ 0 h 257442"/>
                <a:gd name="connsiteX0" fmla="*/ 1710626 w 1710626"/>
                <a:gd name="connsiteY0" fmla="*/ 0 h 257442"/>
                <a:gd name="connsiteX1" fmla="*/ 1655904 w 1710626"/>
                <a:gd name="connsiteY1" fmla="*/ 257442 h 257442"/>
                <a:gd name="connsiteX2" fmla="*/ 1 w 1710626"/>
                <a:gd name="connsiteY2" fmla="*/ 257442 h 257442"/>
                <a:gd name="connsiteX3" fmla="*/ 0 w 1710626"/>
                <a:gd name="connsiteY3" fmla="*/ 0 h 257442"/>
                <a:gd name="connsiteX0" fmla="*/ 1710626 w 1710626"/>
                <a:gd name="connsiteY0" fmla="*/ 0 h 257442"/>
                <a:gd name="connsiteX1" fmla="*/ 1655904 w 1710626"/>
                <a:gd name="connsiteY1" fmla="*/ 257442 h 257442"/>
                <a:gd name="connsiteX2" fmla="*/ 0 w 1710626"/>
                <a:gd name="connsiteY2" fmla="*/ 257442 h 257442"/>
                <a:gd name="connsiteX3" fmla="*/ 0 w 1710626"/>
                <a:gd name="connsiteY3" fmla="*/ 0 h 257442"/>
                <a:gd name="connsiteX0" fmla="*/ 1710626 w 1710626"/>
                <a:gd name="connsiteY0" fmla="*/ 0 h 257442"/>
                <a:gd name="connsiteX1" fmla="*/ 1655904 w 1710626"/>
                <a:gd name="connsiteY1" fmla="*/ 257442 h 257442"/>
                <a:gd name="connsiteX2" fmla="*/ 0 w 1710626"/>
                <a:gd name="connsiteY2" fmla="*/ 257442 h 257442"/>
                <a:gd name="connsiteX3" fmla="*/ 0 w 1710626"/>
                <a:gd name="connsiteY3" fmla="*/ 0 h 257442"/>
                <a:gd name="connsiteX0" fmla="*/ 2023210 w 2023210"/>
                <a:gd name="connsiteY0" fmla="*/ 0 h 257442"/>
                <a:gd name="connsiteX1" fmla="*/ 1655904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023210 w 2023210"/>
                <a:gd name="connsiteY0" fmla="*/ 0 h 257442"/>
                <a:gd name="connsiteX1" fmla="*/ 1968489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023210 w 2023210"/>
                <a:gd name="connsiteY0" fmla="*/ 0 h 257442"/>
                <a:gd name="connsiteX1" fmla="*/ 1968489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023210 w 2023210"/>
                <a:gd name="connsiteY0" fmla="*/ 0 h 257442"/>
                <a:gd name="connsiteX1" fmla="*/ 1968489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191525 w 2191525"/>
                <a:gd name="connsiteY0" fmla="*/ 0 h 257442"/>
                <a:gd name="connsiteX1" fmla="*/ 1968489 w 2191525"/>
                <a:gd name="connsiteY1" fmla="*/ 257442 h 257442"/>
                <a:gd name="connsiteX2" fmla="*/ 0 w 2191525"/>
                <a:gd name="connsiteY2" fmla="*/ 257442 h 257442"/>
                <a:gd name="connsiteX3" fmla="*/ 0 w 2191525"/>
                <a:gd name="connsiteY3" fmla="*/ 0 h 257442"/>
                <a:gd name="connsiteX0" fmla="*/ 2191525 w 2191525"/>
                <a:gd name="connsiteY0" fmla="*/ 0 h 257442"/>
                <a:gd name="connsiteX1" fmla="*/ 2136804 w 2191525"/>
                <a:gd name="connsiteY1" fmla="*/ 257442 h 257442"/>
                <a:gd name="connsiteX2" fmla="*/ 0 w 2191525"/>
                <a:gd name="connsiteY2" fmla="*/ 257442 h 257442"/>
                <a:gd name="connsiteX3" fmla="*/ 0 w 2191525"/>
                <a:gd name="connsiteY3" fmla="*/ 0 h 257442"/>
                <a:gd name="connsiteX0" fmla="*/ 2191525 w 2191525"/>
                <a:gd name="connsiteY0" fmla="*/ 0 h 257442"/>
                <a:gd name="connsiteX1" fmla="*/ 2136804 w 2191525"/>
                <a:gd name="connsiteY1" fmla="*/ 257442 h 257442"/>
                <a:gd name="connsiteX2" fmla="*/ 0 w 2191525"/>
                <a:gd name="connsiteY2" fmla="*/ 257442 h 257442"/>
                <a:gd name="connsiteX3" fmla="*/ 0 w 2191525"/>
                <a:gd name="connsiteY3" fmla="*/ 0 h 257442"/>
                <a:gd name="connsiteX0" fmla="*/ 2191525 w 2191525"/>
                <a:gd name="connsiteY0" fmla="*/ 0 h 257442"/>
                <a:gd name="connsiteX1" fmla="*/ 2136804 w 2191525"/>
                <a:gd name="connsiteY1" fmla="*/ 257442 h 257442"/>
                <a:gd name="connsiteX2" fmla="*/ 0 w 2191525"/>
                <a:gd name="connsiteY2" fmla="*/ 257442 h 257442"/>
                <a:gd name="connsiteX3" fmla="*/ 0 w 2191525"/>
                <a:gd name="connsiteY3" fmla="*/ 0 h 257442"/>
                <a:gd name="connsiteX0" fmla="*/ 2377474 w 2377474"/>
                <a:gd name="connsiteY0" fmla="*/ 0 h 257442"/>
                <a:gd name="connsiteX1" fmla="*/ 2136804 w 2377474"/>
                <a:gd name="connsiteY1" fmla="*/ 257442 h 257442"/>
                <a:gd name="connsiteX2" fmla="*/ 0 w 2377474"/>
                <a:gd name="connsiteY2" fmla="*/ 257442 h 257442"/>
                <a:gd name="connsiteX3" fmla="*/ 0 w 2377474"/>
                <a:gd name="connsiteY3" fmla="*/ 0 h 257442"/>
                <a:gd name="connsiteX0" fmla="*/ 2377474 w 2377474"/>
                <a:gd name="connsiteY0" fmla="*/ 0 h 257442"/>
                <a:gd name="connsiteX1" fmla="*/ 2322752 w 2377474"/>
                <a:gd name="connsiteY1" fmla="*/ 257442 h 257442"/>
                <a:gd name="connsiteX2" fmla="*/ 0 w 2377474"/>
                <a:gd name="connsiteY2" fmla="*/ 257442 h 257442"/>
                <a:gd name="connsiteX3" fmla="*/ 0 w 2377474"/>
                <a:gd name="connsiteY3" fmla="*/ 0 h 257442"/>
                <a:gd name="connsiteX0" fmla="*/ 2377475 w 2377475"/>
                <a:gd name="connsiteY0" fmla="*/ 0 h 257442"/>
                <a:gd name="connsiteX1" fmla="*/ 2322753 w 2377475"/>
                <a:gd name="connsiteY1" fmla="*/ 257442 h 257442"/>
                <a:gd name="connsiteX2" fmla="*/ 0 w 2377475"/>
                <a:gd name="connsiteY2" fmla="*/ 257442 h 257442"/>
                <a:gd name="connsiteX3" fmla="*/ 1 w 2377475"/>
                <a:gd name="connsiteY3" fmla="*/ 0 h 257442"/>
                <a:gd name="connsiteX0" fmla="*/ 2377475 w 2377475"/>
                <a:gd name="connsiteY0" fmla="*/ 0 h 257442"/>
                <a:gd name="connsiteX1" fmla="*/ 2322753 w 2377475"/>
                <a:gd name="connsiteY1" fmla="*/ 257442 h 257442"/>
                <a:gd name="connsiteX2" fmla="*/ 0 w 2377475"/>
                <a:gd name="connsiteY2" fmla="*/ 257442 h 257442"/>
                <a:gd name="connsiteX3" fmla="*/ 1 w 2377475"/>
                <a:gd name="connsiteY3" fmla="*/ 0 h 257442"/>
                <a:gd name="connsiteX0" fmla="*/ 2646779 w 2646779"/>
                <a:gd name="connsiteY0" fmla="*/ 0 h 257442"/>
                <a:gd name="connsiteX1" fmla="*/ 2322753 w 2646779"/>
                <a:gd name="connsiteY1" fmla="*/ 257442 h 257442"/>
                <a:gd name="connsiteX2" fmla="*/ 0 w 2646779"/>
                <a:gd name="connsiteY2" fmla="*/ 257442 h 257442"/>
                <a:gd name="connsiteX3" fmla="*/ 1 w 2646779"/>
                <a:gd name="connsiteY3" fmla="*/ 0 h 257442"/>
                <a:gd name="connsiteX0" fmla="*/ 2646779 w 2646779"/>
                <a:gd name="connsiteY0" fmla="*/ 0 h 257442"/>
                <a:gd name="connsiteX1" fmla="*/ 2592058 w 2646779"/>
                <a:gd name="connsiteY1" fmla="*/ 257442 h 257442"/>
                <a:gd name="connsiteX2" fmla="*/ 0 w 2646779"/>
                <a:gd name="connsiteY2" fmla="*/ 257442 h 257442"/>
                <a:gd name="connsiteX3" fmla="*/ 1 w 2646779"/>
                <a:gd name="connsiteY3" fmla="*/ 0 h 257442"/>
                <a:gd name="connsiteX0" fmla="*/ 2646778 w 2646778"/>
                <a:gd name="connsiteY0" fmla="*/ 0 h 257442"/>
                <a:gd name="connsiteX1" fmla="*/ 2592057 w 2646778"/>
                <a:gd name="connsiteY1" fmla="*/ 257442 h 257442"/>
                <a:gd name="connsiteX2" fmla="*/ 0 w 2646778"/>
                <a:gd name="connsiteY2" fmla="*/ 257442 h 257442"/>
                <a:gd name="connsiteX3" fmla="*/ 0 w 2646778"/>
                <a:gd name="connsiteY3" fmla="*/ 0 h 257442"/>
                <a:gd name="connsiteX0" fmla="*/ 2646779 w 2646779"/>
                <a:gd name="connsiteY0" fmla="*/ 0 h 257442"/>
                <a:gd name="connsiteX1" fmla="*/ 2592058 w 2646779"/>
                <a:gd name="connsiteY1" fmla="*/ 257442 h 257442"/>
                <a:gd name="connsiteX2" fmla="*/ 1 w 2646779"/>
                <a:gd name="connsiteY2" fmla="*/ 257442 h 257442"/>
                <a:gd name="connsiteX3" fmla="*/ 0 w 2646779"/>
                <a:gd name="connsiteY3" fmla="*/ 0 h 257442"/>
                <a:gd name="connsiteX0" fmla="*/ 2815094 w 2815094"/>
                <a:gd name="connsiteY0" fmla="*/ 0 h 257442"/>
                <a:gd name="connsiteX1" fmla="*/ 2592058 w 2815094"/>
                <a:gd name="connsiteY1" fmla="*/ 257442 h 257442"/>
                <a:gd name="connsiteX2" fmla="*/ 1 w 2815094"/>
                <a:gd name="connsiteY2" fmla="*/ 257442 h 257442"/>
                <a:gd name="connsiteX3" fmla="*/ 0 w 2815094"/>
                <a:gd name="connsiteY3" fmla="*/ 0 h 257442"/>
                <a:gd name="connsiteX0" fmla="*/ 2815094 w 2815094"/>
                <a:gd name="connsiteY0" fmla="*/ 0 h 257442"/>
                <a:gd name="connsiteX1" fmla="*/ 2760372 w 2815094"/>
                <a:gd name="connsiteY1" fmla="*/ 257442 h 257442"/>
                <a:gd name="connsiteX2" fmla="*/ 1 w 2815094"/>
                <a:gd name="connsiteY2" fmla="*/ 257442 h 257442"/>
                <a:gd name="connsiteX3" fmla="*/ 0 w 2815094"/>
                <a:gd name="connsiteY3" fmla="*/ 0 h 257442"/>
                <a:gd name="connsiteX0" fmla="*/ 2815094 w 2815094"/>
                <a:gd name="connsiteY0" fmla="*/ 0 h 257442"/>
                <a:gd name="connsiteX1" fmla="*/ 2760372 w 2815094"/>
                <a:gd name="connsiteY1" fmla="*/ 257442 h 257442"/>
                <a:gd name="connsiteX2" fmla="*/ 0 w 2815094"/>
                <a:gd name="connsiteY2" fmla="*/ 257442 h 257442"/>
                <a:gd name="connsiteX3" fmla="*/ 0 w 2815094"/>
                <a:gd name="connsiteY3" fmla="*/ 0 h 257442"/>
                <a:gd name="connsiteX0" fmla="*/ 2815094 w 2815094"/>
                <a:gd name="connsiteY0" fmla="*/ 0 h 257442"/>
                <a:gd name="connsiteX1" fmla="*/ 2760372 w 2815094"/>
                <a:gd name="connsiteY1" fmla="*/ 257442 h 257442"/>
                <a:gd name="connsiteX2" fmla="*/ 0 w 2815094"/>
                <a:gd name="connsiteY2" fmla="*/ 257442 h 257442"/>
                <a:gd name="connsiteX3" fmla="*/ 0 w 2815094"/>
                <a:gd name="connsiteY3" fmla="*/ 0 h 257442"/>
                <a:gd name="connsiteX0" fmla="*/ 3076383 w 3076383"/>
                <a:gd name="connsiteY0" fmla="*/ 0 h 257442"/>
                <a:gd name="connsiteX1" fmla="*/ 276037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236683 w 3236683"/>
                <a:gd name="connsiteY0" fmla="*/ 0 h 257442"/>
                <a:gd name="connsiteX1" fmla="*/ 3021662 w 3236683"/>
                <a:gd name="connsiteY1" fmla="*/ 257442 h 257442"/>
                <a:gd name="connsiteX2" fmla="*/ 0 w 3236683"/>
                <a:gd name="connsiteY2" fmla="*/ 257442 h 257442"/>
                <a:gd name="connsiteX3" fmla="*/ 0 w 3236683"/>
                <a:gd name="connsiteY3" fmla="*/ 0 h 257442"/>
                <a:gd name="connsiteX0" fmla="*/ 3236683 w 3236683"/>
                <a:gd name="connsiteY0" fmla="*/ 0 h 257442"/>
                <a:gd name="connsiteX1" fmla="*/ 3181962 w 3236683"/>
                <a:gd name="connsiteY1" fmla="*/ 257442 h 257442"/>
                <a:gd name="connsiteX2" fmla="*/ 0 w 3236683"/>
                <a:gd name="connsiteY2" fmla="*/ 257442 h 257442"/>
                <a:gd name="connsiteX3" fmla="*/ 0 w 3236683"/>
                <a:gd name="connsiteY3" fmla="*/ 0 h 257442"/>
                <a:gd name="connsiteX0" fmla="*/ 3236683 w 3236683"/>
                <a:gd name="connsiteY0" fmla="*/ 0 h 257442"/>
                <a:gd name="connsiteX1" fmla="*/ 3181962 w 3236683"/>
                <a:gd name="connsiteY1" fmla="*/ 257442 h 257442"/>
                <a:gd name="connsiteX2" fmla="*/ 0 w 3236683"/>
                <a:gd name="connsiteY2" fmla="*/ 257442 h 257442"/>
                <a:gd name="connsiteX3" fmla="*/ 0 w 3236683"/>
                <a:gd name="connsiteY3" fmla="*/ 0 h 257442"/>
                <a:gd name="connsiteX0" fmla="*/ 3236683 w 3236683"/>
                <a:gd name="connsiteY0" fmla="*/ 0 h 257442"/>
                <a:gd name="connsiteX1" fmla="*/ 3181962 w 3236683"/>
                <a:gd name="connsiteY1" fmla="*/ 257442 h 257442"/>
                <a:gd name="connsiteX2" fmla="*/ 0 w 3236683"/>
                <a:gd name="connsiteY2" fmla="*/ 257442 h 257442"/>
                <a:gd name="connsiteX3" fmla="*/ 0 w 3236683"/>
                <a:gd name="connsiteY3" fmla="*/ 0 h 257442"/>
                <a:gd name="connsiteX0" fmla="*/ 3404998 w 3404998"/>
                <a:gd name="connsiteY0" fmla="*/ 0 h 257442"/>
                <a:gd name="connsiteX1" fmla="*/ 3181962 w 3404998"/>
                <a:gd name="connsiteY1" fmla="*/ 257442 h 257442"/>
                <a:gd name="connsiteX2" fmla="*/ 0 w 3404998"/>
                <a:gd name="connsiteY2" fmla="*/ 257442 h 257442"/>
                <a:gd name="connsiteX3" fmla="*/ 0 w 3404998"/>
                <a:gd name="connsiteY3" fmla="*/ 0 h 257442"/>
                <a:gd name="connsiteX0" fmla="*/ 3404998 w 3404998"/>
                <a:gd name="connsiteY0" fmla="*/ 0 h 257442"/>
                <a:gd name="connsiteX1" fmla="*/ 3350276 w 3404998"/>
                <a:gd name="connsiteY1" fmla="*/ 257442 h 257442"/>
                <a:gd name="connsiteX2" fmla="*/ 0 w 3404998"/>
                <a:gd name="connsiteY2" fmla="*/ 257442 h 257442"/>
                <a:gd name="connsiteX3" fmla="*/ 0 w 3404998"/>
                <a:gd name="connsiteY3" fmla="*/ 0 h 257442"/>
                <a:gd name="connsiteX0" fmla="*/ 3404999 w 3404999"/>
                <a:gd name="connsiteY0" fmla="*/ 0 h 257442"/>
                <a:gd name="connsiteX1" fmla="*/ 3350277 w 3404999"/>
                <a:gd name="connsiteY1" fmla="*/ 257442 h 257442"/>
                <a:gd name="connsiteX2" fmla="*/ 0 w 3404999"/>
                <a:gd name="connsiteY2" fmla="*/ 257442 h 257442"/>
                <a:gd name="connsiteX3" fmla="*/ 1 w 3404999"/>
                <a:gd name="connsiteY3" fmla="*/ 0 h 257442"/>
                <a:gd name="connsiteX0" fmla="*/ 3404999 w 3404999"/>
                <a:gd name="connsiteY0" fmla="*/ 0 h 257442"/>
                <a:gd name="connsiteX1" fmla="*/ 3350277 w 3404999"/>
                <a:gd name="connsiteY1" fmla="*/ 257442 h 257442"/>
                <a:gd name="connsiteX2" fmla="*/ 0 w 3404999"/>
                <a:gd name="connsiteY2" fmla="*/ 257442 h 257442"/>
                <a:gd name="connsiteX3" fmla="*/ 1 w 3404999"/>
                <a:gd name="connsiteY3" fmla="*/ 0 h 257442"/>
                <a:gd name="connsiteX0" fmla="*/ 3565299 w 3565299"/>
                <a:gd name="connsiteY0" fmla="*/ 0 h 257442"/>
                <a:gd name="connsiteX1" fmla="*/ 3350277 w 3565299"/>
                <a:gd name="connsiteY1" fmla="*/ 257442 h 257442"/>
                <a:gd name="connsiteX2" fmla="*/ 0 w 3565299"/>
                <a:gd name="connsiteY2" fmla="*/ 257442 h 257442"/>
                <a:gd name="connsiteX3" fmla="*/ 1 w 3565299"/>
                <a:gd name="connsiteY3" fmla="*/ 0 h 257442"/>
                <a:gd name="connsiteX0" fmla="*/ 3565299 w 3565299"/>
                <a:gd name="connsiteY0" fmla="*/ 0 h 257442"/>
                <a:gd name="connsiteX1" fmla="*/ 3510578 w 3565299"/>
                <a:gd name="connsiteY1" fmla="*/ 257442 h 257442"/>
                <a:gd name="connsiteX2" fmla="*/ 0 w 3565299"/>
                <a:gd name="connsiteY2" fmla="*/ 257442 h 257442"/>
                <a:gd name="connsiteX3" fmla="*/ 1 w 3565299"/>
                <a:gd name="connsiteY3" fmla="*/ 0 h 257442"/>
                <a:gd name="connsiteX0" fmla="*/ 3565298 w 3565298"/>
                <a:gd name="connsiteY0" fmla="*/ 0 h 257442"/>
                <a:gd name="connsiteX1" fmla="*/ 3510577 w 3565298"/>
                <a:gd name="connsiteY1" fmla="*/ 257442 h 257442"/>
                <a:gd name="connsiteX2" fmla="*/ 0 w 3565298"/>
                <a:gd name="connsiteY2" fmla="*/ 257442 h 257442"/>
                <a:gd name="connsiteX3" fmla="*/ 0 w 3565298"/>
                <a:gd name="connsiteY3" fmla="*/ 0 h 257442"/>
                <a:gd name="connsiteX0" fmla="*/ 3565299 w 3565299"/>
                <a:gd name="connsiteY0" fmla="*/ 0 h 257442"/>
                <a:gd name="connsiteX1" fmla="*/ 3510578 w 3565299"/>
                <a:gd name="connsiteY1" fmla="*/ 257442 h 257442"/>
                <a:gd name="connsiteX2" fmla="*/ 1 w 3565299"/>
                <a:gd name="connsiteY2" fmla="*/ 257442 h 257442"/>
                <a:gd name="connsiteX3" fmla="*/ 0 w 3565299"/>
                <a:gd name="connsiteY3" fmla="*/ 0 h 257442"/>
                <a:gd name="connsiteX0" fmla="*/ 2887678 w 3510578"/>
                <a:gd name="connsiteY0" fmla="*/ 0 h 257442"/>
                <a:gd name="connsiteX1" fmla="*/ 3510578 w 3510578"/>
                <a:gd name="connsiteY1" fmla="*/ 257442 h 257442"/>
                <a:gd name="connsiteX2" fmla="*/ 1 w 3510578"/>
                <a:gd name="connsiteY2" fmla="*/ 257442 h 257442"/>
                <a:gd name="connsiteX3" fmla="*/ 0 w 3510578"/>
                <a:gd name="connsiteY3" fmla="*/ 0 h 257442"/>
                <a:gd name="connsiteX0" fmla="*/ 2887678 w 2887678"/>
                <a:gd name="connsiteY0" fmla="*/ 0 h 257442"/>
                <a:gd name="connsiteX1" fmla="*/ 2832957 w 2887678"/>
                <a:gd name="connsiteY1" fmla="*/ 257442 h 257442"/>
                <a:gd name="connsiteX2" fmla="*/ 1 w 2887678"/>
                <a:gd name="connsiteY2" fmla="*/ 257442 h 257442"/>
                <a:gd name="connsiteX3" fmla="*/ 0 w 2887678"/>
                <a:gd name="connsiteY3" fmla="*/ 0 h 257442"/>
                <a:gd name="connsiteX0" fmla="*/ 2887678 w 2887678"/>
                <a:gd name="connsiteY0" fmla="*/ 0 h 257442"/>
                <a:gd name="connsiteX1" fmla="*/ 2832957 w 2887678"/>
                <a:gd name="connsiteY1" fmla="*/ 257442 h 257442"/>
                <a:gd name="connsiteX2" fmla="*/ 1 w 2887678"/>
                <a:gd name="connsiteY2" fmla="*/ 257442 h 257442"/>
                <a:gd name="connsiteX3" fmla="*/ 0 w 2887678"/>
                <a:gd name="connsiteY3" fmla="*/ 0 h 257442"/>
                <a:gd name="connsiteX0" fmla="*/ 2887677 w 2887677"/>
                <a:gd name="connsiteY0" fmla="*/ 0 h 257442"/>
                <a:gd name="connsiteX1" fmla="*/ 2832956 w 2887677"/>
                <a:gd name="connsiteY1" fmla="*/ 257442 h 257442"/>
                <a:gd name="connsiteX2" fmla="*/ 0 w 2887677"/>
                <a:gd name="connsiteY2" fmla="*/ 257442 h 257442"/>
                <a:gd name="connsiteX3" fmla="*/ 0 w 2887677"/>
                <a:gd name="connsiteY3" fmla="*/ 0 h 257442"/>
                <a:gd name="connsiteX0" fmla="*/ 3068368 w 3068368"/>
                <a:gd name="connsiteY0" fmla="*/ 0 h 257442"/>
                <a:gd name="connsiteX1" fmla="*/ 2832956 w 3068368"/>
                <a:gd name="connsiteY1" fmla="*/ 257442 h 257442"/>
                <a:gd name="connsiteX2" fmla="*/ 0 w 3068368"/>
                <a:gd name="connsiteY2" fmla="*/ 257442 h 257442"/>
                <a:gd name="connsiteX3" fmla="*/ 0 w 3068368"/>
                <a:gd name="connsiteY3" fmla="*/ 0 h 257442"/>
                <a:gd name="connsiteX0" fmla="*/ 3068368 w 3068368"/>
                <a:gd name="connsiteY0" fmla="*/ 0 h 257442"/>
                <a:gd name="connsiteX1" fmla="*/ 3013646 w 3068368"/>
                <a:gd name="connsiteY1" fmla="*/ 257442 h 257442"/>
                <a:gd name="connsiteX2" fmla="*/ 0 w 3068368"/>
                <a:gd name="connsiteY2" fmla="*/ 257442 h 257442"/>
                <a:gd name="connsiteX3" fmla="*/ 0 w 3068368"/>
                <a:gd name="connsiteY3" fmla="*/ 0 h 257442"/>
                <a:gd name="connsiteX0" fmla="*/ 3068369 w 3068369"/>
                <a:gd name="connsiteY0" fmla="*/ 0 h 257442"/>
                <a:gd name="connsiteX1" fmla="*/ 3013647 w 3068369"/>
                <a:gd name="connsiteY1" fmla="*/ 257442 h 257442"/>
                <a:gd name="connsiteX2" fmla="*/ 0 w 3068369"/>
                <a:gd name="connsiteY2" fmla="*/ 257442 h 257442"/>
                <a:gd name="connsiteX3" fmla="*/ 1 w 3068369"/>
                <a:gd name="connsiteY3" fmla="*/ 0 h 257442"/>
                <a:gd name="connsiteX0" fmla="*/ 3068369 w 3068369"/>
                <a:gd name="connsiteY0" fmla="*/ 0 h 257442"/>
                <a:gd name="connsiteX1" fmla="*/ 3013647 w 3068369"/>
                <a:gd name="connsiteY1" fmla="*/ 257442 h 257442"/>
                <a:gd name="connsiteX2" fmla="*/ 0 w 3068369"/>
                <a:gd name="connsiteY2" fmla="*/ 257442 h 257442"/>
                <a:gd name="connsiteX3" fmla="*/ 1 w 3068369"/>
                <a:gd name="connsiteY3" fmla="*/ 0 h 257442"/>
                <a:gd name="connsiteX0" fmla="*/ 3236684 w 3236684"/>
                <a:gd name="connsiteY0" fmla="*/ 0 h 257442"/>
                <a:gd name="connsiteX1" fmla="*/ 3013647 w 3236684"/>
                <a:gd name="connsiteY1" fmla="*/ 257442 h 257442"/>
                <a:gd name="connsiteX2" fmla="*/ 0 w 3236684"/>
                <a:gd name="connsiteY2" fmla="*/ 257442 h 257442"/>
                <a:gd name="connsiteX3" fmla="*/ 1 w 3236684"/>
                <a:gd name="connsiteY3" fmla="*/ 0 h 257442"/>
                <a:gd name="connsiteX0" fmla="*/ 3236684 w 3236684"/>
                <a:gd name="connsiteY0" fmla="*/ 0 h 257442"/>
                <a:gd name="connsiteX1" fmla="*/ 3181962 w 3236684"/>
                <a:gd name="connsiteY1" fmla="*/ 257442 h 257442"/>
                <a:gd name="connsiteX2" fmla="*/ 0 w 3236684"/>
                <a:gd name="connsiteY2" fmla="*/ 257442 h 257442"/>
                <a:gd name="connsiteX3" fmla="*/ 1 w 3236684"/>
                <a:gd name="connsiteY3" fmla="*/ 0 h 257442"/>
                <a:gd name="connsiteX0" fmla="*/ 3236684 w 3236684"/>
                <a:gd name="connsiteY0" fmla="*/ 0 h 257442"/>
                <a:gd name="connsiteX1" fmla="*/ 3181962 w 3236684"/>
                <a:gd name="connsiteY1" fmla="*/ 257442 h 257442"/>
                <a:gd name="connsiteX2" fmla="*/ 0 w 3236684"/>
                <a:gd name="connsiteY2" fmla="*/ 257442 h 257442"/>
                <a:gd name="connsiteX3" fmla="*/ 1 w 3236684"/>
                <a:gd name="connsiteY3" fmla="*/ 0 h 257442"/>
                <a:gd name="connsiteX0" fmla="*/ 3236684 w 3236684"/>
                <a:gd name="connsiteY0" fmla="*/ 0 h 257442"/>
                <a:gd name="connsiteX1" fmla="*/ 3181962 w 3236684"/>
                <a:gd name="connsiteY1" fmla="*/ 257442 h 257442"/>
                <a:gd name="connsiteX2" fmla="*/ 0 w 3236684"/>
                <a:gd name="connsiteY2" fmla="*/ 257442 h 257442"/>
                <a:gd name="connsiteX3" fmla="*/ 0 w 3236684"/>
                <a:gd name="connsiteY3" fmla="*/ 0 h 257442"/>
                <a:gd name="connsiteX0" fmla="*/ 3414616 w 3414616"/>
                <a:gd name="connsiteY0" fmla="*/ 0 h 257442"/>
                <a:gd name="connsiteX1" fmla="*/ 3181962 w 3414616"/>
                <a:gd name="connsiteY1" fmla="*/ 257442 h 257442"/>
                <a:gd name="connsiteX2" fmla="*/ 0 w 3414616"/>
                <a:gd name="connsiteY2" fmla="*/ 257442 h 257442"/>
                <a:gd name="connsiteX3" fmla="*/ 0 w 3414616"/>
                <a:gd name="connsiteY3" fmla="*/ 0 h 257442"/>
                <a:gd name="connsiteX0" fmla="*/ 3414616 w 3414616"/>
                <a:gd name="connsiteY0" fmla="*/ 0 h 257442"/>
                <a:gd name="connsiteX1" fmla="*/ 3359895 w 3414616"/>
                <a:gd name="connsiteY1" fmla="*/ 257442 h 257442"/>
                <a:gd name="connsiteX2" fmla="*/ 0 w 3414616"/>
                <a:gd name="connsiteY2" fmla="*/ 257442 h 257442"/>
                <a:gd name="connsiteX3" fmla="*/ 0 w 3414616"/>
                <a:gd name="connsiteY3" fmla="*/ 0 h 257442"/>
                <a:gd name="connsiteX0" fmla="*/ 3414616 w 3414616"/>
                <a:gd name="connsiteY0" fmla="*/ 0 h 257442"/>
                <a:gd name="connsiteX1" fmla="*/ 3359895 w 3414616"/>
                <a:gd name="connsiteY1" fmla="*/ 257442 h 257442"/>
                <a:gd name="connsiteX2" fmla="*/ 0 w 3414616"/>
                <a:gd name="connsiteY2" fmla="*/ 257442 h 257442"/>
                <a:gd name="connsiteX3" fmla="*/ 0 w 3414616"/>
                <a:gd name="connsiteY3" fmla="*/ 0 h 257442"/>
                <a:gd name="connsiteX0" fmla="*/ 3414616 w 3414616"/>
                <a:gd name="connsiteY0" fmla="*/ 0 h 257442"/>
                <a:gd name="connsiteX1" fmla="*/ 3359895 w 3414616"/>
                <a:gd name="connsiteY1" fmla="*/ 257442 h 257442"/>
                <a:gd name="connsiteX2" fmla="*/ 0 w 3414616"/>
                <a:gd name="connsiteY2" fmla="*/ 257442 h 257442"/>
                <a:gd name="connsiteX3" fmla="*/ 0 w 3414616"/>
                <a:gd name="connsiteY3" fmla="*/ 0 h 257442"/>
                <a:gd name="connsiteX0" fmla="*/ 2480066 w 3359895"/>
                <a:gd name="connsiteY0" fmla="*/ 0 h 257442"/>
                <a:gd name="connsiteX1" fmla="*/ 3359895 w 3359895"/>
                <a:gd name="connsiteY1" fmla="*/ 257442 h 257442"/>
                <a:gd name="connsiteX2" fmla="*/ 0 w 3359895"/>
                <a:gd name="connsiteY2" fmla="*/ 257442 h 257442"/>
                <a:gd name="connsiteX3" fmla="*/ 0 w 3359895"/>
                <a:gd name="connsiteY3" fmla="*/ 0 h 257442"/>
                <a:gd name="connsiteX0" fmla="*/ 2480066 w 2480066"/>
                <a:gd name="connsiteY0" fmla="*/ 0 h 257442"/>
                <a:gd name="connsiteX1" fmla="*/ 2425346 w 2480066"/>
                <a:gd name="connsiteY1" fmla="*/ 257442 h 257442"/>
                <a:gd name="connsiteX2" fmla="*/ 0 w 2480066"/>
                <a:gd name="connsiteY2" fmla="*/ 257442 h 257442"/>
                <a:gd name="connsiteX3" fmla="*/ 0 w 2480066"/>
                <a:gd name="connsiteY3" fmla="*/ 0 h 257442"/>
                <a:gd name="connsiteX0" fmla="*/ 2480066 w 2480066"/>
                <a:gd name="connsiteY0" fmla="*/ 0 h 257442"/>
                <a:gd name="connsiteX1" fmla="*/ 2425346 w 2480066"/>
                <a:gd name="connsiteY1" fmla="*/ 257442 h 257442"/>
                <a:gd name="connsiteX2" fmla="*/ 1 w 2480066"/>
                <a:gd name="connsiteY2" fmla="*/ 257442 h 257442"/>
                <a:gd name="connsiteX3" fmla="*/ 0 w 2480066"/>
                <a:gd name="connsiteY3" fmla="*/ 0 h 257442"/>
                <a:gd name="connsiteX0" fmla="*/ 2480065 w 2480065"/>
                <a:gd name="connsiteY0" fmla="*/ 0 h 257442"/>
                <a:gd name="connsiteX1" fmla="*/ 2425345 w 2480065"/>
                <a:gd name="connsiteY1" fmla="*/ 257442 h 257442"/>
                <a:gd name="connsiteX2" fmla="*/ 0 w 2480065"/>
                <a:gd name="connsiteY2" fmla="*/ 257442 h 257442"/>
                <a:gd name="connsiteX3" fmla="*/ 0 w 2480065"/>
                <a:gd name="connsiteY3" fmla="*/ 0 h 257442"/>
                <a:gd name="connsiteX0" fmla="*/ 2648381 w 2648381"/>
                <a:gd name="connsiteY0" fmla="*/ 0 h 257442"/>
                <a:gd name="connsiteX1" fmla="*/ 2425345 w 2648381"/>
                <a:gd name="connsiteY1" fmla="*/ 257442 h 257442"/>
                <a:gd name="connsiteX2" fmla="*/ 0 w 2648381"/>
                <a:gd name="connsiteY2" fmla="*/ 257442 h 257442"/>
                <a:gd name="connsiteX3" fmla="*/ 0 w 2648381"/>
                <a:gd name="connsiteY3" fmla="*/ 0 h 257442"/>
                <a:gd name="connsiteX0" fmla="*/ 2648381 w 2648381"/>
                <a:gd name="connsiteY0" fmla="*/ 0 h 257442"/>
                <a:gd name="connsiteX1" fmla="*/ 2593660 w 2648381"/>
                <a:gd name="connsiteY1" fmla="*/ 257442 h 257442"/>
                <a:gd name="connsiteX2" fmla="*/ 0 w 2648381"/>
                <a:gd name="connsiteY2" fmla="*/ 257442 h 257442"/>
                <a:gd name="connsiteX3" fmla="*/ 0 w 2648381"/>
                <a:gd name="connsiteY3" fmla="*/ 0 h 257442"/>
                <a:gd name="connsiteX0" fmla="*/ 2648381 w 2648381"/>
                <a:gd name="connsiteY0" fmla="*/ 0 h 257442"/>
                <a:gd name="connsiteX1" fmla="*/ 2593660 w 2648381"/>
                <a:gd name="connsiteY1" fmla="*/ 257442 h 257442"/>
                <a:gd name="connsiteX2" fmla="*/ 0 w 2648381"/>
                <a:gd name="connsiteY2" fmla="*/ 257442 h 257442"/>
                <a:gd name="connsiteX3" fmla="*/ 0 w 2648381"/>
                <a:gd name="connsiteY3" fmla="*/ 0 h 257442"/>
                <a:gd name="connsiteX0" fmla="*/ 2648381 w 2648381"/>
                <a:gd name="connsiteY0" fmla="*/ 0 h 257442"/>
                <a:gd name="connsiteX1" fmla="*/ 2593660 w 2648381"/>
                <a:gd name="connsiteY1" fmla="*/ 257442 h 257442"/>
                <a:gd name="connsiteX2" fmla="*/ 0 w 2648381"/>
                <a:gd name="connsiteY2" fmla="*/ 257442 h 257442"/>
                <a:gd name="connsiteX3" fmla="*/ 0 w 2648381"/>
                <a:gd name="connsiteY3" fmla="*/ 0 h 257442"/>
                <a:gd name="connsiteX0" fmla="*/ 2808681 w 2808681"/>
                <a:gd name="connsiteY0" fmla="*/ 0 h 257442"/>
                <a:gd name="connsiteX1" fmla="*/ 2593660 w 2808681"/>
                <a:gd name="connsiteY1" fmla="*/ 257442 h 257442"/>
                <a:gd name="connsiteX2" fmla="*/ 0 w 2808681"/>
                <a:gd name="connsiteY2" fmla="*/ 257442 h 257442"/>
                <a:gd name="connsiteX3" fmla="*/ 0 w 2808681"/>
                <a:gd name="connsiteY3" fmla="*/ 0 h 257442"/>
                <a:gd name="connsiteX0" fmla="*/ 2808681 w 2808681"/>
                <a:gd name="connsiteY0" fmla="*/ 0 h 257442"/>
                <a:gd name="connsiteX1" fmla="*/ 2753960 w 2808681"/>
                <a:gd name="connsiteY1" fmla="*/ 257442 h 257442"/>
                <a:gd name="connsiteX2" fmla="*/ 0 w 2808681"/>
                <a:gd name="connsiteY2" fmla="*/ 257442 h 257442"/>
                <a:gd name="connsiteX3" fmla="*/ 0 w 2808681"/>
                <a:gd name="connsiteY3" fmla="*/ 0 h 257442"/>
                <a:gd name="connsiteX0" fmla="*/ 2808681 w 2808681"/>
                <a:gd name="connsiteY0" fmla="*/ 0 h 257442"/>
                <a:gd name="connsiteX1" fmla="*/ 2753960 w 2808681"/>
                <a:gd name="connsiteY1" fmla="*/ 257442 h 257442"/>
                <a:gd name="connsiteX2" fmla="*/ 0 w 2808681"/>
                <a:gd name="connsiteY2" fmla="*/ 257442 h 257442"/>
                <a:gd name="connsiteX3" fmla="*/ 0 w 2808681"/>
                <a:gd name="connsiteY3" fmla="*/ 0 h 257442"/>
                <a:gd name="connsiteX0" fmla="*/ 2808681 w 2808681"/>
                <a:gd name="connsiteY0" fmla="*/ 0 h 257442"/>
                <a:gd name="connsiteX1" fmla="*/ 2753960 w 2808681"/>
                <a:gd name="connsiteY1" fmla="*/ 257442 h 257442"/>
                <a:gd name="connsiteX2" fmla="*/ 0 w 2808681"/>
                <a:gd name="connsiteY2" fmla="*/ 257442 h 257442"/>
                <a:gd name="connsiteX3" fmla="*/ 0 w 2808681"/>
                <a:gd name="connsiteY3" fmla="*/ 0 h 257442"/>
                <a:gd name="connsiteX0" fmla="*/ 2976997 w 2976997"/>
                <a:gd name="connsiteY0" fmla="*/ 0 h 257442"/>
                <a:gd name="connsiteX1" fmla="*/ 2753960 w 2976997"/>
                <a:gd name="connsiteY1" fmla="*/ 257442 h 257442"/>
                <a:gd name="connsiteX2" fmla="*/ 0 w 2976997"/>
                <a:gd name="connsiteY2" fmla="*/ 257442 h 257442"/>
                <a:gd name="connsiteX3" fmla="*/ 0 w 2976997"/>
                <a:gd name="connsiteY3" fmla="*/ 0 h 257442"/>
                <a:gd name="connsiteX0" fmla="*/ 2976997 w 2976997"/>
                <a:gd name="connsiteY0" fmla="*/ 0 h 257442"/>
                <a:gd name="connsiteX1" fmla="*/ 2922276 w 2976997"/>
                <a:gd name="connsiteY1" fmla="*/ 257442 h 257442"/>
                <a:gd name="connsiteX2" fmla="*/ 0 w 2976997"/>
                <a:gd name="connsiteY2" fmla="*/ 257442 h 257442"/>
                <a:gd name="connsiteX3" fmla="*/ 0 w 2976997"/>
                <a:gd name="connsiteY3" fmla="*/ 0 h 257442"/>
                <a:gd name="connsiteX0" fmla="*/ 2976997 w 2976997"/>
                <a:gd name="connsiteY0" fmla="*/ 0 h 257442"/>
                <a:gd name="connsiteX1" fmla="*/ 2922276 w 2976997"/>
                <a:gd name="connsiteY1" fmla="*/ 257442 h 257442"/>
                <a:gd name="connsiteX2" fmla="*/ 0 w 2976997"/>
                <a:gd name="connsiteY2" fmla="*/ 257442 h 257442"/>
                <a:gd name="connsiteX3" fmla="*/ 0 w 2976997"/>
                <a:gd name="connsiteY3" fmla="*/ 0 h 257442"/>
                <a:gd name="connsiteX0" fmla="*/ 2976997 w 2976997"/>
                <a:gd name="connsiteY0" fmla="*/ 0 h 257442"/>
                <a:gd name="connsiteX1" fmla="*/ 2922276 w 2976997"/>
                <a:gd name="connsiteY1" fmla="*/ 257442 h 257442"/>
                <a:gd name="connsiteX2" fmla="*/ 0 w 2976997"/>
                <a:gd name="connsiteY2" fmla="*/ 257442 h 257442"/>
                <a:gd name="connsiteX3" fmla="*/ 0 w 2976997"/>
                <a:gd name="connsiteY3" fmla="*/ 0 h 257442"/>
                <a:gd name="connsiteX0" fmla="*/ 3145312 w 3145312"/>
                <a:gd name="connsiteY0" fmla="*/ 0 h 257442"/>
                <a:gd name="connsiteX1" fmla="*/ 2922276 w 3145312"/>
                <a:gd name="connsiteY1" fmla="*/ 257442 h 257442"/>
                <a:gd name="connsiteX2" fmla="*/ 0 w 3145312"/>
                <a:gd name="connsiteY2" fmla="*/ 257442 h 257442"/>
                <a:gd name="connsiteX3" fmla="*/ 0 w 3145312"/>
                <a:gd name="connsiteY3" fmla="*/ 0 h 257442"/>
                <a:gd name="connsiteX0" fmla="*/ 3145312 w 3145312"/>
                <a:gd name="connsiteY0" fmla="*/ 0 h 257442"/>
                <a:gd name="connsiteX1" fmla="*/ 3090590 w 3145312"/>
                <a:gd name="connsiteY1" fmla="*/ 257442 h 257442"/>
                <a:gd name="connsiteX2" fmla="*/ 0 w 3145312"/>
                <a:gd name="connsiteY2" fmla="*/ 257442 h 257442"/>
                <a:gd name="connsiteX3" fmla="*/ 0 w 3145312"/>
                <a:gd name="connsiteY3" fmla="*/ 0 h 257442"/>
                <a:gd name="connsiteX0" fmla="*/ 3145313 w 3145313"/>
                <a:gd name="connsiteY0" fmla="*/ 0 h 257442"/>
                <a:gd name="connsiteX1" fmla="*/ 3090591 w 3145313"/>
                <a:gd name="connsiteY1" fmla="*/ 257442 h 257442"/>
                <a:gd name="connsiteX2" fmla="*/ 0 w 3145313"/>
                <a:gd name="connsiteY2" fmla="*/ 257442 h 257442"/>
                <a:gd name="connsiteX3" fmla="*/ 1 w 3145313"/>
                <a:gd name="connsiteY3" fmla="*/ 0 h 257442"/>
                <a:gd name="connsiteX0" fmla="*/ 3145313 w 3145313"/>
                <a:gd name="connsiteY0" fmla="*/ 0 h 257442"/>
                <a:gd name="connsiteX1" fmla="*/ 3090591 w 3145313"/>
                <a:gd name="connsiteY1" fmla="*/ 257442 h 257442"/>
                <a:gd name="connsiteX2" fmla="*/ 0 w 3145313"/>
                <a:gd name="connsiteY2" fmla="*/ 257442 h 257442"/>
                <a:gd name="connsiteX3" fmla="*/ 1 w 3145313"/>
                <a:gd name="connsiteY3" fmla="*/ 0 h 257442"/>
                <a:gd name="connsiteX0" fmla="*/ 3305613 w 3305613"/>
                <a:gd name="connsiteY0" fmla="*/ 0 h 257442"/>
                <a:gd name="connsiteX1" fmla="*/ 3090591 w 3305613"/>
                <a:gd name="connsiteY1" fmla="*/ 257442 h 257442"/>
                <a:gd name="connsiteX2" fmla="*/ 0 w 3305613"/>
                <a:gd name="connsiteY2" fmla="*/ 257442 h 257442"/>
                <a:gd name="connsiteX3" fmla="*/ 1 w 3305613"/>
                <a:gd name="connsiteY3" fmla="*/ 0 h 257442"/>
                <a:gd name="connsiteX0" fmla="*/ 3305613 w 3305613"/>
                <a:gd name="connsiteY0" fmla="*/ 0 h 257442"/>
                <a:gd name="connsiteX1" fmla="*/ 3250892 w 3305613"/>
                <a:gd name="connsiteY1" fmla="*/ 257442 h 257442"/>
                <a:gd name="connsiteX2" fmla="*/ 0 w 3305613"/>
                <a:gd name="connsiteY2" fmla="*/ 257442 h 257442"/>
                <a:gd name="connsiteX3" fmla="*/ 1 w 3305613"/>
                <a:gd name="connsiteY3" fmla="*/ 0 h 257442"/>
                <a:gd name="connsiteX0" fmla="*/ 3305612 w 3305612"/>
                <a:gd name="connsiteY0" fmla="*/ 0 h 257442"/>
                <a:gd name="connsiteX1" fmla="*/ 3250891 w 3305612"/>
                <a:gd name="connsiteY1" fmla="*/ 257442 h 257442"/>
                <a:gd name="connsiteX2" fmla="*/ 0 w 3305612"/>
                <a:gd name="connsiteY2" fmla="*/ 257442 h 257442"/>
                <a:gd name="connsiteX3" fmla="*/ 0 w 3305612"/>
                <a:gd name="connsiteY3" fmla="*/ 0 h 257442"/>
                <a:gd name="connsiteX0" fmla="*/ 3305613 w 3305613"/>
                <a:gd name="connsiteY0" fmla="*/ 0 h 257442"/>
                <a:gd name="connsiteX1" fmla="*/ 3250892 w 3305613"/>
                <a:gd name="connsiteY1" fmla="*/ 257442 h 257442"/>
                <a:gd name="connsiteX2" fmla="*/ 1 w 3305613"/>
                <a:gd name="connsiteY2" fmla="*/ 257442 h 257442"/>
                <a:gd name="connsiteX3" fmla="*/ 0 w 3305613"/>
                <a:gd name="connsiteY3" fmla="*/ 0 h 257442"/>
                <a:gd name="connsiteX0" fmla="*/ 950802 w 3250892"/>
                <a:gd name="connsiteY0" fmla="*/ 0 h 257442"/>
                <a:gd name="connsiteX1" fmla="*/ 3250892 w 3250892"/>
                <a:gd name="connsiteY1" fmla="*/ 257442 h 257442"/>
                <a:gd name="connsiteX2" fmla="*/ 1 w 3250892"/>
                <a:gd name="connsiteY2" fmla="*/ 257442 h 257442"/>
                <a:gd name="connsiteX3" fmla="*/ 0 w 3250892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1119116 w 1119116"/>
                <a:gd name="connsiteY0" fmla="*/ 0 h 257442"/>
                <a:gd name="connsiteX1" fmla="*/ 896080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4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1 w 1119117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1 w 1119117"/>
                <a:gd name="connsiteY3" fmla="*/ 0 h 257442"/>
                <a:gd name="connsiteX0" fmla="*/ 1287433 w 1287433"/>
                <a:gd name="connsiteY0" fmla="*/ 0 h 257442"/>
                <a:gd name="connsiteX1" fmla="*/ 1064395 w 1287433"/>
                <a:gd name="connsiteY1" fmla="*/ 257442 h 257442"/>
                <a:gd name="connsiteX2" fmla="*/ 0 w 1287433"/>
                <a:gd name="connsiteY2" fmla="*/ 257442 h 257442"/>
                <a:gd name="connsiteX3" fmla="*/ 1 w 1287433"/>
                <a:gd name="connsiteY3" fmla="*/ 0 h 257442"/>
                <a:gd name="connsiteX0" fmla="*/ 1287433 w 1287433"/>
                <a:gd name="connsiteY0" fmla="*/ 0 h 257442"/>
                <a:gd name="connsiteX1" fmla="*/ 1232712 w 1287433"/>
                <a:gd name="connsiteY1" fmla="*/ 257442 h 257442"/>
                <a:gd name="connsiteX2" fmla="*/ 0 w 1287433"/>
                <a:gd name="connsiteY2" fmla="*/ 257442 h 257442"/>
                <a:gd name="connsiteX3" fmla="*/ 1 w 1287433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3 w 1287433"/>
                <a:gd name="connsiteY0" fmla="*/ 0 h 257442"/>
                <a:gd name="connsiteX1" fmla="*/ 1232712 w 1287433"/>
                <a:gd name="connsiteY1" fmla="*/ 257442 h 257442"/>
                <a:gd name="connsiteX2" fmla="*/ 1 w 1287433"/>
                <a:gd name="connsiteY2" fmla="*/ 257442 h 257442"/>
                <a:gd name="connsiteX3" fmla="*/ 0 w 1287433"/>
                <a:gd name="connsiteY3" fmla="*/ 0 h 257442"/>
                <a:gd name="connsiteX0" fmla="*/ 1455748 w 1455748"/>
                <a:gd name="connsiteY0" fmla="*/ 0 h 257442"/>
                <a:gd name="connsiteX1" fmla="*/ 1232712 w 1455748"/>
                <a:gd name="connsiteY1" fmla="*/ 257442 h 257442"/>
                <a:gd name="connsiteX2" fmla="*/ 1 w 1455748"/>
                <a:gd name="connsiteY2" fmla="*/ 257442 h 257442"/>
                <a:gd name="connsiteX3" fmla="*/ 0 w 1455748"/>
                <a:gd name="connsiteY3" fmla="*/ 0 h 257442"/>
                <a:gd name="connsiteX0" fmla="*/ 1455748 w 1455748"/>
                <a:gd name="connsiteY0" fmla="*/ 0 h 257442"/>
                <a:gd name="connsiteX1" fmla="*/ 1401026 w 1455748"/>
                <a:gd name="connsiteY1" fmla="*/ 257442 h 257442"/>
                <a:gd name="connsiteX2" fmla="*/ 1 w 1455748"/>
                <a:gd name="connsiteY2" fmla="*/ 257442 h 257442"/>
                <a:gd name="connsiteX3" fmla="*/ 0 w 1455748"/>
                <a:gd name="connsiteY3" fmla="*/ 0 h 257442"/>
                <a:gd name="connsiteX0" fmla="*/ 1455748 w 1455748"/>
                <a:gd name="connsiteY0" fmla="*/ 0 h 257442"/>
                <a:gd name="connsiteX1" fmla="*/ 1401026 w 1455748"/>
                <a:gd name="connsiteY1" fmla="*/ 257442 h 257442"/>
                <a:gd name="connsiteX2" fmla="*/ 0 w 1455748"/>
                <a:gd name="connsiteY2" fmla="*/ 257442 h 257442"/>
                <a:gd name="connsiteX3" fmla="*/ 0 w 1455748"/>
                <a:gd name="connsiteY3" fmla="*/ 0 h 257442"/>
                <a:gd name="connsiteX0" fmla="*/ 1455748 w 1455748"/>
                <a:gd name="connsiteY0" fmla="*/ 0 h 257442"/>
                <a:gd name="connsiteX1" fmla="*/ 1401026 w 1455748"/>
                <a:gd name="connsiteY1" fmla="*/ 257442 h 257442"/>
                <a:gd name="connsiteX2" fmla="*/ 0 w 1455748"/>
                <a:gd name="connsiteY2" fmla="*/ 257442 h 257442"/>
                <a:gd name="connsiteX3" fmla="*/ 0 w 1455748"/>
                <a:gd name="connsiteY3" fmla="*/ 0 h 257442"/>
                <a:gd name="connsiteX0" fmla="*/ 1624062 w 1624062"/>
                <a:gd name="connsiteY0" fmla="*/ 0 h 257442"/>
                <a:gd name="connsiteX1" fmla="*/ 1401026 w 1624062"/>
                <a:gd name="connsiteY1" fmla="*/ 257442 h 257442"/>
                <a:gd name="connsiteX2" fmla="*/ 0 w 1624062"/>
                <a:gd name="connsiteY2" fmla="*/ 257442 h 257442"/>
                <a:gd name="connsiteX3" fmla="*/ 0 w 1624062"/>
                <a:gd name="connsiteY3" fmla="*/ 0 h 257442"/>
                <a:gd name="connsiteX0" fmla="*/ 1624062 w 1624062"/>
                <a:gd name="connsiteY0" fmla="*/ 0 h 257442"/>
                <a:gd name="connsiteX1" fmla="*/ 1569341 w 1624062"/>
                <a:gd name="connsiteY1" fmla="*/ 257442 h 257442"/>
                <a:gd name="connsiteX2" fmla="*/ 0 w 1624062"/>
                <a:gd name="connsiteY2" fmla="*/ 257442 h 257442"/>
                <a:gd name="connsiteX3" fmla="*/ 0 w 1624062"/>
                <a:gd name="connsiteY3" fmla="*/ 0 h 257442"/>
                <a:gd name="connsiteX0" fmla="*/ 1624062 w 1624062"/>
                <a:gd name="connsiteY0" fmla="*/ 0 h 257442"/>
                <a:gd name="connsiteX1" fmla="*/ 1569341 w 1624062"/>
                <a:gd name="connsiteY1" fmla="*/ 257442 h 257442"/>
                <a:gd name="connsiteX2" fmla="*/ 0 w 1624062"/>
                <a:gd name="connsiteY2" fmla="*/ 257442 h 257442"/>
                <a:gd name="connsiteX3" fmla="*/ 0 w 1624062"/>
                <a:gd name="connsiteY3" fmla="*/ 0 h 257442"/>
                <a:gd name="connsiteX0" fmla="*/ 1624062 w 1624062"/>
                <a:gd name="connsiteY0" fmla="*/ 0 h 257442"/>
                <a:gd name="connsiteX1" fmla="*/ 1569341 w 1624062"/>
                <a:gd name="connsiteY1" fmla="*/ 257442 h 257442"/>
                <a:gd name="connsiteX2" fmla="*/ 0 w 1624062"/>
                <a:gd name="connsiteY2" fmla="*/ 257442 h 257442"/>
                <a:gd name="connsiteX3" fmla="*/ 0 w 1624062"/>
                <a:gd name="connsiteY3" fmla="*/ 0 h 257442"/>
                <a:gd name="connsiteX0" fmla="*/ 1784363 w 1784363"/>
                <a:gd name="connsiteY0" fmla="*/ 0 h 257442"/>
                <a:gd name="connsiteX1" fmla="*/ 1569341 w 1784363"/>
                <a:gd name="connsiteY1" fmla="*/ 257442 h 257442"/>
                <a:gd name="connsiteX2" fmla="*/ 0 w 1784363"/>
                <a:gd name="connsiteY2" fmla="*/ 257442 h 257442"/>
                <a:gd name="connsiteX3" fmla="*/ 0 w 1784363"/>
                <a:gd name="connsiteY3" fmla="*/ 0 h 257442"/>
                <a:gd name="connsiteX0" fmla="*/ 1784363 w 1784363"/>
                <a:gd name="connsiteY0" fmla="*/ 0 h 257442"/>
                <a:gd name="connsiteX1" fmla="*/ 1729642 w 1784363"/>
                <a:gd name="connsiteY1" fmla="*/ 257442 h 257442"/>
                <a:gd name="connsiteX2" fmla="*/ 0 w 1784363"/>
                <a:gd name="connsiteY2" fmla="*/ 257442 h 257442"/>
                <a:gd name="connsiteX3" fmla="*/ 0 w 1784363"/>
                <a:gd name="connsiteY3" fmla="*/ 0 h 257442"/>
                <a:gd name="connsiteX0" fmla="*/ 1784363 w 1784363"/>
                <a:gd name="connsiteY0" fmla="*/ 0 h 257442"/>
                <a:gd name="connsiteX1" fmla="*/ 1729642 w 1784363"/>
                <a:gd name="connsiteY1" fmla="*/ 257442 h 257442"/>
                <a:gd name="connsiteX2" fmla="*/ 0 w 1784363"/>
                <a:gd name="connsiteY2" fmla="*/ 257442 h 257442"/>
                <a:gd name="connsiteX3" fmla="*/ 0 w 1784363"/>
                <a:gd name="connsiteY3" fmla="*/ 0 h 257442"/>
                <a:gd name="connsiteX0" fmla="*/ 1784363 w 1784363"/>
                <a:gd name="connsiteY0" fmla="*/ 0 h 257442"/>
                <a:gd name="connsiteX1" fmla="*/ 1729642 w 1784363"/>
                <a:gd name="connsiteY1" fmla="*/ 257442 h 257442"/>
                <a:gd name="connsiteX2" fmla="*/ 0 w 1784363"/>
                <a:gd name="connsiteY2" fmla="*/ 257442 h 257442"/>
                <a:gd name="connsiteX3" fmla="*/ 0 w 1784363"/>
                <a:gd name="connsiteY3" fmla="*/ 0 h 257442"/>
                <a:gd name="connsiteX0" fmla="*/ 2034879 w 2034879"/>
                <a:gd name="connsiteY0" fmla="*/ 0 h 257442"/>
                <a:gd name="connsiteX1" fmla="*/ 1729642 w 2034879"/>
                <a:gd name="connsiteY1" fmla="*/ 257442 h 257442"/>
                <a:gd name="connsiteX2" fmla="*/ 0 w 2034879"/>
                <a:gd name="connsiteY2" fmla="*/ 257442 h 257442"/>
                <a:gd name="connsiteX3" fmla="*/ 0 w 2034879"/>
                <a:gd name="connsiteY3" fmla="*/ 0 h 257442"/>
                <a:gd name="connsiteX0" fmla="*/ 2034879 w 2034879"/>
                <a:gd name="connsiteY0" fmla="*/ 0 h 257442"/>
                <a:gd name="connsiteX1" fmla="*/ 1980158 w 2034879"/>
                <a:gd name="connsiteY1" fmla="*/ 257442 h 257442"/>
                <a:gd name="connsiteX2" fmla="*/ 0 w 2034879"/>
                <a:gd name="connsiteY2" fmla="*/ 257442 h 257442"/>
                <a:gd name="connsiteX3" fmla="*/ 0 w 2034879"/>
                <a:gd name="connsiteY3" fmla="*/ 0 h 257442"/>
                <a:gd name="connsiteX0" fmla="*/ 2034879 w 2034879"/>
                <a:gd name="connsiteY0" fmla="*/ 0 h 257442"/>
                <a:gd name="connsiteX1" fmla="*/ 1980158 w 2034879"/>
                <a:gd name="connsiteY1" fmla="*/ 257442 h 257442"/>
                <a:gd name="connsiteX2" fmla="*/ 0 w 2034879"/>
                <a:gd name="connsiteY2" fmla="*/ 257442 h 257442"/>
                <a:gd name="connsiteX3" fmla="*/ 0 w 2034879"/>
                <a:gd name="connsiteY3" fmla="*/ 0 h 257442"/>
                <a:gd name="connsiteX0" fmla="*/ 2034879 w 2034879"/>
                <a:gd name="connsiteY0" fmla="*/ 0 h 257442"/>
                <a:gd name="connsiteX1" fmla="*/ 1980158 w 2034879"/>
                <a:gd name="connsiteY1" fmla="*/ 257442 h 257442"/>
                <a:gd name="connsiteX2" fmla="*/ 0 w 2034879"/>
                <a:gd name="connsiteY2" fmla="*/ 257442 h 257442"/>
                <a:gd name="connsiteX3" fmla="*/ 0 w 2034879"/>
                <a:gd name="connsiteY3" fmla="*/ 0 h 257442"/>
                <a:gd name="connsiteX0" fmla="*/ 2203195 w 2203195"/>
                <a:gd name="connsiteY0" fmla="*/ 0 h 257442"/>
                <a:gd name="connsiteX1" fmla="*/ 1980158 w 2203195"/>
                <a:gd name="connsiteY1" fmla="*/ 257442 h 257442"/>
                <a:gd name="connsiteX2" fmla="*/ 0 w 2203195"/>
                <a:gd name="connsiteY2" fmla="*/ 257442 h 257442"/>
                <a:gd name="connsiteX3" fmla="*/ 0 w 2203195"/>
                <a:gd name="connsiteY3" fmla="*/ 0 h 257442"/>
                <a:gd name="connsiteX0" fmla="*/ 2203195 w 2203195"/>
                <a:gd name="connsiteY0" fmla="*/ 0 h 257442"/>
                <a:gd name="connsiteX1" fmla="*/ 2148474 w 2203195"/>
                <a:gd name="connsiteY1" fmla="*/ 257442 h 257442"/>
                <a:gd name="connsiteX2" fmla="*/ 0 w 2203195"/>
                <a:gd name="connsiteY2" fmla="*/ 257442 h 257442"/>
                <a:gd name="connsiteX3" fmla="*/ 0 w 2203195"/>
                <a:gd name="connsiteY3" fmla="*/ 0 h 257442"/>
                <a:gd name="connsiteX0" fmla="*/ 2203195 w 2203195"/>
                <a:gd name="connsiteY0" fmla="*/ 0 h 257442"/>
                <a:gd name="connsiteX1" fmla="*/ 2148474 w 2203195"/>
                <a:gd name="connsiteY1" fmla="*/ 257442 h 257442"/>
                <a:gd name="connsiteX2" fmla="*/ 0 w 2203195"/>
                <a:gd name="connsiteY2" fmla="*/ 257442 h 257442"/>
                <a:gd name="connsiteX3" fmla="*/ 0 w 2203195"/>
                <a:gd name="connsiteY3" fmla="*/ 0 h 257442"/>
                <a:gd name="connsiteX0" fmla="*/ 2203195 w 2203195"/>
                <a:gd name="connsiteY0" fmla="*/ 0 h 257442"/>
                <a:gd name="connsiteX1" fmla="*/ 2148474 w 2203195"/>
                <a:gd name="connsiteY1" fmla="*/ 257442 h 257442"/>
                <a:gd name="connsiteX2" fmla="*/ 0 w 2203195"/>
                <a:gd name="connsiteY2" fmla="*/ 257442 h 257442"/>
                <a:gd name="connsiteX3" fmla="*/ 0 w 2203195"/>
                <a:gd name="connsiteY3" fmla="*/ 0 h 257442"/>
                <a:gd name="connsiteX0" fmla="*/ 2363496 w 2363496"/>
                <a:gd name="connsiteY0" fmla="*/ 0 h 257442"/>
                <a:gd name="connsiteX1" fmla="*/ 2148474 w 2363496"/>
                <a:gd name="connsiteY1" fmla="*/ 257442 h 257442"/>
                <a:gd name="connsiteX2" fmla="*/ 0 w 2363496"/>
                <a:gd name="connsiteY2" fmla="*/ 257442 h 257442"/>
                <a:gd name="connsiteX3" fmla="*/ 0 w 2363496"/>
                <a:gd name="connsiteY3" fmla="*/ 0 h 257442"/>
                <a:gd name="connsiteX0" fmla="*/ 2363496 w 2363496"/>
                <a:gd name="connsiteY0" fmla="*/ 0 h 257442"/>
                <a:gd name="connsiteX1" fmla="*/ 2308774 w 2363496"/>
                <a:gd name="connsiteY1" fmla="*/ 257442 h 257442"/>
                <a:gd name="connsiteX2" fmla="*/ 0 w 2363496"/>
                <a:gd name="connsiteY2" fmla="*/ 257442 h 257442"/>
                <a:gd name="connsiteX3" fmla="*/ 0 w 2363496"/>
                <a:gd name="connsiteY3" fmla="*/ 0 h 257442"/>
                <a:gd name="connsiteX0" fmla="*/ 2363497 w 2363497"/>
                <a:gd name="connsiteY0" fmla="*/ 0 h 257442"/>
                <a:gd name="connsiteX1" fmla="*/ 2308775 w 2363497"/>
                <a:gd name="connsiteY1" fmla="*/ 257442 h 257442"/>
                <a:gd name="connsiteX2" fmla="*/ 0 w 2363497"/>
                <a:gd name="connsiteY2" fmla="*/ 257442 h 257442"/>
                <a:gd name="connsiteX3" fmla="*/ 1 w 2363497"/>
                <a:gd name="connsiteY3" fmla="*/ 0 h 257442"/>
                <a:gd name="connsiteX0" fmla="*/ 2363497 w 2363497"/>
                <a:gd name="connsiteY0" fmla="*/ 0 h 257442"/>
                <a:gd name="connsiteX1" fmla="*/ 2308775 w 2363497"/>
                <a:gd name="connsiteY1" fmla="*/ 257442 h 257442"/>
                <a:gd name="connsiteX2" fmla="*/ 0 w 2363497"/>
                <a:gd name="connsiteY2" fmla="*/ 257442 h 257442"/>
                <a:gd name="connsiteX3" fmla="*/ 1 w 2363497"/>
                <a:gd name="connsiteY3" fmla="*/ 0 h 257442"/>
                <a:gd name="connsiteX0" fmla="*/ 2531811 w 2531811"/>
                <a:gd name="connsiteY0" fmla="*/ 0 h 257442"/>
                <a:gd name="connsiteX1" fmla="*/ 2308775 w 2531811"/>
                <a:gd name="connsiteY1" fmla="*/ 257442 h 257442"/>
                <a:gd name="connsiteX2" fmla="*/ 0 w 2531811"/>
                <a:gd name="connsiteY2" fmla="*/ 257442 h 257442"/>
                <a:gd name="connsiteX3" fmla="*/ 1 w 2531811"/>
                <a:gd name="connsiteY3" fmla="*/ 0 h 257442"/>
                <a:gd name="connsiteX0" fmla="*/ 2531811 w 2531811"/>
                <a:gd name="connsiteY0" fmla="*/ 0 h 257442"/>
                <a:gd name="connsiteX1" fmla="*/ 2477090 w 2531811"/>
                <a:gd name="connsiteY1" fmla="*/ 257442 h 257442"/>
                <a:gd name="connsiteX2" fmla="*/ 0 w 2531811"/>
                <a:gd name="connsiteY2" fmla="*/ 257442 h 257442"/>
                <a:gd name="connsiteX3" fmla="*/ 1 w 2531811"/>
                <a:gd name="connsiteY3" fmla="*/ 0 h 257442"/>
                <a:gd name="connsiteX0" fmla="*/ 2531810 w 2531810"/>
                <a:gd name="connsiteY0" fmla="*/ 0 h 257442"/>
                <a:gd name="connsiteX1" fmla="*/ 2477089 w 2531810"/>
                <a:gd name="connsiteY1" fmla="*/ 257442 h 257442"/>
                <a:gd name="connsiteX2" fmla="*/ 0 w 2531810"/>
                <a:gd name="connsiteY2" fmla="*/ 257442 h 257442"/>
                <a:gd name="connsiteX3" fmla="*/ 0 w 2531810"/>
                <a:gd name="connsiteY3" fmla="*/ 0 h 257442"/>
                <a:gd name="connsiteX0" fmla="*/ 2531811 w 2531811"/>
                <a:gd name="connsiteY0" fmla="*/ 0 h 257442"/>
                <a:gd name="connsiteX1" fmla="*/ 2477090 w 2531811"/>
                <a:gd name="connsiteY1" fmla="*/ 257442 h 257442"/>
                <a:gd name="connsiteX2" fmla="*/ 1 w 2531811"/>
                <a:gd name="connsiteY2" fmla="*/ 257442 h 257442"/>
                <a:gd name="connsiteX3" fmla="*/ 0 w 2531811"/>
                <a:gd name="connsiteY3" fmla="*/ 0 h 257442"/>
                <a:gd name="connsiteX0" fmla="*/ 2700127 w 2700127"/>
                <a:gd name="connsiteY0" fmla="*/ 0 h 257442"/>
                <a:gd name="connsiteX1" fmla="*/ 2477090 w 2700127"/>
                <a:gd name="connsiteY1" fmla="*/ 257442 h 257442"/>
                <a:gd name="connsiteX2" fmla="*/ 1 w 2700127"/>
                <a:gd name="connsiteY2" fmla="*/ 257442 h 257442"/>
                <a:gd name="connsiteX3" fmla="*/ 0 w 2700127"/>
                <a:gd name="connsiteY3" fmla="*/ 0 h 257442"/>
                <a:gd name="connsiteX0" fmla="*/ 2700127 w 2700127"/>
                <a:gd name="connsiteY0" fmla="*/ 0 h 257442"/>
                <a:gd name="connsiteX1" fmla="*/ 2645406 w 2700127"/>
                <a:gd name="connsiteY1" fmla="*/ 257442 h 257442"/>
                <a:gd name="connsiteX2" fmla="*/ 1 w 2700127"/>
                <a:gd name="connsiteY2" fmla="*/ 257442 h 257442"/>
                <a:gd name="connsiteX3" fmla="*/ 0 w 2700127"/>
                <a:gd name="connsiteY3" fmla="*/ 0 h 257442"/>
                <a:gd name="connsiteX0" fmla="*/ 2700127 w 2700127"/>
                <a:gd name="connsiteY0" fmla="*/ 0 h 257442"/>
                <a:gd name="connsiteX1" fmla="*/ 2645406 w 2700127"/>
                <a:gd name="connsiteY1" fmla="*/ 257442 h 257442"/>
                <a:gd name="connsiteX2" fmla="*/ 1 w 2700127"/>
                <a:gd name="connsiteY2" fmla="*/ 257442 h 257442"/>
                <a:gd name="connsiteX3" fmla="*/ 0 w 2700127"/>
                <a:gd name="connsiteY3" fmla="*/ 0 h 257442"/>
                <a:gd name="connsiteX0" fmla="*/ 2700126 w 2700126"/>
                <a:gd name="connsiteY0" fmla="*/ 0 h 257442"/>
                <a:gd name="connsiteX1" fmla="*/ 2645405 w 2700126"/>
                <a:gd name="connsiteY1" fmla="*/ 257442 h 257442"/>
                <a:gd name="connsiteX2" fmla="*/ 0 w 2700126"/>
                <a:gd name="connsiteY2" fmla="*/ 257442 h 257442"/>
                <a:gd name="connsiteX3" fmla="*/ 0 w 2700126"/>
                <a:gd name="connsiteY3" fmla="*/ 0 h 257442"/>
                <a:gd name="connsiteX0" fmla="*/ 2886074 w 2886074"/>
                <a:gd name="connsiteY0" fmla="*/ 0 h 257442"/>
                <a:gd name="connsiteX1" fmla="*/ 2645405 w 2886074"/>
                <a:gd name="connsiteY1" fmla="*/ 257442 h 257442"/>
                <a:gd name="connsiteX2" fmla="*/ 0 w 2886074"/>
                <a:gd name="connsiteY2" fmla="*/ 257442 h 257442"/>
                <a:gd name="connsiteX3" fmla="*/ 0 w 2886074"/>
                <a:gd name="connsiteY3" fmla="*/ 0 h 257442"/>
                <a:gd name="connsiteX0" fmla="*/ 2886074 w 2886074"/>
                <a:gd name="connsiteY0" fmla="*/ 0 h 257442"/>
                <a:gd name="connsiteX1" fmla="*/ 2831353 w 2886074"/>
                <a:gd name="connsiteY1" fmla="*/ 257442 h 257442"/>
                <a:gd name="connsiteX2" fmla="*/ 0 w 2886074"/>
                <a:gd name="connsiteY2" fmla="*/ 257442 h 257442"/>
                <a:gd name="connsiteX3" fmla="*/ 0 w 2886074"/>
                <a:gd name="connsiteY3" fmla="*/ 0 h 257442"/>
                <a:gd name="connsiteX0" fmla="*/ 2886075 w 2886075"/>
                <a:gd name="connsiteY0" fmla="*/ 0 h 257442"/>
                <a:gd name="connsiteX1" fmla="*/ 2831354 w 2886075"/>
                <a:gd name="connsiteY1" fmla="*/ 257442 h 257442"/>
                <a:gd name="connsiteX2" fmla="*/ 0 w 2886075"/>
                <a:gd name="connsiteY2" fmla="*/ 257442 h 257442"/>
                <a:gd name="connsiteX3" fmla="*/ 1 w 2886075"/>
                <a:gd name="connsiteY3" fmla="*/ 0 h 257442"/>
                <a:gd name="connsiteX0" fmla="*/ 2886075 w 2886075"/>
                <a:gd name="connsiteY0" fmla="*/ 0 h 257442"/>
                <a:gd name="connsiteX1" fmla="*/ 2831354 w 2886075"/>
                <a:gd name="connsiteY1" fmla="*/ 257442 h 257442"/>
                <a:gd name="connsiteX2" fmla="*/ 0 w 2886075"/>
                <a:gd name="connsiteY2" fmla="*/ 257442 h 257442"/>
                <a:gd name="connsiteX3" fmla="*/ 1 w 2886075"/>
                <a:gd name="connsiteY3" fmla="*/ 0 h 257442"/>
                <a:gd name="connsiteX0" fmla="*/ 3155380 w 3155380"/>
                <a:gd name="connsiteY0" fmla="*/ 0 h 257442"/>
                <a:gd name="connsiteX1" fmla="*/ 2831354 w 3155380"/>
                <a:gd name="connsiteY1" fmla="*/ 257442 h 257442"/>
                <a:gd name="connsiteX2" fmla="*/ 0 w 3155380"/>
                <a:gd name="connsiteY2" fmla="*/ 257442 h 257442"/>
                <a:gd name="connsiteX3" fmla="*/ 1 w 3155380"/>
                <a:gd name="connsiteY3" fmla="*/ 0 h 257442"/>
                <a:gd name="connsiteX0" fmla="*/ 3155380 w 3155380"/>
                <a:gd name="connsiteY0" fmla="*/ 0 h 257442"/>
                <a:gd name="connsiteX1" fmla="*/ 3100658 w 3155380"/>
                <a:gd name="connsiteY1" fmla="*/ 257442 h 257442"/>
                <a:gd name="connsiteX2" fmla="*/ 0 w 3155380"/>
                <a:gd name="connsiteY2" fmla="*/ 257442 h 257442"/>
                <a:gd name="connsiteX3" fmla="*/ 1 w 3155380"/>
                <a:gd name="connsiteY3" fmla="*/ 0 h 257442"/>
                <a:gd name="connsiteX0" fmla="*/ 3155380 w 3155380"/>
                <a:gd name="connsiteY0" fmla="*/ 0 h 257442"/>
                <a:gd name="connsiteX1" fmla="*/ 3100658 w 3155380"/>
                <a:gd name="connsiteY1" fmla="*/ 257442 h 257442"/>
                <a:gd name="connsiteX2" fmla="*/ 0 w 3155380"/>
                <a:gd name="connsiteY2" fmla="*/ 257442 h 257442"/>
                <a:gd name="connsiteX3" fmla="*/ 1 w 3155380"/>
                <a:gd name="connsiteY3" fmla="*/ 0 h 257442"/>
                <a:gd name="connsiteX0" fmla="*/ 3155380 w 3155380"/>
                <a:gd name="connsiteY0" fmla="*/ 0 h 257442"/>
                <a:gd name="connsiteX1" fmla="*/ 3100658 w 3155380"/>
                <a:gd name="connsiteY1" fmla="*/ 257442 h 257442"/>
                <a:gd name="connsiteX2" fmla="*/ 0 w 3155380"/>
                <a:gd name="connsiteY2" fmla="*/ 257442 h 257442"/>
                <a:gd name="connsiteX3" fmla="*/ 0 w 3155380"/>
                <a:gd name="connsiteY3" fmla="*/ 0 h 257442"/>
                <a:gd name="connsiteX0" fmla="*/ 3315679 w 3315679"/>
                <a:gd name="connsiteY0" fmla="*/ 0 h 257442"/>
                <a:gd name="connsiteX1" fmla="*/ 3100658 w 3315679"/>
                <a:gd name="connsiteY1" fmla="*/ 257442 h 257442"/>
                <a:gd name="connsiteX2" fmla="*/ 0 w 3315679"/>
                <a:gd name="connsiteY2" fmla="*/ 257442 h 257442"/>
                <a:gd name="connsiteX3" fmla="*/ 0 w 3315679"/>
                <a:gd name="connsiteY3" fmla="*/ 0 h 257442"/>
                <a:gd name="connsiteX0" fmla="*/ 3315679 w 3315679"/>
                <a:gd name="connsiteY0" fmla="*/ 0 h 257442"/>
                <a:gd name="connsiteX1" fmla="*/ 3260958 w 3315679"/>
                <a:gd name="connsiteY1" fmla="*/ 257442 h 257442"/>
                <a:gd name="connsiteX2" fmla="*/ 0 w 3315679"/>
                <a:gd name="connsiteY2" fmla="*/ 257442 h 257442"/>
                <a:gd name="connsiteX3" fmla="*/ 0 w 3315679"/>
                <a:gd name="connsiteY3" fmla="*/ 0 h 257442"/>
                <a:gd name="connsiteX0" fmla="*/ 3315679 w 3315679"/>
                <a:gd name="connsiteY0" fmla="*/ 0 h 257442"/>
                <a:gd name="connsiteX1" fmla="*/ 3260958 w 3315679"/>
                <a:gd name="connsiteY1" fmla="*/ 257442 h 257442"/>
                <a:gd name="connsiteX2" fmla="*/ 0 w 3315679"/>
                <a:gd name="connsiteY2" fmla="*/ 257442 h 257442"/>
                <a:gd name="connsiteX3" fmla="*/ 0 w 3315679"/>
                <a:gd name="connsiteY3" fmla="*/ 0 h 257442"/>
                <a:gd name="connsiteX0" fmla="*/ 3315679 w 3315679"/>
                <a:gd name="connsiteY0" fmla="*/ 0 h 257442"/>
                <a:gd name="connsiteX1" fmla="*/ 3260958 w 3315679"/>
                <a:gd name="connsiteY1" fmla="*/ 257442 h 257442"/>
                <a:gd name="connsiteX2" fmla="*/ 0 w 3315679"/>
                <a:gd name="connsiteY2" fmla="*/ 257442 h 257442"/>
                <a:gd name="connsiteX3" fmla="*/ 0 w 3315679"/>
                <a:gd name="connsiteY3" fmla="*/ 0 h 257442"/>
                <a:gd name="connsiteX0" fmla="*/ 942786 w 3260958"/>
                <a:gd name="connsiteY0" fmla="*/ 0 h 257442"/>
                <a:gd name="connsiteX1" fmla="*/ 3260958 w 3260958"/>
                <a:gd name="connsiteY1" fmla="*/ 257442 h 257442"/>
                <a:gd name="connsiteX2" fmla="*/ 0 w 3260958"/>
                <a:gd name="connsiteY2" fmla="*/ 257442 h 257442"/>
                <a:gd name="connsiteX3" fmla="*/ 0 w 3260958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1270248 w 1270248"/>
                <a:gd name="connsiteY0" fmla="*/ 0 h 257442"/>
                <a:gd name="connsiteX1" fmla="*/ 888065 w 1270248"/>
                <a:gd name="connsiteY1" fmla="*/ 257442 h 257442"/>
                <a:gd name="connsiteX2" fmla="*/ 0 w 1270248"/>
                <a:gd name="connsiteY2" fmla="*/ 257442 h 257442"/>
                <a:gd name="connsiteX3" fmla="*/ 0 w 1270248"/>
                <a:gd name="connsiteY3" fmla="*/ 0 h 257442"/>
                <a:gd name="connsiteX0" fmla="*/ 1270248 w 1270248"/>
                <a:gd name="connsiteY0" fmla="*/ 0 h 257442"/>
                <a:gd name="connsiteX1" fmla="*/ 1215527 w 1270248"/>
                <a:gd name="connsiteY1" fmla="*/ 257442 h 257442"/>
                <a:gd name="connsiteX2" fmla="*/ 0 w 1270248"/>
                <a:gd name="connsiteY2" fmla="*/ 257442 h 257442"/>
                <a:gd name="connsiteX3" fmla="*/ 0 w 1270248"/>
                <a:gd name="connsiteY3" fmla="*/ 0 h 257442"/>
                <a:gd name="connsiteX0" fmla="*/ 1270248 w 1270248"/>
                <a:gd name="connsiteY0" fmla="*/ 0 h 257442"/>
                <a:gd name="connsiteX1" fmla="*/ 1215527 w 1270248"/>
                <a:gd name="connsiteY1" fmla="*/ 257442 h 257442"/>
                <a:gd name="connsiteX2" fmla="*/ 0 w 1270248"/>
                <a:gd name="connsiteY2" fmla="*/ 257442 h 257442"/>
                <a:gd name="connsiteX3" fmla="*/ 0 w 1270248"/>
                <a:gd name="connsiteY3" fmla="*/ 0 h 257442"/>
                <a:gd name="connsiteX0" fmla="*/ 1270248 w 1270248"/>
                <a:gd name="connsiteY0" fmla="*/ 0 h 257442"/>
                <a:gd name="connsiteX1" fmla="*/ 1215527 w 1270248"/>
                <a:gd name="connsiteY1" fmla="*/ 257442 h 257442"/>
                <a:gd name="connsiteX2" fmla="*/ 0 w 1270248"/>
                <a:gd name="connsiteY2" fmla="*/ 257442 h 257442"/>
                <a:gd name="connsiteX3" fmla="*/ 0 w 1270248"/>
                <a:gd name="connsiteY3" fmla="*/ 0 h 257442"/>
                <a:gd name="connsiteX0" fmla="*/ 1438562 w 1438562"/>
                <a:gd name="connsiteY0" fmla="*/ 0 h 257442"/>
                <a:gd name="connsiteX1" fmla="*/ 1215527 w 1438562"/>
                <a:gd name="connsiteY1" fmla="*/ 257442 h 257442"/>
                <a:gd name="connsiteX2" fmla="*/ 0 w 1438562"/>
                <a:gd name="connsiteY2" fmla="*/ 257442 h 257442"/>
                <a:gd name="connsiteX3" fmla="*/ 0 w 1438562"/>
                <a:gd name="connsiteY3" fmla="*/ 0 h 257442"/>
                <a:gd name="connsiteX0" fmla="*/ 1438562 w 1438562"/>
                <a:gd name="connsiteY0" fmla="*/ 0 h 257442"/>
                <a:gd name="connsiteX1" fmla="*/ 1383841 w 1438562"/>
                <a:gd name="connsiteY1" fmla="*/ 257442 h 257442"/>
                <a:gd name="connsiteX2" fmla="*/ 0 w 1438562"/>
                <a:gd name="connsiteY2" fmla="*/ 257442 h 257442"/>
                <a:gd name="connsiteX3" fmla="*/ 0 w 1438562"/>
                <a:gd name="connsiteY3" fmla="*/ 0 h 257442"/>
                <a:gd name="connsiteX0" fmla="*/ 1438562 w 1438562"/>
                <a:gd name="connsiteY0" fmla="*/ 0 h 257442"/>
                <a:gd name="connsiteX1" fmla="*/ 1383841 w 1438562"/>
                <a:gd name="connsiteY1" fmla="*/ 257442 h 257442"/>
                <a:gd name="connsiteX2" fmla="*/ 0 w 1438562"/>
                <a:gd name="connsiteY2" fmla="*/ 257442 h 257442"/>
                <a:gd name="connsiteX3" fmla="*/ 0 w 1438562"/>
                <a:gd name="connsiteY3" fmla="*/ 0 h 257442"/>
                <a:gd name="connsiteX0" fmla="*/ 1438562 w 1438562"/>
                <a:gd name="connsiteY0" fmla="*/ 0 h 257442"/>
                <a:gd name="connsiteX1" fmla="*/ 1383841 w 1438562"/>
                <a:gd name="connsiteY1" fmla="*/ 257442 h 257442"/>
                <a:gd name="connsiteX2" fmla="*/ 0 w 1438562"/>
                <a:gd name="connsiteY2" fmla="*/ 257442 h 257442"/>
                <a:gd name="connsiteX3" fmla="*/ 0 w 1438562"/>
                <a:gd name="connsiteY3" fmla="*/ 0 h 257442"/>
                <a:gd name="connsiteX0" fmla="*/ 1707867 w 1707867"/>
                <a:gd name="connsiteY0" fmla="*/ 0 h 257442"/>
                <a:gd name="connsiteX1" fmla="*/ 1383841 w 1707867"/>
                <a:gd name="connsiteY1" fmla="*/ 257442 h 257442"/>
                <a:gd name="connsiteX2" fmla="*/ 0 w 1707867"/>
                <a:gd name="connsiteY2" fmla="*/ 257442 h 257442"/>
                <a:gd name="connsiteX3" fmla="*/ 0 w 1707867"/>
                <a:gd name="connsiteY3" fmla="*/ 0 h 257442"/>
                <a:gd name="connsiteX0" fmla="*/ 1707867 w 1707867"/>
                <a:gd name="connsiteY0" fmla="*/ 0 h 257442"/>
                <a:gd name="connsiteX1" fmla="*/ 1653146 w 1707867"/>
                <a:gd name="connsiteY1" fmla="*/ 257442 h 257442"/>
                <a:gd name="connsiteX2" fmla="*/ 0 w 1707867"/>
                <a:gd name="connsiteY2" fmla="*/ 257442 h 257442"/>
                <a:gd name="connsiteX3" fmla="*/ 0 w 1707867"/>
                <a:gd name="connsiteY3" fmla="*/ 0 h 257442"/>
                <a:gd name="connsiteX0" fmla="*/ 1707867 w 1707867"/>
                <a:gd name="connsiteY0" fmla="*/ 0 h 257442"/>
                <a:gd name="connsiteX1" fmla="*/ 1653146 w 1707867"/>
                <a:gd name="connsiteY1" fmla="*/ 257442 h 257442"/>
                <a:gd name="connsiteX2" fmla="*/ 0 w 1707867"/>
                <a:gd name="connsiteY2" fmla="*/ 257442 h 257442"/>
                <a:gd name="connsiteX3" fmla="*/ 0 w 1707867"/>
                <a:gd name="connsiteY3" fmla="*/ 0 h 257442"/>
                <a:gd name="connsiteX0" fmla="*/ 1707867 w 1707867"/>
                <a:gd name="connsiteY0" fmla="*/ 0 h 257442"/>
                <a:gd name="connsiteX1" fmla="*/ 1653146 w 1707867"/>
                <a:gd name="connsiteY1" fmla="*/ 257442 h 257442"/>
                <a:gd name="connsiteX2" fmla="*/ 0 w 1707867"/>
                <a:gd name="connsiteY2" fmla="*/ 257442 h 257442"/>
                <a:gd name="connsiteX3" fmla="*/ 0 w 1707867"/>
                <a:gd name="connsiteY3" fmla="*/ 0 h 257442"/>
                <a:gd name="connsiteX0" fmla="*/ 1876183 w 1876183"/>
                <a:gd name="connsiteY0" fmla="*/ 0 h 257442"/>
                <a:gd name="connsiteX1" fmla="*/ 1653146 w 1876183"/>
                <a:gd name="connsiteY1" fmla="*/ 257442 h 257442"/>
                <a:gd name="connsiteX2" fmla="*/ 0 w 1876183"/>
                <a:gd name="connsiteY2" fmla="*/ 257442 h 257442"/>
                <a:gd name="connsiteX3" fmla="*/ 0 w 1876183"/>
                <a:gd name="connsiteY3" fmla="*/ 0 h 257442"/>
                <a:gd name="connsiteX0" fmla="*/ 1876183 w 1876183"/>
                <a:gd name="connsiteY0" fmla="*/ 0 h 257442"/>
                <a:gd name="connsiteX1" fmla="*/ 1821462 w 1876183"/>
                <a:gd name="connsiteY1" fmla="*/ 257442 h 257442"/>
                <a:gd name="connsiteX2" fmla="*/ 0 w 1876183"/>
                <a:gd name="connsiteY2" fmla="*/ 257442 h 257442"/>
                <a:gd name="connsiteX3" fmla="*/ 0 w 1876183"/>
                <a:gd name="connsiteY3" fmla="*/ 0 h 257442"/>
                <a:gd name="connsiteX0" fmla="*/ 1876183 w 1876183"/>
                <a:gd name="connsiteY0" fmla="*/ 0 h 257442"/>
                <a:gd name="connsiteX1" fmla="*/ 1821462 w 1876183"/>
                <a:gd name="connsiteY1" fmla="*/ 257442 h 257442"/>
                <a:gd name="connsiteX2" fmla="*/ 0 w 1876183"/>
                <a:gd name="connsiteY2" fmla="*/ 257442 h 257442"/>
                <a:gd name="connsiteX3" fmla="*/ 0 w 1876183"/>
                <a:gd name="connsiteY3" fmla="*/ 0 h 257442"/>
                <a:gd name="connsiteX0" fmla="*/ 1876183 w 1876183"/>
                <a:gd name="connsiteY0" fmla="*/ 0 h 257442"/>
                <a:gd name="connsiteX1" fmla="*/ 1821462 w 1876183"/>
                <a:gd name="connsiteY1" fmla="*/ 257442 h 257442"/>
                <a:gd name="connsiteX2" fmla="*/ 0 w 1876183"/>
                <a:gd name="connsiteY2" fmla="*/ 257442 h 257442"/>
                <a:gd name="connsiteX3" fmla="*/ 0 w 1876183"/>
                <a:gd name="connsiteY3" fmla="*/ 0 h 257442"/>
                <a:gd name="connsiteX0" fmla="*/ 2044497 w 2044497"/>
                <a:gd name="connsiteY0" fmla="*/ 0 h 257442"/>
                <a:gd name="connsiteX1" fmla="*/ 1821462 w 2044497"/>
                <a:gd name="connsiteY1" fmla="*/ 257442 h 257442"/>
                <a:gd name="connsiteX2" fmla="*/ 0 w 2044497"/>
                <a:gd name="connsiteY2" fmla="*/ 257442 h 257442"/>
                <a:gd name="connsiteX3" fmla="*/ 0 w 2044497"/>
                <a:gd name="connsiteY3" fmla="*/ 0 h 257442"/>
                <a:gd name="connsiteX0" fmla="*/ 2044497 w 2044497"/>
                <a:gd name="connsiteY0" fmla="*/ 0 h 257442"/>
                <a:gd name="connsiteX1" fmla="*/ 1989776 w 2044497"/>
                <a:gd name="connsiteY1" fmla="*/ 257442 h 257442"/>
                <a:gd name="connsiteX2" fmla="*/ 0 w 2044497"/>
                <a:gd name="connsiteY2" fmla="*/ 257442 h 257442"/>
                <a:gd name="connsiteX3" fmla="*/ 0 w 2044497"/>
                <a:gd name="connsiteY3" fmla="*/ 0 h 257442"/>
                <a:gd name="connsiteX0" fmla="*/ 2044497 w 2044497"/>
                <a:gd name="connsiteY0" fmla="*/ 0 h 257442"/>
                <a:gd name="connsiteX1" fmla="*/ 1989776 w 2044497"/>
                <a:gd name="connsiteY1" fmla="*/ 257442 h 257442"/>
                <a:gd name="connsiteX2" fmla="*/ 0 w 2044497"/>
                <a:gd name="connsiteY2" fmla="*/ 257442 h 257442"/>
                <a:gd name="connsiteX3" fmla="*/ 0 w 2044497"/>
                <a:gd name="connsiteY3" fmla="*/ 0 h 257442"/>
                <a:gd name="connsiteX0" fmla="*/ 2044497 w 2044497"/>
                <a:gd name="connsiteY0" fmla="*/ 0 h 257442"/>
                <a:gd name="connsiteX1" fmla="*/ 1989776 w 2044497"/>
                <a:gd name="connsiteY1" fmla="*/ 257442 h 257442"/>
                <a:gd name="connsiteX2" fmla="*/ 0 w 2044497"/>
                <a:gd name="connsiteY2" fmla="*/ 257442 h 257442"/>
                <a:gd name="connsiteX3" fmla="*/ 0 w 2044497"/>
                <a:gd name="connsiteY3" fmla="*/ 0 h 257442"/>
                <a:gd name="connsiteX0" fmla="*/ 2212813 w 2212813"/>
                <a:gd name="connsiteY0" fmla="*/ 0 h 257442"/>
                <a:gd name="connsiteX1" fmla="*/ 1989776 w 2212813"/>
                <a:gd name="connsiteY1" fmla="*/ 257442 h 257442"/>
                <a:gd name="connsiteX2" fmla="*/ 0 w 2212813"/>
                <a:gd name="connsiteY2" fmla="*/ 257442 h 257442"/>
                <a:gd name="connsiteX3" fmla="*/ 0 w 2212813"/>
                <a:gd name="connsiteY3" fmla="*/ 0 h 257442"/>
                <a:gd name="connsiteX0" fmla="*/ 2212813 w 2212813"/>
                <a:gd name="connsiteY0" fmla="*/ 0 h 257442"/>
                <a:gd name="connsiteX1" fmla="*/ 2158092 w 2212813"/>
                <a:gd name="connsiteY1" fmla="*/ 257442 h 257442"/>
                <a:gd name="connsiteX2" fmla="*/ 0 w 2212813"/>
                <a:gd name="connsiteY2" fmla="*/ 257442 h 257442"/>
                <a:gd name="connsiteX3" fmla="*/ 0 w 2212813"/>
                <a:gd name="connsiteY3" fmla="*/ 0 h 257442"/>
                <a:gd name="connsiteX0" fmla="*/ 2212813 w 2212813"/>
                <a:gd name="connsiteY0" fmla="*/ 0 h 257442"/>
                <a:gd name="connsiteX1" fmla="*/ 2158092 w 2212813"/>
                <a:gd name="connsiteY1" fmla="*/ 257442 h 257442"/>
                <a:gd name="connsiteX2" fmla="*/ 0 w 2212813"/>
                <a:gd name="connsiteY2" fmla="*/ 257442 h 257442"/>
                <a:gd name="connsiteX3" fmla="*/ 0 w 2212813"/>
                <a:gd name="connsiteY3" fmla="*/ 0 h 257442"/>
                <a:gd name="connsiteX0" fmla="*/ 2212813 w 2212813"/>
                <a:gd name="connsiteY0" fmla="*/ 0 h 257442"/>
                <a:gd name="connsiteX1" fmla="*/ 2158092 w 2212813"/>
                <a:gd name="connsiteY1" fmla="*/ 257442 h 257442"/>
                <a:gd name="connsiteX2" fmla="*/ 0 w 2212813"/>
                <a:gd name="connsiteY2" fmla="*/ 257442 h 257442"/>
                <a:gd name="connsiteX3" fmla="*/ 0 w 2212813"/>
                <a:gd name="connsiteY3" fmla="*/ 0 h 257442"/>
                <a:gd name="connsiteX0" fmla="*/ 2381128 w 2381128"/>
                <a:gd name="connsiteY0" fmla="*/ 0 h 257442"/>
                <a:gd name="connsiteX1" fmla="*/ 2158092 w 2381128"/>
                <a:gd name="connsiteY1" fmla="*/ 257442 h 257442"/>
                <a:gd name="connsiteX2" fmla="*/ 0 w 2381128"/>
                <a:gd name="connsiteY2" fmla="*/ 257442 h 257442"/>
                <a:gd name="connsiteX3" fmla="*/ 0 w 2381128"/>
                <a:gd name="connsiteY3" fmla="*/ 0 h 257442"/>
                <a:gd name="connsiteX0" fmla="*/ 2381128 w 2381128"/>
                <a:gd name="connsiteY0" fmla="*/ 0 h 257442"/>
                <a:gd name="connsiteX1" fmla="*/ 2326406 w 2381128"/>
                <a:gd name="connsiteY1" fmla="*/ 257442 h 257442"/>
                <a:gd name="connsiteX2" fmla="*/ 0 w 2381128"/>
                <a:gd name="connsiteY2" fmla="*/ 257442 h 257442"/>
                <a:gd name="connsiteX3" fmla="*/ 0 w 2381128"/>
                <a:gd name="connsiteY3" fmla="*/ 0 h 257442"/>
                <a:gd name="connsiteX0" fmla="*/ 2381129 w 2381129"/>
                <a:gd name="connsiteY0" fmla="*/ 0 h 257442"/>
                <a:gd name="connsiteX1" fmla="*/ 2326407 w 2381129"/>
                <a:gd name="connsiteY1" fmla="*/ 257442 h 257442"/>
                <a:gd name="connsiteX2" fmla="*/ 0 w 2381129"/>
                <a:gd name="connsiteY2" fmla="*/ 257442 h 257442"/>
                <a:gd name="connsiteX3" fmla="*/ 1 w 2381129"/>
                <a:gd name="connsiteY3" fmla="*/ 0 h 257442"/>
                <a:gd name="connsiteX0" fmla="*/ 2381129 w 2381129"/>
                <a:gd name="connsiteY0" fmla="*/ 0 h 257442"/>
                <a:gd name="connsiteX1" fmla="*/ 2326407 w 2381129"/>
                <a:gd name="connsiteY1" fmla="*/ 257442 h 257442"/>
                <a:gd name="connsiteX2" fmla="*/ 0 w 2381129"/>
                <a:gd name="connsiteY2" fmla="*/ 257442 h 257442"/>
                <a:gd name="connsiteX3" fmla="*/ 1 w 2381129"/>
                <a:gd name="connsiteY3" fmla="*/ 0 h 257442"/>
                <a:gd name="connsiteX0" fmla="*/ 2541429 w 2541429"/>
                <a:gd name="connsiteY0" fmla="*/ 0 h 257442"/>
                <a:gd name="connsiteX1" fmla="*/ 2326407 w 2541429"/>
                <a:gd name="connsiteY1" fmla="*/ 257442 h 257442"/>
                <a:gd name="connsiteX2" fmla="*/ 0 w 2541429"/>
                <a:gd name="connsiteY2" fmla="*/ 257442 h 257442"/>
                <a:gd name="connsiteX3" fmla="*/ 1 w 2541429"/>
                <a:gd name="connsiteY3" fmla="*/ 0 h 257442"/>
                <a:gd name="connsiteX0" fmla="*/ 2541429 w 2541429"/>
                <a:gd name="connsiteY0" fmla="*/ 0 h 257442"/>
                <a:gd name="connsiteX1" fmla="*/ 2486708 w 2541429"/>
                <a:gd name="connsiteY1" fmla="*/ 257442 h 257442"/>
                <a:gd name="connsiteX2" fmla="*/ 0 w 2541429"/>
                <a:gd name="connsiteY2" fmla="*/ 257442 h 257442"/>
                <a:gd name="connsiteX3" fmla="*/ 1 w 2541429"/>
                <a:gd name="connsiteY3" fmla="*/ 0 h 257442"/>
                <a:gd name="connsiteX0" fmla="*/ 2541428 w 2541428"/>
                <a:gd name="connsiteY0" fmla="*/ 0 h 257442"/>
                <a:gd name="connsiteX1" fmla="*/ 2486707 w 2541428"/>
                <a:gd name="connsiteY1" fmla="*/ 257442 h 257442"/>
                <a:gd name="connsiteX2" fmla="*/ 0 w 2541428"/>
                <a:gd name="connsiteY2" fmla="*/ 257442 h 257442"/>
                <a:gd name="connsiteX3" fmla="*/ 0 w 2541428"/>
                <a:gd name="connsiteY3" fmla="*/ 0 h 257442"/>
                <a:gd name="connsiteX0" fmla="*/ 2541429 w 2541429"/>
                <a:gd name="connsiteY0" fmla="*/ 0 h 257442"/>
                <a:gd name="connsiteX1" fmla="*/ 2486708 w 2541429"/>
                <a:gd name="connsiteY1" fmla="*/ 257442 h 257442"/>
                <a:gd name="connsiteX2" fmla="*/ 1 w 2541429"/>
                <a:gd name="connsiteY2" fmla="*/ 257442 h 257442"/>
                <a:gd name="connsiteX3" fmla="*/ 0 w 2541429"/>
                <a:gd name="connsiteY3" fmla="*/ 0 h 257442"/>
                <a:gd name="connsiteX0" fmla="*/ 2862030 w 2862030"/>
                <a:gd name="connsiteY0" fmla="*/ 0 h 257442"/>
                <a:gd name="connsiteX1" fmla="*/ 2486708 w 2862030"/>
                <a:gd name="connsiteY1" fmla="*/ 257442 h 257442"/>
                <a:gd name="connsiteX2" fmla="*/ 1 w 2862030"/>
                <a:gd name="connsiteY2" fmla="*/ 257442 h 257442"/>
                <a:gd name="connsiteX3" fmla="*/ 0 w 2862030"/>
                <a:gd name="connsiteY3" fmla="*/ 0 h 257442"/>
                <a:gd name="connsiteX0" fmla="*/ 2862030 w 2862030"/>
                <a:gd name="connsiteY0" fmla="*/ 0 h 257442"/>
                <a:gd name="connsiteX1" fmla="*/ 2807308 w 2862030"/>
                <a:gd name="connsiteY1" fmla="*/ 257442 h 257442"/>
                <a:gd name="connsiteX2" fmla="*/ 1 w 2862030"/>
                <a:gd name="connsiteY2" fmla="*/ 257442 h 257442"/>
                <a:gd name="connsiteX3" fmla="*/ 0 w 2862030"/>
                <a:gd name="connsiteY3" fmla="*/ 0 h 257442"/>
                <a:gd name="connsiteX0" fmla="*/ 2862030 w 2862030"/>
                <a:gd name="connsiteY0" fmla="*/ 0 h 257442"/>
                <a:gd name="connsiteX1" fmla="*/ 2807308 w 2862030"/>
                <a:gd name="connsiteY1" fmla="*/ 257442 h 257442"/>
                <a:gd name="connsiteX2" fmla="*/ 0 w 2862030"/>
                <a:gd name="connsiteY2" fmla="*/ 257442 h 257442"/>
                <a:gd name="connsiteX3" fmla="*/ 0 w 2862030"/>
                <a:gd name="connsiteY3" fmla="*/ 0 h 257442"/>
                <a:gd name="connsiteX0" fmla="*/ 2862030 w 2862030"/>
                <a:gd name="connsiteY0" fmla="*/ 0 h 257442"/>
                <a:gd name="connsiteX1" fmla="*/ 2807308 w 2862030"/>
                <a:gd name="connsiteY1" fmla="*/ 257442 h 257442"/>
                <a:gd name="connsiteX2" fmla="*/ 0 w 2862030"/>
                <a:gd name="connsiteY2" fmla="*/ 257442 h 257442"/>
                <a:gd name="connsiteX3" fmla="*/ 0 w 2862030"/>
                <a:gd name="connsiteY3" fmla="*/ 0 h 257442"/>
                <a:gd name="connsiteX0" fmla="*/ 3022329 w 3022329"/>
                <a:gd name="connsiteY0" fmla="*/ 0 h 257442"/>
                <a:gd name="connsiteX1" fmla="*/ 2807308 w 3022329"/>
                <a:gd name="connsiteY1" fmla="*/ 257442 h 257442"/>
                <a:gd name="connsiteX2" fmla="*/ 0 w 3022329"/>
                <a:gd name="connsiteY2" fmla="*/ 257442 h 257442"/>
                <a:gd name="connsiteX3" fmla="*/ 0 w 3022329"/>
                <a:gd name="connsiteY3" fmla="*/ 0 h 257442"/>
                <a:gd name="connsiteX0" fmla="*/ 3022329 w 3022329"/>
                <a:gd name="connsiteY0" fmla="*/ 0 h 257442"/>
                <a:gd name="connsiteX1" fmla="*/ 2967608 w 3022329"/>
                <a:gd name="connsiteY1" fmla="*/ 257442 h 257442"/>
                <a:gd name="connsiteX2" fmla="*/ 0 w 3022329"/>
                <a:gd name="connsiteY2" fmla="*/ 257442 h 257442"/>
                <a:gd name="connsiteX3" fmla="*/ 0 w 3022329"/>
                <a:gd name="connsiteY3" fmla="*/ 0 h 257442"/>
                <a:gd name="connsiteX0" fmla="*/ 3022329 w 3022329"/>
                <a:gd name="connsiteY0" fmla="*/ 0 h 257442"/>
                <a:gd name="connsiteX1" fmla="*/ 2967608 w 3022329"/>
                <a:gd name="connsiteY1" fmla="*/ 257442 h 257442"/>
                <a:gd name="connsiteX2" fmla="*/ 0 w 3022329"/>
                <a:gd name="connsiteY2" fmla="*/ 257442 h 257442"/>
                <a:gd name="connsiteX3" fmla="*/ 0 w 3022329"/>
                <a:gd name="connsiteY3" fmla="*/ 0 h 257442"/>
                <a:gd name="connsiteX0" fmla="*/ 3022329 w 3022329"/>
                <a:gd name="connsiteY0" fmla="*/ 0 h 257442"/>
                <a:gd name="connsiteX1" fmla="*/ 2967608 w 3022329"/>
                <a:gd name="connsiteY1" fmla="*/ 257442 h 257442"/>
                <a:gd name="connsiteX2" fmla="*/ 0 w 3022329"/>
                <a:gd name="connsiteY2" fmla="*/ 257442 h 257442"/>
                <a:gd name="connsiteX3" fmla="*/ 0 w 3022329"/>
                <a:gd name="connsiteY3" fmla="*/ 0 h 257442"/>
                <a:gd name="connsiteX0" fmla="*/ 3182630 w 3182630"/>
                <a:gd name="connsiteY0" fmla="*/ 0 h 257442"/>
                <a:gd name="connsiteX1" fmla="*/ 2967608 w 3182630"/>
                <a:gd name="connsiteY1" fmla="*/ 257442 h 257442"/>
                <a:gd name="connsiteX2" fmla="*/ 0 w 3182630"/>
                <a:gd name="connsiteY2" fmla="*/ 257442 h 257442"/>
                <a:gd name="connsiteX3" fmla="*/ 0 w 3182630"/>
                <a:gd name="connsiteY3" fmla="*/ 0 h 257442"/>
                <a:gd name="connsiteX0" fmla="*/ 3182630 w 3182630"/>
                <a:gd name="connsiteY0" fmla="*/ 0 h 257442"/>
                <a:gd name="connsiteX1" fmla="*/ 3127908 w 3182630"/>
                <a:gd name="connsiteY1" fmla="*/ 257442 h 257442"/>
                <a:gd name="connsiteX2" fmla="*/ 0 w 3182630"/>
                <a:gd name="connsiteY2" fmla="*/ 257442 h 257442"/>
                <a:gd name="connsiteX3" fmla="*/ 0 w 3182630"/>
                <a:gd name="connsiteY3" fmla="*/ 0 h 257442"/>
                <a:gd name="connsiteX0" fmla="*/ 3182631 w 3182631"/>
                <a:gd name="connsiteY0" fmla="*/ 0 h 257442"/>
                <a:gd name="connsiteX1" fmla="*/ 3127909 w 3182631"/>
                <a:gd name="connsiteY1" fmla="*/ 257442 h 257442"/>
                <a:gd name="connsiteX2" fmla="*/ 0 w 3182631"/>
                <a:gd name="connsiteY2" fmla="*/ 257442 h 257442"/>
                <a:gd name="connsiteX3" fmla="*/ 1 w 3182631"/>
                <a:gd name="connsiteY3" fmla="*/ 0 h 257442"/>
                <a:gd name="connsiteX0" fmla="*/ 3182631 w 3182631"/>
                <a:gd name="connsiteY0" fmla="*/ 0 h 257442"/>
                <a:gd name="connsiteX1" fmla="*/ 3127909 w 3182631"/>
                <a:gd name="connsiteY1" fmla="*/ 257442 h 257442"/>
                <a:gd name="connsiteX2" fmla="*/ 0 w 3182631"/>
                <a:gd name="connsiteY2" fmla="*/ 257442 h 257442"/>
                <a:gd name="connsiteX3" fmla="*/ 1 w 3182631"/>
                <a:gd name="connsiteY3" fmla="*/ 0 h 257442"/>
                <a:gd name="connsiteX0" fmla="*/ 3342931 w 3342931"/>
                <a:gd name="connsiteY0" fmla="*/ 0 h 257442"/>
                <a:gd name="connsiteX1" fmla="*/ 3127909 w 3342931"/>
                <a:gd name="connsiteY1" fmla="*/ 257442 h 257442"/>
                <a:gd name="connsiteX2" fmla="*/ 0 w 3342931"/>
                <a:gd name="connsiteY2" fmla="*/ 257442 h 257442"/>
                <a:gd name="connsiteX3" fmla="*/ 1 w 3342931"/>
                <a:gd name="connsiteY3" fmla="*/ 0 h 257442"/>
                <a:gd name="connsiteX0" fmla="*/ 3342931 w 3342931"/>
                <a:gd name="connsiteY0" fmla="*/ 0 h 257442"/>
                <a:gd name="connsiteX1" fmla="*/ 3288210 w 3342931"/>
                <a:gd name="connsiteY1" fmla="*/ 257442 h 257442"/>
                <a:gd name="connsiteX2" fmla="*/ 0 w 3342931"/>
                <a:gd name="connsiteY2" fmla="*/ 257442 h 257442"/>
                <a:gd name="connsiteX3" fmla="*/ 1 w 3342931"/>
                <a:gd name="connsiteY3" fmla="*/ 0 h 257442"/>
                <a:gd name="connsiteX0" fmla="*/ 3342930 w 3342930"/>
                <a:gd name="connsiteY0" fmla="*/ 0 h 257442"/>
                <a:gd name="connsiteX1" fmla="*/ 3288209 w 3342930"/>
                <a:gd name="connsiteY1" fmla="*/ 257442 h 257442"/>
                <a:gd name="connsiteX2" fmla="*/ 0 w 3342930"/>
                <a:gd name="connsiteY2" fmla="*/ 257442 h 257442"/>
                <a:gd name="connsiteX3" fmla="*/ 0 w 3342930"/>
                <a:gd name="connsiteY3" fmla="*/ 0 h 257442"/>
                <a:gd name="connsiteX0" fmla="*/ 3342931 w 3342931"/>
                <a:gd name="connsiteY0" fmla="*/ 0 h 257442"/>
                <a:gd name="connsiteX1" fmla="*/ 3288210 w 3342931"/>
                <a:gd name="connsiteY1" fmla="*/ 257442 h 257442"/>
                <a:gd name="connsiteX2" fmla="*/ 1 w 3342931"/>
                <a:gd name="connsiteY2" fmla="*/ 257442 h 257442"/>
                <a:gd name="connsiteX3" fmla="*/ 0 w 3342931"/>
                <a:gd name="connsiteY3" fmla="*/ 0 h 257442"/>
                <a:gd name="connsiteX0" fmla="*/ 3673149 w 3673149"/>
                <a:gd name="connsiteY0" fmla="*/ 0 h 257442"/>
                <a:gd name="connsiteX1" fmla="*/ 3288210 w 3673149"/>
                <a:gd name="connsiteY1" fmla="*/ 257442 h 257442"/>
                <a:gd name="connsiteX2" fmla="*/ 1 w 3673149"/>
                <a:gd name="connsiteY2" fmla="*/ 257442 h 257442"/>
                <a:gd name="connsiteX3" fmla="*/ 0 w 3673149"/>
                <a:gd name="connsiteY3" fmla="*/ 0 h 257442"/>
                <a:gd name="connsiteX0" fmla="*/ 3673149 w 3673149"/>
                <a:gd name="connsiteY0" fmla="*/ 0 h 257442"/>
                <a:gd name="connsiteX1" fmla="*/ 3618428 w 3673149"/>
                <a:gd name="connsiteY1" fmla="*/ 257442 h 257442"/>
                <a:gd name="connsiteX2" fmla="*/ 1 w 3673149"/>
                <a:gd name="connsiteY2" fmla="*/ 257442 h 257442"/>
                <a:gd name="connsiteX3" fmla="*/ 0 w 3673149"/>
                <a:gd name="connsiteY3" fmla="*/ 0 h 257442"/>
                <a:gd name="connsiteX0" fmla="*/ 3673149 w 3673149"/>
                <a:gd name="connsiteY0" fmla="*/ 0 h 257442"/>
                <a:gd name="connsiteX1" fmla="*/ 3618428 w 3673149"/>
                <a:gd name="connsiteY1" fmla="*/ 257442 h 257442"/>
                <a:gd name="connsiteX2" fmla="*/ 1 w 3673149"/>
                <a:gd name="connsiteY2" fmla="*/ 257442 h 257442"/>
                <a:gd name="connsiteX3" fmla="*/ 0 w 3673149"/>
                <a:gd name="connsiteY3" fmla="*/ 0 h 257442"/>
                <a:gd name="connsiteX0" fmla="*/ 3673148 w 3673148"/>
                <a:gd name="connsiteY0" fmla="*/ 0 h 257442"/>
                <a:gd name="connsiteX1" fmla="*/ 3618427 w 3673148"/>
                <a:gd name="connsiteY1" fmla="*/ 257442 h 257442"/>
                <a:gd name="connsiteX2" fmla="*/ 0 w 3673148"/>
                <a:gd name="connsiteY2" fmla="*/ 257442 h 257442"/>
                <a:gd name="connsiteX3" fmla="*/ 0 w 3673148"/>
                <a:gd name="connsiteY3" fmla="*/ 0 h 257442"/>
                <a:gd name="connsiteX0" fmla="*/ 3833448 w 3833448"/>
                <a:gd name="connsiteY0" fmla="*/ 0 h 257442"/>
                <a:gd name="connsiteX1" fmla="*/ 3618427 w 3833448"/>
                <a:gd name="connsiteY1" fmla="*/ 257442 h 257442"/>
                <a:gd name="connsiteX2" fmla="*/ 0 w 3833448"/>
                <a:gd name="connsiteY2" fmla="*/ 257442 h 257442"/>
                <a:gd name="connsiteX3" fmla="*/ 0 w 3833448"/>
                <a:gd name="connsiteY3" fmla="*/ 0 h 257442"/>
                <a:gd name="connsiteX0" fmla="*/ 3833448 w 3833448"/>
                <a:gd name="connsiteY0" fmla="*/ 0 h 257442"/>
                <a:gd name="connsiteX1" fmla="*/ 3778727 w 3833448"/>
                <a:gd name="connsiteY1" fmla="*/ 257442 h 257442"/>
                <a:gd name="connsiteX2" fmla="*/ 0 w 3833448"/>
                <a:gd name="connsiteY2" fmla="*/ 257442 h 257442"/>
                <a:gd name="connsiteX3" fmla="*/ 0 w 3833448"/>
                <a:gd name="connsiteY3" fmla="*/ 0 h 257442"/>
                <a:gd name="connsiteX0" fmla="*/ 3833449 w 3833449"/>
                <a:gd name="connsiteY0" fmla="*/ 0 h 257442"/>
                <a:gd name="connsiteX1" fmla="*/ 3778728 w 3833449"/>
                <a:gd name="connsiteY1" fmla="*/ 257442 h 257442"/>
                <a:gd name="connsiteX2" fmla="*/ 0 w 3833449"/>
                <a:gd name="connsiteY2" fmla="*/ 257442 h 257442"/>
                <a:gd name="connsiteX3" fmla="*/ 1 w 3833449"/>
                <a:gd name="connsiteY3" fmla="*/ 0 h 257442"/>
                <a:gd name="connsiteX0" fmla="*/ 3833449 w 3833449"/>
                <a:gd name="connsiteY0" fmla="*/ 0 h 257442"/>
                <a:gd name="connsiteX1" fmla="*/ 3778728 w 3833449"/>
                <a:gd name="connsiteY1" fmla="*/ 257442 h 257442"/>
                <a:gd name="connsiteX2" fmla="*/ 0 w 3833449"/>
                <a:gd name="connsiteY2" fmla="*/ 257442 h 257442"/>
                <a:gd name="connsiteX3" fmla="*/ 1 w 3833449"/>
                <a:gd name="connsiteY3" fmla="*/ 0 h 257442"/>
                <a:gd name="connsiteX0" fmla="*/ 4019398 w 4019398"/>
                <a:gd name="connsiteY0" fmla="*/ 0 h 257442"/>
                <a:gd name="connsiteX1" fmla="*/ 3778728 w 4019398"/>
                <a:gd name="connsiteY1" fmla="*/ 257442 h 257442"/>
                <a:gd name="connsiteX2" fmla="*/ 0 w 4019398"/>
                <a:gd name="connsiteY2" fmla="*/ 257442 h 257442"/>
                <a:gd name="connsiteX3" fmla="*/ 1 w 4019398"/>
                <a:gd name="connsiteY3" fmla="*/ 0 h 257442"/>
                <a:gd name="connsiteX0" fmla="*/ 4019398 w 4019398"/>
                <a:gd name="connsiteY0" fmla="*/ 0 h 257442"/>
                <a:gd name="connsiteX1" fmla="*/ 3964676 w 4019398"/>
                <a:gd name="connsiteY1" fmla="*/ 257442 h 257442"/>
                <a:gd name="connsiteX2" fmla="*/ 0 w 4019398"/>
                <a:gd name="connsiteY2" fmla="*/ 257442 h 257442"/>
                <a:gd name="connsiteX3" fmla="*/ 1 w 4019398"/>
                <a:gd name="connsiteY3" fmla="*/ 0 h 257442"/>
                <a:gd name="connsiteX0" fmla="*/ 4019398 w 4019398"/>
                <a:gd name="connsiteY0" fmla="*/ 0 h 257442"/>
                <a:gd name="connsiteX1" fmla="*/ 3964676 w 4019398"/>
                <a:gd name="connsiteY1" fmla="*/ 257442 h 257442"/>
                <a:gd name="connsiteX2" fmla="*/ 0 w 4019398"/>
                <a:gd name="connsiteY2" fmla="*/ 257442 h 257442"/>
                <a:gd name="connsiteX3" fmla="*/ 1 w 4019398"/>
                <a:gd name="connsiteY3" fmla="*/ 0 h 257442"/>
                <a:gd name="connsiteX0" fmla="*/ 4019398 w 4019398"/>
                <a:gd name="connsiteY0" fmla="*/ 0 h 257442"/>
                <a:gd name="connsiteX1" fmla="*/ 3964676 w 4019398"/>
                <a:gd name="connsiteY1" fmla="*/ 257442 h 257442"/>
                <a:gd name="connsiteX2" fmla="*/ 0 w 4019398"/>
                <a:gd name="connsiteY2" fmla="*/ 257442 h 257442"/>
                <a:gd name="connsiteX3" fmla="*/ 0 w 4019398"/>
                <a:gd name="connsiteY3" fmla="*/ 0 h 257442"/>
                <a:gd name="connsiteX0" fmla="*/ 4179697 w 4179697"/>
                <a:gd name="connsiteY0" fmla="*/ 0 h 257442"/>
                <a:gd name="connsiteX1" fmla="*/ 3964676 w 4179697"/>
                <a:gd name="connsiteY1" fmla="*/ 257442 h 257442"/>
                <a:gd name="connsiteX2" fmla="*/ 0 w 4179697"/>
                <a:gd name="connsiteY2" fmla="*/ 257442 h 257442"/>
                <a:gd name="connsiteX3" fmla="*/ 0 w 4179697"/>
                <a:gd name="connsiteY3" fmla="*/ 0 h 257442"/>
                <a:gd name="connsiteX0" fmla="*/ 4179697 w 4179697"/>
                <a:gd name="connsiteY0" fmla="*/ 0 h 257442"/>
                <a:gd name="connsiteX1" fmla="*/ 4124976 w 4179697"/>
                <a:gd name="connsiteY1" fmla="*/ 257442 h 257442"/>
                <a:gd name="connsiteX2" fmla="*/ 0 w 4179697"/>
                <a:gd name="connsiteY2" fmla="*/ 257442 h 257442"/>
                <a:gd name="connsiteX3" fmla="*/ 0 w 4179697"/>
                <a:gd name="connsiteY3" fmla="*/ 0 h 257442"/>
                <a:gd name="connsiteX0" fmla="*/ 4179697 w 4179697"/>
                <a:gd name="connsiteY0" fmla="*/ 0 h 257442"/>
                <a:gd name="connsiteX1" fmla="*/ 4124976 w 4179697"/>
                <a:gd name="connsiteY1" fmla="*/ 257442 h 257442"/>
                <a:gd name="connsiteX2" fmla="*/ 0 w 4179697"/>
                <a:gd name="connsiteY2" fmla="*/ 257442 h 257442"/>
                <a:gd name="connsiteX3" fmla="*/ 0 w 4179697"/>
                <a:gd name="connsiteY3" fmla="*/ 0 h 257442"/>
                <a:gd name="connsiteX0" fmla="*/ 4179697 w 4179697"/>
                <a:gd name="connsiteY0" fmla="*/ 0 h 257442"/>
                <a:gd name="connsiteX1" fmla="*/ 4124976 w 4179697"/>
                <a:gd name="connsiteY1" fmla="*/ 257442 h 257442"/>
                <a:gd name="connsiteX2" fmla="*/ 0 w 4179697"/>
                <a:gd name="connsiteY2" fmla="*/ 257442 h 257442"/>
                <a:gd name="connsiteX3" fmla="*/ 0 w 4179697"/>
                <a:gd name="connsiteY3" fmla="*/ 0 h 257442"/>
                <a:gd name="connsiteX0" fmla="*/ 4348013 w 4348013"/>
                <a:gd name="connsiteY0" fmla="*/ 0 h 257442"/>
                <a:gd name="connsiteX1" fmla="*/ 4124976 w 4348013"/>
                <a:gd name="connsiteY1" fmla="*/ 257442 h 257442"/>
                <a:gd name="connsiteX2" fmla="*/ 0 w 4348013"/>
                <a:gd name="connsiteY2" fmla="*/ 257442 h 257442"/>
                <a:gd name="connsiteX3" fmla="*/ 0 w 4348013"/>
                <a:gd name="connsiteY3" fmla="*/ 0 h 257442"/>
                <a:gd name="connsiteX0" fmla="*/ 4348013 w 4348013"/>
                <a:gd name="connsiteY0" fmla="*/ 0 h 257442"/>
                <a:gd name="connsiteX1" fmla="*/ 4293292 w 4348013"/>
                <a:gd name="connsiteY1" fmla="*/ 257442 h 257442"/>
                <a:gd name="connsiteX2" fmla="*/ 0 w 4348013"/>
                <a:gd name="connsiteY2" fmla="*/ 257442 h 257442"/>
                <a:gd name="connsiteX3" fmla="*/ 0 w 4348013"/>
                <a:gd name="connsiteY3" fmla="*/ 0 h 257442"/>
                <a:gd name="connsiteX0" fmla="*/ 4348013 w 4348013"/>
                <a:gd name="connsiteY0" fmla="*/ 0 h 257442"/>
                <a:gd name="connsiteX1" fmla="*/ 4293292 w 4348013"/>
                <a:gd name="connsiteY1" fmla="*/ 257442 h 257442"/>
                <a:gd name="connsiteX2" fmla="*/ 0 w 4348013"/>
                <a:gd name="connsiteY2" fmla="*/ 257442 h 257442"/>
                <a:gd name="connsiteX3" fmla="*/ 0 w 4348013"/>
                <a:gd name="connsiteY3" fmla="*/ 0 h 257442"/>
                <a:gd name="connsiteX0" fmla="*/ 4348013 w 4348013"/>
                <a:gd name="connsiteY0" fmla="*/ 0 h 257442"/>
                <a:gd name="connsiteX1" fmla="*/ 4293292 w 4348013"/>
                <a:gd name="connsiteY1" fmla="*/ 257442 h 257442"/>
                <a:gd name="connsiteX2" fmla="*/ 0 w 4348013"/>
                <a:gd name="connsiteY2" fmla="*/ 257442 h 257442"/>
                <a:gd name="connsiteX3" fmla="*/ 0 w 4348013"/>
                <a:gd name="connsiteY3" fmla="*/ 0 h 257442"/>
                <a:gd name="connsiteX0" fmla="*/ 4598530 w 4598530"/>
                <a:gd name="connsiteY0" fmla="*/ 0 h 257442"/>
                <a:gd name="connsiteX1" fmla="*/ 4293292 w 4598530"/>
                <a:gd name="connsiteY1" fmla="*/ 257442 h 257442"/>
                <a:gd name="connsiteX2" fmla="*/ 0 w 4598530"/>
                <a:gd name="connsiteY2" fmla="*/ 257442 h 257442"/>
                <a:gd name="connsiteX3" fmla="*/ 0 w 4598530"/>
                <a:gd name="connsiteY3" fmla="*/ 0 h 257442"/>
                <a:gd name="connsiteX0" fmla="*/ 4598530 w 4598530"/>
                <a:gd name="connsiteY0" fmla="*/ 0 h 257442"/>
                <a:gd name="connsiteX1" fmla="*/ 4543808 w 4598530"/>
                <a:gd name="connsiteY1" fmla="*/ 257442 h 257442"/>
                <a:gd name="connsiteX2" fmla="*/ 0 w 4598530"/>
                <a:gd name="connsiteY2" fmla="*/ 257442 h 257442"/>
                <a:gd name="connsiteX3" fmla="*/ 0 w 4598530"/>
                <a:gd name="connsiteY3" fmla="*/ 0 h 257442"/>
                <a:gd name="connsiteX0" fmla="*/ 4598531 w 4598531"/>
                <a:gd name="connsiteY0" fmla="*/ 0 h 257442"/>
                <a:gd name="connsiteX1" fmla="*/ 4543809 w 4598531"/>
                <a:gd name="connsiteY1" fmla="*/ 257442 h 257442"/>
                <a:gd name="connsiteX2" fmla="*/ 0 w 4598531"/>
                <a:gd name="connsiteY2" fmla="*/ 257442 h 257442"/>
                <a:gd name="connsiteX3" fmla="*/ 1 w 4598531"/>
                <a:gd name="connsiteY3" fmla="*/ 0 h 257442"/>
                <a:gd name="connsiteX0" fmla="*/ 4598531 w 4598531"/>
                <a:gd name="connsiteY0" fmla="*/ 0 h 257442"/>
                <a:gd name="connsiteX1" fmla="*/ 4543809 w 4598531"/>
                <a:gd name="connsiteY1" fmla="*/ 257442 h 257442"/>
                <a:gd name="connsiteX2" fmla="*/ 0 w 4598531"/>
                <a:gd name="connsiteY2" fmla="*/ 257442 h 257442"/>
                <a:gd name="connsiteX3" fmla="*/ 1 w 4598531"/>
                <a:gd name="connsiteY3" fmla="*/ 0 h 257442"/>
                <a:gd name="connsiteX0" fmla="*/ 950802 w 4543809"/>
                <a:gd name="connsiteY0" fmla="*/ 0 h 257442"/>
                <a:gd name="connsiteX1" fmla="*/ 4543809 w 4543809"/>
                <a:gd name="connsiteY1" fmla="*/ 257442 h 257442"/>
                <a:gd name="connsiteX2" fmla="*/ 0 w 4543809"/>
                <a:gd name="connsiteY2" fmla="*/ 257442 h 257442"/>
                <a:gd name="connsiteX3" fmla="*/ 1 w 4543809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0 w 950802"/>
                <a:gd name="connsiteY2" fmla="*/ 257442 h 257442"/>
                <a:gd name="connsiteX3" fmla="*/ 1 w 95080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1128734 w 1128734"/>
                <a:gd name="connsiteY0" fmla="*/ 0 h 257442"/>
                <a:gd name="connsiteX1" fmla="*/ 896080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2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314683 w 1314683"/>
                <a:gd name="connsiteY0" fmla="*/ 0 h 257442"/>
                <a:gd name="connsiteX1" fmla="*/ 1074013 w 1314683"/>
                <a:gd name="connsiteY1" fmla="*/ 257442 h 257442"/>
                <a:gd name="connsiteX2" fmla="*/ 0 w 1314683"/>
                <a:gd name="connsiteY2" fmla="*/ 257442 h 257442"/>
                <a:gd name="connsiteX3" fmla="*/ 1 w 1314683"/>
                <a:gd name="connsiteY3" fmla="*/ 0 h 257442"/>
                <a:gd name="connsiteX0" fmla="*/ 1314683 w 1314683"/>
                <a:gd name="connsiteY0" fmla="*/ 0 h 257442"/>
                <a:gd name="connsiteX1" fmla="*/ 1259962 w 1314683"/>
                <a:gd name="connsiteY1" fmla="*/ 257442 h 257442"/>
                <a:gd name="connsiteX2" fmla="*/ 0 w 1314683"/>
                <a:gd name="connsiteY2" fmla="*/ 257442 h 257442"/>
                <a:gd name="connsiteX3" fmla="*/ 1 w 1314683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3 w 1314683"/>
                <a:gd name="connsiteY0" fmla="*/ 0 h 257442"/>
                <a:gd name="connsiteX1" fmla="*/ 1259962 w 1314683"/>
                <a:gd name="connsiteY1" fmla="*/ 257442 h 257442"/>
                <a:gd name="connsiteX2" fmla="*/ 1 w 1314683"/>
                <a:gd name="connsiteY2" fmla="*/ 257442 h 257442"/>
                <a:gd name="connsiteX3" fmla="*/ 0 w 1314683"/>
                <a:gd name="connsiteY3" fmla="*/ 0 h 257442"/>
                <a:gd name="connsiteX0" fmla="*/ 1474984 w 1474984"/>
                <a:gd name="connsiteY0" fmla="*/ 0 h 257442"/>
                <a:gd name="connsiteX1" fmla="*/ 1259962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635283 w 1635283"/>
                <a:gd name="connsiteY0" fmla="*/ 0 h 257442"/>
                <a:gd name="connsiteX1" fmla="*/ 14202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888557 w 1888557"/>
                <a:gd name="connsiteY0" fmla="*/ 0 h 257442"/>
                <a:gd name="connsiteX1" fmla="*/ 1580562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2141832 w 2141832"/>
                <a:gd name="connsiteY0" fmla="*/ 0 h 257442"/>
                <a:gd name="connsiteX1" fmla="*/ 1833836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2 w 2141832"/>
                <a:gd name="connsiteY0" fmla="*/ 0 h 257442"/>
                <a:gd name="connsiteX1" fmla="*/ 2087110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1 w 2141833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1 w 2141833"/>
                <a:gd name="connsiteY3" fmla="*/ 0 h 257442"/>
                <a:gd name="connsiteX0" fmla="*/ 2302133 w 2302133"/>
                <a:gd name="connsiteY0" fmla="*/ 0 h 257442"/>
                <a:gd name="connsiteX1" fmla="*/ 2087111 w 2302133"/>
                <a:gd name="connsiteY1" fmla="*/ 257442 h 257442"/>
                <a:gd name="connsiteX2" fmla="*/ 0 w 2302133"/>
                <a:gd name="connsiteY2" fmla="*/ 257442 h 257442"/>
                <a:gd name="connsiteX3" fmla="*/ 1 w 2302133"/>
                <a:gd name="connsiteY3" fmla="*/ 0 h 257442"/>
                <a:gd name="connsiteX0" fmla="*/ 2302133 w 2302133"/>
                <a:gd name="connsiteY0" fmla="*/ 0 h 257442"/>
                <a:gd name="connsiteX1" fmla="*/ 2247412 w 2302133"/>
                <a:gd name="connsiteY1" fmla="*/ 257442 h 257442"/>
                <a:gd name="connsiteX2" fmla="*/ 0 w 2302133"/>
                <a:gd name="connsiteY2" fmla="*/ 257442 h 257442"/>
                <a:gd name="connsiteX3" fmla="*/ 1 w 2302133"/>
                <a:gd name="connsiteY3" fmla="*/ 0 h 257442"/>
                <a:gd name="connsiteX0" fmla="*/ 2302132 w 2302132"/>
                <a:gd name="connsiteY0" fmla="*/ 0 h 257442"/>
                <a:gd name="connsiteX1" fmla="*/ 2247411 w 2302132"/>
                <a:gd name="connsiteY1" fmla="*/ 257442 h 257442"/>
                <a:gd name="connsiteX2" fmla="*/ 0 w 2302132"/>
                <a:gd name="connsiteY2" fmla="*/ 257442 h 257442"/>
                <a:gd name="connsiteX3" fmla="*/ 0 w 2302132"/>
                <a:gd name="connsiteY3" fmla="*/ 0 h 257442"/>
                <a:gd name="connsiteX0" fmla="*/ 2302133 w 2302133"/>
                <a:gd name="connsiteY0" fmla="*/ 0 h 257442"/>
                <a:gd name="connsiteX1" fmla="*/ 2247412 w 2302133"/>
                <a:gd name="connsiteY1" fmla="*/ 257442 h 257442"/>
                <a:gd name="connsiteX2" fmla="*/ 1 w 2302133"/>
                <a:gd name="connsiteY2" fmla="*/ 257442 h 257442"/>
                <a:gd name="connsiteX3" fmla="*/ 0 w 2302133"/>
                <a:gd name="connsiteY3" fmla="*/ 0 h 257442"/>
                <a:gd name="connsiteX0" fmla="*/ 2462433 w 2462433"/>
                <a:gd name="connsiteY0" fmla="*/ 0 h 257442"/>
                <a:gd name="connsiteX1" fmla="*/ 22474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3 w 2462433"/>
                <a:gd name="connsiteY0" fmla="*/ 0 h 257442"/>
                <a:gd name="connsiteX1" fmla="*/ 24077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3 w 2462433"/>
                <a:gd name="connsiteY0" fmla="*/ 0 h 257442"/>
                <a:gd name="connsiteX1" fmla="*/ 24077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2 w 2462432"/>
                <a:gd name="connsiteY0" fmla="*/ 0 h 257442"/>
                <a:gd name="connsiteX1" fmla="*/ 2407711 w 2462432"/>
                <a:gd name="connsiteY1" fmla="*/ 257442 h 257442"/>
                <a:gd name="connsiteX2" fmla="*/ 0 w 2462432"/>
                <a:gd name="connsiteY2" fmla="*/ 257442 h 257442"/>
                <a:gd name="connsiteX3" fmla="*/ 0 w 2462432"/>
                <a:gd name="connsiteY3" fmla="*/ 0 h 257442"/>
                <a:gd name="connsiteX0" fmla="*/ 2715706 w 2715706"/>
                <a:gd name="connsiteY0" fmla="*/ 0 h 257442"/>
                <a:gd name="connsiteX1" fmla="*/ 2407711 w 2715706"/>
                <a:gd name="connsiteY1" fmla="*/ 257442 h 257442"/>
                <a:gd name="connsiteX2" fmla="*/ 0 w 2715706"/>
                <a:gd name="connsiteY2" fmla="*/ 257442 h 257442"/>
                <a:gd name="connsiteX3" fmla="*/ 0 w 2715706"/>
                <a:gd name="connsiteY3" fmla="*/ 0 h 257442"/>
                <a:gd name="connsiteX0" fmla="*/ 2715706 w 2715706"/>
                <a:gd name="connsiteY0" fmla="*/ 0 h 257442"/>
                <a:gd name="connsiteX1" fmla="*/ 2660985 w 2715706"/>
                <a:gd name="connsiteY1" fmla="*/ 257442 h 257442"/>
                <a:gd name="connsiteX2" fmla="*/ 0 w 2715706"/>
                <a:gd name="connsiteY2" fmla="*/ 257442 h 257442"/>
                <a:gd name="connsiteX3" fmla="*/ 0 w 2715706"/>
                <a:gd name="connsiteY3" fmla="*/ 0 h 257442"/>
                <a:gd name="connsiteX0" fmla="*/ 2715707 w 2715707"/>
                <a:gd name="connsiteY0" fmla="*/ 0 h 257442"/>
                <a:gd name="connsiteX1" fmla="*/ 2660986 w 2715707"/>
                <a:gd name="connsiteY1" fmla="*/ 257442 h 257442"/>
                <a:gd name="connsiteX2" fmla="*/ 0 w 2715707"/>
                <a:gd name="connsiteY2" fmla="*/ 257442 h 257442"/>
                <a:gd name="connsiteX3" fmla="*/ 1 w 2715707"/>
                <a:gd name="connsiteY3" fmla="*/ 0 h 257442"/>
                <a:gd name="connsiteX0" fmla="*/ 2715707 w 2715707"/>
                <a:gd name="connsiteY0" fmla="*/ 0 h 257442"/>
                <a:gd name="connsiteX1" fmla="*/ 2660986 w 2715707"/>
                <a:gd name="connsiteY1" fmla="*/ 257442 h 257442"/>
                <a:gd name="connsiteX2" fmla="*/ 0 w 2715707"/>
                <a:gd name="connsiteY2" fmla="*/ 257442 h 257442"/>
                <a:gd name="connsiteX3" fmla="*/ 1 w 2715707"/>
                <a:gd name="connsiteY3" fmla="*/ 0 h 257442"/>
                <a:gd name="connsiteX0" fmla="*/ 2884024 w 2884024"/>
                <a:gd name="connsiteY0" fmla="*/ 0 h 257442"/>
                <a:gd name="connsiteX1" fmla="*/ 2660986 w 2884024"/>
                <a:gd name="connsiteY1" fmla="*/ 257442 h 257442"/>
                <a:gd name="connsiteX2" fmla="*/ 0 w 2884024"/>
                <a:gd name="connsiteY2" fmla="*/ 257442 h 257442"/>
                <a:gd name="connsiteX3" fmla="*/ 1 w 2884024"/>
                <a:gd name="connsiteY3" fmla="*/ 0 h 257442"/>
                <a:gd name="connsiteX0" fmla="*/ 2884024 w 2884024"/>
                <a:gd name="connsiteY0" fmla="*/ 0 h 257442"/>
                <a:gd name="connsiteX1" fmla="*/ 2829302 w 2884024"/>
                <a:gd name="connsiteY1" fmla="*/ 257442 h 257442"/>
                <a:gd name="connsiteX2" fmla="*/ 0 w 2884024"/>
                <a:gd name="connsiteY2" fmla="*/ 257442 h 257442"/>
                <a:gd name="connsiteX3" fmla="*/ 1 w 2884024"/>
                <a:gd name="connsiteY3" fmla="*/ 0 h 257442"/>
                <a:gd name="connsiteX0" fmla="*/ 2884024 w 2884024"/>
                <a:gd name="connsiteY0" fmla="*/ 0 h 257442"/>
                <a:gd name="connsiteX1" fmla="*/ 2829302 w 2884024"/>
                <a:gd name="connsiteY1" fmla="*/ 257442 h 257442"/>
                <a:gd name="connsiteX2" fmla="*/ 0 w 2884024"/>
                <a:gd name="connsiteY2" fmla="*/ 257442 h 257442"/>
                <a:gd name="connsiteX3" fmla="*/ 1 w 2884024"/>
                <a:gd name="connsiteY3" fmla="*/ 0 h 257442"/>
                <a:gd name="connsiteX0" fmla="*/ 2884024 w 2884024"/>
                <a:gd name="connsiteY0" fmla="*/ 0 h 257442"/>
                <a:gd name="connsiteX1" fmla="*/ 2829302 w 2884024"/>
                <a:gd name="connsiteY1" fmla="*/ 257442 h 257442"/>
                <a:gd name="connsiteX2" fmla="*/ 0 w 2884024"/>
                <a:gd name="connsiteY2" fmla="*/ 257442 h 257442"/>
                <a:gd name="connsiteX3" fmla="*/ 0 w 2884024"/>
                <a:gd name="connsiteY3" fmla="*/ 0 h 257442"/>
                <a:gd name="connsiteX0" fmla="*/ 3052337 w 3052337"/>
                <a:gd name="connsiteY0" fmla="*/ 0 h 257442"/>
                <a:gd name="connsiteX1" fmla="*/ 2829302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220653 w 3220653"/>
                <a:gd name="connsiteY0" fmla="*/ 0 h 257442"/>
                <a:gd name="connsiteX1" fmla="*/ 2997616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220653 w 3220653"/>
                <a:gd name="connsiteY0" fmla="*/ 0 h 257442"/>
                <a:gd name="connsiteX1" fmla="*/ 3165932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220653 w 3220653"/>
                <a:gd name="connsiteY0" fmla="*/ 0 h 257442"/>
                <a:gd name="connsiteX1" fmla="*/ 3165932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220653 w 3220653"/>
                <a:gd name="connsiteY0" fmla="*/ 0 h 257442"/>
                <a:gd name="connsiteX1" fmla="*/ 3165932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380954 w 3380954"/>
                <a:gd name="connsiteY0" fmla="*/ 0 h 257442"/>
                <a:gd name="connsiteX1" fmla="*/ 3165932 w 3380954"/>
                <a:gd name="connsiteY1" fmla="*/ 257442 h 257442"/>
                <a:gd name="connsiteX2" fmla="*/ 0 w 3380954"/>
                <a:gd name="connsiteY2" fmla="*/ 257442 h 257442"/>
                <a:gd name="connsiteX3" fmla="*/ 0 w 3380954"/>
                <a:gd name="connsiteY3" fmla="*/ 0 h 257442"/>
                <a:gd name="connsiteX0" fmla="*/ 3380954 w 3380954"/>
                <a:gd name="connsiteY0" fmla="*/ 0 h 257442"/>
                <a:gd name="connsiteX1" fmla="*/ 3326232 w 3380954"/>
                <a:gd name="connsiteY1" fmla="*/ 257442 h 257442"/>
                <a:gd name="connsiteX2" fmla="*/ 0 w 3380954"/>
                <a:gd name="connsiteY2" fmla="*/ 257442 h 257442"/>
                <a:gd name="connsiteX3" fmla="*/ 0 w 3380954"/>
                <a:gd name="connsiteY3" fmla="*/ 0 h 257442"/>
                <a:gd name="connsiteX0" fmla="*/ 3380955 w 3380955"/>
                <a:gd name="connsiteY0" fmla="*/ 0 h 257442"/>
                <a:gd name="connsiteX1" fmla="*/ 3326233 w 3380955"/>
                <a:gd name="connsiteY1" fmla="*/ 257442 h 257442"/>
                <a:gd name="connsiteX2" fmla="*/ 0 w 3380955"/>
                <a:gd name="connsiteY2" fmla="*/ 257442 h 257442"/>
                <a:gd name="connsiteX3" fmla="*/ 1 w 3380955"/>
                <a:gd name="connsiteY3" fmla="*/ 0 h 257442"/>
                <a:gd name="connsiteX0" fmla="*/ 3380955 w 3380955"/>
                <a:gd name="connsiteY0" fmla="*/ 0 h 257442"/>
                <a:gd name="connsiteX1" fmla="*/ 3326233 w 3380955"/>
                <a:gd name="connsiteY1" fmla="*/ 257442 h 257442"/>
                <a:gd name="connsiteX2" fmla="*/ 0 w 3380955"/>
                <a:gd name="connsiteY2" fmla="*/ 257442 h 257442"/>
                <a:gd name="connsiteX3" fmla="*/ 1 w 3380955"/>
                <a:gd name="connsiteY3" fmla="*/ 0 h 257442"/>
                <a:gd name="connsiteX0" fmla="*/ 3549269 w 3549269"/>
                <a:gd name="connsiteY0" fmla="*/ 0 h 257442"/>
                <a:gd name="connsiteX1" fmla="*/ 3326233 w 3549269"/>
                <a:gd name="connsiteY1" fmla="*/ 257442 h 257442"/>
                <a:gd name="connsiteX2" fmla="*/ 0 w 3549269"/>
                <a:gd name="connsiteY2" fmla="*/ 257442 h 257442"/>
                <a:gd name="connsiteX3" fmla="*/ 1 w 3549269"/>
                <a:gd name="connsiteY3" fmla="*/ 0 h 257442"/>
                <a:gd name="connsiteX0" fmla="*/ 3549269 w 3549269"/>
                <a:gd name="connsiteY0" fmla="*/ 0 h 257442"/>
                <a:gd name="connsiteX1" fmla="*/ 3494548 w 3549269"/>
                <a:gd name="connsiteY1" fmla="*/ 257442 h 257442"/>
                <a:gd name="connsiteX2" fmla="*/ 0 w 3549269"/>
                <a:gd name="connsiteY2" fmla="*/ 257442 h 257442"/>
                <a:gd name="connsiteX3" fmla="*/ 1 w 3549269"/>
                <a:gd name="connsiteY3" fmla="*/ 0 h 257442"/>
                <a:gd name="connsiteX0" fmla="*/ 3549268 w 3549268"/>
                <a:gd name="connsiteY0" fmla="*/ 0 h 257442"/>
                <a:gd name="connsiteX1" fmla="*/ 3494547 w 3549268"/>
                <a:gd name="connsiteY1" fmla="*/ 257442 h 257442"/>
                <a:gd name="connsiteX2" fmla="*/ 0 w 3549268"/>
                <a:gd name="connsiteY2" fmla="*/ 257442 h 257442"/>
                <a:gd name="connsiteX3" fmla="*/ 0 w 3549268"/>
                <a:gd name="connsiteY3" fmla="*/ 0 h 257442"/>
                <a:gd name="connsiteX0" fmla="*/ 3549269 w 3549269"/>
                <a:gd name="connsiteY0" fmla="*/ 0 h 257442"/>
                <a:gd name="connsiteX1" fmla="*/ 3494548 w 3549269"/>
                <a:gd name="connsiteY1" fmla="*/ 257442 h 257442"/>
                <a:gd name="connsiteX2" fmla="*/ 1 w 3549269"/>
                <a:gd name="connsiteY2" fmla="*/ 257442 h 257442"/>
                <a:gd name="connsiteX3" fmla="*/ 0 w 3549269"/>
                <a:gd name="connsiteY3" fmla="*/ 0 h 257442"/>
                <a:gd name="connsiteX0" fmla="*/ 3717585 w 3717585"/>
                <a:gd name="connsiteY0" fmla="*/ 0 h 257442"/>
                <a:gd name="connsiteX1" fmla="*/ 3494548 w 3717585"/>
                <a:gd name="connsiteY1" fmla="*/ 257442 h 257442"/>
                <a:gd name="connsiteX2" fmla="*/ 1 w 3717585"/>
                <a:gd name="connsiteY2" fmla="*/ 257442 h 257442"/>
                <a:gd name="connsiteX3" fmla="*/ 0 w 3717585"/>
                <a:gd name="connsiteY3" fmla="*/ 0 h 257442"/>
                <a:gd name="connsiteX0" fmla="*/ 3717585 w 3717585"/>
                <a:gd name="connsiteY0" fmla="*/ 0 h 257442"/>
                <a:gd name="connsiteX1" fmla="*/ 3662864 w 3717585"/>
                <a:gd name="connsiteY1" fmla="*/ 257442 h 257442"/>
                <a:gd name="connsiteX2" fmla="*/ 1 w 3717585"/>
                <a:gd name="connsiteY2" fmla="*/ 257442 h 257442"/>
                <a:gd name="connsiteX3" fmla="*/ 0 w 3717585"/>
                <a:gd name="connsiteY3" fmla="*/ 0 h 257442"/>
                <a:gd name="connsiteX0" fmla="*/ 3717585 w 3717585"/>
                <a:gd name="connsiteY0" fmla="*/ 0 h 257442"/>
                <a:gd name="connsiteX1" fmla="*/ 3662864 w 3717585"/>
                <a:gd name="connsiteY1" fmla="*/ 257442 h 257442"/>
                <a:gd name="connsiteX2" fmla="*/ 1 w 3717585"/>
                <a:gd name="connsiteY2" fmla="*/ 257442 h 257442"/>
                <a:gd name="connsiteX3" fmla="*/ 0 w 3717585"/>
                <a:gd name="connsiteY3" fmla="*/ 0 h 257442"/>
                <a:gd name="connsiteX0" fmla="*/ 3717584 w 3717584"/>
                <a:gd name="connsiteY0" fmla="*/ 0 h 257442"/>
                <a:gd name="connsiteX1" fmla="*/ 3662863 w 3717584"/>
                <a:gd name="connsiteY1" fmla="*/ 257442 h 257442"/>
                <a:gd name="connsiteX2" fmla="*/ 0 w 3717584"/>
                <a:gd name="connsiteY2" fmla="*/ 257442 h 257442"/>
                <a:gd name="connsiteX3" fmla="*/ 0 w 3717584"/>
                <a:gd name="connsiteY3" fmla="*/ 0 h 257442"/>
                <a:gd name="connsiteX0" fmla="*/ 3877884 w 3877884"/>
                <a:gd name="connsiteY0" fmla="*/ 0 h 257442"/>
                <a:gd name="connsiteX1" fmla="*/ 3662863 w 3877884"/>
                <a:gd name="connsiteY1" fmla="*/ 257442 h 257442"/>
                <a:gd name="connsiteX2" fmla="*/ 0 w 3877884"/>
                <a:gd name="connsiteY2" fmla="*/ 257442 h 257442"/>
                <a:gd name="connsiteX3" fmla="*/ 0 w 3877884"/>
                <a:gd name="connsiteY3" fmla="*/ 0 h 257442"/>
                <a:gd name="connsiteX0" fmla="*/ 3877884 w 3877884"/>
                <a:gd name="connsiteY0" fmla="*/ 0 h 257442"/>
                <a:gd name="connsiteX1" fmla="*/ 3823163 w 3877884"/>
                <a:gd name="connsiteY1" fmla="*/ 257442 h 257442"/>
                <a:gd name="connsiteX2" fmla="*/ 0 w 3877884"/>
                <a:gd name="connsiteY2" fmla="*/ 257442 h 257442"/>
                <a:gd name="connsiteX3" fmla="*/ 0 w 3877884"/>
                <a:gd name="connsiteY3" fmla="*/ 0 h 257442"/>
                <a:gd name="connsiteX0" fmla="*/ 3877885 w 3877885"/>
                <a:gd name="connsiteY0" fmla="*/ 0 h 257442"/>
                <a:gd name="connsiteX1" fmla="*/ 3823164 w 3877885"/>
                <a:gd name="connsiteY1" fmla="*/ 257442 h 257442"/>
                <a:gd name="connsiteX2" fmla="*/ 0 w 3877885"/>
                <a:gd name="connsiteY2" fmla="*/ 257442 h 257442"/>
                <a:gd name="connsiteX3" fmla="*/ 1 w 3877885"/>
                <a:gd name="connsiteY3" fmla="*/ 0 h 257442"/>
                <a:gd name="connsiteX0" fmla="*/ 3877885 w 3877885"/>
                <a:gd name="connsiteY0" fmla="*/ 0 h 257442"/>
                <a:gd name="connsiteX1" fmla="*/ 3823164 w 3877885"/>
                <a:gd name="connsiteY1" fmla="*/ 257442 h 257442"/>
                <a:gd name="connsiteX2" fmla="*/ 0 w 3877885"/>
                <a:gd name="connsiteY2" fmla="*/ 257442 h 257442"/>
                <a:gd name="connsiteX3" fmla="*/ 1 w 3877885"/>
                <a:gd name="connsiteY3" fmla="*/ 0 h 257442"/>
                <a:gd name="connsiteX0" fmla="*/ 4038186 w 4038186"/>
                <a:gd name="connsiteY0" fmla="*/ 0 h 257442"/>
                <a:gd name="connsiteX1" fmla="*/ 3823164 w 4038186"/>
                <a:gd name="connsiteY1" fmla="*/ 257442 h 257442"/>
                <a:gd name="connsiteX2" fmla="*/ 0 w 4038186"/>
                <a:gd name="connsiteY2" fmla="*/ 257442 h 257442"/>
                <a:gd name="connsiteX3" fmla="*/ 1 w 4038186"/>
                <a:gd name="connsiteY3" fmla="*/ 0 h 257442"/>
                <a:gd name="connsiteX0" fmla="*/ 4038186 w 4038186"/>
                <a:gd name="connsiteY0" fmla="*/ 0 h 257442"/>
                <a:gd name="connsiteX1" fmla="*/ 3983464 w 4038186"/>
                <a:gd name="connsiteY1" fmla="*/ 257442 h 257442"/>
                <a:gd name="connsiteX2" fmla="*/ 0 w 4038186"/>
                <a:gd name="connsiteY2" fmla="*/ 257442 h 257442"/>
                <a:gd name="connsiteX3" fmla="*/ 1 w 4038186"/>
                <a:gd name="connsiteY3" fmla="*/ 0 h 257442"/>
                <a:gd name="connsiteX0" fmla="*/ 4038186 w 4038186"/>
                <a:gd name="connsiteY0" fmla="*/ 0 h 257442"/>
                <a:gd name="connsiteX1" fmla="*/ 3983464 w 4038186"/>
                <a:gd name="connsiteY1" fmla="*/ 257442 h 257442"/>
                <a:gd name="connsiteX2" fmla="*/ 0 w 4038186"/>
                <a:gd name="connsiteY2" fmla="*/ 257442 h 257442"/>
                <a:gd name="connsiteX3" fmla="*/ 1 w 4038186"/>
                <a:gd name="connsiteY3" fmla="*/ 0 h 257442"/>
                <a:gd name="connsiteX0" fmla="*/ 4038186 w 4038186"/>
                <a:gd name="connsiteY0" fmla="*/ 0 h 257442"/>
                <a:gd name="connsiteX1" fmla="*/ 3983464 w 4038186"/>
                <a:gd name="connsiteY1" fmla="*/ 257442 h 257442"/>
                <a:gd name="connsiteX2" fmla="*/ 0 w 4038186"/>
                <a:gd name="connsiteY2" fmla="*/ 257442 h 257442"/>
                <a:gd name="connsiteX3" fmla="*/ 0 w 4038186"/>
                <a:gd name="connsiteY3" fmla="*/ 0 h 257442"/>
                <a:gd name="connsiteX0" fmla="*/ 950801 w 3983464"/>
                <a:gd name="connsiteY0" fmla="*/ 0 h 257442"/>
                <a:gd name="connsiteX1" fmla="*/ 3983464 w 3983464"/>
                <a:gd name="connsiteY1" fmla="*/ 257442 h 257442"/>
                <a:gd name="connsiteX2" fmla="*/ 0 w 3983464"/>
                <a:gd name="connsiteY2" fmla="*/ 257442 h 257442"/>
                <a:gd name="connsiteX3" fmla="*/ 0 w 3983464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229723 w 1229723"/>
                <a:gd name="connsiteY0" fmla="*/ 0 h 257442"/>
                <a:gd name="connsiteX1" fmla="*/ 896079 w 1229723"/>
                <a:gd name="connsiteY1" fmla="*/ 257442 h 257442"/>
                <a:gd name="connsiteX2" fmla="*/ 0 w 1229723"/>
                <a:gd name="connsiteY2" fmla="*/ 257442 h 257442"/>
                <a:gd name="connsiteX3" fmla="*/ 0 w 1229723"/>
                <a:gd name="connsiteY3" fmla="*/ 0 h 257442"/>
                <a:gd name="connsiteX0" fmla="*/ 1229723 w 1229723"/>
                <a:gd name="connsiteY0" fmla="*/ 0 h 257442"/>
                <a:gd name="connsiteX1" fmla="*/ 1175002 w 1229723"/>
                <a:gd name="connsiteY1" fmla="*/ 257442 h 257442"/>
                <a:gd name="connsiteX2" fmla="*/ 0 w 1229723"/>
                <a:gd name="connsiteY2" fmla="*/ 257442 h 257442"/>
                <a:gd name="connsiteX3" fmla="*/ 0 w 1229723"/>
                <a:gd name="connsiteY3" fmla="*/ 0 h 257442"/>
                <a:gd name="connsiteX0" fmla="*/ 1229724 w 1229724"/>
                <a:gd name="connsiteY0" fmla="*/ 0 h 257442"/>
                <a:gd name="connsiteX1" fmla="*/ 1175003 w 1229724"/>
                <a:gd name="connsiteY1" fmla="*/ 257442 h 257442"/>
                <a:gd name="connsiteX2" fmla="*/ 0 w 1229724"/>
                <a:gd name="connsiteY2" fmla="*/ 257442 h 257442"/>
                <a:gd name="connsiteX3" fmla="*/ 1 w 1229724"/>
                <a:gd name="connsiteY3" fmla="*/ 0 h 257442"/>
                <a:gd name="connsiteX0" fmla="*/ 1229724 w 1229724"/>
                <a:gd name="connsiteY0" fmla="*/ 0 h 257442"/>
                <a:gd name="connsiteX1" fmla="*/ 1175003 w 1229724"/>
                <a:gd name="connsiteY1" fmla="*/ 257442 h 257442"/>
                <a:gd name="connsiteX2" fmla="*/ 0 w 1229724"/>
                <a:gd name="connsiteY2" fmla="*/ 257442 h 257442"/>
                <a:gd name="connsiteX3" fmla="*/ 0 w 1229724"/>
                <a:gd name="connsiteY3" fmla="*/ 0 h 257442"/>
                <a:gd name="connsiteX0" fmla="*/ 1482998 w 1482998"/>
                <a:gd name="connsiteY0" fmla="*/ 0 h 257442"/>
                <a:gd name="connsiteX1" fmla="*/ 1175003 w 1482998"/>
                <a:gd name="connsiteY1" fmla="*/ 257442 h 257442"/>
                <a:gd name="connsiteX2" fmla="*/ 0 w 1482998"/>
                <a:gd name="connsiteY2" fmla="*/ 257442 h 257442"/>
                <a:gd name="connsiteX3" fmla="*/ 0 w 1482998"/>
                <a:gd name="connsiteY3" fmla="*/ 0 h 257442"/>
                <a:gd name="connsiteX0" fmla="*/ 1482998 w 1482998"/>
                <a:gd name="connsiteY0" fmla="*/ 0 h 257442"/>
                <a:gd name="connsiteX1" fmla="*/ 1428277 w 1482998"/>
                <a:gd name="connsiteY1" fmla="*/ 257442 h 257442"/>
                <a:gd name="connsiteX2" fmla="*/ 0 w 1482998"/>
                <a:gd name="connsiteY2" fmla="*/ 257442 h 257442"/>
                <a:gd name="connsiteX3" fmla="*/ 0 w 1482998"/>
                <a:gd name="connsiteY3" fmla="*/ 0 h 257442"/>
                <a:gd name="connsiteX0" fmla="*/ 1482998 w 1482998"/>
                <a:gd name="connsiteY0" fmla="*/ 0 h 257442"/>
                <a:gd name="connsiteX1" fmla="*/ 1428277 w 1482998"/>
                <a:gd name="connsiteY1" fmla="*/ 257442 h 257442"/>
                <a:gd name="connsiteX2" fmla="*/ 0 w 1482998"/>
                <a:gd name="connsiteY2" fmla="*/ 257442 h 257442"/>
                <a:gd name="connsiteX3" fmla="*/ 0 w 1482998"/>
                <a:gd name="connsiteY3" fmla="*/ 0 h 257442"/>
                <a:gd name="connsiteX0" fmla="*/ 1482998 w 1482998"/>
                <a:gd name="connsiteY0" fmla="*/ 0 h 257442"/>
                <a:gd name="connsiteX1" fmla="*/ 1428277 w 1482998"/>
                <a:gd name="connsiteY1" fmla="*/ 257442 h 257442"/>
                <a:gd name="connsiteX2" fmla="*/ 0 w 1482998"/>
                <a:gd name="connsiteY2" fmla="*/ 257442 h 257442"/>
                <a:gd name="connsiteX3" fmla="*/ 0 w 1482998"/>
                <a:gd name="connsiteY3" fmla="*/ 0 h 257442"/>
                <a:gd name="connsiteX0" fmla="*/ 1792185 w 1792185"/>
                <a:gd name="connsiteY0" fmla="*/ 0 h 257442"/>
                <a:gd name="connsiteX1" fmla="*/ 1428277 w 1792185"/>
                <a:gd name="connsiteY1" fmla="*/ 257442 h 257442"/>
                <a:gd name="connsiteX2" fmla="*/ 0 w 1792185"/>
                <a:gd name="connsiteY2" fmla="*/ 257442 h 257442"/>
                <a:gd name="connsiteX3" fmla="*/ 0 w 1792185"/>
                <a:gd name="connsiteY3" fmla="*/ 0 h 257442"/>
                <a:gd name="connsiteX0" fmla="*/ 1792185 w 1792185"/>
                <a:gd name="connsiteY0" fmla="*/ 0 h 257442"/>
                <a:gd name="connsiteX1" fmla="*/ 1737464 w 1792185"/>
                <a:gd name="connsiteY1" fmla="*/ 257442 h 257442"/>
                <a:gd name="connsiteX2" fmla="*/ 0 w 1792185"/>
                <a:gd name="connsiteY2" fmla="*/ 257442 h 257442"/>
                <a:gd name="connsiteX3" fmla="*/ 0 w 1792185"/>
                <a:gd name="connsiteY3" fmla="*/ 0 h 257442"/>
                <a:gd name="connsiteX0" fmla="*/ 1792185 w 1792185"/>
                <a:gd name="connsiteY0" fmla="*/ 0 h 257442"/>
                <a:gd name="connsiteX1" fmla="*/ 1737464 w 1792185"/>
                <a:gd name="connsiteY1" fmla="*/ 257442 h 257442"/>
                <a:gd name="connsiteX2" fmla="*/ 0 w 1792185"/>
                <a:gd name="connsiteY2" fmla="*/ 257442 h 257442"/>
                <a:gd name="connsiteX3" fmla="*/ 0 w 1792185"/>
                <a:gd name="connsiteY3" fmla="*/ 0 h 257442"/>
                <a:gd name="connsiteX0" fmla="*/ 1792185 w 1792185"/>
                <a:gd name="connsiteY0" fmla="*/ 0 h 257442"/>
                <a:gd name="connsiteX1" fmla="*/ 1737464 w 1792185"/>
                <a:gd name="connsiteY1" fmla="*/ 257442 h 257442"/>
                <a:gd name="connsiteX2" fmla="*/ 0 w 1792185"/>
                <a:gd name="connsiteY2" fmla="*/ 257442 h 257442"/>
                <a:gd name="connsiteX3" fmla="*/ 0 w 1792185"/>
                <a:gd name="connsiteY3" fmla="*/ 0 h 257442"/>
                <a:gd name="connsiteX0" fmla="*/ 2050718 w 2050718"/>
                <a:gd name="connsiteY0" fmla="*/ 0 h 257442"/>
                <a:gd name="connsiteX1" fmla="*/ 1737464 w 2050718"/>
                <a:gd name="connsiteY1" fmla="*/ 257442 h 257442"/>
                <a:gd name="connsiteX2" fmla="*/ 0 w 2050718"/>
                <a:gd name="connsiteY2" fmla="*/ 257442 h 257442"/>
                <a:gd name="connsiteX3" fmla="*/ 0 w 2050718"/>
                <a:gd name="connsiteY3" fmla="*/ 0 h 257442"/>
                <a:gd name="connsiteX0" fmla="*/ 2050718 w 2050718"/>
                <a:gd name="connsiteY0" fmla="*/ 0 h 257442"/>
                <a:gd name="connsiteX1" fmla="*/ 1995996 w 2050718"/>
                <a:gd name="connsiteY1" fmla="*/ 257442 h 257442"/>
                <a:gd name="connsiteX2" fmla="*/ 0 w 2050718"/>
                <a:gd name="connsiteY2" fmla="*/ 257442 h 257442"/>
                <a:gd name="connsiteX3" fmla="*/ 0 w 2050718"/>
                <a:gd name="connsiteY3" fmla="*/ 0 h 257442"/>
                <a:gd name="connsiteX0" fmla="*/ 2050719 w 2050719"/>
                <a:gd name="connsiteY0" fmla="*/ 0 h 257442"/>
                <a:gd name="connsiteX1" fmla="*/ 1995997 w 2050719"/>
                <a:gd name="connsiteY1" fmla="*/ 257442 h 257442"/>
                <a:gd name="connsiteX2" fmla="*/ 0 w 2050719"/>
                <a:gd name="connsiteY2" fmla="*/ 257442 h 257442"/>
                <a:gd name="connsiteX3" fmla="*/ 1 w 2050719"/>
                <a:gd name="connsiteY3" fmla="*/ 0 h 257442"/>
                <a:gd name="connsiteX0" fmla="*/ 2050719 w 2050719"/>
                <a:gd name="connsiteY0" fmla="*/ 0 h 257442"/>
                <a:gd name="connsiteX1" fmla="*/ 1995997 w 2050719"/>
                <a:gd name="connsiteY1" fmla="*/ 257442 h 257442"/>
                <a:gd name="connsiteX2" fmla="*/ 0 w 2050719"/>
                <a:gd name="connsiteY2" fmla="*/ 257442 h 257442"/>
                <a:gd name="connsiteX3" fmla="*/ 1 w 2050719"/>
                <a:gd name="connsiteY3" fmla="*/ 0 h 257442"/>
                <a:gd name="connsiteX0" fmla="*/ 2211019 w 2211019"/>
                <a:gd name="connsiteY0" fmla="*/ 0 h 257442"/>
                <a:gd name="connsiteX1" fmla="*/ 1995997 w 2211019"/>
                <a:gd name="connsiteY1" fmla="*/ 257442 h 257442"/>
                <a:gd name="connsiteX2" fmla="*/ 0 w 2211019"/>
                <a:gd name="connsiteY2" fmla="*/ 257442 h 257442"/>
                <a:gd name="connsiteX3" fmla="*/ 1 w 2211019"/>
                <a:gd name="connsiteY3" fmla="*/ 0 h 257442"/>
                <a:gd name="connsiteX0" fmla="*/ 2211019 w 2211019"/>
                <a:gd name="connsiteY0" fmla="*/ 0 h 257442"/>
                <a:gd name="connsiteX1" fmla="*/ 2156298 w 2211019"/>
                <a:gd name="connsiteY1" fmla="*/ 257442 h 257442"/>
                <a:gd name="connsiteX2" fmla="*/ 0 w 2211019"/>
                <a:gd name="connsiteY2" fmla="*/ 257442 h 257442"/>
                <a:gd name="connsiteX3" fmla="*/ 1 w 2211019"/>
                <a:gd name="connsiteY3" fmla="*/ 0 h 257442"/>
                <a:gd name="connsiteX0" fmla="*/ 2211018 w 2211018"/>
                <a:gd name="connsiteY0" fmla="*/ 0 h 257442"/>
                <a:gd name="connsiteX1" fmla="*/ 2156297 w 2211018"/>
                <a:gd name="connsiteY1" fmla="*/ 257442 h 257442"/>
                <a:gd name="connsiteX2" fmla="*/ 0 w 2211018"/>
                <a:gd name="connsiteY2" fmla="*/ 257442 h 257442"/>
                <a:gd name="connsiteX3" fmla="*/ 0 w 2211018"/>
                <a:gd name="connsiteY3" fmla="*/ 0 h 257442"/>
                <a:gd name="connsiteX0" fmla="*/ 2211019 w 2211019"/>
                <a:gd name="connsiteY0" fmla="*/ 0 h 257442"/>
                <a:gd name="connsiteX1" fmla="*/ 2156298 w 2211019"/>
                <a:gd name="connsiteY1" fmla="*/ 257442 h 257442"/>
                <a:gd name="connsiteX2" fmla="*/ 1 w 2211019"/>
                <a:gd name="connsiteY2" fmla="*/ 257442 h 257442"/>
                <a:gd name="connsiteX3" fmla="*/ 0 w 2211019"/>
                <a:gd name="connsiteY3" fmla="*/ 0 h 257442"/>
                <a:gd name="connsiteX0" fmla="*/ 2379334 w 2379334"/>
                <a:gd name="connsiteY0" fmla="*/ 0 h 257442"/>
                <a:gd name="connsiteX1" fmla="*/ 2156298 w 2379334"/>
                <a:gd name="connsiteY1" fmla="*/ 257442 h 257442"/>
                <a:gd name="connsiteX2" fmla="*/ 1 w 2379334"/>
                <a:gd name="connsiteY2" fmla="*/ 257442 h 257442"/>
                <a:gd name="connsiteX3" fmla="*/ 0 w 2379334"/>
                <a:gd name="connsiteY3" fmla="*/ 0 h 257442"/>
                <a:gd name="connsiteX0" fmla="*/ 2379334 w 2379334"/>
                <a:gd name="connsiteY0" fmla="*/ 0 h 257442"/>
                <a:gd name="connsiteX1" fmla="*/ 2324612 w 2379334"/>
                <a:gd name="connsiteY1" fmla="*/ 257442 h 257442"/>
                <a:gd name="connsiteX2" fmla="*/ 1 w 2379334"/>
                <a:gd name="connsiteY2" fmla="*/ 257442 h 257442"/>
                <a:gd name="connsiteX3" fmla="*/ 0 w 2379334"/>
                <a:gd name="connsiteY3" fmla="*/ 0 h 257442"/>
                <a:gd name="connsiteX0" fmla="*/ 2379334 w 2379334"/>
                <a:gd name="connsiteY0" fmla="*/ 0 h 257442"/>
                <a:gd name="connsiteX1" fmla="*/ 2324612 w 2379334"/>
                <a:gd name="connsiteY1" fmla="*/ 257442 h 257442"/>
                <a:gd name="connsiteX2" fmla="*/ 0 w 2379334"/>
                <a:gd name="connsiteY2" fmla="*/ 257442 h 257442"/>
                <a:gd name="connsiteX3" fmla="*/ 0 w 2379334"/>
                <a:gd name="connsiteY3" fmla="*/ 0 h 257442"/>
                <a:gd name="connsiteX0" fmla="*/ 2379334 w 2379334"/>
                <a:gd name="connsiteY0" fmla="*/ 0 h 257442"/>
                <a:gd name="connsiteX1" fmla="*/ 2324612 w 2379334"/>
                <a:gd name="connsiteY1" fmla="*/ 257442 h 257442"/>
                <a:gd name="connsiteX2" fmla="*/ 0 w 2379334"/>
                <a:gd name="connsiteY2" fmla="*/ 257442 h 257442"/>
                <a:gd name="connsiteX3" fmla="*/ 0 w 2379334"/>
                <a:gd name="connsiteY3" fmla="*/ 0 h 257442"/>
                <a:gd name="connsiteX0" fmla="*/ 2709551 w 2709551"/>
                <a:gd name="connsiteY0" fmla="*/ 0 h 257442"/>
                <a:gd name="connsiteX1" fmla="*/ 2324612 w 2709551"/>
                <a:gd name="connsiteY1" fmla="*/ 257442 h 257442"/>
                <a:gd name="connsiteX2" fmla="*/ 0 w 2709551"/>
                <a:gd name="connsiteY2" fmla="*/ 257442 h 257442"/>
                <a:gd name="connsiteX3" fmla="*/ 0 w 2709551"/>
                <a:gd name="connsiteY3" fmla="*/ 0 h 257442"/>
                <a:gd name="connsiteX0" fmla="*/ 2709551 w 2709551"/>
                <a:gd name="connsiteY0" fmla="*/ 0 h 257442"/>
                <a:gd name="connsiteX1" fmla="*/ 2654830 w 2709551"/>
                <a:gd name="connsiteY1" fmla="*/ 257442 h 257442"/>
                <a:gd name="connsiteX2" fmla="*/ 0 w 2709551"/>
                <a:gd name="connsiteY2" fmla="*/ 257442 h 257442"/>
                <a:gd name="connsiteX3" fmla="*/ 0 w 2709551"/>
                <a:gd name="connsiteY3" fmla="*/ 0 h 257442"/>
                <a:gd name="connsiteX0" fmla="*/ 2709551 w 2709551"/>
                <a:gd name="connsiteY0" fmla="*/ 0 h 257442"/>
                <a:gd name="connsiteX1" fmla="*/ 2654830 w 2709551"/>
                <a:gd name="connsiteY1" fmla="*/ 257442 h 257442"/>
                <a:gd name="connsiteX2" fmla="*/ 0 w 2709551"/>
                <a:gd name="connsiteY2" fmla="*/ 257442 h 257442"/>
                <a:gd name="connsiteX3" fmla="*/ 0 w 2709551"/>
                <a:gd name="connsiteY3" fmla="*/ 0 h 257442"/>
                <a:gd name="connsiteX0" fmla="*/ 2709551 w 2709551"/>
                <a:gd name="connsiteY0" fmla="*/ 0 h 257442"/>
                <a:gd name="connsiteX1" fmla="*/ 2654830 w 2709551"/>
                <a:gd name="connsiteY1" fmla="*/ 257442 h 257442"/>
                <a:gd name="connsiteX2" fmla="*/ 0 w 2709551"/>
                <a:gd name="connsiteY2" fmla="*/ 257442 h 257442"/>
                <a:gd name="connsiteX3" fmla="*/ 0 w 2709551"/>
                <a:gd name="connsiteY3" fmla="*/ 0 h 257442"/>
                <a:gd name="connsiteX0" fmla="*/ 2877867 w 2877867"/>
                <a:gd name="connsiteY0" fmla="*/ 0 h 257442"/>
                <a:gd name="connsiteX1" fmla="*/ 2654830 w 2877867"/>
                <a:gd name="connsiteY1" fmla="*/ 257442 h 257442"/>
                <a:gd name="connsiteX2" fmla="*/ 0 w 2877867"/>
                <a:gd name="connsiteY2" fmla="*/ 257442 h 257442"/>
                <a:gd name="connsiteX3" fmla="*/ 0 w 2877867"/>
                <a:gd name="connsiteY3" fmla="*/ 0 h 257442"/>
                <a:gd name="connsiteX0" fmla="*/ 2877867 w 2877867"/>
                <a:gd name="connsiteY0" fmla="*/ 0 h 257442"/>
                <a:gd name="connsiteX1" fmla="*/ 2823146 w 2877867"/>
                <a:gd name="connsiteY1" fmla="*/ 257442 h 257442"/>
                <a:gd name="connsiteX2" fmla="*/ 0 w 2877867"/>
                <a:gd name="connsiteY2" fmla="*/ 257442 h 257442"/>
                <a:gd name="connsiteX3" fmla="*/ 0 w 2877867"/>
                <a:gd name="connsiteY3" fmla="*/ 0 h 257442"/>
                <a:gd name="connsiteX0" fmla="*/ 2877867 w 2877867"/>
                <a:gd name="connsiteY0" fmla="*/ 0 h 257442"/>
                <a:gd name="connsiteX1" fmla="*/ 2823146 w 2877867"/>
                <a:gd name="connsiteY1" fmla="*/ 257442 h 257442"/>
                <a:gd name="connsiteX2" fmla="*/ 0 w 2877867"/>
                <a:gd name="connsiteY2" fmla="*/ 257442 h 257442"/>
                <a:gd name="connsiteX3" fmla="*/ 0 w 2877867"/>
                <a:gd name="connsiteY3" fmla="*/ 0 h 257442"/>
                <a:gd name="connsiteX0" fmla="*/ 2877867 w 2877867"/>
                <a:gd name="connsiteY0" fmla="*/ 0 h 257442"/>
                <a:gd name="connsiteX1" fmla="*/ 2823146 w 2877867"/>
                <a:gd name="connsiteY1" fmla="*/ 257442 h 257442"/>
                <a:gd name="connsiteX2" fmla="*/ 0 w 2877867"/>
                <a:gd name="connsiteY2" fmla="*/ 257442 h 257442"/>
                <a:gd name="connsiteX3" fmla="*/ 0 w 2877867"/>
                <a:gd name="connsiteY3" fmla="*/ 0 h 257442"/>
                <a:gd name="connsiteX0" fmla="*/ 3063815 w 3063815"/>
                <a:gd name="connsiteY0" fmla="*/ 0 h 257442"/>
                <a:gd name="connsiteX1" fmla="*/ 2823146 w 3063815"/>
                <a:gd name="connsiteY1" fmla="*/ 257442 h 257442"/>
                <a:gd name="connsiteX2" fmla="*/ 0 w 3063815"/>
                <a:gd name="connsiteY2" fmla="*/ 257442 h 257442"/>
                <a:gd name="connsiteX3" fmla="*/ 0 w 3063815"/>
                <a:gd name="connsiteY3" fmla="*/ 0 h 257442"/>
                <a:gd name="connsiteX0" fmla="*/ 3063815 w 3063815"/>
                <a:gd name="connsiteY0" fmla="*/ 0 h 257442"/>
                <a:gd name="connsiteX1" fmla="*/ 3009094 w 3063815"/>
                <a:gd name="connsiteY1" fmla="*/ 257442 h 257442"/>
                <a:gd name="connsiteX2" fmla="*/ 0 w 3063815"/>
                <a:gd name="connsiteY2" fmla="*/ 257442 h 257442"/>
                <a:gd name="connsiteX3" fmla="*/ 0 w 3063815"/>
                <a:gd name="connsiteY3" fmla="*/ 0 h 257442"/>
                <a:gd name="connsiteX0" fmla="*/ 3063815 w 3063815"/>
                <a:gd name="connsiteY0" fmla="*/ 0 h 257442"/>
                <a:gd name="connsiteX1" fmla="*/ 3009094 w 3063815"/>
                <a:gd name="connsiteY1" fmla="*/ 257442 h 257442"/>
                <a:gd name="connsiteX2" fmla="*/ 0 w 3063815"/>
                <a:gd name="connsiteY2" fmla="*/ 257442 h 257442"/>
                <a:gd name="connsiteX3" fmla="*/ 0 w 3063815"/>
                <a:gd name="connsiteY3" fmla="*/ 0 h 257442"/>
                <a:gd name="connsiteX0" fmla="*/ 3063815 w 3063815"/>
                <a:gd name="connsiteY0" fmla="*/ 0 h 257442"/>
                <a:gd name="connsiteX1" fmla="*/ 3009094 w 3063815"/>
                <a:gd name="connsiteY1" fmla="*/ 257442 h 257442"/>
                <a:gd name="connsiteX2" fmla="*/ 0 w 3063815"/>
                <a:gd name="connsiteY2" fmla="*/ 257442 h 257442"/>
                <a:gd name="connsiteX3" fmla="*/ 0 w 3063815"/>
                <a:gd name="connsiteY3" fmla="*/ 0 h 257442"/>
                <a:gd name="connsiteX0" fmla="*/ 3232130 w 3232130"/>
                <a:gd name="connsiteY0" fmla="*/ 0 h 257442"/>
                <a:gd name="connsiteX1" fmla="*/ 3009094 w 3232130"/>
                <a:gd name="connsiteY1" fmla="*/ 257442 h 257442"/>
                <a:gd name="connsiteX2" fmla="*/ 0 w 3232130"/>
                <a:gd name="connsiteY2" fmla="*/ 257442 h 257442"/>
                <a:gd name="connsiteX3" fmla="*/ 0 w 3232130"/>
                <a:gd name="connsiteY3" fmla="*/ 0 h 257442"/>
                <a:gd name="connsiteX0" fmla="*/ 3232130 w 3232130"/>
                <a:gd name="connsiteY0" fmla="*/ 0 h 257442"/>
                <a:gd name="connsiteX1" fmla="*/ 3177408 w 3232130"/>
                <a:gd name="connsiteY1" fmla="*/ 257442 h 257442"/>
                <a:gd name="connsiteX2" fmla="*/ 0 w 3232130"/>
                <a:gd name="connsiteY2" fmla="*/ 257442 h 257442"/>
                <a:gd name="connsiteX3" fmla="*/ 0 w 3232130"/>
                <a:gd name="connsiteY3" fmla="*/ 0 h 257442"/>
                <a:gd name="connsiteX0" fmla="*/ 3232131 w 3232131"/>
                <a:gd name="connsiteY0" fmla="*/ 0 h 257442"/>
                <a:gd name="connsiteX1" fmla="*/ 3177409 w 3232131"/>
                <a:gd name="connsiteY1" fmla="*/ 257442 h 257442"/>
                <a:gd name="connsiteX2" fmla="*/ 0 w 3232131"/>
                <a:gd name="connsiteY2" fmla="*/ 257442 h 257442"/>
                <a:gd name="connsiteX3" fmla="*/ 1 w 3232131"/>
                <a:gd name="connsiteY3" fmla="*/ 0 h 257442"/>
                <a:gd name="connsiteX0" fmla="*/ 3232131 w 3232131"/>
                <a:gd name="connsiteY0" fmla="*/ 0 h 257442"/>
                <a:gd name="connsiteX1" fmla="*/ 3177409 w 3232131"/>
                <a:gd name="connsiteY1" fmla="*/ 257442 h 257442"/>
                <a:gd name="connsiteX2" fmla="*/ 0 w 3232131"/>
                <a:gd name="connsiteY2" fmla="*/ 257442 h 257442"/>
                <a:gd name="connsiteX3" fmla="*/ 1 w 3232131"/>
                <a:gd name="connsiteY3" fmla="*/ 0 h 257442"/>
                <a:gd name="connsiteX0" fmla="*/ 3400447 w 3400447"/>
                <a:gd name="connsiteY0" fmla="*/ 0 h 257442"/>
                <a:gd name="connsiteX1" fmla="*/ 3177409 w 3400447"/>
                <a:gd name="connsiteY1" fmla="*/ 257442 h 257442"/>
                <a:gd name="connsiteX2" fmla="*/ 0 w 3400447"/>
                <a:gd name="connsiteY2" fmla="*/ 257442 h 257442"/>
                <a:gd name="connsiteX3" fmla="*/ 1 w 3400447"/>
                <a:gd name="connsiteY3" fmla="*/ 0 h 257442"/>
                <a:gd name="connsiteX0" fmla="*/ 3400447 w 3400447"/>
                <a:gd name="connsiteY0" fmla="*/ 0 h 257442"/>
                <a:gd name="connsiteX1" fmla="*/ 3345726 w 3400447"/>
                <a:gd name="connsiteY1" fmla="*/ 257442 h 257442"/>
                <a:gd name="connsiteX2" fmla="*/ 0 w 3400447"/>
                <a:gd name="connsiteY2" fmla="*/ 257442 h 257442"/>
                <a:gd name="connsiteX3" fmla="*/ 1 w 3400447"/>
                <a:gd name="connsiteY3" fmla="*/ 0 h 257442"/>
                <a:gd name="connsiteX0" fmla="*/ 3400446 w 3400446"/>
                <a:gd name="connsiteY0" fmla="*/ 0 h 257442"/>
                <a:gd name="connsiteX1" fmla="*/ 3345725 w 3400446"/>
                <a:gd name="connsiteY1" fmla="*/ 257442 h 257442"/>
                <a:gd name="connsiteX2" fmla="*/ 0 w 3400446"/>
                <a:gd name="connsiteY2" fmla="*/ 257442 h 257442"/>
                <a:gd name="connsiteX3" fmla="*/ 0 w 3400446"/>
                <a:gd name="connsiteY3" fmla="*/ 0 h 257442"/>
                <a:gd name="connsiteX0" fmla="*/ 3400447 w 3400447"/>
                <a:gd name="connsiteY0" fmla="*/ 0 h 257442"/>
                <a:gd name="connsiteX1" fmla="*/ 3345726 w 3400447"/>
                <a:gd name="connsiteY1" fmla="*/ 257442 h 257442"/>
                <a:gd name="connsiteX2" fmla="*/ 1 w 3400447"/>
                <a:gd name="connsiteY2" fmla="*/ 257442 h 257442"/>
                <a:gd name="connsiteX3" fmla="*/ 0 w 3400447"/>
                <a:gd name="connsiteY3" fmla="*/ 0 h 257442"/>
                <a:gd name="connsiteX0" fmla="*/ 3568762 w 3568762"/>
                <a:gd name="connsiteY0" fmla="*/ 0 h 257442"/>
                <a:gd name="connsiteX1" fmla="*/ 3345726 w 3568762"/>
                <a:gd name="connsiteY1" fmla="*/ 257442 h 257442"/>
                <a:gd name="connsiteX2" fmla="*/ 1 w 3568762"/>
                <a:gd name="connsiteY2" fmla="*/ 257442 h 257442"/>
                <a:gd name="connsiteX3" fmla="*/ 0 w 3568762"/>
                <a:gd name="connsiteY3" fmla="*/ 0 h 257442"/>
                <a:gd name="connsiteX0" fmla="*/ 3568762 w 3568762"/>
                <a:gd name="connsiteY0" fmla="*/ 0 h 257442"/>
                <a:gd name="connsiteX1" fmla="*/ 3514040 w 3568762"/>
                <a:gd name="connsiteY1" fmla="*/ 257442 h 257442"/>
                <a:gd name="connsiteX2" fmla="*/ 1 w 3568762"/>
                <a:gd name="connsiteY2" fmla="*/ 257442 h 257442"/>
                <a:gd name="connsiteX3" fmla="*/ 0 w 3568762"/>
                <a:gd name="connsiteY3" fmla="*/ 0 h 257442"/>
                <a:gd name="connsiteX0" fmla="*/ 3568762 w 3568762"/>
                <a:gd name="connsiteY0" fmla="*/ 0 h 257442"/>
                <a:gd name="connsiteX1" fmla="*/ 3514040 w 3568762"/>
                <a:gd name="connsiteY1" fmla="*/ 257442 h 257442"/>
                <a:gd name="connsiteX2" fmla="*/ 0 w 3568762"/>
                <a:gd name="connsiteY2" fmla="*/ 257442 h 257442"/>
                <a:gd name="connsiteX3" fmla="*/ 0 w 3568762"/>
                <a:gd name="connsiteY3" fmla="*/ 0 h 257442"/>
                <a:gd name="connsiteX0" fmla="*/ 3568762 w 3568762"/>
                <a:gd name="connsiteY0" fmla="*/ 0 h 257442"/>
                <a:gd name="connsiteX1" fmla="*/ 3514040 w 3568762"/>
                <a:gd name="connsiteY1" fmla="*/ 257442 h 257442"/>
                <a:gd name="connsiteX2" fmla="*/ 0 w 3568762"/>
                <a:gd name="connsiteY2" fmla="*/ 257442 h 257442"/>
                <a:gd name="connsiteX3" fmla="*/ 0 w 3568762"/>
                <a:gd name="connsiteY3" fmla="*/ 0 h 257442"/>
                <a:gd name="connsiteX0" fmla="*/ 3729061 w 3729061"/>
                <a:gd name="connsiteY0" fmla="*/ 0 h 257442"/>
                <a:gd name="connsiteX1" fmla="*/ 3514040 w 3729061"/>
                <a:gd name="connsiteY1" fmla="*/ 257442 h 257442"/>
                <a:gd name="connsiteX2" fmla="*/ 0 w 3729061"/>
                <a:gd name="connsiteY2" fmla="*/ 257442 h 257442"/>
                <a:gd name="connsiteX3" fmla="*/ 0 w 3729061"/>
                <a:gd name="connsiteY3" fmla="*/ 0 h 257442"/>
                <a:gd name="connsiteX0" fmla="*/ 3729061 w 3729061"/>
                <a:gd name="connsiteY0" fmla="*/ 0 h 257442"/>
                <a:gd name="connsiteX1" fmla="*/ 3674340 w 3729061"/>
                <a:gd name="connsiteY1" fmla="*/ 257442 h 257442"/>
                <a:gd name="connsiteX2" fmla="*/ 0 w 3729061"/>
                <a:gd name="connsiteY2" fmla="*/ 257442 h 257442"/>
                <a:gd name="connsiteX3" fmla="*/ 0 w 3729061"/>
                <a:gd name="connsiteY3" fmla="*/ 0 h 257442"/>
                <a:gd name="connsiteX0" fmla="*/ 3729061 w 3729061"/>
                <a:gd name="connsiteY0" fmla="*/ 0 h 257442"/>
                <a:gd name="connsiteX1" fmla="*/ 3674340 w 3729061"/>
                <a:gd name="connsiteY1" fmla="*/ 257442 h 257442"/>
                <a:gd name="connsiteX2" fmla="*/ 0 w 3729061"/>
                <a:gd name="connsiteY2" fmla="*/ 257442 h 257442"/>
                <a:gd name="connsiteX3" fmla="*/ 0 w 3729061"/>
                <a:gd name="connsiteY3" fmla="*/ 0 h 257442"/>
                <a:gd name="connsiteX0" fmla="*/ 3729061 w 3729061"/>
                <a:gd name="connsiteY0" fmla="*/ 0 h 257442"/>
                <a:gd name="connsiteX1" fmla="*/ 3674340 w 3729061"/>
                <a:gd name="connsiteY1" fmla="*/ 257442 h 257442"/>
                <a:gd name="connsiteX2" fmla="*/ 0 w 3729061"/>
                <a:gd name="connsiteY2" fmla="*/ 257442 h 257442"/>
                <a:gd name="connsiteX3" fmla="*/ 0 w 3729061"/>
                <a:gd name="connsiteY3" fmla="*/ 0 h 257442"/>
                <a:gd name="connsiteX0" fmla="*/ 986067 w 3674340"/>
                <a:gd name="connsiteY0" fmla="*/ 0 h 257442"/>
                <a:gd name="connsiteX1" fmla="*/ 3674340 w 3674340"/>
                <a:gd name="connsiteY1" fmla="*/ 257442 h 257442"/>
                <a:gd name="connsiteX2" fmla="*/ 0 w 3674340"/>
                <a:gd name="connsiteY2" fmla="*/ 257442 h 257442"/>
                <a:gd name="connsiteX3" fmla="*/ 0 w 3674340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1 w 986067"/>
                <a:gd name="connsiteY2" fmla="*/ 257442 h 257442"/>
                <a:gd name="connsiteX3" fmla="*/ 0 w 986067"/>
                <a:gd name="connsiteY3" fmla="*/ 0 h 257442"/>
                <a:gd name="connsiteX0" fmla="*/ 986066 w 986066"/>
                <a:gd name="connsiteY0" fmla="*/ 0 h 257442"/>
                <a:gd name="connsiteX1" fmla="*/ 931345 w 986066"/>
                <a:gd name="connsiteY1" fmla="*/ 257442 h 257442"/>
                <a:gd name="connsiteX2" fmla="*/ 0 w 986066"/>
                <a:gd name="connsiteY2" fmla="*/ 257442 h 257442"/>
                <a:gd name="connsiteX3" fmla="*/ 0 w 986066"/>
                <a:gd name="connsiteY3" fmla="*/ 0 h 257442"/>
                <a:gd name="connsiteX0" fmla="*/ 1146367 w 1146367"/>
                <a:gd name="connsiteY0" fmla="*/ 0 h 257442"/>
                <a:gd name="connsiteX1" fmla="*/ 931345 w 1146367"/>
                <a:gd name="connsiteY1" fmla="*/ 257442 h 257442"/>
                <a:gd name="connsiteX2" fmla="*/ 0 w 1146367"/>
                <a:gd name="connsiteY2" fmla="*/ 257442 h 257442"/>
                <a:gd name="connsiteX3" fmla="*/ 0 w 1146367"/>
                <a:gd name="connsiteY3" fmla="*/ 0 h 257442"/>
                <a:gd name="connsiteX0" fmla="*/ 1146367 w 1146367"/>
                <a:gd name="connsiteY0" fmla="*/ 0 h 257442"/>
                <a:gd name="connsiteX1" fmla="*/ 1091646 w 1146367"/>
                <a:gd name="connsiteY1" fmla="*/ 257442 h 257442"/>
                <a:gd name="connsiteX2" fmla="*/ 0 w 1146367"/>
                <a:gd name="connsiteY2" fmla="*/ 257442 h 257442"/>
                <a:gd name="connsiteX3" fmla="*/ 0 w 1146367"/>
                <a:gd name="connsiteY3" fmla="*/ 0 h 257442"/>
                <a:gd name="connsiteX0" fmla="*/ 1146368 w 1146368"/>
                <a:gd name="connsiteY0" fmla="*/ 0 h 257442"/>
                <a:gd name="connsiteX1" fmla="*/ 1091647 w 1146368"/>
                <a:gd name="connsiteY1" fmla="*/ 257442 h 257442"/>
                <a:gd name="connsiteX2" fmla="*/ 0 w 1146368"/>
                <a:gd name="connsiteY2" fmla="*/ 257442 h 257442"/>
                <a:gd name="connsiteX3" fmla="*/ 1 w 1146368"/>
                <a:gd name="connsiteY3" fmla="*/ 0 h 257442"/>
                <a:gd name="connsiteX0" fmla="*/ 1146368 w 1146368"/>
                <a:gd name="connsiteY0" fmla="*/ 0 h 257442"/>
                <a:gd name="connsiteX1" fmla="*/ 1091647 w 1146368"/>
                <a:gd name="connsiteY1" fmla="*/ 257442 h 257442"/>
                <a:gd name="connsiteX2" fmla="*/ 0 w 1146368"/>
                <a:gd name="connsiteY2" fmla="*/ 257442 h 257442"/>
                <a:gd name="connsiteX3" fmla="*/ 0 w 1146368"/>
                <a:gd name="connsiteY3" fmla="*/ 0 h 257442"/>
                <a:gd name="connsiteX0" fmla="*/ 1314682 w 1314682"/>
                <a:gd name="connsiteY0" fmla="*/ 0 h 257442"/>
                <a:gd name="connsiteX1" fmla="*/ 1091647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567957 w 1567957"/>
                <a:gd name="connsiteY0" fmla="*/ 0 h 257442"/>
                <a:gd name="connsiteX1" fmla="*/ 1259961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567957 w 1567957"/>
                <a:gd name="connsiteY0" fmla="*/ 0 h 257442"/>
                <a:gd name="connsiteX1" fmla="*/ 1513236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567957 w 1567957"/>
                <a:gd name="connsiteY0" fmla="*/ 0 h 257442"/>
                <a:gd name="connsiteX1" fmla="*/ 1513236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567957 w 1567957"/>
                <a:gd name="connsiteY0" fmla="*/ 0 h 257442"/>
                <a:gd name="connsiteX1" fmla="*/ 1513236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736273 w 1736273"/>
                <a:gd name="connsiteY0" fmla="*/ 0 h 257442"/>
                <a:gd name="connsiteX1" fmla="*/ 1513236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904587 w 1904587"/>
                <a:gd name="connsiteY0" fmla="*/ 0 h 257442"/>
                <a:gd name="connsiteX1" fmla="*/ 1681552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1904587 w 1904587"/>
                <a:gd name="connsiteY0" fmla="*/ 0 h 257442"/>
                <a:gd name="connsiteX1" fmla="*/ 1849866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1904587 w 1904587"/>
                <a:gd name="connsiteY0" fmla="*/ 0 h 257442"/>
                <a:gd name="connsiteX1" fmla="*/ 1849866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1904587 w 1904587"/>
                <a:gd name="connsiteY0" fmla="*/ 0 h 257442"/>
                <a:gd name="connsiteX1" fmla="*/ 1849866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2209158 w 2209158"/>
                <a:gd name="connsiteY0" fmla="*/ 0 h 257442"/>
                <a:gd name="connsiteX1" fmla="*/ 1849866 w 2209158"/>
                <a:gd name="connsiteY1" fmla="*/ 257442 h 257442"/>
                <a:gd name="connsiteX2" fmla="*/ 0 w 2209158"/>
                <a:gd name="connsiteY2" fmla="*/ 257442 h 257442"/>
                <a:gd name="connsiteX3" fmla="*/ 0 w 2209158"/>
                <a:gd name="connsiteY3" fmla="*/ 0 h 257442"/>
                <a:gd name="connsiteX0" fmla="*/ 2209158 w 2209158"/>
                <a:gd name="connsiteY0" fmla="*/ 0 h 257442"/>
                <a:gd name="connsiteX1" fmla="*/ 2154436 w 2209158"/>
                <a:gd name="connsiteY1" fmla="*/ 257442 h 257442"/>
                <a:gd name="connsiteX2" fmla="*/ 0 w 2209158"/>
                <a:gd name="connsiteY2" fmla="*/ 257442 h 257442"/>
                <a:gd name="connsiteX3" fmla="*/ 0 w 2209158"/>
                <a:gd name="connsiteY3" fmla="*/ 0 h 257442"/>
                <a:gd name="connsiteX0" fmla="*/ 2209159 w 2209159"/>
                <a:gd name="connsiteY0" fmla="*/ 0 h 257442"/>
                <a:gd name="connsiteX1" fmla="*/ 2154437 w 2209159"/>
                <a:gd name="connsiteY1" fmla="*/ 257442 h 257442"/>
                <a:gd name="connsiteX2" fmla="*/ 0 w 2209159"/>
                <a:gd name="connsiteY2" fmla="*/ 257442 h 257442"/>
                <a:gd name="connsiteX3" fmla="*/ 1 w 2209159"/>
                <a:gd name="connsiteY3" fmla="*/ 0 h 257442"/>
                <a:gd name="connsiteX0" fmla="*/ 2209159 w 2209159"/>
                <a:gd name="connsiteY0" fmla="*/ 0 h 257442"/>
                <a:gd name="connsiteX1" fmla="*/ 2154437 w 2209159"/>
                <a:gd name="connsiteY1" fmla="*/ 257442 h 257442"/>
                <a:gd name="connsiteX2" fmla="*/ 0 w 2209159"/>
                <a:gd name="connsiteY2" fmla="*/ 257442 h 257442"/>
                <a:gd name="connsiteX3" fmla="*/ 1 w 2209159"/>
                <a:gd name="connsiteY3" fmla="*/ 0 h 257442"/>
                <a:gd name="connsiteX0" fmla="*/ 2478463 w 2478463"/>
                <a:gd name="connsiteY0" fmla="*/ 0 h 257442"/>
                <a:gd name="connsiteX1" fmla="*/ 2154437 w 2478463"/>
                <a:gd name="connsiteY1" fmla="*/ 257442 h 257442"/>
                <a:gd name="connsiteX2" fmla="*/ 0 w 2478463"/>
                <a:gd name="connsiteY2" fmla="*/ 257442 h 257442"/>
                <a:gd name="connsiteX3" fmla="*/ 1 w 2478463"/>
                <a:gd name="connsiteY3" fmla="*/ 0 h 257442"/>
                <a:gd name="connsiteX0" fmla="*/ 2478463 w 2478463"/>
                <a:gd name="connsiteY0" fmla="*/ 0 h 257442"/>
                <a:gd name="connsiteX1" fmla="*/ 2423742 w 2478463"/>
                <a:gd name="connsiteY1" fmla="*/ 257442 h 257442"/>
                <a:gd name="connsiteX2" fmla="*/ 0 w 2478463"/>
                <a:gd name="connsiteY2" fmla="*/ 257442 h 257442"/>
                <a:gd name="connsiteX3" fmla="*/ 1 w 2478463"/>
                <a:gd name="connsiteY3" fmla="*/ 0 h 257442"/>
                <a:gd name="connsiteX0" fmla="*/ 2478462 w 2478462"/>
                <a:gd name="connsiteY0" fmla="*/ 0 h 257442"/>
                <a:gd name="connsiteX1" fmla="*/ 2423741 w 2478462"/>
                <a:gd name="connsiteY1" fmla="*/ 257442 h 257442"/>
                <a:gd name="connsiteX2" fmla="*/ 0 w 2478462"/>
                <a:gd name="connsiteY2" fmla="*/ 257442 h 257442"/>
                <a:gd name="connsiteX3" fmla="*/ 0 w 2478462"/>
                <a:gd name="connsiteY3" fmla="*/ 0 h 257442"/>
                <a:gd name="connsiteX0" fmla="*/ 2478463 w 2478463"/>
                <a:gd name="connsiteY0" fmla="*/ 0 h 257442"/>
                <a:gd name="connsiteX1" fmla="*/ 2423742 w 2478463"/>
                <a:gd name="connsiteY1" fmla="*/ 257442 h 257442"/>
                <a:gd name="connsiteX2" fmla="*/ 1 w 2478463"/>
                <a:gd name="connsiteY2" fmla="*/ 257442 h 257442"/>
                <a:gd name="connsiteX3" fmla="*/ 0 w 2478463"/>
                <a:gd name="connsiteY3" fmla="*/ 0 h 257442"/>
                <a:gd name="connsiteX0" fmla="*/ 960420 w 2423742"/>
                <a:gd name="connsiteY0" fmla="*/ 0 h 257442"/>
                <a:gd name="connsiteX1" fmla="*/ 2423742 w 2423742"/>
                <a:gd name="connsiteY1" fmla="*/ 257442 h 257442"/>
                <a:gd name="connsiteX2" fmla="*/ 1 w 2423742"/>
                <a:gd name="connsiteY2" fmla="*/ 257442 h 257442"/>
                <a:gd name="connsiteX3" fmla="*/ 0 w 2423742"/>
                <a:gd name="connsiteY3" fmla="*/ 0 h 257442"/>
                <a:gd name="connsiteX0" fmla="*/ 960420 w 960420"/>
                <a:gd name="connsiteY0" fmla="*/ 0 h 257442"/>
                <a:gd name="connsiteX1" fmla="*/ 905699 w 960420"/>
                <a:gd name="connsiteY1" fmla="*/ 257442 h 257442"/>
                <a:gd name="connsiteX2" fmla="*/ 1 w 960420"/>
                <a:gd name="connsiteY2" fmla="*/ 257442 h 257442"/>
                <a:gd name="connsiteX3" fmla="*/ 0 w 960420"/>
                <a:gd name="connsiteY3" fmla="*/ 0 h 257442"/>
                <a:gd name="connsiteX0" fmla="*/ 960420 w 960420"/>
                <a:gd name="connsiteY0" fmla="*/ 0 h 257442"/>
                <a:gd name="connsiteX1" fmla="*/ 905699 w 960420"/>
                <a:gd name="connsiteY1" fmla="*/ 257442 h 257442"/>
                <a:gd name="connsiteX2" fmla="*/ 1 w 960420"/>
                <a:gd name="connsiteY2" fmla="*/ 257442 h 257442"/>
                <a:gd name="connsiteX3" fmla="*/ 0 w 960420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0 w 960419"/>
                <a:gd name="connsiteY3" fmla="*/ 0 h 257442"/>
                <a:gd name="connsiteX0" fmla="*/ 782550 w 905698"/>
                <a:gd name="connsiteY0" fmla="*/ 0 h 257442"/>
                <a:gd name="connsiteX1" fmla="*/ 905698 w 905698"/>
                <a:gd name="connsiteY1" fmla="*/ 257442 h 257442"/>
                <a:gd name="connsiteX2" fmla="*/ 0 w 905698"/>
                <a:gd name="connsiteY2" fmla="*/ 257442 h 257442"/>
                <a:gd name="connsiteX3" fmla="*/ 0 w 905698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960419 w 960419"/>
                <a:gd name="connsiteY0" fmla="*/ 0 h 257442"/>
                <a:gd name="connsiteX1" fmla="*/ 727829 w 960419"/>
                <a:gd name="connsiteY1" fmla="*/ 257442 h 257442"/>
                <a:gd name="connsiteX2" fmla="*/ 0 w 960419"/>
                <a:gd name="connsiteY2" fmla="*/ 257442 h 257442"/>
                <a:gd name="connsiteX3" fmla="*/ 0 w 960419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0 w 960419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0 w 960419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0 w 960419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2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306669 w 1306669"/>
                <a:gd name="connsiteY0" fmla="*/ 0 h 257442"/>
                <a:gd name="connsiteX1" fmla="*/ 1074013 w 1306669"/>
                <a:gd name="connsiteY1" fmla="*/ 257442 h 257442"/>
                <a:gd name="connsiteX2" fmla="*/ 0 w 1306669"/>
                <a:gd name="connsiteY2" fmla="*/ 257442 h 257442"/>
                <a:gd name="connsiteX3" fmla="*/ 1 w 1306669"/>
                <a:gd name="connsiteY3" fmla="*/ 0 h 257442"/>
                <a:gd name="connsiteX0" fmla="*/ 1306669 w 1306669"/>
                <a:gd name="connsiteY0" fmla="*/ 0 h 257442"/>
                <a:gd name="connsiteX1" fmla="*/ 1251948 w 1306669"/>
                <a:gd name="connsiteY1" fmla="*/ 257442 h 257442"/>
                <a:gd name="connsiteX2" fmla="*/ 0 w 1306669"/>
                <a:gd name="connsiteY2" fmla="*/ 257442 h 257442"/>
                <a:gd name="connsiteX3" fmla="*/ 1 w 1306669"/>
                <a:gd name="connsiteY3" fmla="*/ 0 h 257442"/>
                <a:gd name="connsiteX0" fmla="*/ 1306668 w 1306668"/>
                <a:gd name="connsiteY0" fmla="*/ 0 h 257442"/>
                <a:gd name="connsiteX1" fmla="*/ 1251947 w 1306668"/>
                <a:gd name="connsiteY1" fmla="*/ 257442 h 257442"/>
                <a:gd name="connsiteX2" fmla="*/ 0 w 1306668"/>
                <a:gd name="connsiteY2" fmla="*/ 257442 h 257442"/>
                <a:gd name="connsiteX3" fmla="*/ 0 w 1306668"/>
                <a:gd name="connsiteY3" fmla="*/ 0 h 257442"/>
                <a:gd name="connsiteX0" fmla="*/ 1306669 w 1306669"/>
                <a:gd name="connsiteY0" fmla="*/ 0 h 257442"/>
                <a:gd name="connsiteX1" fmla="*/ 1251948 w 1306669"/>
                <a:gd name="connsiteY1" fmla="*/ 257442 h 257442"/>
                <a:gd name="connsiteX2" fmla="*/ 1 w 1306669"/>
                <a:gd name="connsiteY2" fmla="*/ 257442 h 257442"/>
                <a:gd name="connsiteX3" fmla="*/ 0 w 1306669"/>
                <a:gd name="connsiteY3" fmla="*/ 0 h 257442"/>
                <a:gd name="connsiteX0" fmla="*/ 1474984 w 1474984"/>
                <a:gd name="connsiteY0" fmla="*/ 0 h 257442"/>
                <a:gd name="connsiteX1" fmla="*/ 1251948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643298 w 1643298"/>
                <a:gd name="connsiteY0" fmla="*/ 0 h 257442"/>
                <a:gd name="connsiteX1" fmla="*/ 1420262 w 1643298"/>
                <a:gd name="connsiteY1" fmla="*/ 257442 h 257442"/>
                <a:gd name="connsiteX2" fmla="*/ 0 w 1643298"/>
                <a:gd name="connsiteY2" fmla="*/ 257442 h 257442"/>
                <a:gd name="connsiteX3" fmla="*/ 0 w 1643298"/>
                <a:gd name="connsiteY3" fmla="*/ 0 h 257442"/>
                <a:gd name="connsiteX0" fmla="*/ 1643298 w 1643298"/>
                <a:gd name="connsiteY0" fmla="*/ 0 h 257442"/>
                <a:gd name="connsiteX1" fmla="*/ 1588577 w 1643298"/>
                <a:gd name="connsiteY1" fmla="*/ 257442 h 257442"/>
                <a:gd name="connsiteX2" fmla="*/ 0 w 1643298"/>
                <a:gd name="connsiteY2" fmla="*/ 257442 h 257442"/>
                <a:gd name="connsiteX3" fmla="*/ 0 w 1643298"/>
                <a:gd name="connsiteY3" fmla="*/ 0 h 257442"/>
                <a:gd name="connsiteX0" fmla="*/ 1643298 w 1643298"/>
                <a:gd name="connsiteY0" fmla="*/ 0 h 257442"/>
                <a:gd name="connsiteX1" fmla="*/ 1588577 w 1643298"/>
                <a:gd name="connsiteY1" fmla="*/ 257442 h 257442"/>
                <a:gd name="connsiteX2" fmla="*/ 0 w 1643298"/>
                <a:gd name="connsiteY2" fmla="*/ 257442 h 257442"/>
                <a:gd name="connsiteX3" fmla="*/ 0 w 1643298"/>
                <a:gd name="connsiteY3" fmla="*/ 0 h 257442"/>
                <a:gd name="connsiteX0" fmla="*/ 1643298 w 1643298"/>
                <a:gd name="connsiteY0" fmla="*/ 0 h 257442"/>
                <a:gd name="connsiteX1" fmla="*/ 1588577 w 1643298"/>
                <a:gd name="connsiteY1" fmla="*/ 257442 h 257442"/>
                <a:gd name="connsiteX2" fmla="*/ 0 w 1643298"/>
                <a:gd name="connsiteY2" fmla="*/ 257442 h 257442"/>
                <a:gd name="connsiteX3" fmla="*/ 0 w 1643298"/>
                <a:gd name="connsiteY3" fmla="*/ 0 h 257442"/>
                <a:gd name="connsiteX0" fmla="*/ 1912603 w 1912603"/>
                <a:gd name="connsiteY0" fmla="*/ 0 h 257442"/>
                <a:gd name="connsiteX1" fmla="*/ 1588577 w 1912603"/>
                <a:gd name="connsiteY1" fmla="*/ 257442 h 257442"/>
                <a:gd name="connsiteX2" fmla="*/ 0 w 1912603"/>
                <a:gd name="connsiteY2" fmla="*/ 257442 h 257442"/>
                <a:gd name="connsiteX3" fmla="*/ 0 w 1912603"/>
                <a:gd name="connsiteY3" fmla="*/ 0 h 257442"/>
                <a:gd name="connsiteX0" fmla="*/ 1912603 w 1912603"/>
                <a:gd name="connsiteY0" fmla="*/ 0 h 257442"/>
                <a:gd name="connsiteX1" fmla="*/ 1857882 w 1912603"/>
                <a:gd name="connsiteY1" fmla="*/ 257442 h 257442"/>
                <a:gd name="connsiteX2" fmla="*/ 0 w 1912603"/>
                <a:gd name="connsiteY2" fmla="*/ 257442 h 257442"/>
                <a:gd name="connsiteX3" fmla="*/ 0 w 1912603"/>
                <a:gd name="connsiteY3" fmla="*/ 0 h 257442"/>
                <a:gd name="connsiteX0" fmla="*/ 1912603 w 1912603"/>
                <a:gd name="connsiteY0" fmla="*/ 0 h 257442"/>
                <a:gd name="connsiteX1" fmla="*/ 1857882 w 1912603"/>
                <a:gd name="connsiteY1" fmla="*/ 257442 h 257442"/>
                <a:gd name="connsiteX2" fmla="*/ 0 w 1912603"/>
                <a:gd name="connsiteY2" fmla="*/ 257442 h 257442"/>
                <a:gd name="connsiteX3" fmla="*/ 0 w 1912603"/>
                <a:gd name="connsiteY3" fmla="*/ 0 h 257442"/>
                <a:gd name="connsiteX0" fmla="*/ 1912603 w 1912603"/>
                <a:gd name="connsiteY0" fmla="*/ 0 h 257442"/>
                <a:gd name="connsiteX1" fmla="*/ 1857882 w 1912603"/>
                <a:gd name="connsiteY1" fmla="*/ 257442 h 257442"/>
                <a:gd name="connsiteX2" fmla="*/ 0 w 1912603"/>
                <a:gd name="connsiteY2" fmla="*/ 257442 h 257442"/>
                <a:gd name="connsiteX3" fmla="*/ 0 w 1912603"/>
                <a:gd name="connsiteY3" fmla="*/ 0 h 257442"/>
                <a:gd name="connsiteX0" fmla="*/ 2173892 w 2173892"/>
                <a:gd name="connsiteY0" fmla="*/ 0 h 257442"/>
                <a:gd name="connsiteX1" fmla="*/ 1857882 w 2173892"/>
                <a:gd name="connsiteY1" fmla="*/ 257442 h 257442"/>
                <a:gd name="connsiteX2" fmla="*/ 0 w 2173892"/>
                <a:gd name="connsiteY2" fmla="*/ 257442 h 257442"/>
                <a:gd name="connsiteX3" fmla="*/ 0 w 2173892"/>
                <a:gd name="connsiteY3" fmla="*/ 0 h 257442"/>
                <a:gd name="connsiteX0" fmla="*/ 2173892 w 2173892"/>
                <a:gd name="connsiteY0" fmla="*/ 0 h 257442"/>
                <a:gd name="connsiteX1" fmla="*/ 2119170 w 2173892"/>
                <a:gd name="connsiteY1" fmla="*/ 257442 h 257442"/>
                <a:gd name="connsiteX2" fmla="*/ 0 w 2173892"/>
                <a:gd name="connsiteY2" fmla="*/ 257442 h 257442"/>
                <a:gd name="connsiteX3" fmla="*/ 0 w 2173892"/>
                <a:gd name="connsiteY3" fmla="*/ 0 h 257442"/>
                <a:gd name="connsiteX0" fmla="*/ 2173893 w 2173893"/>
                <a:gd name="connsiteY0" fmla="*/ 0 h 257442"/>
                <a:gd name="connsiteX1" fmla="*/ 2119171 w 2173893"/>
                <a:gd name="connsiteY1" fmla="*/ 257442 h 257442"/>
                <a:gd name="connsiteX2" fmla="*/ 0 w 2173893"/>
                <a:gd name="connsiteY2" fmla="*/ 257442 h 257442"/>
                <a:gd name="connsiteX3" fmla="*/ 1 w 2173893"/>
                <a:gd name="connsiteY3" fmla="*/ 0 h 257442"/>
                <a:gd name="connsiteX0" fmla="*/ 2173893 w 2173893"/>
                <a:gd name="connsiteY0" fmla="*/ 0 h 257442"/>
                <a:gd name="connsiteX1" fmla="*/ 2119171 w 2173893"/>
                <a:gd name="connsiteY1" fmla="*/ 257442 h 257442"/>
                <a:gd name="connsiteX2" fmla="*/ 0 w 2173893"/>
                <a:gd name="connsiteY2" fmla="*/ 257442 h 257442"/>
                <a:gd name="connsiteX3" fmla="*/ 1 w 2173893"/>
                <a:gd name="connsiteY3" fmla="*/ 0 h 257442"/>
                <a:gd name="connsiteX0" fmla="*/ 2334193 w 2334193"/>
                <a:gd name="connsiteY0" fmla="*/ 0 h 257442"/>
                <a:gd name="connsiteX1" fmla="*/ 2119171 w 2334193"/>
                <a:gd name="connsiteY1" fmla="*/ 257442 h 257442"/>
                <a:gd name="connsiteX2" fmla="*/ 0 w 2334193"/>
                <a:gd name="connsiteY2" fmla="*/ 257442 h 257442"/>
                <a:gd name="connsiteX3" fmla="*/ 1 w 2334193"/>
                <a:gd name="connsiteY3" fmla="*/ 0 h 257442"/>
                <a:gd name="connsiteX0" fmla="*/ 2334193 w 2334193"/>
                <a:gd name="connsiteY0" fmla="*/ 0 h 257442"/>
                <a:gd name="connsiteX1" fmla="*/ 2279472 w 2334193"/>
                <a:gd name="connsiteY1" fmla="*/ 257442 h 257442"/>
                <a:gd name="connsiteX2" fmla="*/ 0 w 2334193"/>
                <a:gd name="connsiteY2" fmla="*/ 257442 h 257442"/>
                <a:gd name="connsiteX3" fmla="*/ 1 w 2334193"/>
                <a:gd name="connsiteY3" fmla="*/ 0 h 257442"/>
                <a:gd name="connsiteX0" fmla="*/ 2334192 w 2334192"/>
                <a:gd name="connsiteY0" fmla="*/ 0 h 257442"/>
                <a:gd name="connsiteX1" fmla="*/ 2279471 w 2334192"/>
                <a:gd name="connsiteY1" fmla="*/ 257442 h 257442"/>
                <a:gd name="connsiteX2" fmla="*/ 0 w 2334192"/>
                <a:gd name="connsiteY2" fmla="*/ 257442 h 257442"/>
                <a:gd name="connsiteX3" fmla="*/ 0 w 2334192"/>
                <a:gd name="connsiteY3" fmla="*/ 0 h 257442"/>
                <a:gd name="connsiteX0" fmla="*/ 2334193 w 2334193"/>
                <a:gd name="connsiteY0" fmla="*/ 0 h 257442"/>
                <a:gd name="connsiteX1" fmla="*/ 2279472 w 2334193"/>
                <a:gd name="connsiteY1" fmla="*/ 257442 h 257442"/>
                <a:gd name="connsiteX2" fmla="*/ 1 w 2334193"/>
                <a:gd name="connsiteY2" fmla="*/ 257442 h 257442"/>
                <a:gd name="connsiteX3" fmla="*/ 0 w 2334193"/>
                <a:gd name="connsiteY3" fmla="*/ 0 h 257442"/>
                <a:gd name="connsiteX0" fmla="*/ 2502509 w 2502509"/>
                <a:gd name="connsiteY0" fmla="*/ 0 h 257442"/>
                <a:gd name="connsiteX1" fmla="*/ 2279472 w 2502509"/>
                <a:gd name="connsiteY1" fmla="*/ 257442 h 257442"/>
                <a:gd name="connsiteX2" fmla="*/ 1 w 2502509"/>
                <a:gd name="connsiteY2" fmla="*/ 257442 h 257442"/>
                <a:gd name="connsiteX3" fmla="*/ 0 w 2502509"/>
                <a:gd name="connsiteY3" fmla="*/ 0 h 257442"/>
                <a:gd name="connsiteX0" fmla="*/ 2502509 w 2502509"/>
                <a:gd name="connsiteY0" fmla="*/ 0 h 257442"/>
                <a:gd name="connsiteX1" fmla="*/ 2447788 w 2502509"/>
                <a:gd name="connsiteY1" fmla="*/ 257442 h 257442"/>
                <a:gd name="connsiteX2" fmla="*/ 1 w 2502509"/>
                <a:gd name="connsiteY2" fmla="*/ 257442 h 257442"/>
                <a:gd name="connsiteX3" fmla="*/ 0 w 2502509"/>
                <a:gd name="connsiteY3" fmla="*/ 0 h 257442"/>
                <a:gd name="connsiteX0" fmla="*/ 2502509 w 2502509"/>
                <a:gd name="connsiteY0" fmla="*/ 0 h 257442"/>
                <a:gd name="connsiteX1" fmla="*/ 2447788 w 2502509"/>
                <a:gd name="connsiteY1" fmla="*/ 257442 h 257442"/>
                <a:gd name="connsiteX2" fmla="*/ 1 w 2502509"/>
                <a:gd name="connsiteY2" fmla="*/ 257442 h 257442"/>
                <a:gd name="connsiteX3" fmla="*/ 0 w 2502509"/>
                <a:gd name="connsiteY3" fmla="*/ 0 h 257442"/>
                <a:gd name="connsiteX0" fmla="*/ 2502508 w 2502508"/>
                <a:gd name="connsiteY0" fmla="*/ 0 h 257442"/>
                <a:gd name="connsiteX1" fmla="*/ 2447787 w 2502508"/>
                <a:gd name="connsiteY1" fmla="*/ 257442 h 257442"/>
                <a:gd name="connsiteX2" fmla="*/ 0 w 2502508"/>
                <a:gd name="connsiteY2" fmla="*/ 257442 h 257442"/>
                <a:gd name="connsiteX3" fmla="*/ 0 w 2502508"/>
                <a:gd name="connsiteY3" fmla="*/ 0 h 257442"/>
                <a:gd name="connsiteX0" fmla="*/ 2670822 w 2670822"/>
                <a:gd name="connsiteY0" fmla="*/ 0 h 257442"/>
                <a:gd name="connsiteX1" fmla="*/ 2447787 w 2670822"/>
                <a:gd name="connsiteY1" fmla="*/ 257442 h 257442"/>
                <a:gd name="connsiteX2" fmla="*/ 0 w 2670822"/>
                <a:gd name="connsiteY2" fmla="*/ 257442 h 257442"/>
                <a:gd name="connsiteX3" fmla="*/ 0 w 2670822"/>
                <a:gd name="connsiteY3" fmla="*/ 0 h 257442"/>
                <a:gd name="connsiteX0" fmla="*/ 2670822 w 2670822"/>
                <a:gd name="connsiteY0" fmla="*/ 0 h 257442"/>
                <a:gd name="connsiteX1" fmla="*/ 2616101 w 2670822"/>
                <a:gd name="connsiteY1" fmla="*/ 257442 h 257442"/>
                <a:gd name="connsiteX2" fmla="*/ 0 w 2670822"/>
                <a:gd name="connsiteY2" fmla="*/ 257442 h 257442"/>
                <a:gd name="connsiteX3" fmla="*/ 0 w 2670822"/>
                <a:gd name="connsiteY3" fmla="*/ 0 h 257442"/>
                <a:gd name="connsiteX0" fmla="*/ 2670823 w 2670823"/>
                <a:gd name="connsiteY0" fmla="*/ 0 h 257442"/>
                <a:gd name="connsiteX1" fmla="*/ 2616102 w 2670823"/>
                <a:gd name="connsiteY1" fmla="*/ 257442 h 257442"/>
                <a:gd name="connsiteX2" fmla="*/ 0 w 2670823"/>
                <a:gd name="connsiteY2" fmla="*/ 257442 h 257442"/>
                <a:gd name="connsiteX3" fmla="*/ 1 w 2670823"/>
                <a:gd name="connsiteY3" fmla="*/ 0 h 257442"/>
                <a:gd name="connsiteX0" fmla="*/ 2670823 w 2670823"/>
                <a:gd name="connsiteY0" fmla="*/ 0 h 257442"/>
                <a:gd name="connsiteX1" fmla="*/ 2616102 w 2670823"/>
                <a:gd name="connsiteY1" fmla="*/ 257442 h 257442"/>
                <a:gd name="connsiteX2" fmla="*/ 0 w 2670823"/>
                <a:gd name="connsiteY2" fmla="*/ 257442 h 257442"/>
                <a:gd name="connsiteX3" fmla="*/ 1 w 2670823"/>
                <a:gd name="connsiteY3" fmla="*/ 0 h 257442"/>
                <a:gd name="connsiteX0" fmla="*/ 2839140 w 2839140"/>
                <a:gd name="connsiteY0" fmla="*/ 0 h 257442"/>
                <a:gd name="connsiteX1" fmla="*/ 2616102 w 2839140"/>
                <a:gd name="connsiteY1" fmla="*/ 257442 h 257442"/>
                <a:gd name="connsiteX2" fmla="*/ 0 w 2839140"/>
                <a:gd name="connsiteY2" fmla="*/ 257442 h 257442"/>
                <a:gd name="connsiteX3" fmla="*/ 1 w 2839140"/>
                <a:gd name="connsiteY3" fmla="*/ 0 h 257442"/>
                <a:gd name="connsiteX0" fmla="*/ 2839140 w 2839140"/>
                <a:gd name="connsiteY0" fmla="*/ 0 h 257442"/>
                <a:gd name="connsiteX1" fmla="*/ 2784418 w 2839140"/>
                <a:gd name="connsiteY1" fmla="*/ 257442 h 257442"/>
                <a:gd name="connsiteX2" fmla="*/ 0 w 2839140"/>
                <a:gd name="connsiteY2" fmla="*/ 257442 h 257442"/>
                <a:gd name="connsiteX3" fmla="*/ 1 w 2839140"/>
                <a:gd name="connsiteY3" fmla="*/ 0 h 257442"/>
                <a:gd name="connsiteX0" fmla="*/ 2839140 w 2839140"/>
                <a:gd name="connsiteY0" fmla="*/ 0 h 257442"/>
                <a:gd name="connsiteX1" fmla="*/ 2784418 w 2839140"/>
                <a:gd name="connsiteY1" fmla="*/ 257442 h 257442"/>
                <a:gd name="connsiteX2" fmla="*/ 0 w 2839140"/>
                <a:gd name="connsiteY2" fmla="*/ 257442 h 257442"/>
                <a:gd name="connsiteX3" fmla="*/ 1 w 2839140"/>
                <a:gd name="connsiteY3" fmla="*/ 0 h 257442"/>
                <a:gd name="connsiteX0" fmla="*/ 2839140 w 2839140"/>
                <a:gd name="connsiteY0" fmla="*/ 0 h 257442"/>
                <a:gd name="connsiteX1" fmla="*/ 2784418 w 2839140"/>
                <a:gd name="connsiteY1" fmla="*/ 257442 h 257442"/>
                <a:gd name="connsiteX2" fmla="*/ 0 w 2839140"/>
                <a:gd name="connsiteY2" fmla="*/ 257442 h 257442"/>
                <a:gd name="connsiteX3" fmla="*/ 0 w 2839140"/>
                <a:gd name="connsiteY3" fmla="*/ 0 h 257442"/>
                <a:gd name="connsiteX0" fmla="*/ 3017071 w 3017071"/>
                <a:gd name="connsiteY0" fmla="*/ 0 h 257442"/>
                <a:gd name="connsiteX1" fmla="*/ 2784418 w 3017071"/>
                <a:gd name="connsiteY1" fmla="*/ 257442 h 257442"/>
                <a:gd name="connsiteX2" fmla="*/ 0 w 3017071"/>
                <a:gd name="connsiteY2" fmla="*/ 257442 h 257442"/>
                <a:gd name="connsiteX3" fmla="*/ 0 w 3017071"/>
                <a:gd name="connsiteY3" fmla="*/ 0 h 257442"/>
                <a:gd name="connsiteX0" fmla="*/ 3017071 w 3017071"/>
                <a:gd name="connsiteY0" fmla="*/ 0 h 257442"/>
                <a:gd name="connsiteX1" fmla="*/ 2962350 w 3017071"/>
                <a:gd name="connsiteY1" fmla="*/ 257442 h 257442"/>
                <a:gd name="connsiteX2" fmla="*/ 0 w 3017071"/>
                <a:gd name="connsiteY2" fmla="*/ 257442 h 257442"/>
                <a:gd name="connsiteX3" fmla="*/ 0 w 3017071"/>
                <a:gd name="connsiteY3" fmla="*/ 0 h 257442"/>
                <a:gd name="connsiteX0" fmla="*/ 3017071 w 3017071"/>
                <a:gd name="connsiteY0" fmla="*/ 0 h 257442"/>
                <a:gd name="connsiteX1" fmla="*/ 2962350 w 3017071"/>
                <a:gd name="connsiteY1" fmla="*/ 257442 h 257442"/>
                <a:gd name="connsiteX2" fmla="*/ 0 w 3017071"/>
                <a:gd name="connsiteY2" fmla="*/ 257442 h 257442"/>
                <a:gd name="connsiteX3" fmla="*/ 0 w 3017071"/>
                <a:gd name="connsiteY3" fmla="*/ 0 h 257442"/>
                <a:gd name="connsiteX0" fmla="*/ 3017071 w 3017071"/>
                <a:gd name="connsiteY0" fmla="*/ 0 h 257442"/>
                <a:gd name="connsiteX1" fmla="*/ 2962350 w 3017071"/>
                <a:gd name="connsiteY1" fmla="*/ 257442 h 257442"/>
                <a:gd name="connsiteX2" fmla="*/ 0 w 3017071"/>
                <a:gd name="connsiteY2" fmla="*/ 257442 h 257442"/>
                <a:gd name="connsiteX3" fmla="*/ 0 w 3017071"/>
                <a:gd name="connsiteY3" fmla="*/ 0 h 257442"/>
                <a:gd name="connsiteX0" fmla="*/ 2839139 w 2962350"/>
                <a:gd name="connsiteY0" fmla="*/ 0 h 257442"/>
                <a:gd name="connsiteX1" fmla="*/ 2962350 w 2962350"/>
                <a:gd name="connsiteY1" fmla="*/ 257442 h 257442"/>
                <a:gd name="connsiteX2" fmla="*/ 0 w 2962350"/>
                <a:gd name="connsiteY2" fmla="*/ 257442 h 257442"/>
                <a:gd name="connsiteX3" fmla="*/ 0 w 2962350"/>
                <a:gd name="connsiteY3" fmla="*/ 0 h 257442"/>
                <a:gd name="connsiteX0" fmla="*/ 2839139 w 2839139"/>
                <a:gd name="connsiteY0" fmla="*/ 0 h 257442"/>
                <a:gd name="connsiteX1" fmla="*/ 2784418 w 2839139"/>
                <a:gd name="connsiteY1" fmla="*/ 257442 h 257442"/>
                <a:gd name="connsiteX2" fmla="*/ 0 w 2839139"/>
                <a:gd name="connsiteY2" fmla="*/ 257442 h 257442"/>
                <a:gd name="connsiteX3" fmla="*/ 0 w 2839139"/>
                <a:gd name="connsiteY3" fmla="*/ 0 h 257442"/>
                <a:gd name="connsiteX0" fmla="*/ 2839139 w 2839139"/>
                <a:gd name="connsiteY0" fmla="*/ 0 h 257442"/>
                <a:gd name="connsiteX1" fmla="*/ 2784418 w 2839139"/>
                <a:gd name="connsiteY1" fmla="*/ 257442 h 257442"/>
                <a:gd name="connsiteX2" fmla="*/ 1 w 2839139"/>
                <a:gd name="connsiteY2" fmla="*/ 257442 h 257442"/>
                <a:gd name="connsiteX3" fmla="*/ 0 w 2839139"/>
                <a:gd name="connsiteY3" fmla="*/ 0 h 257442"/>
                <a:gd name="connsiteX0" fmla="*/ 2839138 w 2839138"/>
                <a:gd name="connsiteY0" fmla="*/ 0 h 257442"/>
                <a:gd name="connsiteX1" fmla="*/ 2784417 w 2839138"/>
                <a:gd name="connsiteY1" fmla="*/ 257442 h 257442"/>
                <a:gd name="connsiteX2" fmla="*/ 0 w 2839138"/>
                <a:gd name="connsiteY2" fmla="*/ 257442 h 257442"/>
                <a:gd name="connsiteX3" fmla="*/ 0 w 2839138"/>
                <a:gd name="connsiteY3" fmla="*/ 0 h 257442"/>
                <a:gd name="connsiteX0" fmla="*/ 3007452 w 3007452"/>
                <a:gd name="connsiteY0" fmla="*/ 0 h 257442"/>
                <a:gd name="connsiteX1" fmla="*/ 2784417 w 3007452"/>
                <a:gd name="connsiteY1" fmla="*/ 257442 h 257442"/>
                <a:gd name="connsiteX2" fmla="*/ 0 w 3007452"/>
                <a:gd name="connsiteY2" fmla="*/ 257442 h 257442"/>
                <a:gd name="connsiteX3" fmla="*/ 0 w 3007452"/>
                <a:gd name="connsiteY3" fmla="*/ 0 h 257442"/>
                <a:gd name="connsiteX0" fmla="*/ 3007452 w 3007452"/>
                <a:gd name="connsiteY0" fmla="*/ 0 h 257442"/>
                <a:gd name="connsiteX1" fmla="*/ 2952731 w 3007452"/>
                <a:gd name="connsiteY1" fmla="*/ 257442 h 257442"/>
                <a:gd name="connsiteX2" fmla="*/ 0 w 3007452"/>
                <a:gd name="connsiteY2" fmla="*/ 257442 h 257442"/>
                <a:gd name="connsiteX3" fmla="*/ 0 w 3007452"/>
                <a:gd name="connsiteY3" fmla="*/ 0 h 257442"/>
                <a:gd name="connsiteX0" fmla="*/ 3007453 w 3007453"/>
                <a:gd name="connsiteY0" fmla="*/ 0 h 257442"/>
                <a:gd name="connsiteX1" fmla="*/ 2952732 w 3007453"/>
                <a:gd name="connsiteY1" fmla="*/ 257442 h 257442"/>
                <a:gd name="connsiteX2" fmla="*/ 0 w 3007453"/>
                <a:gd name="connsiteY2" fmla="*/ 257442 h 257442"/>
                <a:gd name="connsiteX3" fmla="*/ 1 w 3007453"/>
                <a:gd name="connsiteY3" fmla="*/ 0 h 257442"/>
                <a:gd name="connsiteX0" fmla="*/ 3007453 w 3007453"/>
                <a:gd name="connsiteY0" fmla="*/ 0 h 257442"/>
                <a:gd name="connsiteX1" fmla="*/ 2952732 w 3007453"/>
                <a:gd name="connsiteY1" fmla="*/ 257442 h 257442"/>
                <a:gd name="connsiteX2" fmla="*/ 0 w 3007453"/>
                <a:gd name="connsiteY2" fmla="*/ 257442 h 257442"/>
                <a:gd name="connsiteX3" fmla="*/ 1 w 3007453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07453" h="257442">
                  <a:moveTo>
                    <a:pt x="3007453" y="0"/>
                  </a:moveTo>
                  <a:lnTo>
                    <a:pt x="2952732" y="257442"/>
                  </a:lnTo>
                  <a:lnTo>
                    <a:pt x="0" y="25744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27" name="btfpRunningAgenda1LevelTextLeft385877">
              <a:extLst>
                <a:ext uri="{FF2B5EF4-FFF2-40B4-BE49-F238E27FC236}">
                  <a16:creationId xmlns:a16="http://schemas.microsoft.com/office/drawing/2014/main" id="{F5796DB9-C451-0EE5-9A60-D17BE989B902}"/>
                </a:ext>
              </a:extLst>
            </p:cNvPr>
            <p:cNvSpPr txBox="1"/>
            <p:nvPr/>
          </p:nvSpPr>
          <p:spPr bwMode="gray">
            <a:xfrm>
              <a:off x="0" y="876300"/>
              <a:ext cx="2952732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>
                  <a:solidFill>
                    <a:srgbClr val="FFFFFF"/>
                  </a:solidFill>
                </a:rPr>
                <a:t>ORGANIC SEARCH</a:t>
              </a:r>
            </a:p>
          </p:txBody>
        </p:sp>
      </p:grpSp>
      <p:sp>
        <p:nvSpPr>
          <p:cNvPr id="28" name="btfpNotesBox735198">
            <a:extLst>
              <a:ext uri="{FF2B5EF4-FFF2-40B4-BE49-F238E27FC236}">
                <a16:creationId xmlns:a16="http://schemas.microsoft.com/office/drawing/2014/main" id="{F2BCC3E2-6FBB-E0B9-554D-951F21D0F7EF}"/>
              </a:ext>
            </a:extLst>
          </p:cNvPr>
          <p:cNvSpPr txBox="1"/>
          <p:nvPr>
            <p:custDataLst>
              <p:tags r:id="rId12"/>
            </p:custDataLst>
          </p:nvPr>
        </p:nvSpPr>
        <p:spPr bwMode="gray">
          <a:xfrm>
            <a:off x="330200" y="6341860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CA" sz="800"/>
              <a:t>Note: National Pavement Partners attracts traffic only through Branded keywords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CA" sz="800"/>
              <a:t>Source: SEMrush, data for the last 30 days ending 17th April, 2025</a:t>
            </a:r>
          </a:p>
        </p:txBody>
      </p:sp>
      <p:sp>
        <p:nvSpPr>
          <p:cNvPr id="29" name="btfpBulletedList259408">
            <a:extLst>
              <a:ext uri="{FF2B5EF4-FFF2-40B4-BE49-F238E27FC236}">
                <a16:creationId xmlns:a16="http://schemas.microsoft.com/office/drawing/2014/main" id="{43AD2E13-916B-B27F-4489-F71F28AFB7B4}"/>
              </a:ext>
            </a:extLst>
          </p:cNvPr>
          <p:cNvSpPr txBox="1"/>
          <p:nvPr>
            <p:custDataLst>
              <p:tags r:id="rId13"/>
            </p:custDataLst>
          </p:nvPr>
        </p:nvSpPr>
        <p:spPr bwMode="gray">
          <a:xfrm>
            <a:off x="9384307" y="1977143"/>
            <a:ext cx="2477492" cy="3373607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spcBef>
                <a:spcPts val="900"/>
              </a:spcBef>
            </a:pPr>
            <a:r>
              <a:rPr lang="en-US" sz="1100"/>
              <a:t>Pave America brands </a:t>
            </a:r>
            <a:r>
              <a:rPr lang="en-US" sz="1100" b="1"/>
              <a:t>mostly capture</a:t>
            </a:r>
            <a:r>
              <a:rPr lang="en-US" sz="1100"/>
              <a:t> traffic through </a:t>
            </a:r>
            <a:r>
              <a:rPr lang="en-US" sz="1100" b="1"/>
              <a:t>branded keywords</a:t>
            </a:r>
            <a:r>
              <a:rPr lang="en-US" sz="1100"/>
              <a:t>, limiting its reach</a:t>
            </a:r>
          </a:p>
          <a:p>
            <a:pPr>
              <a:spcBef>
                <a:spcPts val="900"/>
              </a:spcBef>
            </a:pPr>
            <a:r>
              <a:rPr lang="en-US" sz="1100">
                <a:solidFill>
                  <a:srgbClr val="000000"/>
                </a:solidFill>
                <a:latin typeface="+mj-lt"/>
              </a:rPr>
              <a:t>Opportunity for brands like National Pavement Partners, US Pavement, and Turner to focus </a:t>
            </a:r>
            <a:r>
              <a:rPr lang="en-US" sz="1100" b="1">
                <a:solidFill>
                  <a:srgbClr val="000000"/>
                </a:solidFill>
                <a:latin typeface="+mj-lt"/>
              </a:rPr>
              <a:t>on unbranded search visibility</a:t>
            </a:r>
            <a:r>
              <a:rPr lang="en-US" sz="1100">
                <a:solidFill>
                  <a:srgbClr val="000000"/>
                </a:solidFill>
                <a:latin typeface="+mj-lt"/>
              </a:rPr>
              <a:t>, to </a:t>
            </a:r>
            <a:r>
              <a:rPr lang="en-US" sz="1100" b="1">
                <a:solidFill>
                  <a:srgbClr val="000000"/>
                </a:solidFill>
                <a:latin typeface="+mj-lt"/>
              </a:rPr>
              <a:t>boost</a:t>
            </a:r>
            <a:r>
              <a:rPr lang="en-US" sz="1100">
                <a:solidFill>
                  <a:srgbClr val="000000"/>
                </a:solidFill>
                <a:latin typeface="+mj-lt"/>
              </a:rPr>
              <a:t> their respective </a:t>
            </a:r>
            <a:r>
              <a:rPr lang="en-US" sz="1100" b="1">
                <a:solidFill>
                  <a:srgbClr val="000000"/>
                </a:solidFill>
                <a:latin typeface="+mj-lt"/>
              </a:rPr>
              <a:t>brand visibility</a:t>
            </a:r>
            <a:r>
              <a:rPr lang="en-US" sz="1100">
                <a:solidFill>
                  <a:srgbClr val="000000"/>
                </a:solidFill>
                <a:latin typeface="+mj-lt"/>
              </a:rPr>
              <a:t> resulting in better reach</a:t>
            </a:r>
          </a:p>
          <a:p>
            <a:pPr>
              <a:spcBef>
                <a:spcPts val="900"/>
              </a:spcBef>
            </a:pPr>
            <a:r>
              <a:rPr lang="en-US" sz="1100">
                <a:solidFill>
                  <a:srgbClr val="000000"/>
                </a:solidFill>
                <a:latin typeface="+mj-lt"/>
              </a:rPr>
              <a:t>Compared to peers, all the Pave America brands show </a:t>
            </a:r>
            <a:r>
              <a:rPr lang="en-US" sz="1100" b="1">
                <a:solidFill>
                  <a:srgbClr val="000000"/>
                </a:solidFill>
                <a:latin typeface="+mj-lt"/>
              </a:rPr>
              <a:t>weaker branded click-through rate performance</a:t>
            </a:r>
          </a:p>
          <a:p>
            <a:pPr lvl="1">
              <a:spcBef>
                <a:spcPts val="300"/>
              </a:spcBef>
            </a:pPr>
            <a:r>
              <a:rPr lang="en-US" sz="900">
                <a:solidFill>
                  <a:srgbClr val="000000"/>
                </a:solidFill>
                <a:latin typeface="+mj-lt"/>
              </a:rPr>
              <a:t>Branded CTR reflects </a:t>
            </a:r>
            <a:r>
              <a:rPr lang="en-US" sz="900" b="1">
                <a:solidFill>
                  <a:srgbClr val="000000"/>
                </a:solidFill>
                <a:latin typeface="+mj-lt"/>
              </a:rPr>
              <a:t>user intent and loyalty</a:t>
            </a:r>
            <a:r>
              <a:rPr lang="en-US" sz="900">
                <a:solidFill>
                  <a:srgbClr val="000000"/>
                </a:solidFill>
                <a:latin typeface="+mj-lt"/>
              </a:rPr>
              <a:t>—while Cincinnati Asphalt and Brothers Paving lag peers, enhancing this metric offers a </a:t>
            </a:r>
            <a:r>
              <a:rPr lang="en-US" sz="900" b="1">
                <a:solidFill>
                  <a:srgbClr val="000000"/>
                </a:solidFill>
                <a:latin typeface="+mj-lt"/>
              </a:rPr>
              <a:t>clear path to stronger brand engagement and conversions</a:t>
            </a:r>
            <a:r>
              <a:rPr lang="en-US" sz="900">
                <a:solidFill>
                  <a:srgbClr val="000000"/>
                </a:solidFill>
                <a:latin typeface="+mj-lt"/>
              </a:rPr>
              <a:t>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C8FD9E0-3E5B-85ED-512F-518FC52AD9FF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2590800" y="2375877"/>
            <a:ext cx="187195" cy="3145330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306D0D6-032B-39C7-F39A-761FDBE9CE06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1847851" y="2375877"/>
            <a:ext cx="370470" cy="3145330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1399C84-0951-1A5C-789E-7755F8C859C1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1095375" y="2375877"/>
            <a:ext cx="568197" cy="3145330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A7E50E2-E0B4-66A2-72E6-3C0AC7BD2498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732691" y="2375877"/>
            <a:ext cx="178405" cy="3145330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040CEB71-971B-2B7C-C763-29ABAE8A4A98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38" y="946635"/>
            <a:ext cx="252287" cy="25157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475112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BTFPCOLUMNGUIDE" val="Visible"/>
  <p:tag name="MEKKOFORMATS" val="&lt;MekkoFormats&gt;&lt;NumberFormat DecimalSeparator=&quot;.&quot; ThousandSeparator=&quot;,&quot; NegativeNumberFormat=&quot;1&quot; /&gt;&lt;DateFormat CultureID=&quot;1033&quot; FormatString=&quot;M/d/yyyy&quot; /&gt;&lt;Font&gt;&lt;Output_Font_Name Default=&quot;Arial&quot; UsePPTTheme=&quot;True&quot; /&gt;&lt;/Font&gt;&lt;/MekkoFormats&gt;"/>
  <p:tag name="OFFICE" val="Washington DC"/>
  <p:tag name="MEKKOMRUCOLORS" val="&lt;?xml version=&quot;1.0&quot; encoding=&quot;utf-8&quot;?&gt;&#10;&lt;MRU&gt;&#10;  &lt;CustomColorsMRU&gt;&#10;    &lt;Color aRGB=&quot;FFFF0000&quot; Intensity=&quot;3&quot; /&gt;&#10;    &lt;Color aRGB=&quot;FFEA7567&quot; Intensity=&quot;1&quot; /&gt;&#10;    &lt;Color aRGB=&quot;FFA50021&quot; Intensity=&quot;3&quot; /&gt;&#10;    &lt;Color aRGB=&quot;FFCC7EAE&quot; Intensity=&quot;1&quot; /&gt;&#10;  &lt;/CustomColorsMRU&gt;&#10;  &lt;ColorsPatternsMRU&gt;&#10;    &lt;Button ID=&quot;menuFontColor&quot; Color=&quot;2&quot; /&gt;&#10;    &lt;Button ID=&quot;menuSegmentColor&quot; Color=&quot;5&quot; /&gt;&#10;  &lt;/ColorsPatternsMRU&gt;&#10;&lt;/MRU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z2dD7pS103gZfJ6l4USC3jqtWOPR/ue0umjYEY9KlLthURXCUyUuZbmGDPUXB2idlVQc+R1c0j6vNnMaKvr/AghcgjyTjoGcS2U6lyGcWZbvoYqQsrFJ5DN1RdHsB5gZU4BjQJ6xKwDUEsW8X/QQ4uIPkrhyjIfLLN7ZR3puqzBiN1rMnctBA0J594at1EN5QJYMsPufr2eabAYzIDriNpy1GurybA3KWqcTPRKYh436jQqOHiPaCJtAtzpRgB7Igk7tw7BcBhai66Lc0jpyzFEK/4NRoFF+cso+ThI1HNgDMZbpFoCsJQtilLqk9nQPGX6RXGboCTf8hOOcHaKoTUKF81dro10jOa8Xb8mBGZBE+xk1l9MAy6INl4AKPS/xGlFcbpIEvxqLrzQ7/eMzZ1AgKtg4c9i9v3iRGVJlU0kgQAY7EVXqVgIXO3Q4B+Glq0otjxeinHCbh2r+t/A+ZUesyxm7bY8BcE8yVcurveX/SBszoaX+jTFVa6pGoAyHVOewlFapYIj7s34TD9yr6TMLsZG/EIQ8k6rYuC3mO3jPqEWC8dIjrt+J8U6guGI0k40IgUKomT9NghY4L2AdqG6v/bViG1CZIAJAfq1h9XfWFuAcMFd0W92BW8gDUgAwm933zwqAFGOTKx6fnfx6Hnp2QsLrWUZbXALLBtzK7AQP4iswOaHaApVr34A+R3U4Nrok1Ar4psOGuAIUwTuUpKt4Wj/zeR7XbOJ4DR4SYljGjA0WByXvLO0rHLRWVt2M4GXtqMb6DeAlFG1n4/whiWYaPJH1EGCIoCJLsQi/p+1J8521gpVx/3gq/KofVoWiO/9ZGB6jj0SyVcQksALv1rDGHlm44oO+wK/fDxt1QJ17joK10dZh3GQaBK8XqFdGGpIHnTxug6QFsKOgLED73JTMewhmaf0qm8eLq2Uh5dKKlr9BAwv8t4jrGc3dJ41wg/zSQYbdPGttZ/B1vkrW/wBUZct8SB0dy0579Dxouepy6R3WxNqWeBCDiVk0JjrA8bDVuMbwkBw0GjZFU9I5sYbx6N4qY5pHnjvl1SIlglJMm97OhV3CDSpk46NFcwecaqiSi0uVGJn6PWGcyFXw96Bxo8npO3twUkFv7U7ruo9jKCVjCv24AZZmBxrvnjJOYbpRB7plkFGeZBcANxrZuDznu3feyGxDmmffTBwvkRNYNTQnPUbC4CqPAl2pPtzhQZ3ICjkBs+oIQdV50lgqgtBdRjGt1bqqaXbrS4Ex3kLJ8hcNbTKqeZXpRCgWyf6o/6h1/HSGGyx0xRmHpAsHhzY+RTxclmVm7xhWkdC41Um8D/gjEJrWFjDLpBEa6XnQYCPvZct3T9vFUVZq9+aDgemu0gtwKrFLAoj8aw/mtASaoU+fyzh8qIx00TaSFkfI1m/D45gViwbiXwAAdA6N9Bira4B9dkspHaR00LfgxneeJp6CEDAYm9Zw6NVAHQISXFccldpYty/shcO0S/lHIacVhWhu9yq6tH9TVtgGkwDzSvlOVKTz5FQuoCBBbqaYDj2qlMRabXtkaeooOwKoiF0Dd7NcMJ1TbFY47yjztJjnK2mJwuFEQZbcd8tQq5ALaFKK/6CbmHp9sdF2A3NbFVUhaJSX1qU8uovS12qTAqD3vhuTcjQlUJMf0bRodzTKlwijQ5VyqaGOOZxHZYPaf/cfaqHUtkkKMffzftVdfLj4iZsSZswVCg3SfR3amc5ktPKf9vYpKqs5YvilaG6PZL0zQDaeATw5BwcaL98PiWyFavnMt1yS8gexNV9p3YQZF/TZ8kx0NpQzpwbTTHEsnJkdAAll7bfcPW5n/R1PgwL1JOahjZ5yg7ubIlxNp+oCCsYABaPhFItC0x7D1GhSnnQYbFt8vqsy4ajy7esD7UIN+jl6NxSMHC0uFLQe9uCiGCBxLrSkIeMA7yMwNA0Jk4gTK3X7E/O2THDgCcia40H3uxVvIS+fnkUHK2ryiWzfzuj1yQ00KIL5Q0iMfyaProIxUV8T4UWT3iACsRmmOvPXvo1Y2UqNgPf78RoBjOsKRtA6tlWnVdTnO7WnERGT+RrLrXPQyIGxYEfKL2N7Ic2uVlX2xcgWiyic3BbvfzTFbqcpgYWVEMAF86gsA9vs7iDd26wkzXPM9QRTD6snm1L8hwyFCx8HCf5E6LHvW8IETOGXUrnOzx3cDRQdTNWGrBEmS1w5ZCUnmxY2cLj6kHRiSmNFyZ+sUIWBBFsXnEgczrwpkAItx5+rPOp8xxI+YBf70poVWC7A52+wGQkQhiHComU/IuVdbAsw26NzqSGRAU6b1VJBph1B8IMd+8coSteuMDs0vpOs9eEQ3/HQvF2OQag1RWOrlE8WNd49eGKR2GVkkvUIE08ak1BtnM58YSXXUScGeK7g6Apk11fSK1Zp7l9S+gpcG2eTpn87qJTEjNP1tDy8C5r0J5pWP1EyC4M9VVc8LTTUR+txEBf1l+Vb34S0BGCqdGC62OA257+6/iJKUYr9FSNouL97vpYvx+nnyQOC0BD9RcLZB/uIoEIBjAfx9W4vY2wq9CWcbLEZn6MK1+VFwjPTHNflW+ZyR2fBX/3BG6Hb5tu6xw9PHleS68f37EpX6YIGuYiCaZvD0qU7BQgYe5ZzsAzxaTMrRJKS3O5ZqJtH8YzkoLdxUKaEQWGw1v0/pqqN4FsrHYS/jzbyih+qeBRW+YEqJt5pn7vOVJOTKYw+QVCo+e7aPayy/iGd6CobpF9cPlhVIWOSaKPMzaHqzYDf4qxBiAAn4VZ4smq5AybAvPHb7XQXwVmDAVfKJ8tplQRBiBRmrjyJIw+gWYDCkhWB5CoVXg18lkbXQs265WKxdgLs6pc7QlCszF4uC6qgIG1pofrvx7TBiFlBMm2RCm1NqqEkxG+y6KiOZgcgDDPvjdI6FWKomMNBg+oxPPCMVfZotFO7ZSol+BXngSw7G0qUlP5hgzaAaNVma/ap22fQHvNo3UdatL/cgCaQa4+v1Zld8mtxUQUMGstqPWN8bPG0+EG7bf30klkLPPSMGeNOa6Pj/hEB7EDcDjRFibH5rpD7R4laCV6VtgzGQRII6T8hizz2qwnsdoFcO2FBJfOEbNcYMvMNa7HC9AaNPYbuGjd6L+klbOggiIy+0jI02Tk1QS8zXar/co1U0or4rddkRdY91vv/PZ0YM2yX3rm4xS7D8atNXqLq2ZAfLiOdeDJj4IBGSatRSShozr2It/RFT+c8fAvQlzpKC8SdaWMnpvNAqIMhiAtTJ+A1MqYJ0KQFWz1r7hBvtpDO822/khNrttRTeY5/KMY554h3VzX4/46z9K0GeSU/s8HJNDs+Vbe5dJ5A8dTn9Eh8ee0Jkyk6myy67a2Q/CBoCZqUD1DDt/r1Zml85FDejIh8otfWvBlaOOgMM8WUWjgBUJELYq73NeepjFlzpSKaOBYxTWHzr0BFyoFFt1WflWY67KyjeKC/8mymSPi7BRAZ+sO8syUaJvE2+f9roYOHaH+a9g0mNJrpxUAJMHiF6ippwMGaI+LK9dcRX0n71EhbEvaKNYptW5go6yRwLxHBZmOA6UMXVbKVNehpCcdcevJPJV2B7qggjGEy0FP2ltWBzbX/I1fae4aqz4JIbtuQFgkrF7J7uCEY6uBlL9ELbq9EWQxnuoNHBBeEOwG/kdUgyUw2rtBwIYl0+M8/DMziJqiRPtjntDqnylDju6PYKPGquriPuVVknNYE8B9dv+1/DGdIY6pWVwXYWdwxMVersDr7UZnTpKsArQq8J7NvYEjWz0NCyI+4Axvor2jyMBLUUZqXCTBC4zWbl2JIiAVlSOFXTNnztyLnZACpqwn7GdHKsQIIY4G0HtDDGngdyqfaxvhmqrQkJ+0AKhuM2/IIBQPelnFQn0MV9v32lXEk6GXVlRVqOhY9CTbYqDsfUoRpRPcbGpJ7DgGO3DVWdJhtLk09tBu5+grQISGcX4x/RYWMWW+UMzyl/mVVjNkW4vKvdPb2YU62N6fGwmHdCV5qVglkBQ3XJUWCvciiH2P10wQPXHPQA+ErLUpuHEAKekGMCGMaJ2a3cETVgscpMTy0laTPTC/SfWpIy5/dNSML5sG3gd+3QwR8hS3YqYtO28mKvOHveC/AUrcUTgcV87C7r4E6O+R/bp+IoeUVMepmLeNZhMhtyWKwYOWqTCAdF9oRhjPv5kn0YoHlohOnopGVN6dciHkKN8gALef7k6bA+UF6cXvsi3prUM8UMPC19aKOg+04k3X9NUnnTPIcL1btkDw5CYtYjHhNeuRXPkWWGi3Hz6LEp/WnUvlMysx3ebMAVtMdUUUriyzSjoTRaQ5NeQmtkjiupGa19lqGMrpCnMG1UaZviup2RHYzp1n0hxtTwCArb9SWmM+SI4UzsqHqG5OTeQEyiig2Thg20Q31aM/eiTbcSMVKbPpUThkfpquh62EBUY0jXmHxgwXWmWsDT6dad0z3fdy7+Tx8LClLzlxj/UXuvryfFqgb8lfbpuwWVEiipg7j9HSDHnYzILxol1A5vi2dBRqBULyaLmXssOEtnhTgHyu0gbwAoM8xkkFalHWpaVHNOOuEE37EB9Gfy0woisfaDAf9QLeEnoC9wwqu+G+seXJjsS6zb96uBP4A7RwwiQRqdSZdf+mB+fisqt/KTY6Z/Cl3LAbvze29vk7RWGAmQ1f/0u9BQHoBwtYAzgbV0Uhdq6MSctL48uDTpVbh3g2H1aLnVhTTYR5+XkvnGbvyCILkdWuPbZl1zYxSjAxymFcL9kLiW1ahIiD2GTrqngv9lQTdn0Xe0IdFhBvAVokn4kS2+dNntbIerjXbXjx1I+xHuFpI/ww6hYb3h4Kdfhf2kMtNAoMd+ZsvxPOzD6bUDmOR+TcpIBaWDmVMjIwpOXK/zSq3jeB7Eag1BGE9+jGE3x5hx1Q7u224fdpdtvn/hwj4UFccrzJj/KiNxvfdDk5iOzscA364KW2OzG3jrFW0g6PLLmkyTU9ZdW8yh1osvvjnmOBNixz+K2q8jLy2VMDm4VyRL9dDyn74xOB3DbcH5Oyrlamv8UK7lu5Gwseoc9gzD5Z1AqIk1yxSWhU+8UuKPmpuEXDxtIjYe6RG+Vhtfl/ysIdeG0cmzn6zj4Jguj9l/OokTgM1Nm87UGQ908C6nY8F/PxJkMeP26APk+IoQxAs1YA8UjrwaVNVxKSq7GP8WOG6JagAckztMGBME34Y7maN/7mzuJHtIA8Sgv3k3yO65BbD2VvpBleRNdr2AcPt666Rfcdv1LvuVv3FizVmVuAJk9NWJYJcTjE5w8ATyAlVLgs1uXBLSEehtNcI5kaoN9/34n1nPenJItLp1jQ3x3UPR9rEAb7HsxaSgkX3FaRE2lW9fDDlA3hl3smkCFmzikH4CuHxYh7K9fZ9pWnX3QdzMuOlMpiBf+rFfLWxIjwD98X+jjSGzql2DqChMFW0e3PHplExqbq1Ralbe3MhI8wEAPo9U85No1Zg7EheM9ZCUrn/7mqmbFInxV8FJpHDh/bEDsMVrSIAA9RPLuobctb2VT6B/OloixoEgdK5z2foTSviCXGXT5Byuo4yF0JWT9AmITxq+qDKsVLcHLcmfnTMSDWgS9rCKnB5LzZXTJj69Ppaf0DOoyENNYFxGqZu8AEzuHrHVQ7o0xBx/wil7KbkFN1o0e+ImSfjIOWw3MBr+B29zdWZ7RtpV0fzhSeyDIW/7x3bGcETsBQcFOc3EOFxz4XMniuZROp8jixXlXy4rwpfG75mSeolvg+/o424RKRilkyJC4M51+EmdLswUPdvbm6gfxiqdpS2UTw5w+5xUyWit2CK9rXuw0q9ZkEYb9tS0w5SyQMBwAWBFBCmRMskfME5U+OXd2vWnPXuBEsVMtwpViKCopSyZ/musWwlDowxoKTLU2MOLMlRw4CTc+/idHKzWeA5sm1ycEyd/3tCHvVh9LVQ6W23c4I/qUuwSJo1Ko0itdcokuxvHozV9edIodLaXBO5TnX/io/aZblp7My3PUSBZAB4ovpw29K2qpIntYME7D/FghU0P/pk8X3mo6yDcg/0mBtHO0mWNOJhdIR0o17PqQ18RGs8+J1tu4Gf/izTYhwt/13oP+Fuebo3Crs429NJJ/dJ+mH2/iNdmUbnhNO2tsE3f0REUwoUoMbSTuU0hjXvgvwtdzUidYsx15zakMRhAIKAbhSjcfRtG9lLRpMFbS5qdRQ+h4Qh0k4MXlkvx/KCix0PlXXMqCk3u9l2c3mVGuiTx1pDnS4nptoFqHjmzKitnORuxH6BhxWq3D+9XubIJq+pZQL3KvbcV1alR6e1J2xuSYs0b/1imHfu9S7SY7A/ofb373niIlgOoMIUj0GF5eEEDb6pc4vwMIi+KpQkvwV+vUVxldgqofNmdETr6UkteQ3ewSr3bO6aal4HbfjQqBg74OhP05iPI+wdnF0xIrqodlyJp3RUWb70nJzxMP4SsH5LdtC8YPRGXoBFY0G9dh7dU/MvpO/aVXv08nEZXzBfR2MHCsrM4RlrCbeipcEFHcS9llEn2wjYYqvR0JrujNsj02E0cHGWUbV87+/SSsq+NpWfeQPQ6sK13FZDhuDVmifLOCH2KesAuRQDOhypz2kpMmsziL8NCEFMVcgtzs9tgPNN92GvgJSOb4a7q4sniE4o8yggw4fWSNDtK9pdZXd3fg8oAthglGGdzDEFf93Sinhujigbo4NG/K0RuPkR3fLP63pdSja9qmP8a5Kep1rzy6ZBbCFcktQQDtLzVftXpZ3bGgg6oQfeMZEyCWXlWJRpK/w9ayGVNNCY1tE09PzOIaiG3D1lO3xsk+CG8Li7gjsG/vFa0+Hw+mNHDcpktqOdr5l1nQbz+HYK02Lq5dNpOStyUjcNnHoikiTDsazK4+kEkLuaqV35KzuFkfT/PJBv917ILn00lahEuD4ab3iUfqURbzD4iVsjRVs5tEnK7b/imDuxk5dX4QNo4Bz/lUbjFg0F0pk8k0DfGrttjp8LXB5Dnbhq42DDi7CrejkSS9nH1sgucOJaqQ1sj2CuWN4NN2c9Z/9uCdbL95nukC2VV4gjzyWAYaYQBRCV+uLmvtlE+Hs2pj6b13yuhYiYGOcVzrIHiNGH5AmU6WrDkcl9zuoLS1Ik8E3/smKgDIlmJM6tKZPgEI8T3QQDDbVEiDQZINMrCkXRdEVEc5dPE+yMMXdMKCmI4ihekR1LPSv7Nx+bndjaDYooM6Ivb7GbB4utBmKxzNcuc+vDWXCzKMOo1a5TC8fajtBNarH0rDEBNE+6jfCfIQPKFzSRPQOEvA0USzWEkSiW4moX85bv5iHrq89oI/9aFIcCmwROJSq9lNSCHVRTaOb/pNFeBuuACpnwEa/1s2BwNyNsFUn1N0ApYm0IH8spnB9N6Zzli0BkGJG19nJcNDKxMmtRebSyrmgvSQO8FVvdb/+OFq+y3HBkTOGc/CaQWtNRrLVotqMReGffUKuGFanZGm7sji3QEGm8W69LT9Exv+uX7HiHtWI1Fx5r9sCGKb0Pm0f694KXVZE609PryNSWRxWzKnas/nT88rLsiQEcIIu1OXMkicvvQFD4SzM+wix8ynItfRhTPngXRlRhIk1QDtuYGX8taGJIZ9Kb2DuFASnjzMoOQ8N3tfYPqgqRLAc8/M0Rz/vMqKSoaViIMHNKzTD+LINohYiupUzXzQA04oq1ggf7lncQT5XgYiXyQaohIZo2EAe7wPjqGvllHLnhITThoLrUm52ssaj8uk21ZQojuSrzVZSakQp5wDED6NWe60Nalb0eA0kEMSutZHKRqP/cVHClxYUAU5egeyKJBXdX32iYC5kWfC/gTqhQ3iPVv6rW2jgdTSucu+maZNBggjF4qjN/1nfcVRcw8Q+fNTBf8O2qpGM1nNaqrsxypAYv9fcUOPPYoOCpsqp0VetUAqbfAozfMKeoU4H1xlrnLh2Ikm6C/YkOOoKKzp4eyvZfHsfk2VmVAh6RlW6hQ54EPzUT3WM9KTPilAqtEilWIp0R2Rr8KNvoWKZtsxVfMVbkMM5lpspXl1LnejERfTbnJfq+LFve6zIKyJ3BeuhHopS0kUWrC6YgOJ0Qq2gM/nFFnxlOkr0ALUY6+EL+gBaUIbA8v/uT8pUnMh10QhuwOko4J8qitX7rSzZR2f1aVHlwCdI+1vq9NtwF97A9UQLrciHIdp5pNCXzXP6korOPADYz9zG/7Nw67SLjp9URaAyhQJ+DK4fTn/4Atl15ccphXPe/jMO6ipIFH98grQfdXZz3i/vRmh6Asi4uxIU75Rsamz/u7RgRMSQ6+gLycrSraDH+C0Dku9nNR6F6t9ykW0DW1nmdy4qHD+O69gQPxcz7w96B1BAgQdEbVrfHaGW27pnist8DrBpu1upD2YJiUgrYtptg+xyAjYB84aZE0EMkxJQmnoJikaNLThALL29R8HQdR+4JFIZyhWCxS2/IvIQ7FhZT5MtEs2k9ZF55bZgoXeds1eNlGpSrLgddwZlwr4nNCzIOjbNHF4WH7PhU4nugYpYmo7M70oQmzVSEIOQJc40INMOxo7Jy1lIf2TOMn+nfOvrslSWhV4TWbSoPH5QlYgYF+yVpBHAI0WcLQ1300Bx5lo3R53HerxATxnuk0Sx5kRywWTI8WYKLoUbf4gsJvJRw66SAyQBm2xOuP0wIVYfhIk+dSJldLzgN6ozrAY9cwBQPxsNHbdhdxQCCyVVbVNd3zMpwVhMt2CasvSdiWPDEA+hVMCspSMZrvjN5zmqzZBQOqLhjI1hSdX+QwOs0u9coDIyvWXnDt1kfqbMAkybWtvHJF667BAdhtyNCnYStZvPCYNVzE8pHdB2zdfvDCNy7DktetdoWCn33x6vp8vT+LWJUQXsuYkbJIO51ZU0TbZY+zB1kFs8dM7v8i8bz8v3HeJAmV1v7ZqeAzQdagUDso8jvY0NJM0QGALKCeRTB+nFkwKMtfJqYwqhcIxt3VXyCkeSLEvprRfTYUpy2Ir6FWc2reb3cUPW7nGm9tB9T1XvCnJRB1WiJ/XVaiX8RxnuSeGN+fL4KBxcdlVeGaTaMHunmgNwrIwYGRtBJaTILRuikXQFIH1OmBfkMYapxfBFxPlMglJlJ+t4/p9BXwtkeJHepv7AOHjJc766BrhSImcB+xPko7uMo0yCw6kVIXx2+KGttPqs2QW3DG3QIK4GS/jDyJmLeX2fOx5LQ0ckYrKrWsVooqhKEEBrxhMITMi3AMdxJVrwOvrLZ0fzatIDJoPS6s8CXVs1jfyJd9z0QN7H8BDYK6mZ0g5lU2gbPDjtxw0t997sdq40fap1fJkqaK37bGsuUUnAgdsnvuBbnZcvmXzcTEP8apkiApJQFYJwohwt+95i5U8qepgvuId8jHoCtwmtwNoRVxV5rZ3CE6UxTv6S/nzKE/beqHF1Suy7LZe3HCBkHmufTjw5OB97lckUWaXFthvzYEBd86kOy8He4kGiEVb9ieA/+XsSuJrmL37WGJ7Kr81FIGADhvfh9/db2Dn/eNgcvWH56wFBesAdornTHa1l4iyNZhBrdkkKT67uGJoPg04U1XKfT4PTAcxWXz367a6FD/OaOcvdh8id1ZK+92t5tPAQY+NBmQ+s5WQgvE0ZY7vFsonJdcxcHMkhSqZ6LXpdEGKwu+Cr8kb3WP8PF7oh4r8La4sW6jbZ+vuKBM3dZWq7m/dB4CAZ6mrqiDbiW4V5sMjOv3MOYGJjnCGRbWtF/ZT4biAcAxWXz1+74rKO+7rEjiNF+s1bsgZN7fa22hwDQef01bHFGTzDTHwLbfOHSfKl/+2nU4IHpW/zwWMalyr2cA1nJIq2WKiZ6rLWVPbuXq3MuBlU5FKbtwtbnR4JTzfovdnLHOsb64LnNHSFr0Mtrg8myIW+d7vH59Mmkgef/kLPHDMkjRA0p0ZD9Cgy1djVHKzMFNNB492J9h21BI3okfG5r89zQa36d9vPoSCI7PF9V9hjDLl4HMVY8487cG1SxuKfmqvG3rG8Daaj4OzfZ0ihHASQ1FQRtl5eyhXtQtZ2t5BO4bHTqRY9vgiNX0dBuzzcClBjSujo2R64aWi0vXaC9AwAXbFpwc5mxKr4Rqblo88HNdIM5I6oI0rEj4xaGO3y8qHITVE5lAMlj/UwtDgs96n9mTnZW6o43FFDYv7eKz1jy54esLAsHut24QR3wc4RuHb8RsEpuQ8juyVxyFlz5dvN0J/ciy1iAZHIpYPOuACYenrY4siZF/udGC9i5Fw40zoVzAKoM6pA/OiHO+w5wDpp4sl0ifo7nUdTiNBYL1ItY9depzZeGIvVJ9xF1NgvxAiqLuSSZbSfLs923GgdjRNZMYSAPCoRZ2weZES9cPRmNkEAzzsTyxWFRqzAe93LdfJMNBOebkJiRmWAkn5OLQIQKyeq8FHxVjsMoB3UmjQNjRIrnaXWt9vxp7Il4vG6IdnEMQcguT3bwfpBVEM4CgQTaet9YiXkl0SBn70Vy1fM8/0o4tE01KzWCjV6OhxacuGEvvnv4WXyJmiVEgc+HgW29NnUOOV3yyEnUhbnGMkt1H0wLdNhG7XLoZ12+Km5+IqK2y+oJizuY0yX61rLeKo6hFeJpPd++6Evywm5TImYPM1erBAWuiRpyR9IEgkBeK+EOJFV0JCKJXxKAxLTPC/IWLt95SL+wvf2wiVxcL+1fmIGB9/RjqlP/6phraA220Cx14N6BYeCjKVzH7KNzN8N9nU8+bpSSXURI13lKsqYoXyJ5TB0MgqiLeIJPv27WpSV3hgz8YrG/4ZJJ4v6Fs9cCOHCs7yaA4DKeGlCOUriPXCZT+jR5hinRB0XHc1P/cDAbn28NBRmA4BqyhAHlnEIW/3SFi192U8KC5yhLzIoiGMKeyo1IadPri5rhOa+btTcZEJA4xeKUvQDlWY4Zw4dK6XeLU+6f/OE2q4V25XvjvDZQfJwSv3n5NYJh9uGac5kI9Y2W04eZmxaCUuIV5LyflJ27w7lZ8ToNW1zwWuK336DmXGcpGm2E7GVeHzkooIN+YNAqkwhkzp4RsjfVlqIaF5TswU6n733eXTbQFr4u/7KZuKh9Q0QVg0Pu4jBflpanZmexOGZ/kwiKem90SaMxvya6yJ+DFQblO+H0jIRvPfbCDeHvLUq64S9VJZeuaQuV+F9PqsTJ9Bxa6f4d67c1LHPFPLCyoijPgGgnFHUcxd67D9Dt1lfR0cZIgisFdUEUSiZzMbSAnG6m0h564v3OdeafH639pb5sMPDi7mPwwGBwgWn+n9TkbKxS23bV/my84Evph0PXf1wlcYyv9VLBojq5lQHaNT4PdAe2sdZNzSCuJD8zLqTcdoIOwWFkkCzMFGQDgWZ6dXmr/rwFUr1b85DvCIkXfCZzQHM0Yj86S1CMhDqTkad2Zy8yTxb6iVNjrpmmpvQiSkVEzblDGC3yOfI4D5P3GbnEM4jL6eSWM2rLksCRKN02wzLFDap4V95z1hlM/RSjf0FPI74v7OCa9Lq+a0OX5bZmNCtheE5RTEj8g/mOa/zeon75DqfyeUer7T2vaX8wOGOKfZ8MkP5YTkSbX+rHNKjTaIjaedrc5hH9PPX3Mt15RA7w/gz7WrPqAmUgJShC43C69ai/eUjzal7nrGn2L/f0c57ey/5y8L7bM6DfxRPeR7aFOAjiI8zA4cZkGPLAcGjofsu8fcAP9EEhMus03xq+bJAKnnfb0t+OSTvMXUAAej0RNrE8B8pc8L9aANA/0jsTypoMmhfunlfVqJ0QRUh4vDVdtOvPBcJEO68JVkSeBUhN0Af+Wk1iRN4ULgI1ravjeFClKbnZTha4gM+6qmZnX0Fuk/Xn/O9BZNEH9sEc8Dbizn2snV895XOjyO9/QhgMY6LJ8minBBhlOyujrZIrgLSZsK2CfvWomETsbJ4URyzTNELPyUGmWxiiDwMjsX2Z2nMy3WXWDOIDoqH2Fxswg6ZYrCoHw9rlRuB6oKDCfemjIiv9PiQcxqbZMI/igpq1eSnOj/Yg1ra/TliQ2qC5vDOlCmciIYuGiKFsLrka0Zcn2Tb9BcaHOfxwPnUYqnggolAQ+Irwqp0NWrAXnHMdI5pv3kl+rA4/tnXmy1rWwWi90O4bz6Vn9THAaU2HddCGxAxwYu/YZrZsmgpsweE4iD16bZUvDmjn9HwC46xKxqT9XdNFOFxzBP+Du+wd9TNoMaQojjsDH/AxB8AZ80RVtOrSX+F3MOZfB2Q6glhW6DIXGOmxw3XwyI7736SloSCzBo213gDXCf5cEPWn16ofAlSfaBQwqXSLLtBS99fZJAdtFR9xAACwkyul2e7KvZ6Ms4qcfXxiXhZJ5EvnBt0EOaMLHJ4DjvUGXgVdYao3q/exy8Zhvzfvsw4ThLHLXfweirVUgnjkgtZkKSeZoUigjY3ptl4LJgeIhGD32zE/sS+x81kxl5dzUhyhrSko/0h7KMT5E+b7p6jYAihBaIdZdQfYoYTohW97iiTG4HzyRaXjRacyNPFOsVHOnGE3X/Eyue7/Iu5OqANDCW2lgm6/7kNscmKwRPJLmi0W0AyM9rFX6MP5BK2b8ct7yd2BidTNWcj0KUA3OdYHeGkJUiN3wySvwy5Qw6B+0OhkH9kSYgHl2tCtkNfsQCMygyZ7awfbRErAN7iJkakwYwf2AEf+Cg4ipSdM63xaVpRJujnTDDzKQ2kK5LoIU+6tpMhHrNuvshaisTBteMD5tyKG5JDfF4MEpLjjMYpZsdTf8W6BpVwNBk3XUCLuQKpiC1giOuU11DKNVim8vuACCzgfyPf1OVOPADKsqrEiinXA/eEPOAnENE/vieupjoT7KanyPFpWqHdqiInDb+N3yB6tX6bmf79LPZYzlAxEkTLadtaY5hc3Pka+H/p9rkwMwavn5PGKzz1E1eHWTrlIgk3KX34PvjOfcrQzg1s7y8zWmgePd9LkzM4rJk96tfdt8MZDyQRG4v2TR4N/zxRG5cwJrI/thtXfZxUK2PMoUOukSGeL637Rl0T8zLfn0Q9t5uQwx+Y/6kjew5V3ITK8CPnZEGI7p374yXIOA4JavyhdMSN89TGImoHh66O1ST+Ng7VQ3RpTyouAC9v4Pr+X6A/xHvqH+rD+Fe3UDFJ/PSCbe0Qc0Ox60lhcKaPrp+usDmzn0TYPBvY4sUWslQpZIfc9Pn0KY1hF4/7jd3NYiwWxqxB1kD94nZD0ZOSVx4V/tE/rOs5GTcwsEi2gl+oPxTiIJFbBBaxmfR7Js0ay+DYPnWk8q31oZ+isga5PLjVqPFUdyztzbo5nqmovWsq+UgtNww3TBAPV2zvjU3jwsdqgM0aR0b6bEFvqZFwG8HmsVQjSd2HFgEpgd4ePIBwgZIFHmQCtodxdZvAU5lmev+vBGhkG8vmFCPUaWWFZKXAHYAT5M7yenodKdUAyqCWsx9YoL/D5bf5HCtdAW/Fl7E9cRbf5gYeEJZHo4qR4+Oyxt2PJwQX5TEY0m/9loq2RVlSwdtgHtexwjWremA5kRO0yT+riNCgkE5I7pF/xRSCBXiaGu2mBUgPk2qlUxApGmD43pwJZPsZmKJb64uysCHEi7UUwZLIzPjmF7xr+5mHoLWwf4UK2z2Q5s4uCyhEqvjzVPDbnbk5NOQv8OaS2lbLpAsuz2xcKC2v7NZTwMp1SLMapAYnkvIOAmPwj0nzR5eO676c+FfEz2hikos0lRczhXMM6bzRZ/fU6LsDj/n9P3TMbING95UJKuQzucsHK8fnY6T4HpvV1s7wjmMJhWHqWV+a5bQDBpNELzeKfYkLQFtNSXCykHoHoUi1SI89aJ7P+Q1suzPRjmyIixN/PpttAkZBrnuWmT1Nw/msHFNQLCq/7BavwFAWjo8D/bZBV23+ABh0k8cVFOTsvc99DEhzkRGwRTsIjIfsiVZ3lhAwI65a8ff84RuNqOfovjWbZvIqwgDsSkiJqh7ispnRCph2Pjcs787uTES5w14GvB6elZa18BWY310qGm8F7xGSJFJ7YHE4aofYY0jkOG17Qm+5/7YXLxzm9kp1w+NeuxrQEVN4B9QDNyzsNyevHncH9ZQhGP8gsMnKcQME8nBQiA9sQl2U8Wr6LNeUJqzbC72WY91C05NhCd38cGQBqTPnID8bF8FZPG3XXNswTbkeIKakyxq0U+RduljrgsRx4kRswAadwwU/p+obh/7INucNzDOZx4ProtwUtepArhFC7+m2bHxjW67yZ1npCxrDiO1plKONtb3hIUMe/rGORNnkGJRxDuGGZResA6n3SkFXFh0qpphFANZ6UqHMoyqG48wf6DiCRz3p7Xwf2bAgTmm0AQopjReVxsN5t9BNHZhtZ+U1/Re21y94b32MrGlPEYmjOKdLwCXa3GGKBy+w0dJ/thHI87pdJUYOusv+/h6+7S1OeEMkJtCUM/0KnwSBQcf9BY9P/DB8xHPi0AhVJU/CL1HI4HKJOHvxtxGMcTyL9Xlrpf6UyIhGqpbfJYUVnWzlLR//nERTstSOnB9g0PbsnZcELv1XVE2EVeShp1wcbRqVUuCFoqAlE3izK+347+zUPY/5Ere4QNy6644tJC9GdsxzKzCztg4NbwRfOnvIJVRci8qTz17FE4bn0J2phRGzJExj6QtwsufFj0/XzQdD8KxOriQwC0Ab+TVKypT16lJFxrwh6Ooek065fcWeG0aGeaJTAHHDIlqhbtCsPNwnAkb6kz9snzGw3vmeq5RC954oYIw8Ndj16/MkxZvG/KlivNUJgoKio7AyvvyJykgexz50r8t/QdXnOofPLBPHRzPxkSZusx67TZad5sAdb3JnL0fmcXTenAnAd32nuNErJ8Dj4pzEdUSuncjmze/Cho1eqWRNxzXsRFcMhZ84WpJIpMjUS12n+PYv+mkrIcu9DBAPVdne9C3csJBiustdl0F4UfvZifncbdqQqRKKwmctfN1IHtR1Iq7e6AUMH2kd5SEZmtNyvvZdO8VVkv/LQUZvXiYq6myv7t7jzd8uFLSNk+yBl/qcG97h9eCZQdG2wSdCSq8biSwRElBM1oEvlMae5UkjX+FlOO7cc5QIZhJwOPuNqhAEIVKHp2DNScTXp3kcRvY8I9KvcXbjh2tuGYxxlHi9Zrbpee4Cr5Y8u5sH1WXx2uaOCwlZsl8fLjprOPTnB5sHWeA1k+C1Japs65rU4rkWPIzrhPN7WP9fNTXJH9B/YthQ1cjYX/wek+Ex4SY0fOBpLba0uou+wQgxSsOjRm/iQ5ojLo/kM+sFY1l/MY8LCTuNA39CEU/WWJS9POlHIQb1P2a+WTnojh1q4Fs1OGs4wmPlADM6e38sGRO20VmuTUor78ic8gKd5si8DY45g9KFS0pMOwD+MoJMSvFIpel7ITw8ydeCrLndFoFI3isLhxH0zpfVvhXafm7jk1n6oBj9SbpPF/jGceecYHYH1ViXYVfYhsognU/N9Xon/tQ7vFPNYaz/PSIRYoZzj3zB3r9HrDHTo1QiAvEetO0dLRIG7qDHbX+07pcwMJgu5clK7S3UaFNYGgC0JWrPr/l2yzlzJMSvkzxLfatV2ksee3IJ1kcNRZLIoxmdSCID0A9XxwJ9ODV8IeI6xGr/b6vbDWvzEvOa4SlDM6RmZi9Wn4Rnq29riCVy9y0W4ccwXLF8q3txIetG6Uv00HHKP4kQJHpNqwC/m/3LZaW4TSauHfYJQRFjmvY2k2lThO4rEfTq8N08GSPdOOhawewbJL4ZBiZVoAkXmi3LRDzKkITqh2IfVhWnrDSG29TxQbssm+Nc6o1VjY4Usb5L+wNau2CJWFYNRF4us/FN6Oo4Zk911iVxVNmByk3ajieEgG348AOX3UHN/YjHxlZGImiZSwzegrNmpHeRLV9C7JwYHu2QSx4qYhVBLzwDPT2xloy8j14uqKtgZjUqYjwAS80gyVD5/B7CavscEnzLEUABX5iodbU/3Wwan6LTYBU0RWBKSRnK+JfmYtXAPNh59+bi090OStJH51XcVEOzoN1dWUoc2EhtQoBE8uOpjxOLNwpSK3i+Oh0vu2j3Tc7GY+Z6PXMlAn4MNWtqRVYYXtLSogmqeTRouaExj1qzT1xS8qch+Z0F8/rBFCd7D+Z+sa6D//CcOpSwr9nmP6cSzR7h6iJacyU/3cif9VGifOI7UfGT4IbF5GDIuSs1saDkPICMaMeN+Q4ElGRFbckgOh23oXoItNLZ4rZAWff6oLsrUS5iDdYwlLAdFPWwOHaTVuNM/hlqvAR6y/0GUtn0cUKTmNu+AvCl0beVVGp6VZBEFEINJ9OEcOoJAl7UiW6KraxD6Bzl6wCq3LWHgszvHMNg/Y1FP/aBm/jTI5aNwd06GNj3k9WhqNgMhMJTIygge5f6XtsCNaMeVR8t0vVKXCuzbupMlQ7McZ0OWowV0ngDlQbXqX35/6btLJQr2mUKSVfRvJ1OQPBj5if9mJ7JPMdIB+nR+QgfENHKGzzTHGfeNG4Xp8E0fvQdJ8r9suLj5WaW9eSnS7g38Gwim9nFOgUe1vG7j9AA70NNZS8H8OisXi0QS94gsllF3Mp3mXopLuh/VxDEkSY7dWdcMyzoOXYHrCoXEegtm4Lxgb5awsNO1Bi+iqV8CJsvUf3Z8995rTGR9eKYwII8s8TSGtpvfK2v8fqRd4kk8nv0XBPSPSXKlx+yW/Dw0ZAoFdV5c9cAqOXiEWlYU5K9oT71uXmKi16u3AKvRfhAcNFmFn8Ac7DiTHj3NEwU3x1eyubgiwzMYYzX+cCjNg6fzf5gLbGh/EDx15S4RWlcMvKJFjR1m08HjmhAeSDB8AwE/44L5nzzqRo/i+wmoaX/PqH2FW11p1D5wlNpDgZZuLAQAnpQMMogzmsazz5TBrwWJ81gRipn7mv36k/IzFT8jG2+JX0jchn3XVH0FZ9EqNEemaPFLycx2H4rSHLqNAYFj5URSdw0NIMm0Af+xuOGpOVY3hiZKKDld/ijK1vEDi/CYKjIcmHV7VKsm4514xd2MiVDnj9m8u4a4Hfl9ud9ElezlJZNr6+fC5UjPS4pRhNWWa7FP/ntX7/m8iD1tEC5LzfYHVdHHgtIzzhf8hw5tJHZ44Nyl7Py251mnv2svj0AE5TqkGdE5Om6JFOjS8+S0iZVHyR4sS9wCGS05v4CqoFdCP8EvZKzQ23CK1cZu0rRIJ+h72REdfokz4k1PnEGuPdBTM1aBD0Y4TOJ27vqYnGUPSx163bTfr7MwXkwhh0NQu83PE1h7ZMtirfbCy0lQ5d2E4hLMscmalwq58JkoyyNLmRD0Uc/8VKIJ3MmOkqJY48sB/ABVCKIyXLwVLrgJmcZfIVrhc92Ot8Vm9mNhfluJQ4KuYfpLFXCgCbmSlZYeeIhQjpn5uaHjnNDt+JwUbkYXv15A4WuFIMtqi9plhx03/kJ8kQda/lrwzAdDuGisjbKa3UtiJ+kcTTHHD8u/g2kUVTiN7G3fStNk8bZsJQdXh+iPltyA1N+OenijjndGo/AVhf/Rq5WKVQqguL9bTiZ8pN90l8S1SsQeIaYlCW1rAEsVM+SyiBMVO3mWEZZu+/8GaqIuLf9VL+CaxyCzFkQeIO+wzk29sD8rzyRcg6Z5nglUGvvqvc2vPQ+lAQ86q9PxK4HrnUVRCNPXwPlMU73L9GqFUA+wZW6fz9MUknDFo+N+GxsmOZA55Vlpal3dK99U6vhkMrSjynFqcRo9YgJb0ydrAuqBOrdcmNQ/vVLcPR/rhG/JQlwJpkLoB4Ya0+C6vua4MGP5z6xigMPad3cTkOeLXjm+vEIoc31OCqHeEStrHpyNU8Kc6O+YG0nxmg+xixfm1ztDnXyimtJhkF8Ivku/CTcsv75gH1Ejz/PFNrNp9qm7RgGJX57ld/8N5stcI1ZGuQQyk1h6g1W5IMb65jRLXrTNYLNgpf/+ZGQ9AHzbcfonxupC9iqmmilqBOy8g6VzWmDg1tIS4QzePwu3lOqnl19uh8VPlVTNQ4mGuEBReFJuyLj5Kgv05T8Vj2aG57bGyaeCqjm5sgXahjsqCEt0P8gJTH5Vith7FfuFIYin73cHhWvhqoqeYhNTBAs/lWu7qh/qfcBAW62BQYLFnMpT3KOsv+1u1ingdXHNI1oVKVe05d9kXPf90X1clhoIQuR7ljs/zOto+OTqv6ZN7L4WRJuMuKMYSdnMRYqi1ePbQlzELMkkw8mFnQZWlQ79wCX01uuB3mnaEPDS4mKzHOTucehKqIgI/Dx9AoZz+NjiIbsFVJ/M+Gvpq0WTvNF9t4O9pwz73UPAjTzCnusOc3TbqY+fqlUjisLnVAxnc1WNtE56RaQkb4DEYDJU7XZiVPuPxtxaGkgxPKiHlrpGBVBuApB03mzZzYpqPKLzWQ5JBkB3uTtkGY6mq0VeBp1almF6Gv/940XxLzKYBjZiwXI2utcVT2v/6w1GDINuhZII9cs2GfRIelQI3iSbnME2lhHzqGkYoddF43T9Z91eeAr23HoWTcub1txUcBeXI88iLC4LXEar7W1C4yBDxtnmRx9BSGfjqsjP4btwNhIxTwNx2/ay0TXWJkjFIOimZXxF9fwNlAJwuWAaIkEl160/iiZ9HWBlwToftG/I6loSHxA6eXpmn/GKC6ML4jdicwRAohJhfXj0ODpDm1xUu2+b28e5V3HZIOp5bGPInGP3Vup7ZZJLtOGlVOR4/ly89+o5f4FcVHJ4+Uqhzy9+fmSzwMtyF8tocnOxrUZ9uvZRTFm6ur4sa41qqi9wpbAT8aNy3u8ZrHkFy+aWGgyWD82O1TjkNABSR8h1nexV4/xCGMIVHRUkkBVa90SilWqloh3gEDSqh/tbPH7P8e4riMduKYPz00Qu55gBT8j1F3LgHiU18S0+onXKjrZvFo6HTrE6vQE4xNN9Nu51EGNY84A3iuB/Vn7+2BHjc/IF21sfjDDiEUZxxUtQ3/GAVmEG1RQGmhYxjCoy3DpDvSnJdutQOUf3cPWYaBTUNJx4kY5t9h+axPlO/P2+kFS1Y5399jbq45i4irIBl8sSUBH0t0hSGdbeSCGPBy6IEnWHtyjkrtj3eNk9n4g5ie1AcoR9KNWth5z9444dGpcX51NFXqpWLWI+q7xABCU2nkevD++ncxlp7TgS3MAajTEpIpdhmUeEmdp5MwbNk3VO4gYkoiYqdhK5ECx4T8AJRtgWvWOZN6o9FwuB64nI8BMHGOuyNWGaAoqO7OhB4uGnOveErM3nPbsNm4uAyMY3Hp91tebPyXKZWgz4ftEZkDe96ExuaalwZj0794U9V8R4zOoC0Zm3NnUchKt6F7tPgxUwIBgfXpAkUR36nYl0NBRhJIsg+CS/tULyHR6H59qPpB2+IcQ+uBNzyfVgmHP3PGfa2x5wuV0QWpUglD6IixAViWVG8Z5+5SgtYI67mK7COBP8Q7hYiBfBzujTO3d2Fi0AJizpJPAjZInTkrJs7UvKlLZ8VKYl5ptSbxRAggFmQmy61TdQTTTmBThRHvdgLx6/wyBPfrBnjb4+YPkICYQT6UIGKReh2yhQsi/BnnKGkyYBMK6bTQyaLcUC4JCoWaSmGJtMzogvtZAugC7GQ78US25WSAcLL9feXWAq0vS54ZxXRq43p4UiJLf/XhjNvWWg0I4Qfkvyrg0nrCyGr+cFYajxJL0Awbuv771LpalGO+mdEpAxHLo1RCErdS5SskUrOx8pBV/KS2+M24ZbZ3eOVQA8C7cKzgEj6/35kDhWTCsxGIte7lDx/Go4Hhp2A1S8tFFQBhGgZ+rL4vlCtR39p5kmeOycVHDAWauu1ab44gf1ammXSW3kzXtl0Y0GyGC3Da0vQrI2l/Xp76gFS38exEFuosCW1guEx0C/+Ok8w0IFKGgjRxNMYoq/PGUM1ZGKG/8PhrDifb569xZAYSjqlF4tJh8FPTz0zSqTZVV4KEpTWM/u2IkRhHrrNUsHp9Dn1Z/48qqWhYm4albXbb8D5mU0eQodL9isZfLh+5FDOqYMjBGjZl5/MROJplYuUIsFS07YQdivSucpSPyD/YiUqhMYetu8+cFiR8VagalafwhxM4XkEeXjvJ/VTRjQihvsjLUrzIkSOEaNSjexL6vihZIrQQE7AeBr/yzPVNhdPexCbb7BmdfUdFbuJHZF1Q2jgAe362ShV1FXWZj5cmOm4RcRjx8PYoln8Yc7Zc2ImY1wFzx76tGfPl8Ud9o5U2W0vgf3LIHSSUkpPi0Fms5//2lvMq5xbwObpnNlBlPS4jZRAXHFjftYG5LowLCdG3kN56xvPRYVO6hyjY1DxRYp2lQcjzXCf4/klgml08K9JeOaMV1qh/X9/fU2K69sRsCT5veC7+QqS1pfoNEnwLGQ7OyfQ5x/62CO4f2yYnYQvjTi9pJgXr8zlXAXlECLw/+iH4zO3jRNuD1hhOMu6CvuYXXtTDtBikJu3R2ppNnLy0/IoTK7FDdeRLoyQld5cICBK41B0Mmp4wx1x6T+YztTZwTuok6gH/Z+gV18Gwb2A203i9m15LJk3JxHkeV0OEk3rMBoNqdbvtfvzBIjiGSA5fNr3rYjBQTUbwiCeHBmp1PGnel96jCkUe/v3QZxAjq4ZLDIhXo2NrMxWMFNbOPpw6hRfYzLOY7cX3VcQI9UZ4ibYucqjHxoeZLA+Zu6IQaz1wXERhe1OHDJozgUR5pzNkZFWmH6PYVcKzt5KSE4cktYuAFnY/UX5h+PNsIYFn7KteSHDwFkBl1Qoe7AFhJnBSRXvofW36/Fzpiw6XrICc12xMrPtVeqs5sBxYiptDhu8e1bui87KhCWgCGXCo/ZzwugF76YHIYk9qxqHCBhVbdCgrnMsycLbIJp3fyzkVMrUQ+j9GeCOoKcpDitXFISmVLnTLysnuC+TstakEPzDAbDT//JMP6gNhqlic3SI69OxKQsydff3opk+ityCSG9ugQG5pSEBnnujbIvEXzOPRUk9StIwDTg/EsfRTI5qy2nb0vKmrMmxY+2imi3dooKm40L8S6jGklNb7V5eVHvqUuKcnzlDWLViH3q2qBK5jXR56BBkXXdp6+VWzun0xptWQBErRzHNi6oETGYJ62FpS2o9ScIrcxq4lIXWa922BbYiQIc0/QCmlWdwwrTr5GnLnBJtL60JkZyRZZSyQPJ2svBQBr/+3pM7RBY7caGa0ZsPTL+Nhjg3NhSXeFU0Xxi2xRQyojTl8mOLaccbKIUI1HrCPDBHlII98N6QvIsV4pxqYn4GT9PBA795Gal+3i/heYYJI98mQhbcC+mid0ZoJA+Exy9dcJq0UzKJniAxSyQ7H3iPDlak5/Gb9mh18i8w1c3U34HtgdFqzDCxKEaGolSBqbXROXfqc9wY+dGwOlVXjRohQKX2uwsIhDwf4Y5UB4rZeeg2lmKFFEX8CCWiWW6WvBc5nYaRTq1KkzD4x8OOEMtCElHbmulJeqNkNo2HOXqgEjjVrLG9tJuyBj25Rva0Tlx2xHt/0Rd7TjKVO6efsOqx+BrBYGr2PoyOij+RDLLq8UuIbloskBJ3uFRizb/P0yjoEHeYbvvFKDfJaWg/SS4KpXzy0VFmthqt+qxp8MggHoWfnDNjCNVF66lr6ZT8Sbeq0FB8SStVvQZDUAgkvLSLspZj7fR6yaKzKaxJM78k9/8z2By++gE3VV3BlVM2+1Jju05pzlqgtqDd54VW149Dp8yeOqJzVr0e61ObXD5IJ5F4uTyAWB2wvB3sTJ+TxJiOYcssqyEk59GQ97EIcYmdZjb9UGcNNitwUs0al6sWP2Vnum0qAvkOyYyiFJnwWSAgYIvp6BLb2ftv98HuPfyd3sDIiNqMPsorSZ/xh2qVxUoRaFRc5bI4f8uD1vnPD5o/ICdL5PvU7EaLBC7hrmmUG1YZB1JSQxwHU55fO3hV/70ep0Ss3FSGdNHCSWwbUfBm5VaQHVyuPAp4CTOijNer3/kCqO9KftMzABxN5tRoIENoMPFPZOvM6PrL7EET5HOnK/NPXlqGTCgyHI4ZMcG5FOdohhw0shiB8o4+OYHNXwHiE3JNWrBOSakLuy9njnw/+MDx6xSMHIbFcPTY+02NEBNsiSrL7/BP+v3F1cAf0WxPBVB3HJ5JY67pq4/m/yX4gpe4pk73rgzSgQ5oQ/06O5qnmTZ2vUpY3mRjwINwh9hDwLd0ecISF/n9tq2zGGhClDMCI4AA9DS1V/Unpeyifk4sNScXXDTjznNFYP224nsWdSzF5wiaIlAm5hWN8E4QAy52EbKRO0tvhpzkg/9h6z+/P2WbahhBcNcJ+YfPT/Ayf3HYeWx6b7jSjVGWXDYM8jskOcNrRNS1Pdq828X24q1WThA2Sa+UgB/8fa5AisK1RNpy3DU3IK7omy5/mWDjt22mIcVt4rBjUN/Sl4JVO0unBZUxfF+k2MVQmBDip9ESKI9DhXVofR7uYTgJvvYKIa5N+5QG5Fqih6NtkSsVWb0o8aaFoIp5TyM6EjD3glv8A71e98PF8cFGr/cFFJZiMb1276yrbRMs6wH/vg++IcaZHAwgw+CdrFzAE5vILbxpxYQ0tM7ZEy4dsL8twdwIq1QL4DcmNyfgCqatNqvO5b6V/TZH/zVA2I26FO1Tcxq1upZw+8h2vg62LXIY6lfRJSkM0Oya4w7X5pxfSyXI6G6fSuNVCvYcC3G2j3iDohpPLQ1IfMQOoSdY9Ka8vQUnOWYy8YYdRqgd/lyi42Tx+rvS0uEZw810vA6bTmPbXV2hPnXGa0NLVY2M2sGJxRuJqgvg/cLJXPwto67fJTqMYuclg4dvf7OvaNelVQH6wPqzwOTnF8U04Bl3Eu5t8lbU5Mx/dRgx9hITcN72mY4R46bWlV5RCV7EVfL7c5KugbP1QPXvLE74xgEV8QF6qQDiHIl8XJKLwIFwAqtPEmt+orMyOENiihokVSX4yOIB1cQQVA3hx8QcLxOH5ipSibk/KLhuxy+MJ3FVHtvpcNmQRsD02WYV95So4XeBqb5Q5Qlu4NUQjGKkgup7Xo3I9jbfOHZBAu7nFfsThjou8GCz8GlStd3ieJGt9342dzt056bJtWzDOhnYQabwI9WNzme5dzJ5KR7UZrd9Y4fX0eMYwhKpCwRhccLAoorK0Nk+60xykix2QqnRBSFcivqI+spwK4fQehtep5EzMc0LBcWSN8Lnwar1jN5vUtaOaydFQA7YHMEuH73G7T/M0uyDehiA5QsLr7m5hLgHoCt0eB+QOTj8hhBbbZmklUtWyHpIrZgtNWwUaZMn5ypD5Fpp6abelspHYz+1J2KhkVktCFj2eezm+wO8szE44427E0htq7L3RiAO7UhFDyvbSv2rioZkLUj4GOLDVJXcEJrkfyJK5lUxd04gBv+WH5tnVtHBj+B3qamrYbo0f6hWEdulTfOTFtRPqiq+57wzGYqI24hg3EEmR7d70Yggwt2HZdPRgWtpb5L9XTa3XuwD/Abp8pBMnukLwF/Lzrvctw9DJT1iQmGnBh+iLVcn3rSG9v2cdV4N/rtsftIshBg571HfAOb0Qdwo4/sbH3hCs3lm8WVAaor7w5eSn4R2j434ebdRnbRW3+TvpUKCQsciORdB5ctRsYr+GEyT7vEgTGx6sKkvMy424qrhcWIDNpvBSy70ozAGzfACqwPTBHU1ykcR0MPNn3sXFLVikTW344cA0EixeRjgQv0zHSgy+fwyWrt3FK72VrGAQDO5FTcFOGKxe4zNKdidSUZQQPvnAndJkQNCmVAOPSk8QhD3Pa3wxAUKRRfA3ukzDsC3qJfcDoNa6r78pTFGeRRATs5xC25fWwF2JXVJpGs1LkEjWwk4N3ebMyEZoX2Plbzjlkb1NyA/JCkroFIdJ82LNgTpv3J4x9L4QQ0tMYcPbR8ZZARDG2krNNa9kxXkJ2sPnI1ry214q0AClZv0c+KP2s42C5fp04bVIK6Ah3qEbuiGleKJKPHQGqwtsBUqcZ7Im+/uZvHA4STvYFQH9r8jMtVmVlPWgj89ezTCKq+zBvNgMmJbJ5VavafpvROx8C4LvH7q1FwvVAxeI7v8pPQP9cXr82VcRQ9ZJeky4N3oRKMvB78220M4ZwANJ69eqqdQDRNDJlK1kwLMJ5w+lVHy591Ox6iwUlr4Eau2YF8AogUzLneiT3ep6MDIQsuku4oHjkwN6clqjWP08c84oDNPyOlfCiiyaGfB2jif3T9xtKCYSfXe1gU3JlfxK3UArmO2Ecc/Pe/n9mioT1eDMJLsz1Vt9+wpL0d8749qY1AIigv/eMRfCg08Ou30ZT+cAv8GrlUQcQyOTuTmN5LKTTcdJT7K7au92mydr+9P7GX9Hzx/8IksclXlYeWWGRXr+ApZXrYGK6I4rC5NrAyVs+M055hT6z2SHZsIgsSe8l+Q1kwQPgZmOzSfXd7JJd6g1upDh1Uqz7J/EmNhlq0JirRDk84fUKYIT1OcjuY1+3cj45tsegcV+wj+v7bpEKj4VWKnZcI2cAdrvMhdsQh9l4SbdmbFJJBhdeZvODmbkTgFiIrfL+9oX1SLuFPv91i0//W9Gw4AXtSi1/cOGuzOHfzl80K6HLMLzYbhCn0AewP2RRp7QXOrw1tMckKy/RIS6v3QI/+KUtXUBNhwnrgXFIFlDxvHZFKtQOiXBuqzwMel8G0pNpWUwMTyvwEtd6/FmqRUntjM30IBawjQHfbsywSCeGXROfjbUbtRxnJ/gYF14ZmKKtbdnJ4LCO+Lr2borFy4384S9lNcm0zC6zckalkPrEZRQVwu3kRDcACutpSizSdNT6z463l+bXtt2Rrlq3KXwmjnZ5Oce/2QvFqWoLrPYW0MgzZTCQOlxGSaIMn1/pBdI56XEky/kTI/OgU4r5psQZ3xJ/IHG60aHwo3rScHQN/cTco2H2rfjQe8WS+aFpo2Abw1JBEvGkNPzxiedkPyJFJ4W0itGFkx+/OKGuE9HhdCfJyGxwPPygO8nWSY9IfvpcOpCDUnPNEuljQaCIV7Ln0tnlCsHogktMi33DeQ3qGbv9BHJgEWtWHCB5AYER+H871JYDt2O9ZhVZARAt1xfZscbUGdNLF/70GEGJYUBFE+EC7LjCVhNbS0RRZJ3iWQJojzYfz33oYJKoYyMrok79YbrKFJ8SJQuymRe9Xr7sQEq/WK0oZiXpssc3YtkXb5/CK46Hkc2wr9BcUGbV67zG8GKYzzyHGRTOSdDO/KueZkSobofW4wVsUZf4GWU9wNDhprIRSUuPBLVAZgJnOmVkCPBVuV9jzYjl0FYWi9/8CDzQkOdhXUaYVzn/wBK0Cb6EuVuevd7+tmplP58LrE063F3RUn7mAu2wyBR5L6lUu36kUHBTCNN13DV1cX2gkNw+8CxnhS6XKUKiiz6UbotHUP/sZmXm1J8fQS3Bp7LVDdUgj1iteazcjpSWqHDeBWUCRzcpUw2lOUghAGNxXUexU+gX/14NV1+PYWRcIF+VrybzMRXoV77h5+X1+7B3asyPfxtHMqsMkX2AzLRZrIdAQLpjxnQCbMZeZur3MCEzFMOd3eDN95x5vW0ISjrPC3aL+F5bHfhCWIfjhesmTvTVtMCeWE8S4VKnHH7tI/MONLB12RgiNN6RTkNBqh8cqTwOALu1kAPzUTNp5FKkVS1kPPEN1x7AdlvlYuBYHsaArWfoY3gKFyOK+X0oriXyvOZ9/cmHj7MV2fZZZ5kIC9EeU2ZiRiG8zmeWCmPYwkShesdiJ+KYHQZWxTfgS9W0RNf0ND47R55v8CCe7RECLf0YCDrKTtroeztrjiVXrcfeCkrjDOb3I8Jp1OZvu7hpDVPSjyaFgGJwkQhcFWM4+2io9cwW84bCxqAAfxeuzBjLA020n4ygS5tJp8zY4npM+FedM033pfpyhmLol15jcmq6CrBJusbSL+lMa8rzVtHa6FQXVnxSbb9lG3MPdUBkhI6X/cakrKrfeaWqxk3aH6DDmDqioVQ4IhTnkFXBzcYxVkVr90UxnttgabJfhcvTvk6LRmyQpE5QEpMi2rl1E++L6NAA8VZrZ59hW11dWGd+Iu4mvztHFer/xIccMX70hUjgdq9bdVAZylFEBQ/s/kTbbq9HNLYSxk+u1WUH1akDpBRLk3G809G2cA0/SFFc0HBCImu9J4fxbkh3jkBpTYyIJ84m3TcYuYDS9FDBtzDdcg7NNm+adI9bxN77W5SrcgXpH+IjsUVm9C1BgXeH8nr/i0fQOwHMyRdgf/L1XmPXFZwGBuwRPDcM3h+Yehs4uhy6JFoDM0ra1uA5Hld3xtzLj60NRUcPv01Ow3N/22YazoJtRLTNY9qZVG4wgI2cgEfwjD8c47VG3kuSRe+9catKcvAUQ1vpHiz0zyAIU3VYZAXKP+0TLVvpn2vMqK3W23d9UTymBJSr2dybdPvsgUKav0jDpZ8Npy3QLY1nbbo+AEkWgwaXH9kcKRKE/kFwdhprjjsGvev4Ee9QqJwkXlOGp0sNNiAqi+JwVC+vey63zjUu3xwUuPYhdb2blFoOocarHIunVsfqOpMIhM7m1tcC8TEAuUaR3jmTRcCQz/+Gq7gHjIqx1PU/RY7BV93Wfdg9k+XQI8ewI3e/T09X1Tb+4t0HV+terSfN0x9nrah1G+RLWAo8cgatN2Shp3IHlMmVnaHkoG5sGUC5dSqIlqKPFPCaeGehCDYu8xW29vUS++KmwZqnFAceo2nTeyxrYllSgHcMQ/ny0B7fUAs2CPVee9N3ODanA/TxPYelL2OmDWDXKWGVmFJA5WOur3IyMg+6X6PAV6HlXyfFqHuRPlz3L9Zprd5Il0RHMsP4qtzFVrIXp03viN6vzNjZ0siT41hz6VWJAI30K+ZM7NG85YvnPm9jvVqkHYZ1pLTlI9X0K11YEGVqWXgHECb1wE1psA+a4gM20CcmH1cQZUf9bFHZ0zVDvYzzQdcRPKNWZPCe/3Adm9QSvwYFdgq236zKxQwMR9btsjHx4Ij1B15YwCk+tmhRCY8MV8bi5znkMocCHsiSzgfFYauWuaj0P0bJRMVmWjYBYf/2RfNJAL5YQR99TLbmjUgcW+oDlg4vRcai7FjKtTfzmwrwzKEnmLnXPlAU46JHSM5VESnfFST3+BQovcFBsBXJ9WmYSa9jX7VFmYFgR7Akb7XmCruEhHHZvPCDpuq5fl7SbD/1xGGc/yCvyOTMZN8MaGoYSG1bqgbOGNJZBWbnFPtICop0ZZlM0/1xqSFA8BfP2plNfFu6QLd6fbDTHTL1nvEjgjeGxYZZ+HnZbsyPDmsBMl+Geo5L5BJd7bt+8Zl3XoXB01GhBPQKc5pKQMajnmuTxBxlmpI3u4ubHe5uSj0iDWoVNw9paQl9BP4zqA0XmUqnmMGcWasvnqsvJ84YKCA5xiR23NXSV6xPoS4Zpy4IGvvpyebO2E87SBOf11sBUTfM77ofxIpnMslemWNe3S2yOTEYc1WVgmVvB1pJxVLr2yS4SNlc9Li2kmvr9KIT1Fn8JaGVDXGLF5zSqjnnymnKYM7H7JAQ2j//4hJiy3Ad1OgUbMIShQ4HecuI5J1Y+YnxIaSlmlBhZLUm1mVyLhqkr7RSLsFWCL45Sv9ha3ZakdGEP7JYde/gwo4020RNp5sTPdnYAak7rTKE4zDKI9YJJjMGzTo4oNIX5dRrSU4RXaKPbEZK0hBKqkHHbNnj8rO1AnMr3hftk1FV6ZPwp8ZG2DolqX0dun0/EO4KBXR/H1fN/VYV50S0uwCsemxSReNDZarTBNLmhzaIVJ0/8sfrp/kUlepnzHKm75o9OPHq17Ga/o+rerkjEAaMDt8lOuuEvkA9pxWLAFpFkpnvtQJq+t7kPEjdF2r4wVxSQzo40GF7N7cA64lLseaAT9aOT/M5TfK7ZKULgw62Rdl6gyB6NwC4WEU1O1qcEEfqZlWJyXO7gcQeUOyVT3vWSRS5tm1OSurfzKvU30ehXhZiH4K5T+h3FGQZsv8bamCULLHUjP9NY2LCizZ0XcJvF8CSrgWqOCKoATadejiU5f7BHoszIIVVPVVh7NIL5/A0ESefGbz41hcm/FMNQYJCducF9Mw7OvbSSGLNbnCKZWKx5cr7WgwfJRmz1E23y+CXUDPY5UswqJB43G0hI/FuxEv9U/JOG85hzAsPc13xgBT/3i/RBy34JZFtSQiIckc4/akj1Pg/Xb7H2KfbAzFk1EUHKSLZqoVuIrLTqAFt/OicuEakj3KVSsip4v/jGttF6BsCwp0BIAuA265iA+zyAPC+UKFXdkqRFN8efGawaZ2h5FO+EpEIUKaO6xo+IMxcV3KNuTfkPoQmKN7mhsHez16bb/QYJsSRCB8hgiuzkiqCIAx14p9BfY3dusdHuzTzPaZ0dlocxiEQeAvNk/Vg2bneiXlklAyLTCNaZuZY3zgyk5Vf/9eZT0YTRJ7NRdVvKABtapRcvVqYFrwkV7mNzzLCJdRC34Ykg6KitLdp0geYKEEQuPPsXUJ7TP7afafEbc4JDn1Sn49dHM1N2d+bJ4fKXMEyqc/qtge9WH3qUdIaHKrI4Ka+vXNdn6RfA2AO+hdELlnEipHC6zOY8GZSFNrpj8QwcpA/d9UPUkT2CgQdD0rU48RhDHsSJt5jQnEhkHdOnlnr+guwKNsO0YZjHwLoOl9nCQpY6aaJwL0KHrIoIioQKdd/CmTrb2GdUXKPHmhYw1zWF1o3nF3d9X9B7Js5tIdmJTjX4R5Xp9xsl1obU/KokxPnEsGvZHMAcb5K4MrlMOAdTCKeT4C0jOx9QsuMR+f0417nMG2vFeOOc8rNAbtrlosgmbC+IklWi1FCHR+kBWvcghCfgqG3bXBR/yCUG5wMPGSWPp9XuaIot5rhXc49uayY0U8NIRUs/CVueGwt5hnLxS8Rs/Iv1OuB87Pv/8JUDcI/P2TZGnWQeV+YnHa5gnwtIKS42OlTpfalRs07/tcYryMtLPqWSoNNfJnt8bVMYZnZlOFOKHx34Zer4i6mUNapJBrfRZaC5yscuIj7JBnw4/Wk5/skMnUFC+PsFp4ZBzwGwfmYzcy6YM0cqS91xGkQavABD7cvK0obSDhl7SxzHTVRWj3IZ55HumXOwT/Ix3tp4RFD0M5XU8QMxhNoMVhve9drJ0ZxUq5v9PXlCf3R+lwvVnCOCJOA7V6uW3m3PR0nK6NUraxl5t+0YfO9b23tiJbBiAPy8dxWv1IsC09p0KeRQleYNKT8v/O18T6Z/xL/LHWFSjkfObprOyX3u6srJChOMBWvEMz+x/wZccMl6fwTbWZ9/JQzwEWBYCgmjg7Yv9xvCBbxl1bfp5aPWIB5UY6NhapkkrozhCMpoko2xd2g873Z89KzaclrucsPNOzPIkgBJ7Gh+3iOMDdrqWx3Wa7T77Zw7MjE5iTgIQtFmsSS1EKPoycIE9w0rU6Utu0lPTNypQR1+SZEINA04pi9L6mpdOG5Ssg077dchwb6eAJLZZUrf1r8paDdyqA3Ntr8IPB8Q+5W5zsLU7KNp9tOCl39SPRnk4N3KvCVsE2rpoUs11CdBykJ7aS45zROK3x9XLQZ3cR9+6+nQkm7/wz1BYwsCfyoo3pyGzkW9oV40RO3HMK8ha6jotEcpJjAiz8iwQFXq91ilCGrFMagpq6PBOdotMeeXC70MroAw8VS7t2UIQ9yp67/6NS4z0BdokHr74NOSlnK+ueSxpg2/JhSkZJM4oXASXKPCYnxd82bK52quG+IMS+9Pf3slfcQatODoh6M9No47+vmLU/NXYZfXkXWr31Ydb9uDT+iLZ0hX3x5BooOnGS3BU7sq8O9qJv0qH8REVRWFn6gQL2hYIfFt8dUIqF8lhvcWL9XXgUar+h2lb7rZoHl6fnib7wkhWPuQECjwBMsegPqcnZ/h8EncLFGYftdk1KXBFuGThAGg/5LvOufmNo+NY0w/eZX6PWx3ZEIi3tNES7xaO2cDUohLuSwtfJQvfKrsPr03vI3Dndzj2tEwE1e2IzSbIgI+2L2ijZTwqIXe9X13h6c/8DgXFfFXzbAtt0HRwYfuQoCEOjtjL9/iNxPTv5OE166VtFbV0RPC3+rt7ET5JVqpgu0dTHA8Tp5T4yVhY6RTHvAkCLdxgncEHG9ZXdgsEEhjHw8ACQIdmAiOu+nD8Nt2snpW9Zn5qXUMPgcw+WeaPLNqK6+B4KwxDxSKb/YcGa1oT4jYZBTGySvP+PxHSXr35jh5rFk3nSlSDegk7bdiyQqK/WnOvx5owRmF86nYnmMp+NbMzhM5vSWG8Lv9vZoBbOYMAe80wHRKra2S9qkRI+M7o8eFgeuKaQxh9MXM+Tnblf9Rn+MEF1v2uf2gdCL1h7WEMtMrzVtzsdFcDa5GPXX01+wP3RvURc12VehGBvEZuXFikFLA0CDTFeGpE1a0VLuueHOXdlt6psH6oLr4yq+lKWDiqDjd8fFMaApiW4ag8JzHBg2GD0CyPNMw1otJ3V18KSedFl57o4Fm7CImEoo/No+iOysfE/9xx77Hca16ur6MYcVJdL1Ah1quDKTnuGBkgt1BfwjBLOpjPflxfKbb9s2ZkqiWfRsSFXOh6rkJ5BZbnwr5KVADteQo8eyxy3Ew+fWhb7hOqMzYXLUI2wdeUBSgj9YPbAsAhk1mR7oMSaJ+NhWy57gBtV0/RahcX6a+nWJ4SkOF0nJoCKEIXeoQySvrjk2lsSLZzKBAMyE+GrBOEECIFN59/8On9tbdvujztD7Xz8fNs+I0tMjrj5tpW9+erKdMCMy0Kjr4U2/EvucJbi3CaRzO/UuJ1rHoQL1TM+T4TRqcf2hB6mTUvih4EWp8p/0XUlJ+gbM5m+FjUDW8pSk8aXO1+fMKhSlXgcfSuwSrXvlzAhzbVVVK6t0O71AMF6vKXXKfDKo9bmTZ38SW+dOMdHRkfAg2THrFRtOM814eI8RGt8BbdXj/BUcFcvlS+sjv4UmmPZ72083q5of3ae/DdjbV1+KSZfjzPHsl5hY5wBqh7I2PrBHxMXetv92oRalFPYUrXFH2+2dQeGs9AFA21FGmOBsNjzOU9M1e+GtoIhKI9gsGWBdfuGD4ER9if62wcWdnb2YDygAqUlvIlEBmf8vHn2n0S72HIHwPOD+YEAmYDO5wMlCMyxvW4rTeZBiXd0PmhP0cGvYenayHghY+raX90mXOjODbv4g1RGvVNnt1JrjxWW1y3UzXZ067EiVe/lGYF6l5gcFdroE6EjL+cstW45aNWFmOxMWw7uepSBsOGUxfFU7KWK/Ks9lM3I+771rXs2kAJ1YhEIZsWVZa7l1xI4ZF4A6ybH3Pwl8+LTK6j8KE0GSpLd03zBpAkmTUcPgT7YOpqHwsFxDt8dB4Ijuid3yXTgX80IOSRf53GcNghnSvcnTBkn3J7Fq6C+g5MeA5Clp/olIh0Hbf9DpW9LkdMmtGjgujKRQsI8v5XBcSHO48Hv8lkGbjkuJ8DD8JK3VwWnVX3NgYC1bGhPoOUW9SjZkJfwppv2TRrbv6y6RMAAINpjQgIS0RWfthdNsSx5Hp+nePwS5rtOYdOQmNYN9gjut4RF92usBT7bQh+bpAnxd+TB6f5yYSVO1buXT0HelnbNgvrP8qD+vlTjapgqBWjxS22iqYySZcgCCrpV2xUdzH4scCxk7DsrvwnpIbXF2bTDuARj6wW11vGtWhd20RHTHi3MMV0OJxMHovnuHIP+O5l25OYSx/SsM5gGZ3w5O/bZUXiSrGGVrBB/IKr3DMvtO9op89uuT9WVZXEcsGe27aCSqvVBcHwf7rwG9e02592cTmRrSPgiF191Ju33D3b124+/nRqv0mboKXgP366ggt2LQJ6fieQbCfr1H+oQv5ClCLr1F/FenqckaSn0916y5vHGpR4qWKM9QzAsv+dDfHJ54LJCNR/dgl+KNMaadaGsIV2y8qL7J/FTzIj8FOiWntFJvdY2WznacgeD6OAeoUCA+1zW/ETKzPwuXzfm9WDP7UvvV0cD5PSOS6+WNSNhU+Xu25Mi4U+2P9VYHKLiTPkfCenETKRhTrz2FmH5Cg0cmwtR5Fw3LBI+l4iFMM7cm3461Og5VE+lo/9Kqws3o+gkynM8ZYj3n66tTZLFEbwQEeOOFHuWQpa3TP2DvlYn+q3fD/fIYelLrXfwUliDVcuCn6XyexDUVof0NePhIhdlM5shGvXszAL64bOqu4AwblxjHP2WapQH6So76FOXDh/7Kw6yIdGqh1gH9VRpMIa+Y0U7ehz77ONG4xsJRpve9dcA+AsC8tskfuxsVVcW42VugpEd2w2g/anccTUL3ztiiBc9z48A2eA2lqaYydvrrxJWHBhm5pqJ/51KRw8etz99zgKQltoqq+dZigZbt6I9++Hc1CeF7r1q1MKqeImb8LaDcAePleC3K5vlxAia8zjnJT9Hnsmx5yEkO86sAiP0v6pnos41EaJ/VNvKHMmo7x/bhxDO0Aycq+wtXRPPuVDeCJJKpJf48iRTZ9hDWU4rj8+9yU3K0nmb3ZT7WQAhI8YAL0VolYcXNpNzzwjJERnMOU9eA1RlT+fVLUbBcRnxhlfro08GJDNVTCPiCz0mvxazewpgBd7XYPsKtbti9KvausVnZgTEEvnWU4FUxQlPNphpCdfUHL9nYT5f9ICtQLUWJTjc/aV+qxOqNM7db2B0I3CnukgdZyMVW7a27rZ9AqsNNT7+geZLK4uAMSgAJaq6sIVw3kF1xDBSck9nS6Q2ofjYTiT7JdQZT8mYSvL3xBOiCfzsIBfPJSus8SBi00FuRI3gkb1c8oJexC2ZaS4hmsaubUzfJ1GL2xNgWkWa0U1Top4dtWO4WGKvzO5K/oEwyMpFPjSlhuILVqNdnSMlrXDrcioGGUfjDz9s+bQvm1//MWBpoX96tnCnwaZjugdlYfHli/uaVMKvNq/aZiJANDerlS+aDaIOAV6Dy1NUxRIZvBh1O/Xfk07Al1tnTJule3OznWoXUYkY3Jk4eYOycLbUUpKRtJIsDbQ0mbj6PQ4Is+kTtrpMAePqOwYx7G0ZMXq64hYNH2RDU5C8630moZkKTFzxpmVjW7t70wlJg1mjxIGz8mTu6XB/AzXnv52AnQup0q/Luv1ES0oVSrERfE9zkBoCIIBrLmmhasNfjOorpbx++yIs9C0Pt+gItQak4kY+i3bPExlsGAp6KtwllNLNE1O89jwXnfWm0fPXXZg9GM3bqFQXh4FkQFdfbeS9CugrXXxKCR0+Zoa+ElkeghVMKstxdPXk+oEfkFyV8XIW2QO//D7fuldjvySyEPsh920kLQf1skV5X6ijCai8M7r2uvXSbqE2ZgzsFSSa6jLki2MrsFegYThuuZTYK5FRcH7fnxKv+3p+f1bpHWgRgwSPY9grCcuf2hMlngPmhTF72Zz7QHjkVxnA8R7Q4ukuBAjxfRSt4IurKFiMj4SoSslvh228MJvHMpu82ncVNe0HrMkZNggj1zWftV+E/L/FRW4iijd/H81e2jXboZW3EBNwXK9CS6hA14NaCbADm1gCQePFQVg55IpmpvOE1qmkTqW8yxBH/yn9IdB92xfUZaEpw0ixGNHu15pK2UPgzTnnI6H5gcwcdQ1XhRIO7Lae0g/G1nT6+C6l+595GRmSQ0XeH4GGsBHuwicbmEZSk/am9I2SEVU2KiZ1Z1AygY3zf4GhJqS3mWVAb9B6RzINtR5hLPZPintgTVIOyBVNEVv2VQmVI/wCwUo44eULamX3dIW0o1rwS8DhsaxZ5hlRojHWcF04piV1NBul594q+5udBkSlQeSJBYSAgZM3zTFclE93S1SYw2xMhLhaWJic9XKjuZzJEtolsbtPJPT8aBE8kpl8aQhQrYvnTRdev5VR6p1jv8D+bg7Ibx+eKhk8/rGzVIYzWkNj/L989sBe4dq7YIV3/HL8sZo+Om4PmM+lJriEffV83iDlSrtc5tahZ0572X1j5AqJyu/5x3Uw95sycg1YkshhehnaVyIziGH7dAne9yOcDZyaU/HOOsS0hBmgVlsH283qyKQXoKiL9oLOIxC6rtkkFf064872F8O29Dc4MWw4g+pdrKvNEpHotSRydYFhqVQhGdYbthhG+qMG7edmKDyfiMl2VYWUSIFb9zIwa64HzPj0t+9aGZxxdd9kG0WYhbJv1lL/wZNeLEiKayyueJ5MJlq2GPUjIz4BuSbapgsZPQqhxnwrVK3R38blKhZJnFx4n+3Y2mk/KVOLcD5GrpxesbNrYI/IIl0oeYwZRpQc5/aQoicYihWF7i4H9uKHmAZC4QXAAvlSdFwpAlhUOCKOLnaJnu2TyOpo0nG7Rdbjq68PuTqaur691bxwnsf2G5WV6awHxllziJTwCK1x8/liN0Gw6rAUY/kMboT1mUdnzQLYmMUzqNNSib5GdpRM5lV/vA4InV9aWXUOyJOqmhkBrXMnHtNg6iuFAh8NiELKzhc7Rbyvaivm/SYfUuBH+WMd3HFdv5k736rKlJ5d+uFodgG911wliYCg7GuEq2ELzgxwNov9/yrtCQ12LuG2GfItgfwfABidE7od6FShHZ4e2N4P2+gNnM29yogFlY/GPJeVSOVkdRA3WM/izVSyBidUXAjqUmfJwMUW23W5I82u5e9afAbtwgIMgCdvG2f7oR2FNZP3GNQrangFuwtL2PyKinhl0AvLTzywc9vdTmMZ9gUWNnrde83QJWy6g5ymDkjRJkUKa/S/CdVW47AAumPo05/mTznSon8G6OmOqsdwFMoatv5ubGjCU0Ga+EBAL0p5jX7qazej5/wSPNsYitFmALuMBbN/r9NfYA66qz3zqD+eF/7Ud+IvlAyIg2Xp+aeUjF+ompT/oQY9FpRKTyxkYDmb4yoAptPCEInrRlx6MatOtNemD7hUBoJLW300yu3ZeuCfVYIETGdRiubHcinmMdXDFLtrAQpyrYccfCZVOnPxdejcJp6NPO1Nx/ORo/1g5uIXviM96V51liTjcrI1OQpHaec5smGtSnJqDGeJUAXZy42rJIbyk2jEPbqHVdZwywBUAkVO1grXO+bPIro4MuevyBXI1XxHYKhBhwPRkLtioNUx5BgGCJy3N3PAQ5QCLYCQ0eHx3QK2vATXx61NKAqgvPtle5zA+vhrnVex0tF784ma7AjUO49dcumiCkcbdjEmpXhJZ06xalW+3zus6+PWQSlCS99rrOtH/6X64rPiyKTv1u01O+4Ef+YbD82glDh4TRaseEXyVsha0kygkMihR32gpIQyR0c/5ZO9XkFN1QmvxRjw+YmSmZULN1pnNv3EkSHCkFata+og3ERgmxCotr59RMgNsufTsctqam63IjUZq5IaDsV4uGGrZXeCeMBvLgMy75US0mW6sVedBckeB2dPosu2P5Z/SWQ1Rp2Oj50IsMp/OUEs0l79778S0skBzfWCOAR2kO2FjP1Zkxy4jvCAeuomAiCaZcaw7ek6q7UTpmyes9sqQ262zY/JqGX9I9W8EBK7i08cfUxuAroZONhRKT0GcWwjpzKivWbCTn+AIOpb12sM1JhnW1qEsnCOmLgHDi6jCKtTYRJoL6uRAJZNMZWR+Q3Zeq7Zee9sxCWcvRbsO38DIGlfUSzdCklH7dd3h/gCLkh9+maw6v6QtZPDKT+kbVgmmCJESCwh7x8oo77O5Nc14E0jYbu4VHFMAWu9VyjYOc+mQpp+5keECy5By1AJJ+0eRHN9mvPiKsparz5ialHb5NQ08ai51/UbGmDF3H3XCBiyheex/e167KTGIH7cCubSWn4uPlzrkwtZovwGUc34N4PFKr3J8fRLl7NeUG+2NadxPFyDORzklYF7N75nBKps/D73ekNwdTFR6sBLztZubIrRFc3ULyNSNHbwAcvNKiK8kj1RLc7U2cK0jil5ew7YNGJt0l7y/KFhI6iIR/XH5jfiOKJo0k+miMHBhGAFG7MQ1T4QNJlrvEzE1aZkl/I5dqjT04+c4oZMu9+zJ7RyL2pCoZ5n8UvBaw11RxqImzK/hGev36uISbwCtu5e2oPYv8987Ubhsss/Pd8sN814dH8SjREbPSfEWkYNr7LwQBSb6nELU7msGZIz4bAesmRRdEqVGvG/mvRONJPfaDrFe69r29s1kKX3FvrIGMCaYT+s/mHj2XvB9vvUbjaAf3S26lcwlXUYlMhylwDrNVrpVTTFVA2L2DvVCtA69QZBTn8Uhbh3NUiQ/WWtToVsimxZjQ199fczZpjl14t2ndNJ0vc8Sb+/WyWwnzXXFoKwIkCpGGqDwIbCK8X1J7+piWaWPQlT1akPu3MFq+v07X4WL8KgZf32rWt+fqmKkMKVBw9fOBl+pjyibIv3Kzhe3OmIk0sBKuD+plXmpaUAMiE3GQeWiYCSFdgMJQKZtZ7Z+m3j4Qz/GsKN2TevwSlrL8IHJAKpW8es1hjvbau9Ovt/blXWw0VibkCT4tjsjyN/5MJvpVjSRtEfh0q+Co3lQ4/1qTmQuKmEjLWMbvM8RhYnaYHRamYCxGxkAFAHqNPVA9/cDPqnHpSYyN32FQpkO4YP6XIH7xAHo2sjlTYYxR6H4R/YMP65WszrgbvpIjJAtu7rUZu5FPxE7cbEQTB70WsLUeB0u3CcmWJrcAIjOxjeKKOqK3LzeJXDR4XuyCZvr9EhZMZ2rxyyjEL0MmgoZNHZ3AlgICgYmdGVglZlUbtCzu2K3USd8Q1ZbyHJ70goe4rsYo6utrm68JPNILmZybIMT0KY0GubIwAlXhG9rnx84VfYwI8xWmzTidaeDdoiDY3lf8cIDvXgneqKOmMISkfoxI4l/MCkaOeCLpena8dZLCpTEgTiMNCQwnuKwXCp2fhELR+eP6mVWELeacZ+9mLJJwKmU1hwZ+mtmydjWNgLuPWLelvd8WnpPbY71/V9+wekP1KxKitcV+t/cU53tHk7PipKtTT/4x6BKur8F0BCjht+qCr/Tra+Zw5GRIpVHfGzZDaicdMV+CRPWwqXQp80EkgpfrSzk1bcz66J/jg6lfXQ3wpKkWyl8p8Vsx32/0obQsvfrBLqEMzw4hXy1HAdlkYe8URXSc8YkRa8/hHBrCoa/6WlV3CB7Zni2IrKTBLMRSkUGyV0c8bwkuEDGV7wTrFVNZ72ao+OtcqPnxgx6fCguRpcszQsSb0JlW8osMa92nM3FrPNMNaqqMZr1eRoUSrCYE4c+lXK5i5QvjPmDcYY9ADq1OLGKu3CExXZIRDm3xY7c5WwXjco7os5PYZOoOlqH4XtISv8Lc9l5AjSygVfQKRmQWUAz8HmJuVbGLcokupCqQq79ktWiY+evniTmocmeRMv8xsebDvba7tJGmh0P/VdISDluqxfwyniDp5saKDRkt3ch4ualxzWaRZ/QEIB0XL1N/eALctlG12cutEK9XoVqRAwCfS6KMzxLW0ZsQl1CyBW9B+pUy/k0USU3oBhRcfdMYJ9GlgPnCOqhg4qAceKM/T7jECjq1vqfXaRTtoVOaIMPJdbyMYpDLoio/vOqhG3d33uZ9RVMoxNy9+WDx6ywuPppgsRVP8y0au8FAlxlqpdR5fiu3vHFeOV6lCAwVFiTddWdorIB0pyA9m3doODMx/YH5WI24RDsjqr+NJCtVmaPhwzMpA7TSyCJctmqH5EUSxZ2FX0Ac3DnjO80+uB7s9wBKTXCDr+is/AUbwIBkiHyvd3HIR3tl/92aDnPMA5tLGa20bIlD6i24ortTvk5+JeJGE3JOPTQgqHqkzqBv5WH7t1ZciGFjf5yEMA60vprgr1I5L9ph48MjCeDsUq02lD6N+on0dvTKCMFTeep8Kt//ledjpOjXSx6FMxtUlBgQAfxov48mCQ7BNJl+JCiaOeXWGxtL/8hEabMhutBRLZlD5H1L"/>
  <p:tag name="MEKKOXMLTAGS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z2dD7pS103gZfJ6l4USC3jqtWOPR/ue0umjYEY9KlLthURXCUyUuZbmGDPUXB2idlVQc+R1c0j6vNnMaKvr/AghcgjyTjoGcS2U6lyGcWZbvoYqQsrFJ5DN1RdHsB5gZU4BjQJ6xKwDUEsW8X/QQ4uIPkrhyjIfLLN7ZR3puqzBiN1rMnctBA0J594at1EN5QJYMsPufr2eabAYzIDriNpy1GurybA3KWqcTPRKYh436jQqOHiPaCJtAtzpRgB7Igk7tw7BcBhai66Lc0jpyzFEK/4NRoFF+cso+ThI1HNgDMZbpFoCsJQtilLqk9nQPGX6RXGboCTf8hOOcHaKoTUKF81dro10jOa8Xb8mBGZBE+xk1l9MAy6INl4AKPS/xOe2ATT0O4eN3fZNgCSBlqhj2IKNKNZDHBR/x15iTwJ6jt4+DGXIUPUnB7hnT6cV1de8DIzbmCan8SWLbxqtwEPEYK/frXOySMQP9Hq9ED4tZcQ4Q9XF6VvxZllbNqSHFBkgscjtXrGq2cnKuDaqvohP+pPJvU85d3FpLc201JAWBXm9cXoGtZb39RSCfIWtJOb8no+wjLhpyQ5hFgjCW53jbk8GPcHYBn7xArCBqwONwmCjCxRwnc3pVQC4AKbC7T0x5FNyQdZANHf9FSrUqFdeLwlpsJHrkvmagBht8XYSIe90q314i0FvO+38pCARTfVfTL2AOOX2VlyvgX6tw7GLvbZCr+TFt7xh6npPedK9Ik0exTutY8v7Ntb1225M+xgak+4hCJKEQWGAjYLNN+OTi+S3VPjElFQTPv+ijU30NFeV9fztdoyFbPa6pkKM211lhrgjGZwsPRUncpzv7lVHio1fAEwqS1zl0Ps8/usYAYWJVy9uLTAcbbMERrNWpkvrcwReGZ9IA4EZi9WDYSqHMXH9v/sEmx+mqdPejXl6ncCwVO4BeoxZCFbX1bnM7QdWEMoF8Pb9k2M+stGALSpaaP+WT7IgyMD/Hew2i/vR3EGTRQ3wupS72l7hAWgf8ncJtA/x9qDe+792XkesMvboyZKY4BuuVLQanq65qsaVFBeAMadimFEl53QloBIV4nKHc+Tai+IlpDIoFoaLVFfP5qrREHaZDl4FcxuldLETjJIPLPxKn9+2HnB0ljwLr1QyXrwGU8d008rD/PLgQ0Qiib5zbELqZGRVdDiJnVOO4FQKRG03+rHcaC/knDZcev86N2J7LQAPQGLR7F1QWg+71fMbN5cfQzln9EWDYkTJ+dnV80Cfmj01pZNtcQ0Yk29JcTDBDbPRGBPkoG4aBb+hBI1rKtiTvDqPXbsMU5k+4TGIJAn540XvSsBeQUu/0vqRsPHOVdU1XMicn6WANZUyORLEYfwyETC67TWKIXcX705w0DKuaa9JhwikfKMgeRcGowqr+glDWvaozIz8svzpXH2SL2z60ClZRAJTiiZgZAuksp1T/yyIoq/5aWQHvf/zGxOAjp2JYIn7J5YxfO7H99Hr6KH4/ErKFbWdUrx8ivfRvO8w4jNrlSmdEuO6ibXLHyuUhv/oikbj828AUD554GnU/LR+4ev4vDo3LPluAaNR72c9KM5L+lsba45NNVKIe9RiyAna59nrq++/emu5D9c19NjrZK26DTrZyoesP9QFhE0ZtWBH3yBsqw3Dejm2Pxg4JGAVGcoZcDCKUcV6WxA6PTbcC/q+pCvj07tS1wflrkgxCw814Cq0NYeNqWi/IRfpwDdOUEVJHqSOLrlu/bqLlV19m5gNPENa494fE3y77KVdfZaHVn7AHKPYuI7uuuqzJ2bDZeKP8lMkISa3I4fDcnBq780b8DXIYYio5VfJvpORxFpNkOS4MyNGjdg0BMIqlA4aTWZu/YybB4+4voZ1FfpKn3veRaz/bkG2iS5y74JqYfoozLuwQitbCNhayhZAhrJ8Km3voNPK2lLg0p6rpKfCd8pwTaqxNrhDWaYKk7F98/a592iG+iU89B3unyp3JNxkOSY3DXuW97Mho0eyTYifexvH5Lqq6dk7g5wax+eBdpe28KLW9MLywQ+5N6HgCbdpHge49BUCOQbdd5YOMcvkIMOSz/PojZv4utrBY741au9V9cxHDa3jzDa/e+UEZZmTbEpuEscI65lEL5MuLqZXPZU9iQGgauhDi/oAokBUjzkYqctUxAco5uZVeBhdduk9M08L0lJbNVQOQMvHum1IOZp6zKcvbW08jPnOd3IuFAZQVCcUfRdId7OLBWgDzDQ4+aLhBoF+oUicnvkZIeDfkRcEFLkyBxQo51sGgBbtYAqMaSQAFswLj8XWwmosk/6pxrf08nM5pAIvuz5oGQk6IF+75DHri7xvnifPda3OmMljlVon96NKHt2tokroRZ6bqxjrRhFltQ//Cl1QdXyp27u7S5u28N3Eb2f0zHkcz3+PBc97oJxv7SyuVf2IAOxKFWN0kSUC0SBexNiW71k+G0VuAkuqdRzooHOcurWVjr1NT3dg0EDsSoOlxMLEzo7Woi+VWs0p0hijdJGnTGov1c+MwIZhv60gokgKmkVX00Cd4lkszQLz6w5y2UQlDgAl8kqk5AEcvWqAAHOBsz3Oo4qgoj8ssp6Rc5nhgJKiDDtY5gJ1OehHFGMFg41W96eqm0a7h5EHzYWXkdU6Ex4T+VHW4ww39qh1RY9JkfkldjHxU9IK1Yb7nkkVtY+wWYVr6z4JtpMVkLMwWJwq2wskInOj8/bcBkn44Qpse0do5X7Pvpha0wlKtMzDZGY6DZ21RdVUW9vjoHQ/Wjemg0f7TlQTmAC3f3N5TMCNhq5lBh52jQlWCrWIY7ZRic/1B1YH5pEvkNTECjpmj5fl39D7wJLnLzRYuWfcErD92c5GFY8g9X0uAu2t3elIdJJcFY1EipsOPqGxu/UDxmSJUxFIKOSKMyUq5dzsDGCf7I7jWIUxNLPQqOzNY49QBMDE5ZiiccuyMCTd5E+RPiqkOOvOUPntqI5UwdBbJ6067svgkc3ADMNibwXBI0wh/MBqxQ/NuYHfDsBW5V0sVWgIDwvbIbAgzPiFlMfD6ZlXorHzHYlB3boV2MFhDFvMUIkaHfz4Vi3YYkf7cCxGJT5PHEOhWyTqihqLtEw6nihaSGYijjA2EI9rlqB8Y6s9s/mNziW9XZYrdkPmXRIRI6r5ZDhbSNo7Q5EfnVSL98E5UjNeBKkA5avQaJXB+SExYklrCf+tCKOhgMIpWriT5Pg0idVZ0T99uiY7wvldTpoKMTDDVNDunOMYav5swRpBAwfuzV4kDKznABLQujxxMIEUaLIcx7wZQQFGo5vC+YV/34pvTHKPAX2Qc8gxZ0GNtm9AFvTv7z1M/WzpmCqOIoYnOBMP/61DHL73LtppS6SuvntJc9gAprt3o4qmz6v/QSlrnTXhFpqAyjFA18jJV13wqV97R+Z1A6VnTDiGpy1/SUh4IIOxTEDV7yBddZ7yy/CmcJZZji9Ap83U4wwcDO7butBOHowbBuE+1SY/muv1bytfNoE+bOEnWi6eIDM83bGzRyAB3hsSlSosf9IPxJBcidVmh+QQ2vkxrYk6mRNap5DyX9BKsC+p99vxnbPCZyUWhRNj0XsIfHW7m/vGdcLb13h/rhLC4ctsooer5ra/yeJdaqhzUy9raFV3AJInQacAJ7m//HZiOzvpP9B/H8AQwpTTr4jytaHKr650Q0/Q1+90zJ0ct3iioGaC3oMFy8IbdYbgH5r8wAPT0Ccj45TtXNlox6GVf/6HlSO9eRs9qs+sQbneuKYzxsCrW+tuvFbDObR6rT7VyLylM0ChdUV02QGkftsgTb6msc/fN1oSyVLU8ULXQyjM+eYpCnNf2OB1GLTNnRlu80z6zLM7GF0F0cXAlAdajrtjxgO8AcY1p3xlq5+hNPaspDKgcG5c/rD0gWhkiaXzMFlsx99ED1nSQOml6tmcq9hIxcehlLxprhlq2XdUFBSGpYpmZ/Z4ysqFSQugztLHFIZBTshlfBEfTe8o6lWG/j9f8XK8XbLVq5fqcDtCT/rX6USkbEq1bEfBEKvRWf/75Ki8OS7mVN7wwL7/EtuAEYInYtgxMkGeXKWYPMXec1QPPpWym6JGeLX8A/qMcfYRJOdQzOrqearPH9X94O2X7PpROpQ++g1Rcal0ky+fTco888OmNLMEsNizMg9mZh+bNcyRtXJlXwMEyhSfKoJCHlpvyzFYMnhRWqvMt5c7YJMnCZ9S2dkjMwvr8Dh/+CARrDHAG3eB28gFwTwsVdO4+wgdfk/fo5go3xv8OANjuad8Km/sHC9MrFt/73b+yQQQE0A0e3RtzcOSNtlEwR2vlSQW7DglHl7VcwKWgU8nNeqfNZtn2b5ERdEDVSTD4+KcEww4zONhzyvcLWfbQx81A5KB9T3IEofeM5EwoftVp1/UveApgls6CeaMA99Hx8u+RRwH/7V3NwyjBbF88JgZ3wycZAHue6Hvd7EFmMGpZzNUvdtH2c8jhYIUNe6rCHglcMQRvA9HxJNAhQIlgHtSSqdp8nFw1QgQrQReMnymorcLYRYJf2j8R+h+u9aP+Orc8icdR9pwo6YbSH0L2jkTa5xgNg1SeieK1B6JV1HK46PzmShCnXi5aACl2urUBBUAxU3HUtRKag3Wn9vj8a163zIsmAWY7eH15kWRT2PEEzboRoZM5UukoulsC2I4ZAeV0kmMy/d8iGVTMVatQcO8ROfhRKW8VQfZdQkSA9EBxwGLkMHqtABJfhYoUqt7xUhp8L6rrtno/xatHCxytmQmC2t8N/46nAPBDT7/PiCyaQmdV5c4wOhuaMc8cCL8R6n1DBIipBQPx/fmOcJbtwYZCoaQ8Cq7f5669gXmae62x+mLsAZskTo5t2gv2tyhavhpW34cIxaFZIyWRHj/5NrUi2W1/wwva8Jpi30/HMvjiVmcsLBWhkQYlH963ajkTBhf051i0UsoA4GCasJmf8LSik5Lx/049TMztctUYLYwCytcv8jopZktmADQmrE7vFEjHgTPddfNzwWar6jaBQaji87VibusOeQO6V7X7SBd0A5uuxnw0m+srCSvYQvQ8TM1WEgj/g7HbP3AJ7g/fd/VoCLsrCq4MPSsxJlIdj2BuVncBs3fxvw77RtwiNYR4vsvEaRmjgqxGccvumot5Ka5U12JR+s5MqboXPsNQ4IF5gKrymLNSlXJHnlaEXkojLiMWWpQQxhUNdNF6+wuCD1JBAOeqGKv9WZc3YufHR9FOSf1YLaxJ8RPDhmhxQ/qdtMbYFtQmEukmv6DuX5ctLVUi8Np3AzmxN5eMxjJpPFqMC3vOovFHeYeDuEuD0tNRLmOSG43DjOXHAseZ5WUCGg/ig1rt7HyNbxNRBu2EiKm4yBF0oc5KWdWphLcXxtEpLo40SEmxlJLwWMgw+b6fQ4qei0hFYAzXxHrB8IxLCZ/CebRK6gh+6yJx84/aXeOXcTdDyiN8K64VrTpuk5HFSWRHRebLZuvlyXOdbzWiBdDk0lY9/Dn7QmeRy2lcB98rm3LEYASDqJTfRiMyDOg5YNCUWXeoANc6t+ATDtOyIonlZAOMi2hkk4h+zgTx1lPK4WQpTAuaCwBE69FZoLXuP7dK4S/s/nhfwTlgak3+rirujK/7QHY2V9uqEQKuS7d73CgD7zMhGFI6emcFaV/dhwwED+fX9B05opFXzjgIC7v0sKsh9haDfiUayddUMk7loDqVwSR345WsbE0GcU4OXcF0qlzG3Qdi4pR+lpijwnqsZlJe4IGLBtC78kRgnopadaPoBkp0GfbTFGDt8o2r+Nr5ZSQouQIK2vVRJHfSKh0x6MtZaenvcJfB2yieXWuSnWnUJjq1C3fTTCkl5XA1vDm4sxGaWqSTMe7551ZmxL3crtSi2iaQ0iFwgX9o1FJI+5hkOxM4ZMVB2wh8/8RvygF7X3FU9t3HVGaUDTHQtcThcUjMMtG2X3kE1Yjlv9fQ6byRrE9oIXI3S1SO9JMEqllfMcoy/6+VMCNFkGmoY6yPqbv0sDheCg57zfC6R28JU/lgQ/9x8r3wWM/FT+D4cfzBNzR1+H/ACdYUkXUYL52HWXK+R3onTZZEfN447LLiMTiX0X83xVm0YA03b7Z98WhcRygZkcqhl19koguaNn9f3qsboiKJ7p35SDRAUy70of52gEIdN7j2vIu1F/AMZ+Vvkm6gynb9GBnvBvVdl/jSlGM5bGQtVFWIurXXOXHaTSaZuLnW8MQs41SjU2bhlXeFZhT/GI5WoxgNbtg/VB58LDxj6+OXbOQOqTcmkL/Z3u3Ij+3ta5xUDEP31dtkNTN/JayRe5I3bTv9Mu3BMGfknrzPg/AgKAUaFF9JX0wG1WjDBDDiDVAaeHdneZJcBI0iThcIZcg94ibCv4a10glydRb7Ova3zJ9q2c+wMDsDnnO2xGlGS/uihA4WEYug2gWOvlt90nF4MF499XGdvkbB5/OhZYxcy+OiKxQT+r2ifHI3gI9wRVQ3UahwDf2LwjNTdKAXxN9ne1Z8jk1vkJW/RZ3faKZOdfzZH2jTn8czoLQHuCDxuMUicbw9UWNoxkDSw99yBNUbSoDB0z2iQQ/bU+ce7rdxOrMGHbwmjRQm4lpkwB0XDhS3IHdTlRj2Y6BJK4s3j5EZZMHsC5n3EgGzhqGsHvVuyFwz4V5U5j9I+JfzlfGM9BLDVgkiAJPOKlAS/UpIDhaPF+JTk5zRxO2VHiH5NQoQHQolYYpMzDhh6a6ohgowMobkRWCog2NBldDsD/4Q2IBuLED+lhh5CpkVWIntHTX/tn3n27QAPSSyMOzTxqWlZhL+B/kwUxy1KjyNSI6Qi0aQGRxYvL4+/s3VQ/BrUDBklsa31j2AJFArs4E0+54HMvp5EXG6qp5/GS7c0fMrrEzA08Y0RqAogjqf3BnhUwRd1Ao15gaVW0eAFl30pF95RtgIUeM8tQJuqJD/KYfz3UDpqlmpGgN5owD+P9Cc1xvray0ylYSCX3uUBn0ozlXnRIzbLaCi4bCviYMYFeMLI+ngLHgAK3T4dcR+ZFFmRBJMWIZph41qy9mF5UZXD7nCvpjN2m7a+YDgqMyKtNZSpl3uHtSA+S6eTdjVqEjyGPED8DqfyefM6h90yclI6d/GcBFvJIyT7Bc6JNLuD1+WDR3bhb3dDsKr4xcjn0EBUjFJD35gF4vcvc6hKi09VAUho1FKJFOAyC4wWdPo28wo5gcm/Tb46nljEPbH02W5tpBfoFV+sPyQ005hMFBqgia86JyklUFAGuodalH4HpuS/6J99CMpTcWa/yk4Nho60ACsBrvMxZf4197YzgP4hbIoWbG/XF2ATUpAI57czmk2qlkI8lnE1rEQP+xxTMOOt+0Qg/1zFrtzSb6S6NgrpR2tMmXHQpxAX5xxgnbKJYYONE2O2hNLRULtJJW1ShqwthNcDS7ngFH9rF2c9wHdPkOhob6UgCjMFlkpuRNB7xBFaTPvuAHZ98WaQDdJkN5eC4MQ/Tk5mj28A8a+3Jv69/5BUFXpTft7rv48PxgPNUuA0/b4D238d262dQGCewVKbBufTEm+TuBIvddZhKcCvCyeZPuTykghWVd1eWfDgWxstC8AZOhr5HyQ6gDe1A+eKX3wfeKSnK7zmDXSPmuSsiOBfUuW7ov/NFczGSOMMP9Aw1L8ppUlRXHTetVC+dmxPX80wF7YNbLY5jwJIWKtrJlKhHbmT0KOHEtv7ygOq7bz6Nm5U7Sdo2zZPXqundcSzvSDlTf7VzeidRjau+7hwqd3GiYQMdMBMrqS4ouOzariNP6noieRTcrpDobb78/jYqlaNMpPk8NOaOrA1yNqE5vhewgjm21fxSYsCkQmMRm5zT1RLXKUMDho3sv8wRs4Cm1sbrHOuaztts9H4BhutqbVxRD4eh28Be6ntbxAGCE9bQ5B5H6KzI1IT8RyxOuHoPXc7f1eqcmPmvqrF2TemirsYPZigSL7mBAzauPNEeSz/qIO/fExkF0rbBJRhRSTy8kLrxJx4g0MpWL9bBstqREmRJ/GvtmJ/zVyPEzGTVZxbMaCixY7QKipcE8a3cw8U7oOFpxOjbQ/CHjwqUJVxSU8YkRiEksi6+9XcknE+wX+MZjOCRqxUj9Y9MUv6hd53exUmtJ1F3l9gc4XJc3d42i1/bhQfIiT4QxBCqtANbOYyV8jtB1Jvra4ViKL2jg+jJr8h/uzWYfgPE/rnzlpEksOMO8I9G3NjovBEpGd5o6eFp7Rbw6F8cRksWs4CEGPbnojBPIDMjKb5DjVu4k5lUJL6O5zGXtAOdm5hctak/H+g9jG5vDD+xW8aXgNsat9v1q7SK9r6nwL53GILf6AyJMe3adXLGpF/QJF3BfRgRnXKJwRBHIEM7um5sx7wschr5hhDp1zlqTAr2HcS9kWbgUyMo4F+i35xCrJ0n65yrKxJvVXtxi4xHs2plj4+uFg6Pmm8x7sGICnKGDrLlf9i4/ub0VFeaKdn7COvwSqYH+8AnjZ16ICsjiqUS1+6D31rvTYyqh4Cy6Gw6JdFCY9LMLoxD+hoGKDwzAx5InYnJxypZrDFE5B5p2od6ToYLdmBd5BORf1J6pioIoU4Mu1JuO/vG+8nKaiXtbXSfKlfSk1gWtr2Ce/ifYhH+Tfs0QZBX4XNq+Y+J0D4pmjFQZ4lspT0ETwJDOFzszzahV2pIgt27JtWrZnH3mgq766OXUmDFFdqUwjES7i348LvHyM3NZgFUsaEOH5NwJanVYncbGoJsNua8gigK++OnOD/Vzy1sIvhy9osQtVsrYVzB1qZD6RyRvIUkhlnd6IlzFiJsuuhBSy7N4DnprIaXoHovYifzvOXCMk0YJFxjFEnYEnDiUnUFBeFhzkYj48NEwZihrAsM6qviGkRPV8GQT1QlAsaBf76vGI2UyCIcM2lPcU1oEmK7yD42bXaK+bCTrVgWtgdfzlHxW1pAYX19sjNhIkM74Nn8prOWwfwsy2yHdNJ5L11f7L+qEQ8Dzjk1qgfEI64VQXDseRGgXNCRsp6rs/xyeVhB9aB2FNLluwriOywESSj1maznB8LoHoPrWgmjnfsH1un8PU9UbFqraRTtQI4kqqJae8ybm4FDwfNRYgi7wsqOU0IyWZJRwFTog4UDmAtE2UriEf2dByg92/5fvdqc/KK0asCrVHonpk2D7tdrhQI6nlyErki0Bhxgs9K1voZNlf/3kBfBG+d61z1s3q85LAeogDhNoZEz5AQDTiE7ucgKrojZZrSyVgS5XPp/pTJY6Hi23EMBShOvMHOt4pZXZRh8EPMhDhrFPlHZHj9IduHxEQ91P9emsOq2d/nNtKlw2+v7VJmBaZQW7c6EDPEi35Z2aIZXf69rY2BmPRDaw4hvf9O+Q1SOaPfJ8CeZ0+7Ze7kf8d4BKd0cvi0pXwLa+ETS5gEaKSUdvwUs9klTfmwLonK7011C0UVmzgGoquRCxxFvgxHaA8AfXy6AXH6FOBuD7WgrjkNsImVriKPhFvjGlGP+28aItOv+0Pt1y3GjzMQDe9XmTZeuJ6l5M8hqzGCWBHShe3y0q8u40DUt5fIqUKZu3SefCyOYETO6WptjI2mgB6Oa0M/vFdwyXibE+mc3GGcqmaFXkIBbPsALLppxfHfTO4DtRtx/DuPd/eN5qTSA/jnME/kBLbGLt84oeTguyd080qyHHVM39udi/tqnypsjqSB9MpIgEnpzEBNHEyBmVRY/uddSR0+e6CHKj87hcewVs8TSwVYpJsSDRV/H7buWZRxf+cicDukksqbu+cGyuESPBXC3j1UAN72DtecDabgnpMMmTNjXjoVvyHVJ6cDxsPK6ptHpWaL+5e3qgL5x5JAn5YIoaicRhQoI2YqtIjko7v3E91AtHJAt65LMRCnSgV76OFrmQV+jUrLvRy84RLFW9rXUCdNqAXDcRckBlWxSod3Xa52uvz+9EN1WAlLVTEME81yvLbYFHMqpgH/3fevKgmh/R48db9VQ3sTsVmwfVblxR4S/mPqqlA87WURQyzw8aNt8GC/XOLiZhbZuffbcsTskmpgIDo9+b2wP4A8vZf+npM8iohCoqOAD7dNZowZWoz7TAlFj+WFF8PhrJMyt2LWbGVhXz3ACWqKHM/TyEiu5lXeZDZMfM5Rm0ZeOdz3KPJGsDK+EKrIYRxMrKNE0Af2ZIPuVBT9b3OAs1MXBFjXF2L17dqsuWZwrjpJdooXva3jU4/YhK49B2ZY8wOv669lJrs7L7gII5pVdWIaXT3655gzLtBxu4Vsjp9uUAhR9f4i0rCVjj4QjepkyfOqrrd5NyCcfjGKgkHxEv33TbDqVsfZyMxvAS49HWfO+pVIhSWs+v16bY0BCqyFlGmCNovOywA5q2r0AEy8ovDlFCSyw93A9vrUlAOUdgPX5Zv1+CmtzfBihhNNQ2EBS/KlqtzzpaFaIsRGoobSDeY1BY3wtVEu4dl4tPKqb7Dwz8S8Hx58jPJLpfoR99tFkuIvQktplE9BKe/ax/eDR25aqCPocoyjQ/n5GZwgyrY/uO7Cs8SqFMDPdJOx7AN/7ZNwr+6x0E/JPPFrUDDGQbi568mRbKO4QeOCwiptEV9ZArbmewiklyn+w/h5LsKFJizx5r5y2kXp5R5eTfPFOcw4v5mXYMDZyhX/V8ntD2L6Xm5sPsaj/WrLEA8aPKgFXluGnsZQ8Klt4cbSf8UMOTi1TbudRo8PAXLGeZEfPAEHAfOqMROafVGKvP0GHtQHfLpeGJr3mo46B4L+SJuQdLlhjmfms04GvuBVQ10rz8k0S7zmPg+qScOQh+cjUbNLP2QZYNL4UwCu1PVJTDFiORwch6DvfKeQKXFAKtJEozsZ9tM4+3Y8iZW5dv4peEYdmzwPWbyKGQIgmPmhwBc06xvE0Y8C5wYEkUGmNDVYQf5j8f4ihmO2ua7lbQkuVhIHgD6kD6UcETRxpLJ0Qd5TfNpQ4uEpLqqDwMyw0DXeeY0nHXOst41VdRv08Kp4DTVJMNqf+eEuOHePG7vgW/Ibxqf3Mxjvk0k6Pko8einsEasAUuYxE+59CoWtwrQpyWHqNgqL6SlvH+kLFJW9FZbO9rmDlVeVHpDt+NywLn3msUwbR7qeFJHjaTjajufoqBlb3rDSt/i9sZqPYjT9YuQozr10INZil/roHnDsSwWc9z85pjPSw0/V4ogJpjk/GlsZdljKA/aJBo8P4z57uo2UkKzlQOpzRxAHmc47TfXxKjU1YH2KPHcGoCqvSfjcVkTGYzM4hXKyOIQWBRPc9BhhBnM/gtdJDwo6b+qt5Fo4RicURqGwXiuy4ACsTEQ8+RiWwoOJ/CJ2l/Kn7BvNAnGGXVUDpLECai+CPjEqb9oES0TLZqSTLmCem/3UR+xDpcVQGw5CYzriPR+DOgkT+oNW4dFDtpHHQ7eMbIECVbSVn+cNaHPj+JEhpF7JuhS/12Fh7Ca01gVhP/jAwXxs3hd8lhyGe/pmoiB9pJfC0FtiFX2jfUJ0rYwi4bZv9VfaSWtAbBTfAxcooxTdQBBUR9naoWmhBn2Ljz18rbvuh1cRB9p6AxGaWu/mdMzQ4e/l8bx5WXl+32myonvwtZ08xAn4RYjM3XJ8HuL86GuNNIGnKGcql+DLaBKNwj5+WcCrkHLWbk51m+OI/6u4eW0tBQnrqxEaioawOCbOJuW7TQu2IICP6Oq2JEnDMyvcHGUdUdjN7uMi2wgznJBupKorgddwuuFzk6unF+1cm4/rkTTC7FwS7hCe2lxs9GYDrJQFFKVBC+fJqounz/upIhSjDQVhW4E4f16oXUdpFva9gKT8xkrLbXkrDGepK9997Aee9Ei158pfpiCzBprzVFl0XWuS1iDIqYWU99Dh3sGQl0w/ZUqQ5fUI8AZfVJEo/Z9Wfbr70ZshYOR4AaOiPNxbPC0jRl0Egwe22JVBMlAccaIwz2yEIqShSTXFjiaawoTLiBuH4xobJ3rfQ8XZaahoITnOPzuTGj05qUzStnl6dPb3EL6sZV1pHiKM93+vW++L7Fn/8UH6ez3Qt1ETyIt++maX5ASBIOc/Sra+I+ggALHZrypnM46pr9o33/oAE7rc+ghr/U1jDRNnUGAQK8U/b60dcXYaX+oMzc3JBgSyZYzNwPpKpvXLt8SRRz+J3wOoNVtb1PlUn2Vo8G1I+yBy7tw3mnoQvX2IBtCa24f4xJUtIBGZLFCkQ8Umr/Jbm3xJYYV1hQ+yd8IyE6PMRmz30AxZh7QkL1w+wLHlrULI+GT2oSRKu/ZcJ4QjT0X0ODWjyNbTCZ3b3UF/cUQIKyhzJ+zDBgewaEV3Y2EPV3928T1ihrMS4ziH8IVqrTIHlSx+uDw+wyXa6Y862Twc+1oLTSlWtjMpB1mPFWqx+Ddp+oie3EGBJEWkf3FFQyoV911+BaTXBWqRUMllqp4VYm8uTdM2XfZidhIhvQBh8oyOUEavINY0dTn45iRGN8WAYcgXl6OhDuWEpWiBEtcxWsx8CH0YnWiYfuDcaVfcaeBShGXDpQt7kaj/K02l7fDdtsEwpUFk0ZKjQ93UzA69A94L1iDz9bTeW/DoPd67QTWgZQdkgw00wAhsKIAKghrpxFtX4NNsnIC9AD+cSCzoyJrEJYaLs6f5JU2kc8oIJ0D+zcxi7MpFRk2qFONw5NceoIyHWUDxVpYsSL9WW7x3xCkHArdY3nfMDSaC8ezVJKBa1NpKsklaA+uK2zAFYmi8OH/WVNfyIap31FVaJ5nvL/KDXqPUG8iiwkiS39fVLpfHoGIaQZFVmqIbd0ecTOucgqB4q/BwUkig+4Y8lQlGlT37Vc5hxQe+gq8srTxkxwyX3h6Jdy4+smCPlZT+2u9xNiVzo/InF6qU5sZjEmBCX+W/VaE1A3BG83dk5E8VKa64lVCtTqsTau4hnAgvEsxt20eTMLlHLHgXJBXGFgG+PW7baONolLpUSYeX0yu95Rbz5GPStEVwF8T4wzfVW8xLTFvtha+kk5ttgQxjjlr0QCZprslqLdUiz5TiLC4FZ9cEyMPAGz9wntEHeGPDK+CUrnZe3RAtuk76YPQ2nKCZWWrr71uHiGld3MjdOYt6n0CEbQYpffcFGjxSj50Bfw1D/Y5C/a8iZeKNYyqwd9qBnbxrp+vyDzz5gxQTEHTL4kTNcdogvR9ZdwQ9nN6kKBNq6SXLMp7OJ8yQBHfv29mHjoN3U6wLBsMQFXUZAa7fm0rYeEGSnlmw0lyd+WRTAtzA8mXVQSqcz422DVkXGg7btZuTVq5STdPBpyX6b1dXcPadEe6zSWerYhv4a5Mx9/ViqbkmYJH66xd5gsIPgvtzjSUn3oy6Ul0fyK3XrEr0FF4j3UwVn79ZdcNWW2AXpRLPYCapNu2p1EZ9UhOutK++LvaF5Rv8qsA0Ih1bJEFsuDlYd81Od666HvVOdADbJV/RKqLb7uw0pjH2W7+j8EA+r8qEHX0aD91Xz3QV+RshT6W8UsE38VrM+6I+lHclMCRwaSygWhRpBwb3cfuiKy0PN+3dNE92rVAOhXFTOSrgALN8wiqlLyj1c9EcjV6wxr0Lm1GHpNg5LZp/ynAyyf3sN8whGlJ6iqMDI64IWFQoJoDTGyuY+xWInigapTO/g3oR9Wn09z+O9TZhRBGNbBZaWw2kxXnWJGZB5xnxslTn1VatncdgEcoda7F7ebmhCGHpQTexB/PASp4U+h6J0T6rQh1AKJEjRlwV4GqY2tFR6oNUPbt1J3iwkeu1v6MTAEjmnNd7fk2pLbPdYylAylets+UX99+E79OQLPtRL4M0knC0cnK6sUOTL8I3xAyk0ras16ZR7vB6al681+t/ngKQog5q2E6wX0hE8CvFY2VoxKYemhhFeT4MhsUepw2Ljy6zOopY/U+OjgXIffRjiR9MlomGnEB3HKYBq9wtfDkaToC8ewNSol+axpYV2gtbuWYcN4lO1keMXomrTlqh+gaw6FZfdhbZ9Ezr0F6CMdVZsOOqidCcyEdAUc1SOxIRhXHPsyCtcvoHNja45LT/MadTve5VZ/IJ543CV8aJbFtMRmQkFfFBXgi905mKRd+zbOcKPed6xA/vQ05WQ/nfRGhShqdQr20fB3T55s9cHWuKOJ3wlufbaB/g7g5mPZf9Utara/RnA0Wn4jqBxbFqVVoDD7QE0DSsIzc2knaz9BGbxpbELf49R4xP8kJAE8bFMgVHeDz+h21xyTvwMEkBRZaEWCEEoWuo3th5mwyHX9Rz4aLGAvxnhdjsWNkitbBj/8XMxNGwJO1wAooL00/kJCUkpoje1P9HqGxYWa2B/NujNUUSu4NgFO1I8q6/LQDdyRZ2KHiJxrGXx8VlixpFkwlLvOeJ0zM98Hmf8PQyiprwjFz/zgcUmkADPSrOA7ZCOG4BB59CLe4s2HIGWXFRda8GBQoFN/zZE0Az8gZPo8e0kvYCY+3A95msvYsEv/Yt6kCJyfqenDb8ndvBA1HmZKUsSVOYsNO8ueIcLpVdBUtEnw+qR5gaFWHwqucR0FRBIDISljavW4NEi+d3/URKAjaA9xfF7S+gelLdbJN3+kv4+ePBsZt+blnqOgMxFWi/yGEXWSI3d5r1sfmDS5uqGjG1TME9oqItX2ttJTV1bJe8otU4tg/vzlutCtQclUaRO1gJCZeWMhlUKT0xRemrNXukuHPscj3n6DD1OTyuTlAeB0NSnOUK3AWNQmng/W9Hypb1bg1LfaKjXLd2J7qqgvRwqSl9ggw55KXfDSak5pVDzBEfQ3eFm4tT0Vw2Z2WvDE6l25TUhmVZ48BMaE5xJMyqUb7WVoZXxB/jaQVgn1B3tbD8grTVJtlykVomg4WfNY4c1JsuWQZZW0XXk5qHj/yJvZ1VQsSs6fVvzRYOPD/vzZDm0TllVza847zyLhNlLxMmhOTIHZj6T2LvBdrJwv4lUXleZlaScF58dxzbGjvzIBgh3Orq+Q7QF9JSyuoDGU1++VXYbmnvObMdJUU8jkJujIpWjmtf1krJ5b7RES41HZg+m6iC43vT29fHI/0zVQCUnZlgFKudi4KjV8tokrUKU1X4N3bbjofjKeZ3E5GZYnq9Evfeiff8sfi4NboAnIeKvxK1LqOIfUrLwEHz/1kUbq716I2pwn1H6YqL5Hk7HsEOkydy/N9rK8Y+/TBPqVFeWhZBujjkxcGumqexv+rnD710Pcc2w6iKjewnmwCzHRjHDw18qDn8x2tu5Z+H4Ru8r8l16obpnrCdMq/wSWFmDBVXL8ju44Efd2z18DAU7QGSQmQ9E5nJQqj8Iop6lhnaSKGSTZX2CTpTVV5Bl/59KqOWvg1E/r9JQk9PwzXWiKSx61awK6Ga0ps1MF4y7PkYUaZAOpBVuD2JyYP8Tq53PUDrWkD6HrtSx2yIaACTqy0iA64LjB5W2wwGzY6g9dLudP9yxydcPFAxZA67hKkjOktnpLpApwfH0e8lf5U2ptQU3HgQtBf6aTXL12kFL936ue7bR/5TaRkzOKJPWJxwIAji0Y5OolFWtz5lI4YWuiABH9irPGNeIjC/RPnZ4NNwVhfaU4YzqjcTH81aSY0nrs87qbS+QnHHg59SlecZUFiFiSLWzL3cgBE3QSa4TQOF+e2u36R/9OTI2FRYlipOU+cg6SqnowoQxuUHCVhZ9zqpwicWb+32SpAzMoIFf220MOEvODBGK9DgyOq3QCoUlQFaQxSR/hjQ5HodcLeUaKwaoDvw5QF8dyQFpehH0qEieA1FyhvXlOaUIQfZ0dRnHGDWEaagP/Tksy7NYoNhHt3FCMNpuPaEJOF1SlZSCTWF0frg/yY0CeAWuwl5MiNry5cZWW+27mcBpkoWyStGXu5wttSOacsPrl7rPvtiwvK0GZy47ncdrPo+2tvzT+P0azU4Mk27cgOAr4WCl6IxqBd63ctbi18ibVOKkZAOauFBW4OOENWGNdLjm/kc5hj4EnJZBWOg0artiQ2y22swfiaST+phuMzwkm+uoaXtNNZPGCjyO1rLwLhh3DRIY+zw4LezRl8N8/XpIZgE5YmbGTPYtm+MhIBG8xJtFt3DGCG7953ZR+y1Nji8lbsIOQm/9R5N1qoKGARTHnLV0E+k2IPiYNh2jl5yMI4dIriBmAz93Ie3FkZcx68ymjx6bINpncU9ikzKVpxCfj/I4eAMkF7nGNYCHLec8hsBXIMQ4meuMKHLUs3BUKMP7NXqKW8qR0KOkZ1GwmChQozhUtaFCwawUJ8xYbrjF0lrCiWphRGTQPn9Rd4e7WV+Wm8xvUAOGCAjtPVjee6MwHcJYj+G2zigH+hbi7/yIULkFWAuCC+S5PVusREVOQx04W389Lk0wzS63Ha/daFZioxnnEM5BytZUSm7nsAT7vNp+Wjitg348fLd7s7bb61q66l+N2F4YI3hRyHbkaC+BOJXGZWq5WJDEC9Xm+3pStGciuKu/EvnhP+/rLDMIsRPRD0gTsERSqBCVknR67iMCoCzYs2qWGJzL4h9yItPPxaHZwc1TxFvLzAQ1Ypo169+2EFG5VBrnVb4rA2mpIT7GZOCVcwedm5LODbhvYJWxOwl2UPVLE/M/CRWMDR2Y7yuzccrXEpvE8nEugcxrgnRiOsbo+penNrhElPyDKXB4FQN1ZMwkiHie+0fGcubK7ETbXMc5xvu1iSbVdvVL69JuVP6rXotsogTIkGUvwmPKdyV1fNfqaMzk74LyZf+QUNAi8o7tavXYArGUNHl85uUzXjwGmHhC5Hdwf3fzbI5b6EJE/GDDe3ui5mSqSPrIg3T0HRCm8kiX9mUwED/OAac6mHLfBVJWbr1WS/2RQtXZDpJ6OX1/4wsJBwlWH8FERPfr3Gtet1qGVbfw3sPIsNdrwdDztZzK1afrzKSvAJ6WSK+4AIz+tL0gvteB+7J7QymSiP8cBzFo9uoAFFV/TOIsXnm2JsAodHmLkQRdOm74ycQOoyJlPWR3AH86thrwMbVThC7l/EU90HcbhssraGv3Jpz14nbiqBXcDMKkK3TUiSBfmpDnhYvz8EQAo1I/OK2amceZ74KNVkw4K9uOj1qs9kg3MbrAvjZxTm3xDsIH+IGypwoifVdZV+7hBLpiFQ/D/A1jcGVjJzGWZmk9ZtclNrq+7bQfst77HRtXb1cuDp3ay9QK3UgWrrcJt2jOCMRXi/LIP/QAnzwFXU4rF0mJzXabPvmycDIUcU6WaN4mS/lhrWl/vpmRr5RoZIHh8YW480nOlKjBGK3aHVYDgevb1JQDsyqxfqR6TT97PkiYliJBmyHvpKp2+Vz3g1MOAYwaJ8M0/VqFzwlDV4I62UaHeO97J7hFYCuziMBuaI0OKbkESFV23Gx5NI1VWLxwgtWvuno8TI1GiwIAsrzRIPHvqQD4hr0KNKS650EmZQ31HwMdnKaCFwXWJgofHW1KWVCZtMVVf0Kb0CSFTC0CiTSb6u50p+K8Q7IDQCwKb9x6JR7Vmo9t3bxxDhEyzlINJS20t7hcn5s495hJN0rdK4FSC171Lm+YP8YiTVw1Nz1iTqSHxFZv3SrokaQzuEHQm12eU5dHPvoatlUJfoWZtCLYPM5nr/TEfxdiCqCQizeRBGl21KnwfpEezP5SsapA0nWgRjDwCbtcaJyRqxppovh/S/BpoJQNiezP7b4JWl6G5jY1/q2zVOa6fNHL+sqCrSlLL2Rhsv43XqRWBA7MMP1+uaktfBRfrLIO5hkyvc+ZEp8kahUkUflC9nnMtOjPXLk70w2p+kfA0M4bdQvJxhtdR0yxmJAW6fz2lFFMJMtFpVjDl0xG3kWAz80CTZoNYhYDkgUIrVn3UcCGEHoZDxynPdXABP0ZasJcYHL0MtUh2Eqdptj0lQL/0E9UY9B4kpKu7JvK0ZCHPZF0xRhHKTSzeZlnnHdWm6+6W0LhbOskI40qhnZpttDJAOuWrne2q1KUDynox1qqZ6xM2yDBh3v1qx1i8TxJkW7odxdF1/k3jP0IoXjqjDBObSSG+aCDG+Mm64811tkU878QR/qKcaY3Qr3/BHwC5kdW9mSCzirZltkiBYWAoAN3kZ+Ywd6Rw4PQXwSgYydl78EUj9jfFUWmtDHqon5EBk/YbPPOxXhqcxbJf2K6vwviiSKZ/vL7Dk/T3h7uldl2FL3ukFED0tlv9FZR0d/IYTVVLswrMJlp28vD5MOCmOSIMzF94HkV0cfJf69AknmI5j1NTgXZ6KiEGTezCqqNuxN6aXsOI3ih0oK5j78+a3Rx5LkHqgePORtRkge/TnQb0tuXo+oLXWSP+vSAklPOw7jVebc5zJj/FalF3PPks1npn6db8ka1b32rzm8sLyCGEd95RE8FYv6Vln0aBJ+U1nUWFB4EmpXFCjMbobfCysxR6C3Yt0IWth1qZXpy31eCj81rohTzWmnOJmfMVQHjxNhBg78+/1gI8Ts26oqNUDp7d7+siRHRlSE1PDWGT4dWgGJSywuWc2kC2bUA23RhfjMP4XCG1ZsqwYQKWoiaVoUHPEaIDWaShBURGRewoWpZ/+aWeDLcOj42RGiaLjcuPw+URLYeWT7Vb+ySPO6211sTjPQQlhd3/QOkCxMI4TIggp4Iq+ocxHZ6AwmhhglEu2+LblmhaLHNiyFXQRYIvXPVjAAggH8D2dwfOPRvqKYBtYGnVibpssPz9lfXnicYqPT7HCx4etVJ5SpQgLivEuGlDNqQAJqxjg2XktYs/ZGhgY/KeJ5V0Z4kvPIrg/IcAek41T+UwpuZXfJDHzAeHf+peLDYdD7NhSCJqVBy778pR2gf9Wr0ebJxHoKjJJBCnMO94mBdvXDI4BfiC/8dC6x5TzQ1ME4SWNj5ivyW0oWIJGNNB/YZ101tTX01rXHxl4WQrm0W7BH6izBPsDQVIJ9wwxCV4jTZ2L3Maa5EkM3d7l13/B+lQjxs/ma37r59kB0PQeiKhYSZoQJ4s4bFOp96fJAzmwRAm4Mr3PnLjNwSxNP1wIBwjfHMpoY4WQoeJMO8z1yealbro5sgOV1bFcINNLWPwZGqykLT8XIlwT8gwjYvPjuwuj82ty89MUYLjfk2PVykOgVTaj0D75aN9d6eFPWwyoeVHaGTF3tL1200G41hC3QbUyJa9bGQsUaofnFDgcsJfEMAb9SFq08JOHJUI6gXLIyJvEC+047kLY9+SHNiwD4b6fVCstJb+XpaegfdR6tMtlSnEwCCmlRUd10MY89mhhsWfGdbwxBE+05yWjrTa3rAgB9wJ/GOpMM5VNhI5v85W2xCe2SmF/PBAAshWzONDnENWN74BCYdirrZQkJ/nq4N2kYu5PJ2gc1Phu14cHdLQ0ogI/akaTmnKX6UpIRSR54Qi3u5LTMrVZkwhuqDKM0R3rjHQmMresZIbqVgXkVdouEO5WruufNi9X3zoHDL75qrI5F+Z/sO9yEQ95HdTCGvSr4dxrgIAWMTfpY00MsFog8MdSUiboKB47CgIE/hOa0H89+i+auJBhn14TM5Qk5Wiw9fL29xyAqS0wT/BMd+ngM4q018/qyiiTTF1e8n6Uhsap+1a3/Fh1yYXaM6dSlszDH3HMFbobCn2MahKm+Lm8M5YUH9NBA/EBUIscRb6FUu5hT1FpeesGSwuVAN7jSQ/cTcJwx7F8jvdbIyMQR66Yr5S1u7gNKGqmd62zBmQPWs4eHIJnBKe+9WIznhZfK9Kt3LbQ7ZhMIK8CTXa0KijjSaLvMLJqI5W9R/ce6/Ux+PXljltek5fa8UG5t5kqF6mfHxOTyKgQEQHMT5ltv2qVFn42M+kfjgi4s3KKRc8ff6eO3rBTpAH47gQNZxIogkYfdba7shx8P8CFrPe2YapqMxR9UcFRMwUdAO3i2WwW9x/+EclVBXyapyEb22xc40mkUi3DEncbdEs5i8yhN8AwcK/uOQ2SwTqpasnBDUX/590aj3tqwDgCEyneis/JvoXmzCbkUKnsn5G9sGwtJ34j7QRyTM05VcwIcbKsRMZS+IbcLobRruhWmnxyTo4OO8VIrEbbxvNCG6MuoQSiX1rphbbaVL1LKeZNO/ttNKRpjmrP3cMiyxwy+Wn7K5cSLxbOOrKdkzYLo60KtIgNYgLQK7UIRiGvMV3NKE/VJD8fBNGm4+ObvD2TarzqpHqwfd0p0XloChlu2uRerAJTME8NNH8y1+ZTI+7Cj5r1T7DuR/ir/M+Mz0HxT/td1QEdd7dh5aI2WWvvqH41KGubON9A/1/1gHbQB3vciR/Xm86FCA/fJYuUOt7H/z/9vIbfLv3Ierv0vmExyPF8e89vvMkoeDR18AJi6aeYfVQ7jbZvow3r7R46Q3MyNn7XymVgB2EF+UUTB1PjtRxD6QMomFZDkf7UUO4DpVYDsLNCLNs5OuRE4wGk7HnF0lNCr1khaadYjVL9h25ZNVqi91VhkruoWLtIX+2zldEh/tBJ3vT1voaBWTStQEtXh/Xhe0GVG9PguAECWGiiv8i2dDFiiyuUEnZJfzRuUU9Z/kJaG46UeR9BlbzfP2SgJo9ftkD4ZJPBJ/y0J8xhJUs4aI3+7GYH/lNgysLMLugyVe6tvkwOch4FQJvjGAtosldu0Wu5yoF8Pls7+Kp3R4Pyh2qJ7zxrddGSigFBoSvbU0zAWOHo8vf4S9o+Zqal7SXQw8Hwz3mFXoDyePhfzDyB4MFOA7ur8nTqC8pRdETaKx/rWhDn6e6JOGebhb+4+JWZG40pjcTZnjyGAscePgEUIgFp6wzM6Aici7ltoyWI7pXke7gRA7hn0S2ZBOb4r/2ySRz+DK2klCEfbMfrPkYlRz0ufvJJy+KflEpdDapGod7zYrfE5pQ6ZBdgusEnq3/Sbn8qm3/+FQ6vCyqy+CIa2Cg4OqgopYwTEDtBx02UK08rTk0be2gLNFWetagWq/5Q2z1dH3PjwiricgPDE6FkW1A2nvefbojA6sDeYuMOBHVrnUcWP/XVV5o2B62X5OHiFq6puXjlbYxYIifSvgX6ISTTcfc5O+Ji2YJllKU6BGURoWZi0VLruzq8FBR2GWQDdDOSpH3Rsylw3rfNVLaAoAo7eg9V9H4Wbd9WQwTuaIJvh26bt6x/41Olt0/tE0YPfQSrcb3Ot+f5TI9BpDXHfC34C8OdVVT0AtXqR3uZSSjuH5U4lomYEcxGOA7Ug5ssja/3gJvD5K0yFPBFtmPRrtOceUcBy2mFYMrLy40WPCBNLwEq+AZnYh8jUhoTf69KwU3yTTBgmdvAGnUFJ0cqepvwEBJakwI/x9QAMTcUcFMjkCP8yDvawE4Ph5VDzmBpP4fVmc/yGx2Jt3WifYTFVz+wruigX+EQ1K6tEqkL8JJlGMOifuKo6d350UrPqNud/P6aYAnbBU1CGozOEV3ZDvo/xmQCSMzmZgM9SjV+s+q7GrMFrqNx8oId2dxfLpO3YeyPSXDS4xIMfSYBOBO05jdgCYy0FU5feAaHEXUqMafVombMtfkytvXJHJL5Bghg7xvho8fAKteuyMtZn+glhCPusEh0vUjF/OSw/bX07NQYZGlbSAEA9aOlJ/6xbIxlCVEJrpsJuJzBkxOnpbfZgZsIoihDdc16CLuRZNBMWCNIXDvGa5DclGKf5EV3sCx+E74Q2JxRsW6Zax/3Qw+6t24i9qNbeKbFSGkJVov6hLtT67wVO4SpK1mN9TUuAyP3iR+7YTXtQx8CV3har2izqbGxBwccnrzFfRy+H8jC14vKfuQUz9udc4gs+a2Ifr/J70RCk+92sucxYQpMLlu4ntcVqozLf2sZl7mZA9mlhjtOz0TwpzMMu0L1lWjiZdg9Iu68x/XbCE3fv5uHtoLOEanMFHsRrjgANwre5fIo9cCuXodxKm3LP4oOL+1chZGN9wOXpT6J73pw+Nn4sC8in0kxf8DxUF/4c5IEDuT3fDdUaqVV+Gq3+RM3GU2RnkTXrJNabz0t5KwH/9Xo9VRbc/WTw70Y4UkZQX2ugn5VS5qaLcej5pE2WFwL8gWVsGKRfCg++4QQDyDWMY63OuxS36CKpQo1vvZkMZunqYggPcwBQWaIJgvMYKvkfV+hyIXTpNsWmxhGvIvNTS0r+PtywDw2IiR0tKXusNKj5rndLZlkg16qmPRrn1xPuGIcYBpKG3oDslexouqhB0gXcCNgKtnohPe1ZYejRJb8zf1Uf0bxrrF0WwiUN7IiiFsPU8LMg4hFshSGhVbDQbwd/yB8pHZJYKOHC/EVuKgMoMM9B7vqVNpsu2Vxiy7+1syJSTgpp8vYArz+t+IZ2DsBciKPiasnL26sNQTzCUmbIM+4HoZBMiDPemExH/3BxD2h22vFqpnJCMFUxL3/Z5F3lBQEqt9jjtP/EHeGKHd2xl1NoTcR6OM3R0HdSOrZqO7ExtImmnsJbSNCu32hnp1IaXN0eVKSOGLWJkjJgSXplhCJAU4xoMHTKZa4Z8ppAEhWb/MRAkqUKcdxaw7qWntaJdbA+EecrQpvl/XAlFRuUtuxwCw9U9F3UDvc3g0b8bS9b2IPf+L8eZQtNmj6Eea99FW3+2UDi3c3fYCccZgoxpIkO3d5yA41VhBzwJwv8f0V0bzGJrt01q6lDrXL6WvdVLs8sXquNGemXvlVJFERnAqrFd6MSwtMA0/lWipPSavcQfqvlZBz7TqtFdBmhaShymPfsGK+GegbUzpUxjIHTiK34tnrI9re6XwNf2354dQG56gy+M31n/EJi6OJe5xtZRRFGwQGyleO5K7gr1YDvO6JjdiJSRyTXqCsdLba6f1qaXx93+cTJ1reN1VVnXnYsJ2wp01+cy9Pa7N+Z7Ak/jKuSpGOv5Q10o2nIv0v01DWcVJO1u+rKjZw69V5Lz2H0wmzkTIdxI/vBgPxat5A5wlfq6//cePOtnh5huFVo65eiK3EZGpfji5xe0nOMvx9Npx+Fk4SscDN4vWMgcNQuLR5r8yui3RmIu60vAAflhx6+8N98zgN1C1gQT/YHM7xz5K3oztnGyX67ySrgMVYxRnBLytTICPABvG2zxnZFWCmT7e2mDYCLEfoMEiArEd53TsLQwOLalnK3Bs7Xyy1e2eEOxLeQafEAisIX/bjy+rbYif/RBF9/gcaQxWIhM9bN2mcV8rw1nkTMXpQPqVLJtXFaEEbD6cKYBvwY4obki0eb3XVcQIAgGXfZcVQebq8YCTFjf/fXrzdJfCc2gX86iHNjDvfchZzEnhq03ObVUhgoAjraHMQVk8jVVBHAN7+dy6KlrnoVxYQ/7m8agAbVkf4YedDzfwwrC1oHrAi9fZXPmQZ+uj+VaO4MLYohkYcD0QvS5QsgVW6leK5PeWKVnuOwVFH17mn7oKMo89w5PurP8bkgpO2eP8FunWhUK6OILawEZxNBu2Ol4Hi8MX6bRWtu/zam2svYPGV8J50JN0Lt3+3Ly95iOcdIZK+DrZABXyEu9ZH+biZTEX3TCGxWO2b50TmlHSMcgPC6Ifn8mHgfU1A8t5t3A0TSI24MVwx/LBEW4DBzjw35fuELKDEg7yjXr8lNenu8EcbKl+H9u+X/+8XbrxMVkRQUmza5QaAHfhCg1YhjBvjlGUD9by5oL7zk7VmgkRD4z/m9wjaw+DaOoRsiPrQ0+SeccuwA40DfsbtShpzkwZoXSalCdSWgfA7/7Zsf5CO1Oja9z8VLmqKS0SanKaSEJAtKUJJHB3GGoGlvJJAf0DnJJZEuWDcnpDO/Vnv3IIHA2SFENx7TXMSx1LL/DoDKs+UzhtzDkXcRmmlDzqqJglrpGnHWwOOHAjb/H1vU1WTsmG7n71sNC8dVfiD0d2sdfUS6F4rFTjXZxxdWTGjsc2nabOF08onlwkVGHy46b2QI+nhTy1njs8hpIDV7ZKOmVElX/PFtByOol7QHPA+W+egP2b+c5SbDV0+OLNM5/U9cyUFftBZ8syFmkORpDZCMyLw9bDd11WLILE4ujZGkubaj70NO0RhiKIpmuMddpt6xLMieeg5vp+Tm/9lNsU93kmlc9UujkOmuEt2oQWvAvOrbdiRF/6r5VsiAFHgeM6x0MT0GUMl/dvYGbzvcXxSUhSwh2JW9R+7UGRjckuRufz9IXLFoevMFMzprImWEbokiLx6EVQLnvdkXHjLJ1dvyROvVSgxDMjfJrzwW2gx/McfMNa9ywBdQQj0yvViXc+phEs3cASLAsAu9eJlLwG55LZLaiVwOdQbb+VQtEsYRsbxX2KiZ/eXJGTL9RU5Xb/wzk8lnVNbIKEMjQIHr9mAxSTPcZAtM1HLoB9ucvmTe701hfYWDLiRcaWLbAz6inim7H5aEBScOfM5GGGi6E96Z9wtexXTo3aUZSeHZp6idCLYfY5qaSqgTWyx8qd6WFbVjhjMdoCNhIDX85AU73P5NeMcKIILoYrQY7BM127LWGlRW100UGMr1M3R0Xk2bBvrEsdiNq7Yn3LcYwA8JnH2t2oLFw6fBMgI2mOUWQZRur/lFWf+L3UUmb/8kkXCHx3wOIvyCh4XZUoXfMX4PiqFEzNRodeBNB3sutoMfKey8xm3ojjSoq4yVThtdJ8Ao48SoTjTg/OxPSG5oFhJTJnF7/n1ZKkV+0J/3PADcCanI3fPSPv6dLtMaJtoK5IoUsKMGgpQGbGcdeFNm35pj7E/P8G3Jf9pKzfbHTqoroWVc8lZd6QNgH+L4z6NlADFpcoDF+lKW7wbpa63VJdzlNMqKix9AgNXhDsvWj5TEdzVx8PDr5d4DW8+S4yFQv02yt8ZJMC1C5qfmazPWTsUKmRAawXqtJ7f+ePpJ/ehMm/EPq+kPGGyLDFaQt3fBTGzbGcWMGnp/fSJ2z7CJeRkQe/PooIrDdADI7WBfqkdLT/Nc8PBrhGMdILW60zbH8e5zKlf50LCXojgqgdAPNBhTVD6o/4tUGRUnuFWpTg0FUtR34Jq5vVRGiB7RMqe0aUeWtycnwBZhredJ/sY5pCe6r5Rdc7E28wEVDVajH53u9lxqa6IVU7p/vzUCN0Jhq+FfIzsJIofH1W8ocD5GaEwpNk/LliXU1rWBm/Y7z6NCembQ9i977h9zX4yZEIH6Rzn6YDj0SgZJP/3EHIfLBAEV7JhiyWES6fFaILgGMd+7ANoWo0MQFd4mor59D8Jv60TH9Qt9qYOmPm8p2GPmGjnaKc4iJ48006FQz6Obes50OOl5XW8SK8qbbGPpdFFruwRHcVcsH+OOij9gc7cmzeKfIx6YSTE7HQE6htB3HY3w0gTkQU9YHFuQyTeob1Xf8qDIHwCcfEDPGAejmBYbpydW+OsKYuzGK9z2roolJim89bARwMaOkY4uP987+hAxdhsxnd/97FFzvO5c3ZaXKjBu9qMOoRrkcby/OBrt3dVcMhlR/sxXpfPMwVKIvv3qNFZCJccIB7W1hKgdJRTzXvF8lyYNJ3wQw7qgD9iLB1xRmsQHObgwelEY6d+dGXI3yoowDZEZyzHMW9zG+4kniEXpltY5Tir7z7u5RMCjKlHqXge3CQOUHZkSExUByIaXXiebEuNv+1eoAsj+N1wzxOaYGxZwDLvRyUZOKqHAYgop9m1TJXm9w0MAhSEtuqFqvh7gkIJy4EFBy3RuMK3pa7sa00nAWhBzP9WyBQOlygapEElECZ9YvnSfrQdSGhVVcKpWGzgmld3FCgrCNnSwZxcwHjOzPXZU8GaA0XpntjnhAew7fc6jGps8C1/MDUjMk5+YsVL7DJJKFMbK/M2VHFYUQ4Kem/aRBlaSdKM0BVRjcesPUlETYsMHLM7Pxh8VAbgaaeoCEhIZ2m0VR5hsevNxlm0N8ndJZTP7/dkef+9P5fVTID3b+6VM6w69pILzZegzSaa2bw+Geds5398ifuhAIDx2V98t9NX530alIJ8CiVTXciG13mRbkv04+XxGvzhY+pfUoDIlk/6wmMjCPJ3tYX3JbmJ9PUJhEt505EaVM4YXdIzxF86/9moB7NYWkhDUBJtbfcXhYTRKLhCte4iteuqYdL03HSJNw54iBuCQpNuDr00qpMA4JOnPaC/DGS0OhVV2P5X1PniuMS7+cq/rjU6oPR4tWrP2Vyui0rTtKtfd9PPzquqSuwnJvdutTba8QvQbzLZyL2R0+iNiQXFwU8/SM6cj0T/bhcdbf7nB7QVtizGv0phUfMf8c0dQnRnq750Dzg49BbhBnYFtwa5qDoGYXGe617NbSxI7EmdBQvOQ1kNplxUptI4Dz5utN7T8mbsENluB9e+61ppzJYtp1IhfB040OwF/0BoD7vvRiRO/Xjhy3K3eh4NP6I3pFaMJyXPwCcAzVHe+fmJ88jFrzP1VbUeB9kIIN6bhsu7VybumdoOPH5G4q+BBXvFEeNEoOxOAwopOYYEQdlNd7ijVq7xnowbpOgIWguZQRATJzjQ4Kv3qQz8rkk8RMRCOFH0B+O8ynQ7UhVjw8FJTCc3pTSzTilhWFjF9d3OK3jewlbK6LS00hYXa5hg4hV8qqzBERJQmlNyAtdC0kptoAMrZzKS3VAl0gsPT/8y6Q/m+piUBBhtWHXFqIORi+rgMfwgPYwMr2PCtnScb9yYXZiBS8ibeMXiFfzXxnQeyDAcUUWO24jJHNthJmJ27S1TGBCSnsOP7xdtCQJEjU61MxxML1anvZjSpD0VGULyuKZ03HLpx+4NEP2PK+Z7hQexF7GShm8e6scUUsdQyyaw/VN1+sQdfCSZrtLHVbhrR9jRwD2GwCIciWbcjXQPTbsSz/bjWbLta0QWEscsX74C65UO4455ENLXplsdHhJm/jn2LmiF+cOEnljUi5kwqAE/C4ISpUc/T+EOgMIFiwIE16JkOOW2OFmJhWysm13mcKASoB+Hwm61HICY65z6hKGhXoz2ArwxTPSlNx54uXe4ioW+vAwcoZJDVLoQciOjno6D68Fg8Zd7ZhA/G+nh6JTcWMLF8gOkT5bsBxrg9JNJjs4u/O6rNqAa8AWEjY3LZ5XzpPLEmJ7xBstHQu1g1QB50eIafjW0gSEL4YDSwM6PU0t6ErrXKZlLHXM3klPGmcZEqNIvtMKSw36aAKdknADnQsNZB7mMGPefaA7tH1p6Zap8eGPO7zCg0VKFwdFCGRxfoWiuNmilnDcoevejKgwz2xllEbE6f7b5NUW/+UeGMPtjztxKOfvH6H8AXIEfJSShe62bjGD8g94V9pl7y0rX6LeWDcWUc7879XvmSUnpF0JGMrWh0OUQ+JIa3zdDWSrn9Gs35J6b8kFd8EvoTRQrtjG9mLfzEOE13B+rmkdW1oe3KS/fjvo/Op53qZObskc5X+IWU6dRme4CikUY4FzA3rmO5QCrz0ftrHgc6lqgOg/N/+knmogGpXpuOXfe76yW+H5VI/fy1o4z+Vcv0Q/3WOFXXbftXKvRLq77crv5dqHWE5QrftFXknTzdYzNMojBjs6A4bkvKJzcohxagDJJGsLKEbJJuhgzT1wuHDXJB74kwVu5IRuVanfCjP/gWOVXupjGXa7NXP5ABl9IGsC2G8D312FzgXh20tLpSNtrJdQk+8HuNF9Dwx6lUMB2Befpu8UKsS95G3pXT73SymLBxMDt3LUkDqMXTUIzAzgnv8P7hsBqVX08k+zwm5MLejZzMJ3oc0TjMzs+4T4utG5yXeBQyEPAihN8aUkwGPKkg2gmGH8RwBHorHz0nbmUL5KPkthEiID7oGbE734WlLjNGaTAbdXv1PjUbqI6puyHF94GtDNyaCTMdlFQH8H3XrDeoGpL/xVmUpAl07/tEyZ4CXR1p996vsz1p/kKIDgOjmfdjJJEmlaZWSoZZFjoooAADR+9bdNTGZ86UgGmaRpXBfDJ45VtQhvqmcCauDCncfRCAG0d9zCOKubgQ3hOwWGOGA8K7wp4Fp5NT1a9MWSYoN91hq/UKT/vnUw9FjKvIA8q4ni8hBgV5EUWp+TX8JEXNex1iQPXMOXb03cEvbdEa5TUqKOXEoQA1EPAXujp1HPOTCajp14w5BZXueU264vts17mXk1Yzmw2U5KceFvqXTXZc+Bb7+zleTOe7+1+jQbVN0sCLT+6sdP8qBvQ9D+t1Iw3zbfU27m4AJDKO83IZf+9HofaTWAgC/G0nWC0YcprAOB6k1BHJZb2Y3cINUJrLHjG73twk+gI7g3sFUvn2qVs4eLxiiD2D9sIEpDFzMI7ONU54lELm+xQf64Pufn3bf+YWJrvDfRiotDyyEJ5pGort+YJ1PHRVS1jhnEIH6Z7srftAKONWrS5eRAa2Dl+rg75H80lm+OdGf545yfnzrj+jGkvi1+txMyHDsjMa4lvth/eM9Oc6d5zf6sbyl+W8XK43l2ga48tO0cV6Qj0brk/Sb9r73LVoHJBn9Og+flU7NaLh7rmK7Gcwp4lQsPAV3zublMmklts58Deb5mSYA82Znu2llKJQ9Jsw/dmAPsMVUumHp0/fwxaUnHexG5rxRN49zAcAaLYSIbsFk3PSRK+dYf8lziSuLAwUGkQ4w3AOa+LViP/hQFDtdOOklUJr92RygPe+on3dmCPsM+3sNBRDrsK++FEJ9TE/UFHkVletkMChtlPxISGZoUZOy8QkM+1GXrYLb8j2EOblXFBq7afx1xI9voh7QSufwYb342wYfBocF0XAPVNIYtND1MNDNuIce413d0Z8z5y2u2/j+yFRf+9aLCvcJA7LW/dSLLGs5zZ5Hzh7iZ2pBw6YDm7KDgmPwHaaxnnFDjlo1nRu8iOipypXP35E+at77kTuS4ERQ9ZTgrRqlaCzHTqnf/WF8fv7YTwe3ROCj1Y8uZZkdTnoMlbaC0n8fci6kVJVEwKLIsPf0Jt8kRu4mS2g6m1Qvj71zX/Mx0TYwR8aNhjRjTod97LwhhsEmIAIwOlEVtfFo4Y1jyJVeldhQ9fbAhEyHwMiIHloJ10WxXJAc4kkPRDo6ni60RGcJ5PHI7H1JmgajNRHBVk07qi9ERSAcid950ZyU5Yx+85WFrTu1jtHuverW63viVwzDYeFIw1mdaDvOHLPbgYz/VRqAcVD+2khXbO5ZSHgmgInOjOQgP2CKtm+l9DtjF1kEvg5f7iRE9eV5irngowojfCqMyZNISehYaxXGRdlZB9qHDrk4YmGyPVpY5qoMLzHP8R/8nCIzCIKSyKy21KKYEBgW7+5T2fWf8x0K5ywk1/DT9uWBggAtYcqZxA3RqLOO6+TGhd628tbRy6rBb7CXj4nX4vNWQGDeDA/uBMW3hGdGE4o52mwvJaq7Lf5sZ0KsnWL2YDoz8zM99nkj27MYxGoClPkSLlm0wJBagIE7E+JA2WXVjg3idcI0RpSOyHHLZ4hFdXL1+yv9L43xrc7FXnL8I6BLZO0pGHHLo+2lm1LbrbY00njzLQ0Na8w01WoqBK2V9tPH/xVymnq6E4c1xOQAqpP4Y6rUAEnzd2COc/4IyLPoO6I28jULOSOuG8yI6SFL5k2qln6o8kSsI7rC6s7fNoSSIlc/RTIVGOjLwVm9d1cfIf76cA50Fe1lYB/aLcthxoa74n6M9xAEw3YbS31vC+U/95IZFRSmfjuetDVHEAq36e+pYpjGvJ6SnrbHG/o6jYAuZ/mWE95JDXXjtrS/5aTskJOFdVhs2WzN7U48RZ9wMIq6AO2MlNZy5RHXYWUqMjVHIyDLPKDuRS6FciGrsUdeXg+jnBIzsVjWiCw3te//LWFpGJT9y7Dt5mx+leSXWvqRv0hp8b6c+5Cdwv+yTULy+q7K0GauAyLzakqqPXSba0sNSTtC+iUM+sohSCJ2LXgGBkkYZTIfjVpSbFnGHTnG3EOsEPRkMe6jMP92Z4tddFVNPNX+ue5OtMnjwrp5VnJsCH0A/vznJ0knHPvNfcGS8YeLFQ293eN+RezXoy5pJVpwXheW65VzZ9IhgfjGOEparkt6jKqatMsAUcUogh2gqxRwr7cm7y74gIeZ62CCl5qChq6sUwc0mdP+NGdun7TYQWIfhxFfhWrdxjVSLfzEta8Fgubi05g7mXa6uVjLxQZ9PYLhiauZFZ/Gjk9tOSXPxFesrwhbLYGUEWefXRFqF9nCTdUOGYZkSTBxYusxhyZItLIPa1ve6//g6tUg50sBM4cAHUOg320TTBsMrxX6RSjFn/EzCvCGgdBYHfrHpZmZduxUYlKgd+B5D/tWCn4tm0z1NdQNLAAvuitRRr2UIO76i0lA/plt6ms2IuJTjCECIC/CRD6+MiwCNwHOAG2+di0EIY0X5KB8SFpVnaoyJABIRyfEFdczvNgSiDYM6c1RqtdHynxqknvtcIk5ow+zvpN2LfomBj3Dy+yzqxf0ViDL53nMz0osEUp6Wx26EZdaDyfPOQd57Zlh+Ae0T2K/+zixZBzSXV5kZL3Zx2wRaGNku+MX1upLZVlyhwLtRXlFMaaxzs9QjyK+v2dLeaglm+JXFZ/quYHlQLRVe5xzgnO1d8roi9RoXDoUPtVuwhqkFN54tsHC1Immws8ZcAnyox5DGxlV/rvTAM1us9snX20570t+MTOTx92Twe2OGJcxcJ8ohEADsmPNsPZSgeWepJZgQWFDOC/doVR6n6bH+7gY25hgVFRjA/3kWq6bIXaOfmDVvqatJeDvImZI10qcWgsjxhF1vIBO4Ee+cbXf1UqHvd3zyZaEft8W9UgHmiLepx99rRroNIvXEZN4tWty8HfAYdAP0vOLeRI4qJVlD/9lML2dimGeVREjbbm9Q+PiWcM3DFmPfj7QhmkHO1s6m6MpMa54dMlX7sBcPlwed0g1WtCKEM1Y76O60xKrdKpPGXKUQoK4diz2ku50JZ3K7K/bXZN8FtkblV3yLWtLAUNwqztg71MW5u4yDOH49ISEurA1r0gq0uv/srFE3OyUoH8mFCu+vN92P/KVCviPHSajZrE4kyvZtiVHD0C/Ft0sf9L39UeED8XF26RaZVNb5BY80duAzi8/cTRlHbCPz62H+HiBvpy4NIO1E4OEMgWIXzK+ycOznbSWutgF8g6GQnA0cFFY2ieiEjpfImdclS7FU5H7NwJP5eEpeD5WmgLtKVjXv3vJH+ufdismAB+uw0ERNXRzS6cBnZPRfxoPglkZfRu6gkRZjZLOTNUizbSKNQXClTCXeuC3+SSWJMWrdXkwCzJinspiz7LGxNtgDvf80seVzMRXghJYlYgsSfbXtf1K7WXBbNxa+Plwv112ooINEm2OL/5aXWSNBY6lxaRH7YSEE8DM5f0YhW2EfPmk1MpIJ84kSdXdwMv28yLzXohkyhKuItnT2q08Ju5QYDlO4axc/GOwJJUB5q+JBTV+f2iGuyhJ8alFxVRtQ49575OzzXxPZD7JQw2EAmo64OYhEedtyp5O57oJRJ7w+RqN0HHlELxFLnjtK1SMf/mvtGU5gfgkAV84uIuPhEBvSUD+PvumiAVG6MJqxQoF5ciG/mQzBHclTcX6+hTkGSRUBRg5/Mw9acu/HlYfg7XJ4DWZ0G76jp/53D2UschJH6yOzuP2Y03xFNnUMXFlFw2z6JJ9v3n3hHsiJ24yWeEXlsoZ+N6oNM62npEij85Jiq7SLTuHDp0O0JVnyA6Pz/MRUQK2fhh2ec3nNeVlDewpc/WxiHW+f0ad5ar+549HSKDiXfHh4ukdW+P72U+VWCf10FMRe1LVkHiPVC6Hz8NepbcaK4dLeYH8IJrNNdDnkUGRnDabNHTtmNwEvaOuxH9abo9bs5nD7Pzk1w/DS4CcX9h+jCW+pvWtCchBJhrMPdKdshcC3Lhxw6EDMb1FQPYUZzZYmJ2LvaXPpn21rG3mLJ8yDNci1YYtHpN+xR3huFV4tuJuw+yeGLCAMtjvZ+Oai52uWJSjmW5X+FPX6t/1WCbLP2/jw3b9LKyeA3l7QtdDvnPN4Pfb6xOTH2ZYhTsG7t/oABpBr2z9spndfaV50RkM2nUsnNk55KpNuVufGfBRxrcyT5grmdc5nuvaEuaYrR48yRT+nhovl8PL3f/t3DozoC65ds6jGHoVeuatnjgcnQHxGh8c+0DZYEhMN00/T7TfnmxkatbCFVtRGV4s+oi7xIjoT+HVil959GOaYbODxINEl2RgdPoeKlgyRPPYJenXca4gC/ANq7RcKgXTBm/4mtCIS810phKjuafvLeDvMo2bew3DmrOLXOywKAKx+b9/0X2LSj6rTO83M7GBqD6O/cgKh2z6qUUv8D1yWWNa6i2ldcgVZ+ME8njmR2M4lgmBXx8YWT3xtmx/97F2U8tSRK8BjoN9FxK1nvh7EnFGUae4uBZsQKGqiVJlSlR63ZElb8836n9qevURbyuTGQrBHEaMhWSTxk2RhLay7t7jAHvFhcYfR2U87vFQib83eW9XZvLTuiLPufa3C7y+QVjpn0s91xnrWhZyQD3oTqM32RDJIK8lsRJxX9F3ZTrRszYQLhqYTnQRKiMioxOcQF/RfawVsKEZY97jl2did5P1GAEA1FCdum6f8w7pq5D70aPc5gl6XkHLFYlrFcifN5nv2qS5sFJ4KicvniBOPs5ePpwR2BJIzdsulYstja1B3dGb4iksAhjQXgMAM0xkV16fbDpXPWShhI8BAEuTRlLYa/lObPOIm/+7z0GTXj/E9yiZJ1HxsAEBWEsY7CK4ePm9y4Rz/28u60u9ALo7eEsi9pmWRqcO6KwsXnvw1bfw459ybZnVrtJWYcECSJKMvxzjD4qhC26n+4fk39xUtycN2RC/o7PobkXVrc4tDrbpaI9gvTgWaIPNYPl8yTnhxBqkMxAQ=="/>
  <p:tag name="MEKKOXMLTAGS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z2dD7pS103gZfJ6l4USC3jqtWOPR/ue0umjYEY9KlLthURXCUyUuZbmGDPUXB2idlVQc+R1c0j6vNnMaKvr/AghcgjyTjoGcS2U6lyGcWZbvoYqQsrFJ5DN1RdHsB5gZU4BjQJ6xKwDUEsW8X/QQ4uIPkrhyjIfLLN7ZR3puqzBiN1rMnctBA0J594at1EN5QJYMsPufr2eabAYzIDriNpy1GurybA3KWqcTPRKYh436jQqOHiPaCJtAtzpRgB7Igk7tw7BcBhai66Lc0jpyzFEK/4NRoFF+cso+ThI1HNgDMZbpFoCsJQtilLqk9nQPGX6RXGboCTf8hOOcHaKoTUKF81dro10jOa8Xb8mBGZBE+xk1l9MAy6INl4AKPS/x1yjg5OmQ2E2xhtdGoB6y2IJGkXvD5tnIguAPYWnQlUSN7+3FejSz635ACg98FXJqYxPC7Cv06gP5K/HtWsr6Wp/C2YedOxhXXHoo3cPFC7C8g0URA+ecnEWjokk7gRgk7chGGFmzNMnIK7jnYQMR9DcdES1oMngXg46hEiTJPzyV95NXVqphmNx1qdouJPrkrLq7GYKF/d7WXJXFHBP7NcCMhv3B3fTcSHTsD8CKgq3vGXxtkKRJTMspYsSpTulFQ9zK4FkX6Ud+n0d/ZTvlZlwUVwXfojnXnlFNt7lExtzX6icjlkVt7vyKgwkU8CBmANfshDWDrChCRotRLBlMFt59ppRvz1gK6CK41mwuh59jy6VouMTelp7tJNoYzmZh2YpyjWI5vGFEyJpBQ/8w3ebNEGoS+tsQXw1y17Bdcz8XZ+IajXgRUBxmPo9vznXpTWK6axmYrStqa1J4KgfpuKNgpTOmxiKim5hlVgJNmRBJrB9GK8Kn4ZHdO+ff8JIZ3lIhctS8Pdl03E/pyBSHCjSOX4eQugSmwmvEeqHvzsmGiOV6D16s4xtCz7FmFQoA19BrtkEG0P3zowCoAVlCLdH+LsTUH0UYZXqB/+oO0ZHNf8p114CHXawq4GiW6dMYcxZkqTovf23TRKWGlu1ZOHDGJdVxIXuHoeFCLBg+0g1/CwYR50culKtC0uXj9Xa1HTLp0nHXDOCVoKM1yaGHub3DZqAQEbR1s24HYrRWP/dfb5Qi9wrW4jv5snPKYoRvH0TPddveJmbuHGottZ1qmEmZ0UJGbuQHAnh1d2s+xlpAzAfD+1msrPwKYaz0HyqUtCJObda+zp9+/WVzw1LlFTU5DuqF4pVtyJ13tQTqhVYrFdRG1epw2+wAdjuCngz1IPJxxrA28aYsaUFvJP0V5BY2XR3DgrZO/GwehKYWXyplXlqQoIhgEDcOZh6gaHIYQK8/yi0VB2KuhaLkLiIPevERgdp56tlzGEbx8tVifBxmA3M/3bKegt107Zd5rEmF1ZVDbbef3JXdYiS7NW3TWoHQaAsZCQwFUuCrLPBMJfD2hDmvogpJzaA7BbpUKxtPF5n4ZdqQLVxJeANB90QnLI3OWY5F1Ou18e2/pDmm9b9IYaVz2QS01Qupe50SLxv+4gVkJtas5SkXfKwUZw0dknFZrRpg/IeyuvZPXorGI5Lhw6zRCW0k7SjYStdyCe3l2rLpGRPQzJuYSNzNNqfo8oId66iPK2dPNxkjxNHGWbFogqL4uRCRQdiQZG4arQ0GHvOFaB/lG4mIwP223h3AVzYE649K5tW2Gu9ox/8NY+MVk21YRTQbil3pshroVeRMBZvuCQszczcEtXmw8bYuFN+RLHJbOwn4c1EdiseKvp4HCbMkQ7I5xOSET0VP4rNh+fRrBGUrhvUdQohlwIZKE0FzKtYAX4ZdoSuxkhHaZIUPRXzy0FC0k3BlUmHmrzlJ9DzexasDn1gr4Ms5f7rUP7Vi4zd8lcruEKqvVguAAIXsb9Pw/aeMKLSPcIg56GC0qhQ86DfClxHj9Dl0RGp+B/FKCB3yvpi0jfi3hQ82RbjFtlyIceSBKzzYCYZBeTgn1sL31IBL3T/6Y9OFApMmAFg7wJWbCMvhXYAx+Gpp1PILAbgYiKuwdJWey1FGe3KAOhtyPOS+Ds8cH26BHeaRmrLqyn5jv9b8OF9SV5S9dw+JYooHxhXyRDSIU+B7T6QBWSiVlun7oVFq9rpMTBsXwQG0f6xcUpYJ/dgXhFWCEHzdZyWjXj0uyss6fltciYC5TFCK4tOpgrblKiSDkOmoGhvhn/HoZt0vJFt3dM/pNJOwQPc36LJoIY+8T5o/TMAA8RkkIYYyhO5m5ReqsuZMsgqLsXGElbd7WI45AzHszhjcZSAeGUIvy47STcN6+WNMJ0pZ/ajNXXxH0k32ZrvNgIo4K8if723qGh7Ku4YL+OpvciLwfB5353TVsvtGCxVDFS3w5eNURT68llayROyzfvtQIZ/Ht0T4J5PXB8QFRddo5u9xcebH1ui92S+BgdGwwbuuKgCNEeUokGPRBxLUjtPSSFcKJtWW3IR3JfaQRqc3q+Ex4Kp5Vz5e414aPBT3aNbPPQS+dv5q4dAFQkKMvJtN+6zePQZmzKbrUzg5/5MJB72doEqTV+DT1qqMiX4hFx4Ksa4Umz82jL6mnhfaXWEbVNOTq66oP8yk0U3yGSt13yMrSgFYgI/kkrcw2uiA7PKW8KRhUrUyspcSuquEdD22tkhnOajVf50jdEERM0bLx3vIx9piP/Y/gkyxH+TwaWZAj+jDXOr+WIm+tDNDWEAh9iDlRjig9Pwp8uMQM0NRFQT6fbW9HWOpSaB87F+XUhulWzR15NZfMOwOk286JNPGp7gmlzbE/EyZ8dNey5NnhCgolZxZhYsZI7lCiVB4wVI2HhXBw643fn/Qx+461LhdsxGXo4J+pADRG4MeWE2aUeNQLC7FcVOC29M6oaJGmf8749zjzkPelJposvbgrfcLZwZVa9g3ZJQ0kgWr1w0p/S7bIAcLmXftmCjnuM9novstF+Pp+7Y6u6ajTqZxhIojzLrmhgmhF5GMkZFI5MsRjdEMuaykCuSmMwk5KM1x9daApljMyaZlbK0t7K2Deq0OGxupo63H8l6GbZoSAj3v5ip8fiYVB/o5HFYLX1hVlDlsyM6rxkb024xCHVqeZGsvViEA8enr9bzCEEqAgmEUkEr63cOu1Vvek3VfrNDuw89RL70K240PsAuxi9FfAYSWJk09uhkoek3T6jlORa02qS0nh4cIq5z9HOtYKOSaB2CcwXuskqsz8OEzbEkiQq0YNJ9Qg4751TlAAsM7KJFWbSVhbrxcbGKsqRFo35MYNk6Ru/XsmVKkihu3CkynP3cO1uRK8cHKPeiq6oyzkQoTtCzWXFeknphJPzoal+7i6SWSyiO3LvVNTmxencUB8G7xF87UrGIHsWro21DdwnSH6PvLi27+a1lnOPXEW5OvmGHs9IH8+OPzYvkM0AXnE4qA1/Um1JCBXO63HCpw2/hvVR0JUx76fjLmQ69FCRsX51l+JwfodF+psZdZkd1Lni4dfnAu4m7ztGKxhef01ed9m6vIqYU6+wGUpyVVaysYHG2N5Xp6beHkBIXXhZOYty95mn56WnRhERM0jU2huFR83xtU0xPkWUvC8AmkfWrFwy3C07oKXNe4+PQxUJ37VKWYJ9WRzupyarnF7/S71vvHzviSmFY7opbPdrieu4fJU4Ozt/jH/0Y7rEkG09q61sxuuiAV5fo0cVxQ5d59FOa5nIgE3DnbmDaXIBhSAVr4EhXN6CDVJkwZxvWMQxDssuLM/01D5S4Iw1TdkM5mw1IuvxDXimgeiGz/7XeZBzI3jw66d1gAkt33yWM14GO8LWKUbWvOE++l7Z5GGZXjv9HK4fR6IbGw2QuxAO2olX2NDeeEwM5UJ/6sfXJQTjxsNU+WwtiBFqOhGdEi8sBfUBP44qtlLPLv5/DSH1/vctaldgpkxt+KsKrUjcYxZzSj+O5z31Ib+Ed3f5PjmEa+0jkDGoRDPxTpavshkfBuIeE/ySkR2E4/Qdv/HOZT+xZ+aFvXZpUGrsI3NiNImtbbeEkgi2nkNtENvHQkL0d2T/dmUIJgZLytmbGR6+zwLIG8Kn1ROw7/16cJROxOk8dhm4pFojPv3HhEJu5OMTMkyqdDz2zwcEXPT1aqHo9px0eaBXhoRV/iScQryj0MnzgcAuNGBEm0WetXWX+kNHmnr5yQH4aXtKLJHXHfkwYKA3kQuBSKD6w+vvtG4rvujo1t0ZcOhbkcJ1nM2aXYote+Vj263yDu0fiBaDYCFCtm2LQkqPT8oJ0VINOqD7yVpsYjoSuZ2zh9JphDzUnMwqaibEOvQ8e4c6h2KSloEuSdv/YgLzSv4aIuGPh6tRRvmV75qY2KqVdS4pHOxjR9n8zXzV3r9ifWZPvFqflxGnFt0B+dKTCmebVTiuejoAj+GwMcL1rvWn9ahwwVKzCXk5TOYgPmlk+mu4bdsxG16tJmbURlcKLOHQAp4HFyDii6ET87YUi3ERoEvG8fX5vgijuVdHNoBr+q0fjw9H9L/bQA378ACEcW7yeoicrJU48ZxRO5L5PEdFFJF6m5zG7Lj/yerz9zdDqFv+y7OifvpGTwXwunChfW7iN/pJIBCSdixXtaEUWDCj9MDz/+JnM3ypPt2LeUHT6f0K0ZzdcIR9VA5gajGhe5N5b34vxwM9RqHkB+SkYu1obsfh8gi8xbTa0ptYREgPJ0sig0wPDt/tyQRxeT0dvCTT11ccd085YdmwAqYnujPAYdTEQ9RnO5EcsjVPOhtOm95Mb6Sa2NRbR3fkwGLnPODc3WaCEpgiaFGkB3TN3jSC+/8kQnuUZET2O5MzzqnlRLaV8qwFC6qgwWnGpMwz2yJHHaeAE+iF3A8phE0kDHYVVRWQNNGIiu++ZLgmNDMfgGqdTkeFWIuF7Hfb2AdgiGPpYnOiGFrNuTiTA8vWyMAwkcOHMlWJJrBq6HErWy2uscifOxKDbedZE4yDEFyOI5z5Bd2jNu+bOmm2C7waqimZI0VmhPs9EkGdheUP46LfuZUKYYh4Be3WpACTvuW6AYVNo+pCs+VdavcaUnMgvzJ1d7dsS6cF/8HZYMZerPu3Cn+ZM+S+4kY/cGftYUaYPC5M+pITsUtowfRlSSLiiXUp7kDDUh6LOixr6epbI9RfqUjjGzdlt/dFlFG7vfySCZqA3nLv1hhKeFFThiwPWpqJoFIBbTtXoDkVVS0DKhBakwaOF/kaVQ7gdO3q1uUTGeXR3t6P1/v+5tDscCWd3JqY8Rn+hzW/hbHAgaaUU5AMxUJmeJt/6nZCNx51di00/INOKj5YoWCSTZ409mDbROgNAIsU+lSk93HHkJ/6DwLY2yx8QIlSFuTMvfb2Yw/fohOlWOerfKxBpoX4FK2nQw7Ly5hma8PLG3X2rNFOlkuVvVvB8puI2zxAfDUp1arGgbZvP43ZO33M0TGbhZ27orx/Y0UNIuxGGK4JlHur7LrEzOyEPO8oAoI8OayCyenzj5bf1ndi+gwn+aquu2mtAkgZ5R3g8N9JgexT3+OKjH5U37skxPbk7l6zFyS18qTiaNGTARSeRmuu1SZvTO3qQ2xkWxwlaEj0rv7ZDTYm+e1wY9yEGoziCQFcGBY+PYZzOCEwvHlK2Urb0tySnZ3vTdEeB1UndOeZ+g7oa/vfyawTdAPrVS8w5SyaNYZds7M8uT8oM1XYv1aHab2eEjhZts2xQeFKNAJWSHfHwGYmkgYuDkFwaCVqBE1gjh1chBUPzhnOcoQ4ocyS+LzvA3OJCqM27GTb5IFSUoqvUM/9hwAcdTMAbON2tsj3VZa9g3BNS2Wl3/1DbxtI334fo9CIGmEBhZQyhwiiokeU4zhCwUV7GRJwPU6T/bwP4ZA237IHJhiGjvJ6D7w8E6NnZ+P+gqemM09No92BGARbq+L6yTmpzHSWXlAbghfZZ8K++D/ImdIxRgyv17IBAwxVziBFAoYhwtWSZFGMHmgZbTLVzmOCa5D1cr30TDRJYLIwfm3jz/smWxbtGay/l4T8fqjjg7it8AXAaxzftgxvIGQihlJAQOBjQknUoevAag7TgVUxmXItnS8qto9+sDl7zAuEuGgOOLHSDATazxVm9p6ttu1iaVoLHWruI6M7bsPN3AyDbrucG78hRA2+MzXr2ZljIGMKE3YIpO0vHPeRY0rtIyqqKz3adLFfEDB4pgePZvqIkrd+dQzdqTmH2VLJC3f4uZip+0Yp6Yxp5FxyzO/RmWS3SQzXQorquXN3YzHp31kVMjDoL5VsTnfRjTsGDbGqtS+aCd3jI5NBW6DJmXb2woZiQxVthFlsiRu2eDXQs/4cWqn5cpNpCZadNanfNHOHBhE9chQW6qfho5zdNraOr68R852gzDJC06wqIdm0VgI1sl1L6458e6uvcJrTR0dhwJlkHxffm3Qt17mBE6CFWHqkgreYju7OsRG44LGN/IRx2/bhCB33Bja72ZzR64K5WS/Cf1v7ZeGPE/L2jnH000dHCwL80EuwVvo/EeRzEQYXucSYG8mR9a9BV6Pa/ncNQH410U2JGHYpamBGl2rfjPN4RzcQUBcvOk8ZL22d9Y+bHxqfDJydb2Z0vF+tarsgxj6z/uJuXa5wofbNhj66x0KiTViXxXhH1W3nNDxMqVew4h0ElQeRW2UA3DWAE1h/xK22My1jHW7w3IsN0YoLFo2ztSpfQA9LueAk0M0TaWRJZOn6ADUkxXF7EvKTbQadcHHQGdltd6B9bkWgzYRI6VY645KVq38eu6OCsChSxYhitB5YPmsIXtEV7bdvLkzj4k4i1lWKkHtBUU+qnEfyuclyDzVA9Hji2t1Z/nD0OyKO6AIG8/7Ett/zkmHFZYDLpt/eqTYvL+r/C+4xdObbLkFZ74DRkrvkGvJ00RaYqKkfUMqEy65VIxoWJqNQXjnH7TFIz23THgvLxF1A6/rMJksnYEwov0zEEVqntcSkL5GWj09YWmpQF2o7fMq6U1USE313yuQHGTnJOfl7g3D6vTxDYNYEh5TbqEfiNPjPg4lFVxAp+vzhXXHk/V6xWgflJuxdynsrrh20Kbxx1WTh6A6zFWHqfxVcrNBCK37FJCiEFnSPU+2WM1WIOQ8InKVH3e2rrLuP5hYt3VAKHnCE9uq1xuIFBgAl8XhGmxXFpq49Oe3iQm7DN8rKE+P0ALtEUAAJDn8YbFqKaFReaF6XnmujAtZarqk/E5BvK9Z47DI5hkwWdMFAQ+GoWun0OAzR2KuJagJ6sxKNnlTwp/hLB0fobaRTxprSCQyeGwkGWtKBP45fPJeQw4twrTMFnRe/sOUh+fzAukcyIlKOFEZgEMta5Pp8g3mNK9MTumq6Wyx3yCVpEehKo9T9JBidBbbW2dCWpnqAYkzH/Ds4RjV2jxobl1oOXLfGt2XXKouTqPfTxX8SjLLTYDYHzQLBuOLD+y1zXROwecirDMDXtToIEOigudskk2i0P+5c0pJ1TDHv4lWDeVyfLZb1LoZPENuzT1SL/2yKoibC4iU26pn1FlTp/rA75NE7+yTRrDuHaZkAz9rciw8DP1d9kFm+SdNFROTeKbRTdfbav9ewDKdOCWQmcmoqFPg+s4lFwsEOJt+x6dv0J80GIR/h8i77p7Z5z+3t7VmFPQgvx7GvF/fVqpDs3XDndkcK4d5ktuPsuYqWq09I88K3dBXqwz2nlG4TWM1f5fbMOsHlKd3o02Ea3oNFElYRvgK2Dfzqj2OFNcry+OPvlNwuFpeEPk5nO5vrcY8dht+VywmJPCxE0m59nmaa5pfBYfdsIh/qJ9S8Iy/X84gh5PR2/1WiWVn/oH8ihU44nNKc/9rLS6sAuwDZBWB4yPsO8LgoIW+SMZrgRwynrqxqB1o55vR4AWYFjRRYubQp648/alHsv83Yce3lgTh9LVDSiSFKweI6sJrAWnBGF9xHpqcY7KYwSYinUJCKMZ8ItZ22ubO7tXfvzW0emgqc/oJBp176LqQCJjVFV9E/A+VRsUqRiX4jlY7nggjxjTEaEbmkNX7NMhlY3a1DRZx0gW32LpSSKvvhiocuxjHKehJf+reZLyiFEVTIprVPws+Ab7NxzuhNCf5py130r0zLwQElPuATtM+9UkgPn5lsmk+1pSGcb73gyW79W0P5yPWhhwEDJFBWqpA0+v6lsZFe4sKnHJQ6kyWjEaHSB6iLlDbk7Igp+tN1fH8n+q4B5XX0gJORCUGXXd48lYO6Ze/ob5TgL7qwHJ7uNI/Fmv9w7N6kdu7TIjS9P3Bz0fsDHoz3nmRRlX1PqjTtglsDfrQJ8RIFCMYs70B4+jftRMd/98Y+IjkE2XA0UdyeKhKNDf4naber0JQEOI2/eJgPRdPx7iEGl6CXRajsVDespVT6816VWO7g0e/o9dyD9icZ5OrkCPDNRemBt2HJSTUR9zPBsx2P+ez+BU00+m76iySeeV/k/tHtaQKRXxguLm03d1vOr/0qicCREyu+OI3LK4tvQi4mS6F5H9i4ibqG4YxJ503AdnDr59jryycitCknGaD1HvxFzWTf4X6RpjoUOu0/vOI03zu7ZU02KzTYViJUePOA7kelJ2MKf2aPKanG0vc7Y536inn+mC6tyh4BT5h4xHtZT10Sbtvg63VfzeuKDqPCmeAMhrErnypB8ix0x7wGC2iczUhFAhDmVvWnSp5Am7yv3A0YtRcTkIycf0VJZnL7S/G2kYvOCL6mNSAouTJHR8/c4iFiSi4E1UYlqQ0/hjUQIT3STZO2y6+eXP6cL0uceT7O9MspPK+/0N22fknaNjmx1oRKam44mddVbX8UqKmhzn2JLvpBd3AhnA5DkHQhciV+hhclTMnO8rrIuEVisJoIJsWj36P1TN7NNWegu8AF5ywGPNQh2EsR3HCahQ947WaKr+g/EHHfhPLjAQGE75ITfCgSjd4cdVpNOlxhZHrMg3pF9nmrmbw629Nqypss4EXoBPGLhX2IyUlK4KfhnBMGfqGpBZVQhNEBp8LEJpBQ3gu8//MuCMI58UKVJ+FV4BNMdVMid70Q+2tSeXWMtjomwgWTppTCVRTf8WLh312s319ss0YWWYL20iGPZ4ROvtO2oc2fOQnR331Qf/DutU28//pdVqhopYJTPgXuTOu9eU5SbkBJIi360iJE0yqDMC/MmrQM37Yd/md6IuFoAwhB9JoUY+QCaxJ7fXNkpeJ+FihRcLm2ifI+NUe0k853oV8py36FMBHTP/G+vdEhK57zvQWvWhSXw9MsXbnEGDmEXN0eOwmEA+GqFrbBd6tt+CZruBkh9DMlhJi9/hNe+ki8fBkeVpX3KIlBwI7xl5AH68Bpxb+M89SWbKjNMo1zNRostZAs9A3BszkwI337sgeEw702XXc8Kt9u3NUoNe0F0fWdnqZk5I3AAYQn1Ykm015oJQDchrUFH3NyenVaGot0GyBrtcIaYjwXagRQzuV1xIFTFGKABytL2PV/5cf4QCOyV2R9MRH5BiRENIHxweCZhaY/Dt2IILqMjSdtG9KJUxvF9b7LY+NDDVUElqECKWB3qZynaKgTWcB6GHQ58H7kkMlxhW2+OIXXlKrTD4fE/uiNJjlkLi/9QCcZP909jbZsaVDimaaUOgKMV5npeK9QhMzHp0q7MC5ZvK7XjHcHnLfJjBZW1OpdNAurm5XOadCqYqFzSX/HzLi5Xa+UQHozwMKQ5n2DUttQHJaReNovEJMh6yTy2jGaiyN3+hZ2OhIFr7hh+SB5AtMKPxFGGRBxvjA5/8qD9a3jpnEBrCHtgMVZAib/fBnIkS1kF4c72gmXBeThq37nHN7MuncOE8oGJKcGzbZhdfPLf7T2YQvUWj5JIUr5aSaFZ/E9zaKNea017jaEbzdjCvaQeo8FZgJ+bZEpYL1FivV/YOvczz64Z6y9e+CFqujejuiJrIRrdxpKUQaOLYOBtGbTxwHxxPlW0iigk3daEs8QD9vLuARSZ0Mt7Vy5mdMCouK4oyQLpD/2pOZXzZRsNNl0D+P5I031kobKK2WAJjbeox6QAnuIybFe4/Zat56WD66RgCRPsJIYABp5jQazqjucX7XUEOg3zz/m6a/ukYGVwCLPjTg69Dl/GjdXRm0UaE8B7FyEaddla5qfodOEJ44DCWFi5QOsG8L2DqeadWb5jWdEaoUUsyCduDxwQ87At/NCDflPtdKVbkgCyriB2nvyC9Ae+FhRCkiBlRbuxrOmrs6OmJ0uAvkNc1HKPVojvkeBivf+/hR4ZPD+VwmKkY2GiPC9m1GaAneMidANw6o4rQ+qJZA/oHJ0RFRNyJGH0vsrzqEqguY/1Hj6solqWRfwpvT5jddi6t/zeApJF69WI2bTpTu5Obuq6lerd6aq4kkKW5VGNKvg3l8+JEmAw5u8xWUVqYJyJODx9JVe2bGi8oas8TxStO63nPNV1e8vWkrdxgXfcsdO9woTZ+Dce9vF+/saS157Ci/QsQ63JgjLvbw811Fxlq6HMpxvqaB7QNxHCMUZzyZSZJmJs0OuJIJlnQfpZ2kkCFGckiJMHo+j68yBCPbBI5e+epUDYeX0/CnEfnXolR/APpXDEu5gl9Y5rqdDTjBBAxVg/PE57g2uY2Vc+BY8ply277ahMuXouncjU4zO6WtAhR3JOK4exikqhgEfQMb1xaB6GzZQ9ewAltXSX9nSqdJN1gKW5MTgusJ3RSLaN+yMCkvc/VSHwvBehTO9DGleXKksTGJp+DM31N+d99w4KRDkAbR/5p8F/ELrS5zMSqofKCGXsd9tENbVAPJEEwyZLCPBNtuoUkAo9nhvw36kou3u4UxGbz1zQvkR2WDKAFh2hdtkJrZRCr/07cw3VPyQUQvdXYaTDxhZ8nyjlIvfseixHrdgZVLGjRYP6vPwq3C9TcTndDacKhxbpcUvpR9VyxtErzimoSyVNcTjpbohio5AwGFBaSS6A87t6F4/+Q0eio7NxyCtdLUiIeErNUo5tA9dbpMKctT6kadi6DO2gdRs1Ha+D01s4dh0ec5x3aNFTCbd3hbM894JNyYL4vP6nzGW9st+70HkyAcTWuKScim2azu+eCeEYRYCr/202PYo9PZdiIB1PFwvP3GkmJxaS3iDFX1YpF87D0jsd2k/SS9AxbWefnYOQQWHQ+HcwG3ibg8sYStSHBKF8nbo1ZAetqkhYZBBk8fBmzXDbk3GrFbPoK2/+w75jAtfWNbhWnzwQqfT0u+8HGedk0BrwpgOu+CpX3rM1YkXtC1naOlx3VLJ4UozTOys/OsT2EKvGjk2kDr9+2spcVCzais03R28GVnsx2cJ8Y1CDpUw/TL4vxpkNBqvGLi3Ja2lkH9QO+IrhQM6MSkjIGj6cxjd1gZ8ROkcttlomntLY0l5C4HghWX163XR/+099iKiVXEcpkpUsdfBa9aEN9WA3ZMl6u2X8fejvtNbYwuOxFjTuaXrAP9l05Pp47KHk9KFXfnDqDCEo1bvHpENM4pHs2hGROlPgQHR+ABatltxo+MRxwb1Zq/5ZroSa3Yj9ZzSiqPAieyCgj1RQ/mAfI9WfAAQLgTEPhugn0Dqquy4XMiIh4sGsqd6fh5KWw0SvjMFN6My65Sd+V9eIR/sC34V7Z6x6mU1TBgi6dZyqmfAMW29EDdUkveKEbXpvpP/RtNV7hU35+DkuMbuOlPIfmVlUFdGhxS/8+vdep6V7NZv1o/csIEadHYjpMPeb+nPFJ1f8n9CfIGs8WYB55TsQMMJ58ERmCZgRaxCFPzCOJaxsGcODqWnn+Hv0HJ8x9Af3+0scgKvl3y3m2DjPquBwK8mfUyNAtF3i3VyJVoNMieHOyQBabqonzlY2WVSwCPju2OwmfqVHyXLB9BlLLG4JjXGd3NuQiSTPwCFNK1IAzTjEV0eCkNHs9s5OAZITVPeKCWKnfmCuPwpIlmG1sMWaTIMgsOrlP/yzJZSxfzB2/wp7leRXHJads3rqYY/a/IoZ+s3P/sgUmGOx7iXOMKz8jM0J2DxwRrJV8mA2iUQIFIEDCJKCtHWoPNED7n+Z0DYJzZ/4vUq8lu91InZGi2ljm7dAKJMn28fmEjYGn2xe4VU4sB+PPgi7zwjAq9I4STB9NvOLz2oWw38w7zw64g6mtMS87Wq9I4/NNIpj4/8INoy7nj7zT2cUpxp1MCpLtWtHPjH665BO+VP5k/WEQX2AgJ74Mpyrrn/9IVf3KXLHwycs9pInhLYwzl3en4ddxB/+wUJemi+YzhaY7j2fHp0+5KFXiRSLrIPnO2OFjkkm6PTHyVU40hzcKqtdZRSajWrL9mxi+FKht6mQ8LHKDwZIWMouvZkHC9qHm8/6yGeKKCxZWO5LcarduORhHDdr0SmAXX9SUU1g0QyPIzdA7jM5Qjk3DdFv87QbigNyS1CYTWWnoQtd98y1JjQPZgjuSaJ6CAwR/OfCNHjKi2fcGROu8WeSsqUE97qH38Le5UIq0Ot4ytQYojro8tvl0l0bOfswdSq2iurNQvEth1s5Q8wSl5phMD57mDIY+yfDoRyt+co4i869nLLD0I5QgSlyYxLhq8bXms1+L8d0ZgEyZFc7MnHAdFUlrkVtvhN2kDXeS+nR0AfJxmqKkEgLhhncKenKvn4Zp7Do2rs4ud9/TlFZs1HYvu/tFR62nfJiHTu+NITubnl4lGQs4/VO/vtcOryOJr4KUmSIC4bPP6pBrZGAcS6F0GT6banr5QLOIGep557bK4KAO7kOGVIHvDeAk1WKTZ1Y4SE4pVxOoU9jytHVmtC5QIicOC3IQ7SYrNFCAsbBF+iUHIjwZ2JhwsUP7m8NqSLVvvtD1xpPr7IrWSSaoYObajD1WyDF99rJwm7fsqMq27K7QLdYIcN7NMSLtXWeMUzS+Xl2KBElRlY2uOMs4AoFYGO2bwJ0mXSUEs76EM0esecD61P1TesxU+RhhlJyhGEBYLpLtD0lcYjzd1c+MvSM91ACWpTJUvne+Wqjb88U7m93UaGvYBAnAwwvMG+Lbf5P5tzgPdKPgfQoCi0IQj9SKejYDmCc5ZFUtiAuwzxbAc9Fm9EqHbzXuW6W2T+iC1boNZn6QX1MdA01WvHWIB91x0+8oiPWvsNZTzNrSNyO+bkoq2T7QmPAAUzUSwVoSdRal2ALv/r9zWlah9GaQl2Eab5jw7ffM5CYbT5U7B2ogDAeltVDu7vp6L+hwzP3fhNsYd8JkY4Ybn45X7KyVjHqrnIvq8jSxNWoZNX80Q2Y5woK+XXVCzFD5SQGfje2Bz8tV3KCPRZVCUoDpALuOdcactU+CaNGmHlKmOcLiBgHMClxOnbUBavrbmWQT/t+VO7zcR6Y/mbCiXeyEUWhqw5RptL63H0UhfA4Hz65PBrd7cwT3l5/rBuaq0+elFT1hIev8htCXfTLooxDXjOkxXzuVIBPTKjyoQz3EWDC1N/Z/kxleZPFcPjp5H7+dTKPPxsBi6aULk8+m5ob+MTuDejcQmar7qNayGcfh08hRxH6+kQq4FJQcB7CjZrTkyM8BCeMD4as6SN0t1KTlvP/ZtmsM+StEJ18hHnBD7NU7oFiVvcHG/8mwlhUYgqqOZ7du82+vsEncnZ6oS/cVxrzpnY/BaJs78YUP3eMvNdSdese/o+Ad3FHPXJsPPKS2ajZHpvruS7QTUEkItmE2oKMDaq1y2YMu+gMyOaQl473iuW5TNCaG4HeDqqjIN8XL3CPl6FJCdStAkcvV7OpFRlcrvvPVRCnS6U4lM1BdHZeyN6Ds3gRmQC6JlgN/uhjxfYtQk1+EEmsMhw+4aReNhK5A9c3hmx/7ocRb87kiYqdQwyXqJ+aD+SBqkTJ4CPwTcKVsDkjERNfrFM1shtHHQI2RS40QR6euCc/4pEO8/osL60o0ZEBbcAsSRHe5Ar9f4xkmbga8NzzAzCCgI5r7JgtLzS7S+Y9QPPGQPaXzQ8g4n5KZtGvfhCPvI7eEJIm3iMMAz3WePO4YHCIbfAvKbhU00HOFCm4z4CJqJ2sv3a3fw9fK2+BGMVuY/mxcqYZSm8JRwSAN28AisfCCxvrPxgVw4rmjtu9oOxCIQIHr/FC4pLfLZ6LpUUJ/eqtneAKAvUDunr7McOKFZfKT5LUiy8qJBMhwpa4RN5fNhjq5DA4VvSHGDlV5IOfP1oqSMfNv58EyR2IDyqr59l45llPTm8IpBRSj+eCW1nHppxTaMSrRmQyJtUh6hGZUOsEd/QY3kATyHGDfiM96IAUANYNNLzoepAeU+E4oikvo6XhFQSBBCC1Mt7pzw2BtmANcmqCLBlGCXQ09tNRHDcI7MeK1uBvAhHm9RN9isARZnb/BYTFlmY+J/MdoUZrqFK00pNvBElOxZzXcjWqq9Mbhq4f97aeqQhi6dR7Fv2s+DTN4euwRSM5H6spwWzjTMBjvNdm60dsK/FGSxR8c9IsjZyAF+lgqAwKk1Yj9LQrktoEkkkO4t56wjipxJ9CM80D6npc/6cMfxrMTthLxcSPqNFW+N4G2vdt6YNEswVQEyxKtBavYO4sy+IzdVThwCfLly+AmdSRkgjLRoL44wvQ3CzB/jbXE6Uh5quVDamRwAxxq1r+XvRlO7pi3AkdO65qOWkoMbv+bwekPVbV9UZKeSGgAcQg6aTcmrUmcvLLJ2pxVbk0dTQeLbOovIe2oGi2FrpJsLvNHu3u1d54yXSeeZ/RxUY7bJTaOVIdl8phe4F/z67jtxL+wyheAKNYmpkJjzA9+83FW310ddckaEJpK6P+6sV5CuQ4+3axJiblymPPLkAsgzt5UGEPLFazyhtlXXMB2fVUIh/JwyI+LLI4rrnYkY2r8tIM50t+omWjdGCybAP7o+OxNV/mCrSfKF1pLrqK+SJb2X+D3tvKP41DG5Rpg84marfAfZfZDgNEGnqZ1L5NjNF5AFMCwwBStdHqQ7j4B8zr7Z9YLV/nkR9NOtW8qXVgmIQvFFf7pH/Tp+zAGAhc4CBa9QwgVSjLFJq3QA/ekvQNhAEri9ClrwfHoZR1CMOlmdoskPw8BN+6uRamU6mXdF+M03eT+bqQtlCwkgdbsEfXIVnknZVACHfRYC8PE3UuxGA2wirQoT7pArmexzOl37ZcnhoN7HuE13C7EL30bKBIwDKKJI3eBo4YfuAHHBuZoEASHL4gEWZjEBi29ILRXt3m6GIzBbNjABCYwoonM1uZTrsWqdtboie5rw5Toi+MqnNpJTJXNaUskOqoT1Rsvjd/WkorXxOVQ6VIxhKeeEiiicjj13JULr5YSu552pLf/byMtL4SDpqvO2xvl2QR5YDNrqKGdXhBdtMIvorvpdXYefbA8CP90ykafXTQhzBqNH5vpT6BSCB+CKZOPhKTEVHVOkI0BBs8tOq3YIjzJMzXdWYY/KOuMWVb2vmpkFiKB2Q4+CTSCunScT06nXD+ea3isCatmcQATpZjV99/WcZyQ0KUusKsrbVNfybHmyy1IeEoxLZ6QLGl5yC2HApBWwRer018COxnIsMSJHzuixz5oAt2CpxDrj47Zsh0MV/hHNz1ciZIGuirfY4pLH7l4abw2vI/mu/Hr3nhyHazBOd48pgnSAMRKR6ytJz6Sc3SPP93xzOG1jhEhv9+WkajR+C/Y5pHmcuB/zFbyUsHvHCAlMBdNttZ30JZnIicpT+Dd7Fpwo89tfW7GJov4mxinNXFhGuLDm5qZkGRbdvy9nP0o7+yYQiUnheHuF4EGBri66b7YQHJVT11VbvkE+c+CbDI3Xj6J/V/ntiwyYlvJXq5wC/KhK/mwdE1OGcm69njmQODliy+fYQgG3e987rEnVUN/YY8HEtiaczH9qrFDfJ4HTfKIt4EQpex9IUpJXT00PdpQjKOxs+hbBSmiBEKMk3igUGuejdI2D0STIpV0T0gIT7GoK+hUb86nCUmWODv+08Qh2SsHgiK+MxhJDB0x9UygPHC3VzK+qG16V7qI0BS38FcW97wydx4a8aO4GluhKaHUsgzJoC9GPMofecZN1UOI/2Yf0MONlL3T1iMARQYE3l+vovBom5tfAhcJOSmsi4cyZwboxmAiG39svIFnhHg0J0TPZttObbYmt8ZXQpquk69yhKJmbQ3vg5QPev8GIRUUeDvwbu2i7usODOBTuTUEheEpOxpIlljx/rytsoOT1cL6U1wuW5xzKT/BRD314wu7/4qp0+zm8UjGlsCXtw8ps276LSysNHigGG2Gvdkv41qig4T7Fkn/jREo5Sq9RSyio+lMXfzHVoVq35nKaoxdhpoq+9r9Gxf+kNQgmSKk1P/qyhh4nhQJ6pdCd93GAxCWHloQq+1bnUiqxEurQqux+goc1CcWD9lJpSGDraIsS/EVjzlQ6KqEkUnZZDhaa7thJUnbrR1UhgbHsL2jl7FB2ywzhB4PCLGQiQd35yWQQu+CJt1uke17izikXnPhOzyF2vK5FLMjibNPVNlG5y45EaOiE7EUDGa7SfGHy4t6R28k0++CNM5ErlCh1BuAfgOMZ2UcWoBH0B56drjVtTDW/Cs8WXSQgHXHvtRjGgqoJt27wrTbSioJ6VfLPKCLnhcrB6fQ2hFwUzHwdHK17zO4MrvvGy5J+w31dKh4ar4nm62K0aPGiufKnOtkQ+uZpsB6bDINxO42s+pFq8EZhv+9JBVDU6rD/YVJANv91u5t2ehyuyOwymKvWd7OlvkSXcHGiuy2a73fVKiWJJJ4Ivj0QRHUx9i2X3BBhtacRHEtV06BUShYi5DLC8xRbOjkl78SIivshoM70wrpE188pksZhu2by3CTGPcjVjWuVynQ7lg5P+6SQ5hJ3FSzhYBTUnE8IwibkpduXu6hInfM1CYM3Px+awgY8NgxkBYTgra6PzDzvIPwrXF3vjvFmehvpiNnix3kkcN6rXAOK8UTP6FKi1jzyWb/ZYA4Gmj0SLw3VzeF+M7T6VctYqbcOm7xK30K5M/2hRM8tirtbOZM6ohO3ISVhbGhk08vZjdIPhLAjYZ73gWkHrKhUJU3dygIEF9LqLBhc0djXw80TxkeR/dX9nvHY9luZD+nJBLe4divzr2k2ZK9Avsc55aQpIKmJtODSOroYU+wFybz66X7TlJL8i8PBs1a/U7AkiCHpynvM+ElLYzwd/u3JkKwQat3cdZSsU+K5NVje4ItVnvT2NexnociHb2Q0gx5KJ22EFTF0fhp1VB/d/bNO7N0BvePQgfR0O3H/MpwWIlBduIat4itkPcjy9VdabQL2AelhM10K5tfOZ3+SEGGdMQlu/bPWsvGSVAW2a/fUk6X4jkfCCJ6J7iZ+YazdWo0RdP5ADbkAbwQ7MTKMy4Zz42UYrL/JrHEfFWC+lZuweIAUobN/5wV2/qALQ5kErMuF/XCONNYtUeoQ5+baCQOSbedNPRCdySjBh8pM+VmMNelfvgddZzoW9HH0bmzXi5GZv748Tp/BDQBGW+sxiLwLOvc/s3fCzQ7ZtUHbAB7lMMM3D7XllGUozjI8Ek7tCscJlDCbM3Ykc8FnHhEYqsWyvtemEkruO4H8DSj3HDcYEkWqjwCxsAnNPFgZz8RTn2gGvd5YnsPOpaPXnoiK3HC8o15CaLo6MbOnZfsm3Wf3hWwCjF+zD5joMZBLwyERukPVl4lO4o01JCCK9tnu+A0xfxBlXETENOR5TpO1wqkH3ByECLTDYNA37esGViI/KVpPR9ofhcIDWolcEhJOUR03zD4uJGAjVERSJPMyCbZ54jgKACwgumJKxviqDZCIrLgBXIdi7/5erqT7fmL2+UnIVqTXwxrh8+L8AylTvpaG4g7mXeiAGeHa5rsw74ObnC6CUwNgyHtPGsVP5nASm1D/OCgZDh1jdyhg0QhP913+lUNSDkfuCSAbx12LBH5qHHCNT/6brKydhmmQru422kWuJL4ALe6lE+iwrQ/gqtePt3FuVaXtmEjisp5AmOYoZYevcxa5VIxxyhYAkubUIpWkLtcESl0aMkB97iSOsj/BENJyRV8sTiv22pQJQVGNPnSOV0j9n2J82QNcwCb3IOLlRN5D9HWYTZUqGhBR4rc0maJFbPTHCHEg7OyJbVmymZDoR+I65++HOlR3kmfHjapPQLNttojQpfAt5J47ipgiXKQGCuAxtS1m4omiNDBKqhfW/WNu0MJHEoLQWbIeR0NbFnYEa27Zvyx5ZH7QZcKglcGLZv09xRXWrdRgwBYA0K4rhrJlb3sO/KDXfPkKBQQBc+12I0jgw209kfJa+O69PwTKqlQvYH3FT+ZpZNnrTdR9q263dr5v2luQRGLRmEXYJw3PU6Lj4KFVckjyi4gozziFxsM1xfvmJCAGfAa6MQ2tRuLfwTePsHVdQnGNf1OG4QRDxi+wg8EAuljvBJFRLV1RHZ4pTBD7ypQjow2AcB1Ud3qAChRp5mKtvhO1B2ac40xMsJmOZl0mOPzqIkoHs5yO1/tLQ/BWNo5LMx5cLRR+zvdnqtAEvWpCv8hkPVJ141nnLuxgxnpTjCasVzrGEZGl5kGL/URdKBQ+iAakCmmCVtw8cxhhc3pHdnpv/w2829vr82HNfXGKIjQ6pYNeu4dRX68HyrEIoJmo5okHqYaw+3iwnqZagG5xeuW3fKjCURGkD6DPanSVF3jJA0aZ07ObtX/oUADilm+gMpJDyGIA+C9dh+LI+g+l5vx2InOgmXkfpwybpjUAH+UcDtI4FgojXLFdwx/78X/kXuhRd3rWUdxT1X8h3cpYXiGxnAqT7LgKGsSxLy/03zYAINvICyiycyc2vRbrFRH8iCul5RQaOy86RajujpPJRyVzTOml0BPd0xqlEGxg3chs/nN4cinWVH9ReiBlTzu4/wp3pyCPH5+f8hzcCxO/hrFWTMfm+VlhaHMBl+Yydw6OXZIP18uyCJ6LgeiAQh9Iir0eRPpteRCb73ocYxyt5i/DFGFXklgYBXFLlCVDN1qJYvyccQNqOC1cLGPg/aF6BA4eSNNU3ZwSEwCwMxiKRvl/IOeU8L0QVy7sDh7HEEhYXCabOvyne4AVsEzY3ImulGcaVD8CY2TVMEsaTLc4qSkIVF6b98RMQV0ye/HHb3lOIVGzSC/GDWWveTuFbepSoCfH9AWqgIsy2EEjcSurEtNse5GTRiGnaWlGSfej6vzcEm2DIiKb1Jes0kDPvj/dRZUBbyxH1vNjE1YWNOWFbZMAlm55ggpIT0kcu5TScwCr8VrGvDvAkrFneftvH7tnCViQCOcdWths69gU/TL922RK5xew7gwxUwPuyFfaYX8W3XNijDR4wFFvlgLoddE22UyNsNGjWAkW6AtHXKk1LPXbCVvnp+brYEJQgMxrnN/PeZgeMCpVyDpx7Eo+RqbCc65VQEUaARso7cHDNLcgSA/i3MBTqixIO2f2FBlaSxPK/h2AIcxDCRzNUx7HXUgvvy18bV9OvPGxpOziWUJd63saOHpfkEOD+DfuxEz58BboHTMga544pUbSg0jmDVCnVOO56juDfeVufuqrqXcEVEcrMy5A31DYpESIbb2F6X7CV2Pl75ZGQRsvPFEVKXnGIk4+SAZ8eE53nj1/2ZnxlVdRMmZ8EHtefpGU6dMyuaxNqvP3IKVqOCybG1M6uVLvk2w/720zAgXKqV3P9wWDwCMfubkEh0MKAapIxcnaEsMTeA1OLq3M8X2hgsm0TXmMLitkOiIiUTMISQMdFtXAG+hs792QFXspPc7N1GRiJrQMaAuNp99Lupl4sTyWljW+HADu4SNuximjzrp1BJreZE2t9nNzcB1Kgb3PhnsQMUU8Hq4sSi/jPP25RHSQE0Sn/REk5rPdk5CxHG52jIkdGkq7+L+y4KZWLj23l0mpiKF1Srw7s7XY26HWPjbkNfX7W5qGgTc+CqlXUHHFbMXloqkt1cb9t/TJLhuK3zvTneSOpwIXwwQQunrB5egdET+ThaDkpXUtzKIQvZmtCPq4zyBNnTWxM8ZaSHIFQkVtARDHuv0OkmfMpF1eK/k6KPI1uOcUZHRuU5UI8YvVAaEtLBGLTvpsHWXfaj9S5S4ophMJ6MWBt9L4FguukEzvh0t1ujUC0CVpfrmHZfLBT3JahCHLZ9aGIdjs0o0/y0KWIUvbyxa6DUkkOuRz8A6Jl82n/oBIDtbqFWz/RTVS6Hpu/gXtwjItMq06FbQfm5QdPedSJHFh0b04nZd8AkrgcE79EC+jfFKDWPyKACdI1bwRp8EEbor2YX4eDk/pUyUer3nBlVf0skB5MHBVktjMydLonHA/xbheGG83yks0ZGjR+Xl3ClU5pxt0uzaOqOvgCBjXlfhlU6OslOqs69JZZXn1oeNVoyepW58t115YiVDs48VWIt5tEEiE7NV65zPHM6Ff+EuKWsCrApWGy0owgCqUYiQtHenBJONkltemcudMKjxT6TU22I+wsnu0/gfHmP/90qKFgvZZiLievi+koXdV9KYwQ4QRblixgwPf9hmJOujr728ViGYJ4zGKvyB3vYbkSfhmGP7iKwx9fwAyIicEcNy4h0ZAXon0WO/Ydorkv1JeHwJOx9BeDKNCDn1TWMc9ZLG28Nc+9ZZ7ZwwwLzCrqGJ2qL0nerOSAeNX7OVHOdqsN8BFioZ51Z3hzRHas3QtTkidqFQpruyPdsuflPhPfWTp8lDrgDb6MTmiRuGu8+GNLi/y2zfWP5iSrJo1wmLLBbhJLZogL3SSakaImTePAraBQal7Dv2cyNyvv7+tNH8OmWTYQAo3IZjOtbvTnTHT066buGDP6k7N+XlvVX+Ti94ooMbncgwmFsngmVzkSttCAPffr5KZzSbV5s6hVZeW6OlUfqNNt2/22pFcKzPSIzdOGNH4dTZMQep2qozPBbq2mydplMTHJ6X/f8fb5E3sDNNha96Iwayze/pxXmM2oKKHgCdscfCiCZ5hsy8WDwZndFq8U5x8qagiEKi0Hsg+dpQ5eemT1J2gLHcWhk+NhnU7NcyOCj5z6VFvkOH0FvNwpTRPqIf7HEnX8Vg2VnZuRB0hBlBN4nxYb+YFoVAj5mW4tN1LP3Z7PDvjckIjisJgtpEPc7LbDbk8VYTI1u3gYf7/w/g3kFbuJi+y/8KLKcfH/WYRZWeDKPxZcpQ9UkjJOXLqRGzOmCayMCup9ALnucpM5OZEx64wlnX9cgWrtQ9aWIIhHhmyP5DBZ1KmPIg0WqJkP7fq7Ss2xH2CLbEJ7l4G2RlnEgFyTPexrYxxBc2z4KzJmjCdQZFoh9ccMpqCrpRLiMKn/il4d+sqWeNeA502su9Py2X23WBAJF1oV+2xXXkYVrvv6SDUOIspbx93MEwAkaXSjb2I0CMZs/Dqu/29JMftTVMN/UkAvPduc2eyNHZG60KpGFLScEY2zTEsgXZEvEQishvs8IoYq3fMeQibSa5TNaRPUSO87qj0TmM3LetwR4LMI/kK0ZfADyMO3wmzocn/d+efEMbo3ZlqeadtTDa8b6vqs/R8b0DfVoeDvTgYo4g6AdRTAxUR2WZioFufITsVL+iliBNZvW80hTTHsTYPBnLtrvxlkVaNVtvn6g6KbtFn8zCbpKWgj0FX6Ilz5/G/JY761+WqjPhMzjqsNsWCQePHtibLhMsrFTN3zVL+X0rh1UrL1XvJl+U50jgwC6WONyHD16CT1oguBVJFag3IReyC3//WuTBlj381Hj4k8CZQ88XILrnBAcidDC4J34FeSSZuRHxJsrHemmC7CBTizYd+I//gJevJGe6vKg7c+8YkRU/kqZ9XRLQTB46cP+nw6qpD9nThkRVREtE3FycxQRqO9JZQgbBdcA6V2WzgNNUWbYlP1SagqxL4HFtdc02176gBJV/Qcgs+Gy1GGnegb/L0TK0ocUmjvBRSgbqFsROuikQEe/USjRpQXIWr80Sq+tGa6AqfIx3XwSRx5avtmuO7eo432rMI2X0NKqHi1VTHtGfKE2Qoy0/2zn4FXWaIkBCINzEy+lB6a9uPZhu4BBzkdbe/bhJkoiqxtEhMb4RdjxSMRayQKF4nTjaWOFI6xaiV5SJgnTBB5oi+wAgYM7ui8GyPMi3fhllj/DXjAsqILShdtDQCvivbyUqgSeZf7qGWxhPEMqXSrj+878NNoMgaby1Sx4TcaEYtvKfy5+a4k4802sDABFX8ajIpnigsem+6Aa2TubtgliwGA3rgAnTFQYDIBZ9K9w3MTMognHV9dIVrOak3NhcvL4pvgdQAE8RJg4XHZFRc4D/3ap9cwBQHCLD304NeZMb+sjJJL2ik9PLU9v1E5+yVIwx8n721mINbAS7u1pP0y/cdpZ/ByB8j3nEallwaW4kHvMuIJzPUHPrqyEXlprYAQDbaMCSh25wzs/f/nXqtH+hznilx/4Ldscw0NhK24zAfhPOQBTk72KdIy8uMFLF5bD8GPNLHsI1zY+JJZpTqwvoCds5L2N1Up27NimG6BurniBmY7HkkVnnK1UxGhGIbJyHqux+yivBCaSBxFdQxQb7emftSUiN+EG1ggVNbErxHRPkAH5MuzQ2c9EfhAhufPKOQ+/cUsnm9DftzBtxfIBArhlAsXvjoiH0pwxUWbbDaysH+MGzUGtIaCf+7Sjs4dIQH9Ic0MLDO6nEerD+aQzGoXM7vOrnjipK8w+r/Yw5Fbq69C3wzN3BnQtaEmXdZAmmSulQYelM+B8JkPiXtuBb+Tzt98v3/SlXYc0Mso1EYwQU/D2tRu7rnPmAN0oucfmnm2lZGsVUO2rmgH9aEbSH8ZKawV6yru0ezzO/Yz6vkhjU2oSfgzJQPoi1neiUDFfZyQPM3MEc/mdwZTrVFyiVY00vPF9ezQzA855UtJlhUUhP11fDYC4hsNB/azZB8KXanj5l4u7YwUhVgzuD6oLmpmCUuMZ80y085dlWNNo+jPukGwLPvYWUZRSZaXswFAWlFu0/5t6Ql4T0ulGRWwmTMHXMO7OuI03tKn5cXWRLIQk67h4vW5eZ0/nLGdp4ioHiIQl1tff/V8i+UBZ6HSDzZZJKDJYqc0UMpqpw4lE0HLZo1aTbXv7oWUU/MOvIbjgbi+jCEklbLPMacOfgjrCN0AUI4QDzc1//WVguDVxUEbf4oVOAudDlSVw6JnsVs8z+prsG6/QcXfGR21gixZqlm3EddhFpA2E4qYrF4TDMVBrEpgbl/7LmfzdGdrHgozyVYz5bWIe1DIZGlM3mzKL4p9kMgBXFNpCdCl98m3R/L4Diw21Ky9yvdyaswHKWfqHmIfaUfluGlayhd0sgQWf3Ud9yQfVhoi/NFpF/raxdAge4KakPD2By62hd1Hw37beYg5tD2nTLK81wD0oaU6edFba5eMnM8Dcf3c06GhOKLdYtiTdO42zImJTwIAF1UsnPILTPlj7Ws9ERjdoWFoGUMt+8HCglvIXKFj3j6jxvQ6XXqTet7LDX8VE4EP+dYt96qHD+fgXaKMcw5TxvClCNz2SaBwpK0gqVfiObReCsspOc6sWP31NBIO5LS5/Vo8zkLMGGQwNDiZMdi8u2mYAJIyBeJEs/o0Md2uX9OOtIy4IsNL3wBgenpwC6aSk0pdGEjnQ2rhyx6iGCzVl1ClJqdbjMSQUO7rl0AIyvtr47V6RiJPo5g20EOybG59A08Hy5Q25GL3SynF10zqywsufKwhWMRO+PkE6Nfnk6hxFYI8cSQLo0YC12a2E+d85XqJp25rlj4KE80OOuvmbS5cQix1knSTfDoHfudBr/H5dtLk1/h41vTlg5y6WtPXyUt7FUXnklfL2osBFrZ5WiRY0GAHz40D5L4dchNmV+ahQtuVSCSYl3JpSJHyL1gpSMmz20PWX4M1vkRvejPfm4xvYWdvxX+lyi6tW2B0IkVxMjwL/RXIkGP/QkBsq9EZMcDZwthsBGt+BYWies+jD+PJulH1yEq29wHNh3Uuy3XivSQ7FySV0bVXoKq6czJ17wKcfUnoyypv++JplyW1xvXDwvfjUYPqBYoEAKE2UPIfqOGgeSzoioWzXLUJaYBSsFoLNmjvLBPSXRnV+aNzQY4OwGuYHIbfKOlYtKzecQBk/nMO1TcOt72jhquRjJkCXlLKKhkMPrHs04j0Fc3JQTf8wFZv40yYZrAnEQKlgUW4RU4FwyDgkRXYKag0MhJK+0FPSdGDqWl6ivQ2MrMMWEJB6/XEbGdc5+gdBvdgUCkKMRX6XwolL/Yxe/7dvoSJjMnEClHqH2JtjDy/gG3ZxrVw74sreqz/71oP7YBLs5gxoMG61hFASP061x1QO9kUEC/NYU/96amfawxPdks79MfVTCxNpKhVnOgBw/pMX123yxu7L8pqSPIFu/M4h69NaSgfWxQ4lpEFxpyiZJilpSu1LVlAmMsiTT6wWnt064rtMsx1MairqtsRny8p2RyiRVHDH+Q77IEnsJ0zrCPXSB0J8rCJx/9Iqc3XO7eWpGFjdFbs1be1llcrXkfQQ3SvRgP7Q5TlGnm7eYZxEDDZqSXEs12+fzlqIsTTdpz7oiNnnamEYExBYWh+1LdmCP0ljpy5ByDOmOV4443KR9G7GIpCQF5piDn9fxvQZYMhyM5EPJYAbh7VzkMedtyrWBZpMDLK1jSg+ebziW5JsDRPJ3TON67dQa8TGiQXLNp/k7omyvMbqZnxdr6Yr1nMZiWM+4IKZG+uwVDJ9/yYZtb75vi9YxuaI25b+DGB4TZvfVnKoj7WUll8BUobJ3EAomfOwwEX3XYdRP5QH2OMo7zoN+2Dmwi/FojrDg2owZWCMOOAW2Yugbo7j+JGnNNvEIXwlKEkmNKTAx3JcaB/3ZyBYm8qf1uuQzKKfbgYrr8o26kFrlKWvosnr/4qNNZtsSu6v9atsJI0fRowYim8nhGetEbZSWd7LY8SPPHJS0o4QIUgZbebzwxX0QoJnXd+Q7sOrhc4fe6jFR5dC8PRf1rpYcJ9xsD3EeUOAJaVnNN0ngbocybGGD4MKoOoOGil8gSPfHL+LB9KLC2t2d1t2pTItjnI+83zQEyYLQXz5Y6GdBRru7spP3OK9NVZrsK87MbCb5VrD5qaHGCG6UB4ycdpQoaKfqnI0zMuZIgXbSZdxkIz1qh+m/ETeRPhEuK0jQt1ZCUwsLKkvUwk7q/7ItkxgGz3+uvW2c3gAojor8rlOZiv/3NKqnURahTWM/yng3VtUFmoqMv5HfScDtY8bG1+YaW4peYimBMoLbh0qAaqz0h6it8ImNfXOVsKIAEEyZDK1xIZ9iRPOb+6lfReJQ/YYJE9A+8roQRwUQvGNQPZw5NGLVfO+bj+UA3vi/fGOEhUlzabpHMo4L2nIIohFnISwojg6ekdZZ6Z3X8f9S7YJkI9GGeI4/le1Z36VS5VxRrMpSmwxOsPVh96TV2zd8Fgqub/fZYDw6zpRk7G+xWZa2B2my6qOh7E3i5GSdeh9phmuOqffk1TLERuOkbwu2A8Qazad8/grTMtB+Q6ptffH5Rs2XiCN11iLbG8pkm2yw4svJqErxB/0/RH+xqqVZGnEllGF7iSxX2VyVpAQ2pdE6MOlLBgcQh9Lwv3AFug3WujqG3DqCgOR70tZmqyd0vST+W6S6q9rJcS6H3apcCylnvTQimBZvlmiPgrhDJlO0o5QEQbLc+DGt7r6utoKBiVrF6s1WNdCUG+m87o7krForvR6/NH9vOiXCFN3PQgjLVPg85Jwd+EXcJJkkQJQcR1wjdiuMpR1OLxk3CiugkUhokbSqXYG9JEdZxrSvseqYkfG4COZolVT+oN+NevGuRwm+eYSMVFcveIwnNwlmonqekVtrJSgKeD86s8jYNj/PX/rdPBtyyo5VZWoVMvpFPBeytepa3tFeZ4re0ub7LBXwA8J8mRLYbYrdOvAjVFs08mr97FysR+MfEE5yxPlejh55ZyVAfEpM9l+Ey2EhxKRSO0t3aCu3kH4cdwPymALkshZ+kLIYepbOomS8SIM+U341Ewrkm2j2ufbgNEUmV025RqFxPPFmUshdotP4rKuxKGIV8Smr0w8wHP5PO8kNUi/dD6OHtw9TotGNuBVQw47qWUlbEePRrTDvyVZEjcXS464vAhJbr/XC8t67Tzuw/vRdfacNlAKuEmj1EkP6/Fc4YnEY/ZtC0ezfB4dk3sqQ/4/G5YsY7F40TuoCwCDE5uhk6jizj/bIjMkzAi3hEyQ1jZL04rY5SvE3H4eeFuEIMWOdUiCX2b2mPPEkx4DmQFNaHZgQX+1mCn17uiX8hNm81HrK92DvMYMtH69EpIetks62uu2FLDCmZU7JvkgikTvhU1Q8aPf06sEXzo98mFynQJ2cdtFe6dRzdefr+c6bv5skSBSqxiN+Udhnkax4acruX4mzqytS4iksbx6T67j85jZV8W5gboU2MMgephzhyBZ7EOWcMhkFPGQ+f+zr4nlN81tJymHIECqH4+xL4njGc+9tl3KUjCoXNSWx7X6eeCgGPm+Y4NiwsbZuJKI2KgfbB1uzOJnqdPx1LjhXDu9a6wuouwt+6WqOjKmwjgYrFhTxCQihNzGJMl7M75dp0Pe3iI38zHqPQYTb/mg6UwID59uKbK1bZzqdCgqb0nKm0M2RaZTdVlmiTv+vJV0EUdfF6C9lIyn5YWpKE8sIeH+/5VR4uRhLEkImerDVSlUAtWip7DJl3RQ95XtlQtHJhvQLXU1GGmTPmupGVcZdI5HbLIuwOluvHhk+RlPrMPrRELzmeJ9GIbtn+tWgeeae+Sx6Ell3r6GfZ0zbtKLuNThVNsK6DTd9lLaorIpHDJ53U+9uQSR1URjDPevzoouqXZHKQq0cm3HcpSps55nwM1KATZO5vktEkwTM9clWGLv6ZYsvs2EH7Veg84A2lr1SlJOtMN9fquLYjrcXEkubl2e44s/7yAsMeu3cvCA2CSIN0edaczfD9wncrDHhj+Rimcw+a/EhcQ5j/1322QH4vdyhHeiDr9fxLSbGO38fKGve19E++mGuTiedovZtmj1jtlZk2sYA2L6ZsPt5HpSMa9t0GlV1M2UthjLGYyssFJ+jsu6SR55aCUZf0g5K7GBvncgzHQnQqq0fFlHTI6F3QPiDZd3TLc9qA8L6k9ubR0PigB+NXzg0H9vDF0vA07xfhMjZn/7FXfv+lLSDJq7j5Tuj0Vz3VmlxUGXKnZntu81ULAN+FPLuvHkdcMeZYpFEvZcb7uU4sJQCWXY/vOuVo53lkgoCpp/ZB/tvQYbc+btt3rqGIa6GVY+JHIggAgYqg7AhzSumu+Wy4njaJIqas892IVKTsD2x4tydL+GeGEgjXRzlKjfvEA86dBsvbxnQLj8vunrlgwt6NjFbn07wSQi87MaEIpEOPpy4h0+3HI0gOigMD24rFg+HYCZ7eay9Oel8z+SGBERhtuKqo3xMB7F7BbwbLdAYAzYgvsd6N+LlwSWBDF8c9ggTFIn+aSr5wR5+PkkqMwxTsRhRFR/79gElz6A6BYmKZyXnTGE26q6qlL7AlBC6zcFWWRSaDDArsmFzApUjuzNJp+pA1xqn+6lJJWceErBpU8joYIvHlE2iZYYJ9GJDDj908g6ViK99zldukeEY9E0VU2RNlIJ3hgqHEF5rIVbHJMBYguwC355M1r/+ufv4PqmbNQcb6oqbJTRrgfBPJP6hfMemHDvbJIY5mtnP1gsbzlSs5UF0jwT1QTOaeIHgnGt1jHs35EKvWGLuVOFnXpxA0itxg/QctGOGtQxUKJAe/Lgyc8WIWvEjxwFundTkZowMuJxQBfNFpRbhj2X3dRDyxT4+IEHY/KK7pYX/dwwbegTaMkT2Y9Mkb1aExrf78ouT4zELyZKZAs9FJ1lxIXxAtGmk/SKlLNpX2/pkdk0vOF8khaMRh18orFDMtWebiVe82OrbuArpGM6kiqi9jDBYXTuoj7jzxLT/WRSPNYg94neT33SdDaGYmeOF09WIZwQrcGy4f1IA1uuqHHpo1UjHPYO9yB8GrjmrLQWwhkNeXl0Q7glb4oc/eR+1Qb1QxTcqpNLF34UHyZU8wQ9YnmBz6Y2UiUJ1rB8ofLL6gdPRmfLxfwelLqW4qlyDRGwderQZ0DMqjEjMLRxpjzJz/v3N53Otvht7MZrlTS2bT//QG10Uq+YMZtD9VDF5pOqt8fB9cZDkx1pDMUupWnVbeX18D4KXdWzJyx7InCnDh6ejl9NzuKoUnI1zE7+OABrmtH1vX3a8tncZlVDR8V4HgS4A9PjLJ2qdPUB2T/LMsB09F/bU9ASh86fqZ67iINwNIGRox7dznKvvQiojjOqVizUofP+6Mudx0JcMFLMlUnW/0/SIsnLJtHaQBRLJNq+8tCP38tfs0Reqx058+nE/xdheg/kjF6SVxpbcB7lDTNwyYCb2m/Bd/nKB6JUxFNpYCUQUPjoVV4D80Tym8rXB47OJJyIdkQtiAuiATUnpTOOCn0MY+BeMpb/xEkmdiUwq2qd2buS+5VmC/6t8xOc/S6JihSV1WBe8gSt5dfw+ENHPtiQ/LuXd2MFcIkiYYrbvgP8HzEGO8ucSqOc+BAGr8xb7fp1x3+fWr9rDdEq+PRGWNpCHeKVSbCVh3Jto3c4DRZPqmoTDGoRSEe9eBl8VCJYp7NRoeTo7JVdTmFTiWldPqko/xkfQUitwJTi7wyUe8n4NA8hc9gj0VNYBRoKKFits23yZ9PQqCLCbucNn0zCBNDWv6hw2G4Y0hOo2hDOoLKFM79Cp0msLDF1btPmR+/u+jpBzpZsdrQEWcqMRivGYiRVcZJU+9WMRymPh7J2mQY68HIi/2XR+H2RsUcplTK9Sx7NSUszS8LlTGlix9PKExDAL0xaz3yWgQqmIhqTO12jNqeRgUl32qgTH1vq1g4kmF4l5SyYabe5zw6HVZi4EXzrMQZ++TA/a5p8F71CZxQqu3KwL/4iVMrrkzSEHCqgucKIh8a2mFMeyXKrsG6nq1RJR3vds1XFPyi37TUWu6X9edsbJpSAbxSiGX7s9hfnO8NekRayUVGo8N/c68tT2lEN/9WjL6eMzRiEoIjVRPpbY7a4egFuKI+A4rGlMpfwBj1SzDGJDDSIaoAPahwOFY77iy/P7ewpZ6tIn+KZ/BHxoOdwFmE3COffVnIDrZWh83gQsekOZrG7X2pD7e+BBtEwm/dkCqoyl+nkdztDuNpkk8TNKopUn3F+6q77jaPZrQVijlknMNSvxzz0/57mD6N3HPWw0U0OzpxM/fC9WMQZpQDwk+b9FHq+cXeMnviGCDmZQPkI9BKaQTT+maT8lv8Hjwec+G6y9q276Fe/F3WIV9aEcOsiezgMQJ3XmtpJNT0ozTXu/ITIWm0YeHoEciZB4BlX9iFpS+XVEUaZ1xMBJp7iNxTjGCIzN4cqsNuVjr5z85Mmmqo8+0Zu2PXr7RYdUb9C5n1XwuAszn60drYY3LcAXKNccauqw8cWY7xeceU3t28bE2gfQkbLntcUQcTd7ZlyZ5D0FTg9gCf6HGDq6ic+TpSc7i22dU/u16EA0LbqgJ/TV78hPEC02dq/g1Ez6GUahyHnF86bhTICPX979NQUALoWNLCrJwiKWhi2TBLpPixC4u4uH5Db2T/N5xMOmlrHvyNbcoztoen8iUhwS5and/X1OVMUClxzpE6+7h7CYfhjRrmGIwTN0U65fJoveobpvCVA1/1s++EQbKMhT2fmzClNzmasol2YI3cst43atOQfeHSSN6TgycIuMAqxILzb+V0CfKMU3chI7WcP8N3rjYGxaosBUJqDS5gWPMxUjOaKlIPkI2Ix14CiiEd1P2wFkYKPvdQ4DT+UnVIauwI/qi+OFEW2OrTLkW4pky1+MEB5Ouw5Lxl/favbDR5yyXtqRJoD0jxotlcNjH4/VBMzSdTO7PimjlYOfa1J1dBzOMfRF3XBvAXtHzhB7balDbJ0ezB8Wtb8obKwKXaiVYtVoTarxFlbtJ+3fs+FvZQ9i4uduyHWUtBFq2ryHGP4gcGhtpZTq79qPPMbrRm4NTHWGIA4bs5ayRN78LAlKb9wRH+Asorraawkvo2WW4+gcLIqfIIdeAqIUS0pDt4g6RTvf0t4iUCH7Jp8mbz9lsdJZCWAdX0BRffPaUmVGV0l0tji2m8RwsWk8AiXuRwfxKvS7a/Eu3MtE9H8Je0exkaB0RbBiotcajlG/tnDIiaT2GzQND90sl4TXW7pgOI7c2TdkKPHY+38GPzuYtWviDu40lpcD/j4bvwfsR+M5oF76crM3mD1WozFMMq2lVxBNGvbE2yEA6rEFF4cbcHagcKa2oXdTymbhcxFMeiFtbYRmzkkpUI8HBTSYHIJnyfnaJ4ao+3tQ04XcDwRs+wgJ9EdomIyZ2EzO5wC9mcfWQn9W+NPUnvWxr8L9Qruqk9TsvFi6cKQAqTTbDNo9xxrO0JqkLMQB86rUOFVJVPOHfoEE37dXpBxdARDsrRJOK/k1a7P6UfQ5ByFiIzd2sdBijqqEHlwLvhlDUURVkEAAYOFXtUTlQuVHnxI5OiwdgAEj0V7y8Zq7p45MgmMdXo3fMdBRUwWOOdj3kOhExk92iL7WHE9RBJIwzBk1d4Pw3Y6wobDUoVYmIyF0v7O3ZdNrR2eIdSS1yffnO/RJG0NhOpMHyfaKHLkjSf/fmDR9EzBm5mO3x9kA+d9/qzNSFrTLhXSkK2aeqXDC0Ud2k6U6/2V95f5iwfhe8Yl8BgATzcAeUBWpGnelnKD20SM0RQfqbYjZ7ZrEqM3SvSC+6ZRC0dnlzy0G3iCAV0GBgLD0VcSFOK5H/SkJcpARmignH0nhHv9OSbDE/n+JBipJjuTYSwGdOwX/l4RcbXib5w8bxJl/jrk1KzTK3YCrriKuUB2TW3p+ulGdx41scYa8eILgXjUmAFPz0YwncBPlxZgd0sDMMe+b3YUgchVfYTtNhxAXMNn8cWxHPVb/UMwA/mYaJCTM1DAOP5PB8TRNjyYqGv267i1G7lv6i4bR1fOGo74FS7xaPr8FKH0BTtB+rZ0Cy+iuIJDZvWqLjosy7XfUd1BZ3Pk7u2rXGW1E1gSiD2CQZghOuH3sgFc6IDc0nWwJc965c387xCdgNSWA9fs1MegUrWY0rVV8CH0jK5rcPyWM3piZrLXPyoijoBiphUQWtyEjJoYUvAuCvqJ9e3Xd4TLKxJ5Mkr9x2VneVsQdxk0QQFyG0DiY0BISt6hlsa0BmQOPLejIsTEypta4wZFvBt7gwkoAUWaOHkv5/A1yHt2JSmY5i0oODUkMZjgvJAqU0ZWztbskUGYxjt0hnHZ/xorWtfgQbE4KVeZTGE+8b9gOK1NLcYgYvg89wsDadyarFZivTiYcNWmUigyRVNJMJ34+fljRtnAJb3T1G1BrPEziteFd0n1klpceBX5jQGF1tarK3NLFbLx+VtcNfe4UEXAdcpHEWITdPpbL76cVIdDBWApWErT8dRHlJBRopctQMUsNYT5+jKg2LieYR+y/nIgyEK1tYq2rXGm2h+PNGndMTqJDRGgNLxLYy8KDNtACkjFODb7FiyZaoohsO4xPAgBQ0xHfBQzAgaWp8a5iFav+1RGTJ/D8TLVUVk58IYE1td2TCAFZzO4SClYpyz+6WHR2Gpx44SXJt8ig/A2p3uIaXKiOdagxYEK2uzP/3rPESt+7dDVxu5cm38gQ3YSVfRjIpdBSte2wvvnbTvzAamFN3krcRCk8WsPMo/7zcpdY+f+9aenSJkrwGMpvokuNf0yq8iRio6i99h9iVrWMb9F7kK5MZJzVLac+xxcjHOZNQJLrg/mMl3Gxo6nzYcw9NUEMbG4qnFkY7PEV9oUz+NLJHi4+UbP2gpIqeLmwjil7/u0Hnb1hFm2Ac4cxhiTaKCEM5lvarzaRncmH7WpiAEfo9RCsmfWHT7oosZiiusjfnwvd4aeMH19uU1AwCK/CODYGosOn038ytPlnwC2px5bFlDSXuxOarAubXr+vK60ohWKhI2F82pOYUh4EeuFC+6VHbezFOifnxgP8EnMz2Llzj27a3vWKzPmgRdk1uUDnLLBxYWkKkORPHh03A3Z5262io53J/wqWRqHqqwUOQVKdLbXbudfF"/>
  <p:tag name="MEKKOXMLTAGS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aYhHdubK/b9WYMbiqTQFZNRdTaHJ1Coz+gznC5J29/l+uni9WCTqRMIgVGBy5FSCqTCP+Vdrf4pg20L7fH6DBDFZux4Tz8Y6EIG+4ABhVXG1eVDB8FZ0rf6hSs2gwP2iWMPsE4vSr2qZ+sTIxP/yt7nXlzA42FxaXCupq55fRLbI9jA0HOzdgY5JMkcRcNforb2KCbFaDbSZwu/Rm8JQ7chNQ4jlSMIRjZ1s9kX5f8ag4sNcXawzgqPPhgXp9GQCYVL6AcwlGCBlVFlhTKxa5dr/yF1DucexU5Y9+TGXolNIRJQmpQzbM3UkgdDDAiss5IAM30N9pqSCN921KguG+ntbQeer/hdS9FWq27ykqZEilGMZFW98dEg7ZFU1CQVpfkk+tdn4buIWK9oDiRVM5YTbJeTidl3xBiAvGjbMUKzAuBnlRi8AWn1EwPhtSvgZW0YCglhbEChXpco2vf5FjNZWnmqjTDerY9rO/IoclhhOpwntHzCVEYjGm4yCgIkKF5Upuzruk2VsUovYTur6HcwT+j0ZiYcos/h5zf4ZeneG5Q74bz7REifn/5ltoD91YHtw5zj18r+L0bAo6WI4Ixdrceb/+ZGWYlyeaIhzFP0C9+uEXqsGEAcLXhx7gAvyIgG+CS9wKveebm4RJuYsjrUtSCB0xeZNBrCj3dqt8uatjwYc75bFc+01Xy4JwgxHkQOORTrBHl7gWsREJM3lVYMpN5ovaYBDmjT5h1wJrHCSiOywAUbSswYKYIGVYE/j4awhbNZfAadZgY9Zg0/8Oy6KThrWo9MNRn/CwElz9v6otObVB+CiodK9RNU+wO+4bZKc+0IAH6tGX/QYEmGwuddVhvOhXcotuYCf0NzMUzFB0Tt5J7MgS1EMUpGB1/GhE8b8m6S5E+wtCzNWoFk4/GorDHtPJVFDSpolJ0+2YN+d9VF9/G/Nk3PeRfh1nmkKZ8cbeWiNlvIJVZsofeAu9ZSe473YxDKdeM/XWgcvy6dMsCtKSrDLo/o8c/1m/pVLXZf5Yk3o6Fz6710zOQf/BpC/Fk7Ep6EZkJfijisbSBi2s9LkR7J91MEQeo0csUU+bMW94sGP35WRX1uJ/yw+TqBvlMWI0CBKSfLOmN+u1Mb+lYIwHD/YdGDsUNIVcq2uk98twh8SvF8T6nFa7x+MjgUZ11yrSjeud2LB43jO2mmx6qQCCEg9cR/jiuPMYwO4L/SfxFvIQ5BVptlklptl7S8k/J6V59iBdwGyxqIKoikdZlHGCJLRkBv1yXSMF1Mwxk37w47Lho5mZ/oRquJw1fjavBkEREuWS/o8/Qna3obEbFUajpdCP4R7MG5mHwFSepb4t3RJa28OS65OEl9X96rnSeejpktrqpPIa1Uf0vI/EUg82hczBD3xAEcj0haDWC6N3gk+ZPMZ6Mw+6LxP/ppb0u+FBt18lCOy3ZCmBoAi/z7s3DCbCgKEbC69XmyMnGv/jm3clTI0jOXVzIz3WdOO3gUXbLQ46IcWMv6K+NPwRHbYY7Xycb50IostoJygjaPh473kaC7COEUV0fWW5QlwI9sR5bGt+ZvDQoJwl+hdZRQwE99DYdEmv9NBjcoSwqxeRXtF53if4O2Wkf71ObAmRH+sCy4Hjfy5YuY+KNgoc2QyRXqBdz19NTlAG4FhGCblatTk96FjsRSOslT8jPAIJputTmLccNFeHb1hj9NJqKDv90+6L4awNrPsyCjQEItol0ejopmER858Id8fXipof13FNDtX3fazHc/ZzuomWD39aUFthQfybfeuOmmqOn4jThi+Tl59AE160/ZrZWAciecuRnf+YElA1s/9Sygi12JATl5W7hyr+ANo6L3o5/CHMKKmdRRL42Q4qr7F0Il6u2qHvznJzfWz32UOrU8xeiJQnvtgIZz9FzItCCkrJ0/MW/qBwkLIkt8MswvxCfJoPPoGhUvOUjJzegGiny6voflC2dkhbtwvDtiOKPeTnqJVOpHQInofnV+VuVhfdI0j0Zv+Hxio8NP1k6Vmu3BrI26pl+xqKriYrsWbXjRLf/zwrFKNgqdQtjJO2o0blPseS5ggLWF9dF82mbDzpMx57a3rKVko5HahfT78IGpFnfP0zcVnl4gSEdekWue9xwR4NUJCwYk/Vt7eTh2devXxAKTztkygUfij6ggusl9zyt5pgbiwt8YBaA/tPCN9Nh/u1yIt/m/8TZZz2R5UGOULTPH6a2cDVazJ2GNtoAydJ40zircksRxWfNtt1dreMN/nIyxFC1uGeUmM5/Eh9+UZGajwT4qTmyOdp8E8Xg2AuV62UEZBQ73A6i0bhdeUmCUopA8NX1pHG+Lu1RAdztPmUBa8Dm0D2db+HKUPoRJNvhz2ZbpK5HcFPsqUdCiNtVF+G4oWnNziNsJcJFgT+V3fhDmA2IwVhO2gdHG5yMqsMYRc2hm+kSkyCx/GH9bh/ZOl00nX3LS25MCVYM8oXK5+0z0BJUi1HeooA69RkzdbVhz+XcBsMpzCg/lj3E8h8naylNdupKB41Yn9VADwQjRXU37WGiV5EOqpW0cIvHUPTws2CJasMcRwtrd1tt3KQxwS7fcYTBMV3hJWiNSOtxPCSqS7Z83YLI3HP6635IGAsS++89/1rzyNZveDSf1erOI3bku2N7eULsA9nrZd88/sBoVg1z8sIK+YNelBHffG2xbZ7KYQ3hXDiTB85/pzXvyolLewlVqnMeKo3LxgTk68jhBPi7Tv/Q1+GI+F/wP4N/2Bg+HDg/0mwtrWN3+Muys+uDCLQRVo9OKP9L3/yEUiGzHUbwCgqzENqzEfZRdqZZ+7khN99auGPHTlldviTBCmhFVgIzLzGL0g1rB4dk/aMTWyBZhj9XgCSaweWuQqAy7FqW7ealj86LPs4u3Jl57m6fC12d4C8OKLOWTAk6dsVarfLtL9elH8Y9sFUgsAWZ2h2FoNTtFttvBmOFWp4TZBICDyo3yqmZYHspUusDuqzzT9ZyLCxk0ruGl14g9LMnDHcNiCyL39skuaDYEmockuyBw2phavihPzMWrR7QcqsEEU36TOyVKv0Fd5IeP1ZElfIe5y05LNZVjHDYRqrq2E3cbncdZVdeUodhnYAzmjusTjFuUh5sk/OvEZ2IHF0kVo4eg5PVBWuvih9/XNyu9gpo4oxMh7ssf4cpjn1An4SW/u87l6I5qKPUVnPd/taAupwzXjJn2TPJ+P2DK8qvKuzpD1La2gY9+nRHoXFDjyWw68q0RfHks86aA4QO49vNgCMEuacy/fPPuK/uyDHBjNm+k8Phsgwfrk1SjVvBzR1jN72hdJq7w4WtDktzT59cwnttIaxV8VIWylYqws0j9z5u9RYDeTClZxdHSLaOEe33oUSdjLxKQ+rNSXuWEcQJMkSN0OaM28Krfj9R9eUcgmtMbaSUPq8eJINwUAS7NE61/vd6i7yAfB526alNC6TAoypgkZiBdwrPkacdak6aFLtrHbsxE1ipowD6g63bl6ylRVS/aqSmaEslA8ofgp6c9fMqCTxldDHXOoWDEZAZDe4iwo+7LHGyVWtYqCm71tiYtwE8/vwNUT9tU3G1Cwn6EuZihbNLkWU8qkYp070XIWAXYvEOjmdMltBV1RHcGHurzrtT/hp9itbBHXmscVUHFZEAm5HjSXYy67QujSKL2ku73ShmAFVhmTydHntLTxyG+7ZOSs249XhDPKYbZXOeJk/SxqovR9WBTE6sB3sHhRLS4KPTQ1U3vctQEqy0PUZ0NCBtZCTTOy3diQa34hiBowVN1B00hJC4gpahUW4RCPzzJES52inf5KcK/xp/ZYPpGKF9Kl8a3XvKfdPd3WxDFK56418BqTRcDAKVaA8lhMpsOHYvGgLB34jdI/KOjjAgQA8JHfTPWrPl5rsrA19nbrK6HOrmcn2CZ36d7TTgzB9kmfgkddXPr8TEehd4fdd+Wr5NH7/NbdfyoRFnZtBXVIFx/uij53bREKSai6VrLrFtE36XpIQvBrGDBXRwt5ui5lQC60pFmdeGaxhk2JRugjITTHstI3zSor8xjEROv1WFXyVIhNcqTR/s/Y6SjTqQAGoS+PR5jptQ4YMlPdWHOunQoAX0tEA8u/AfDniEa34Wozi+LyRvPaHRny8AVzIJxub8AO1kDvqQAheqp5+acSOwDwzmKwI75CC8pkUHvQpdCBWDjaLhgo8FbcoHJ7d2VoJSvREiy2iIDCs0dkUvZhXSh7JgYyFf9vnuYiD9vt8b7e7uuION+RfU0DHN96qeqFc45/OJrGYOkfF8rRoFDoiMR+i35lBD5AMkMQo3qk9fLnjFx6yhpx6qsXcCMWIlwuEp+SKevJCKT++VDgQ5ofyfLMNMGr+Xgly+77NHfv1iLVs+oBXhrYFrz3L3RrjCqGD/54/n+B46Ik+XKdCONHJ+mlgdUumdbJTn2cXEzaltxTzFlmEXD9hHj3hVzc+jc11n8Sfu+MlLY/2uRtiN+euAuiSdftk4ATvlBpl/vSyMTRW9dFZKpVve7x1aoKp8ca2C+Et5rh7ccpNt//fe+nr9+aloJ+RhpRL7zzKiH3jThfIp5bFAfF4GV+YE0o026LwE4Iql1mORIGL7hhqHhelnkRy48MdUEvkupaXRPDCBR+GwePO/fzVFnZ4qnJhXlyf8d5qRLUWjcAoZtG1gZHSmd81TYfAf8mojUA5v3onOk8q+rJD99WCLtHuV3uZEuQ8leLtt8QQLJxczUoqo7ARKjpdBlbHXtQBPFEi0ML6jwS9818o/V5VPQ04IjQ9c+5Y+Rxo4ZdTomP7VWyMsZefnk8xKebH8YfcbnEPggd5gmIjDLuQ4CvVNcEwnxdHtFqw6qWwWJa8KKP7gdVByDMgC3MNX1Ht+L+PXyEKmyQKLw1CMpq9FRxDors61wd702wuTaHFAG4P6mVW0ynGZWMN415chMONAcIBDzIj4AMz6sFQOy0t+kSSeS2HzMEMn8GubGOGFlTxaRwWDpd1dToQGNRMPSMAMWeR7iXnoRde+PXQJ3LoYl3y2QB3SKMwKNlNRGAfVvqia/QdHv1j8iVXrF1bk4K3IGEkedQpUcihPEc9GLStkEKNeGti6dorPEPBkNGf6myejDllS7I0OLFAnUL1ZEpGwuxFgu4LyJjmROqrNy+h3bqPbbfJgUxETn7EtsT2NgvYu5mjA6oL9ic947pKc0dguKPRtFSohvEfG0RcJDpZucm+Gyr/H7EpzqwJMRiexIjzNCa32O00Phh5dgIwsZE7A3jXs0tm37EykO4vEy8GkldsncKolF39xsPk7lcVdeTlzUeyHTPvoQP6jPH2IjNXEribbhK4LdQtT8SyNklHYw8DJOmPxjGZAQLnpbD/7R4svohcMcl7pTs1B70Lwhvzj0yzAbuiOda2msewCnc5/uiHO5EkoDSlvUlOEiG4fEdDzC+f4dHkF2POlxMzhC7vjDRcqsgXQaLT3834cos/geNa0W+1AueBNhjy2+8i4Y3FqxMMLfpBqPSK3TFQgOtfVi2a/Czo1rYkO3estG2AaOcOXqQ/fM6A+oN653W7iz2b7ub4xkvrCAsbyNh4McHhJBMBQwFzvehoyq2MFF6tWMFawc62m8lV3wDwn9mt195D7+zwzQrlFn5RESfQ/VS2G+GJ7oAZ+fKBVMTVhv3STj9gt8WS3QI4cx2s6WaMJ5ZAMq8U+AJd1l73amGD/Obz5NVyTQOfaL4FTjNaClPSq7nWwEy+UNONdPiO/bhFXLd8mQk97jgEIayGsAAW8v8qlt0e7+yI7MZSNqkJX1q9DloOsCYKi4mp16vTJYIqcMH1+OJ/mMYOnoZndY9nEWO5jQq/yYNhgk69OIXlDpyMsQWygzJCGRbMa7m0MOqtIu0xAlqcNeaQyH3reesXbkvwINSqqWpC6kKB9VBFUGOpj6AWnojhXEbrK3R/rZR+kD0RfAKsRHKRp6Y+REv12TdWXTZ6HAS4ncafqCiE0jlzzR3oSl3MZzFqzkDeNo4cgJmoIq5HIi+9Mw2TzHrFW9kp7KFQLgyoKLJrFL3yFeLzXbbMhEQgZmIAjhYniUgQMH0Q7dd3NCIaBsQtcXhvn5dbucgpEmAJOr5/K6J0lVEjRywiPfUQF/EFfem5748gIbuHmfhbQXeIGnyQIw5T5PSB4DSGwCm+nVQ8Kl9NWgY573FzB62W93Ft4GnFAgwtv6VdJN0TMSzqNjEmbMhwHzjhKiZxWz3aK9huLror5OZ9VV6Q7Yy0+UXuliOrWczom+sV5MPcwrQUeaOqdecHKkjos2Yq6p1ek914wAMgLWjgXyq2x2G4FUMRQq3LLWzVFF4HzFxDbPUcTDWg4tz4zLZam4VbYhvDifnomioLGzz7v72VrAfRNvaYHtklT8qfiDhEHOIH3eQvy68ntN7aaGP0p/o6TTqFc3vBfhQvKbV+r3eClET/sK7BhH6VY/nZ9QcEavkBFaTPsOMZLKMa9pp48m3kxFA8ZUX3CN9+HrCPXigDYlDcJWEJeylpQqBzT0ESFrdyBBFINTEEAU3Kj/T9LyyfNUTylernEC8Vy+c4hoVPbPN2yJJUKjJ67/GhD5dJpoNENv5Ynr7kq8hkEjS4wWZt6H3pSvPqDwVPY0O/zhBxI4EH1Ro+irQ0CDXqB5y5E6kj8z27+kLAW8xxtkw7sfdBMH1rRSqTQ/c2d909mBZPpXm+FgkeLOcBRQCRqbTgRvDfO3vEUVbXdqY6hu1HGir2AUHXzXwI14/Bshzk8z7PZfhz9rL+4EIcRMBO+WuvP6CE3tWvb7Bla+cDqkTDh2Nc9nED9JUTWoguqxfn+zauinUoaJtk+BpmMYaTvPCWfWBjqk2mgY1hAJWUMJXPXXvBU0B5BOq/jXLXTT9R/gYLKSTMQODCJsTaLcpWo45TjcpuLdT/XtmJH7mMHDi27jODaHZkwtGLMyyHtwihHEOAV/nGM8Bq3hJO9DgVuj3c7JrT8XeI+Uc6evkzS4BQOL7TcctoTSstRp47jX6bICZT/Ok8cnsr1L6vhwxVMF2fhvkdkbXQOJM0VvZbF3OF8+uHszYFdd7Kan6208gtIzXXaZXVDsr1iA4d2HZWvA8yNx7xAh0L3AT5f4NtWLtpEXmPZ+U5PHCGMyJNVNDSQzDZJ23xp7upTZQMeFk5hAdhLOpOjpg/vUJByPUqaXPUPTs6QoyAGcv1cp4oGl4DW/a6EXD5h0ogvRzhWghkckUGCWh7aVdPsx7V9FRiT5tm6ART8afaHRDLPUMBarXvnro6VyhctLUN4rlHgVkCiY4PdF+k/NBwxrYMqhXoxL/A6z9yYVLKaEwvd6rqYDRKrNAUCh5qqB5LDnU83BJFlmFMt4wbzgyvKmi0Ie2BfYSoCWn7yF2+wT4SsrMvsofJKs4Zvu0tT2kWt+lmc7HGm/5Z90HIV39fx4UBVkPJBL3+ExwFKsxrj/M8Il/UKFJqFftsw8YQKgI9ThpAk5KuExrkdN0Mwsi01h4bVCDELVGlPRXQBbWNGj+VVUV14N6t8Wlmg2MKg7xw+qis0MpcS1Z0ln8m/tWwm2CTq8JDlGJcWWqg07+1aZPxCq+tKFDYbOVHQl7/ug0mWyHg4KmuwlOM6UNTJ3IY1sliTGHbt0+OhG7V0uhrBY5oLUO88iQEcAL4ckJfpgPBAqBYfDPuIyZhw8rLtNxMDn6RKMBNqklwA5H4yBXw0s9p90OXsYSjaKC5gI20vPcCjTjYu9y6973XMnG5a9kry2FnOBaAOgH/pV4hnI5HDwltF+At53fBsxt6NpzD8oFojaGA8EOPyXAIYhCfar892yjX/BPbcDMI/C+jlQLjL3iNjyIG0od0zk08q4E68Tg8+Rm2g3zUdOfRRUfg/0s/bjRbHP9soO1Uxha40rLyLF53zQL/G70W7+a01uNgq1mJzKTZyYjPlCiLfvxCkO6IwlDyNJVoGYa+Q/f78eueF/J9afMWd/X5Vtkz/TmpOYY2peYyzin3TPmzTJG5aMNO8mFa0YxVC+atC5cST1qJga4LqZv+w8FSYiD+CySUIq7qN3C/u44bC9uN1kueDwo/6cwytgISsrzF6LW9EyGF+HdMuH6U/Acb28cgYPZYc9xzYdf39PwM8ZAmhoaOu4eL5wjl6kTKQPpl7VWET7wSfGLp+/JNDmb4f9HQcD3ZuXqn0NHt45vHGhV+rbSVhMZtesLwbAKv1/f21EvdGqeAfRtUaxR9QmPpTQcdR0MkhxyXL//QuxvDpwBpZwMU+ZSmNBV6nLCZzK8AgKWw0Oufa94MsN+3crVvmS+R8nWMaaO2H+SqH3OEQzga9/+m3Xqm3EWO6faFVzyvvh3oWyhyG2KNr2tNJ+a2PoUNKt7hFYelmHfIAqw5qWJd/ivn9dEO0jFbEcOA0TwHtLa8/2gBqfMna4BCi3J4g0nnpHP5xCJtWrWlsFkILLhG8DmKcG9mAlML3O1zia88t+7s0FEUj122ha4VccfeanH2SOCRDpZ9WkW3jn5+/agf7uHUXPhcGMsAZJh2DUHKEvZEliSM/AeL2yvlpqefY0RUwBQVZNehPkxpDYeChF6s/vzZpUNXTTKlYDBzb5XDxRkUDPG4DMGrse+lKAmx9LbGCXYXZmOC8MxMCG868LC4NuRzNWnl7wfyyiOGq/X6SSLSXDGLn8xEP24IyLmL/t+MSmQ9tb8k8x5E/AJ9fTZ7Lvnrq9GHuSzsClHsBxXhRrtNEzCA0+FegS6KjSz1ZOEsZU7CpYI6FtoDS3MNnYt+0ycooFaVxCXekgsYc+jo/dP5U35FOl1ZivcP4hvMruazksRn7WraW7GvkBEWhpNJnvWpBqKQ7Pt6QgMFULpPibnOARMyUD1HovE5ltwgFS2MimIqV3pw9A1K768lDhKn8O9F7DW5RpPKVvocqOuiv6YnEU24ZhsI40diIEESlatuRojg9mD8Et/X5c7geJ8KdYse0QFpic+XbG491WqQ9RkkNaldMEYA67bbbh/vxKfprbCxl/hTFPp/i4lirXESSAUCNbH4TP0X1Jpf1VJKLdMBDYzsMjplOUsg0B0xyDKOPCiUcDpEyOQ/b5hbYibn+Us5mc/PAmOu2VPPZUSOGSpxi9Rb8JO+XKU+1ffpk66We2NvjuU9V4CNtu1zlra0bu8+XA7czreGdHSG7crXA6ZoWkStGGTIM9aTASy3NjlNegDdjn1FxyCrCxDKaQUlrcvQEvt8caCLBZ/hvJ9jUxWS/jcm1gOVEVIz7s73sHM7YABCYQIa5BnrAbyDcCPZaKZAG+kH4UtrIPekE88RCxl3Dn6Pu2/FI/mql6+fcg9+LVRUQUMobu1OfluVYXatT2TyjMZzrsncWEwTfQH3u81jgFj9GsZI2a5poyHDiwwQmGuDScRnLwWKfE4w0NUo+ivM2rHBePb5n1LPFxYw3FWRDwsqazmSSp+6ouRhk7boVPlvEV+YHPnR7ulXOhpgbRivQC+t2PflcQZ/qC5hsQ7ofnhYbFswPpN2ffoRksJ0K87No2slO0jY58uisxOktX5Jv8WSavtE4NuDZQu04NvMR4khG+UiEC3diVwups22YJ37iH7e4pCzgPxoaMUWa1AswWYWl1Jx0+8AfGW4CJVDETJrTx5ri5yQbBMi3GMWGZ7pGdI9yGkO+C7XNJ64p+w6cy/E8B5XBmQAIFvgjx75pelo+brwX3ffIWn17ulCrDfhPiHuz7R0nLFDaTqWNlplrfCcU2K1A1wbBx/ORdGQaPyabUVnv2PsxqLUWkuuZJFCQsfLDV803cSjAbnlwTFaDXxMgg6EbiapDO86qfI4bUAzW1DIKoq2zstWBO4skl7kl0nrWsDZFzcPlHKoq4P9cgymnT+HqA88GRIQil0ASkqnubRWAkD0+4NaMcggeQhwTU2I8WmSv3Uaf16m4Yfg3cXfR36yEwVmlKfi9mUbbuI6RO1hXnluPgqokGm4bqGBEYyAPumVf/je63IGcg5tBqmvVwLgh0L2VzXub7ihbqXAgwYnN8khcqKhAn228lYoxu2db8QnHjx6L0FsbDVNi6PDNRM0peWQjWuZzPuBx6eZJdslH/XjXbLS3LOQz0NN2ANsMuwNNhdAf6upxz/KGILDTJOreqG2c9Xt0EZKHMMi+6k3CHSIFHpHUFA+rjBBCImcEkTTALU4gP3CvQDT2UcgRURwG1CQEIH0Rhfw8YhNXfzfGU9Cd4gD+xzufEU0O3PLZKrcxilt4dwiiD1Xaue/QBysXfpZJYURJWCtbEaodXGbG8rGJ4CnLGiOYuEEppDYJSdgRk3YMd+Kc3J/w38iWVTONyI7hPlMTMV4wTCh0lc2p34XsETABE6dhluGMjYflIXu4DQR9YmC7/vIVc34n5z7DWHz0x0Zadutvq6JLlX2vrAQCyqLXhTXf+woHD6jYnpvRTegs4y3hW2ubZk17S31LO+YjVvpC71KA/98vVYgSZDEgcXQMPYA4FEvOjjdxZBcUft4QkdevYpakjxk+LgdVGK2VUQ9zP9tiDE/4GWrFP3spgyEcVNgeVGOYlsCM6f8ikXiQhEYS1KfiMoOaLPlHJIVf9Hu+De7i5oQzqI7RhDdF7CNdkuJn9E2smCLx+CKmnEEw/e9kJ3Y8BuFZdvrC4X8o+r2fffsicWRtnKHYACe3K8K6NTSxeLJi4UMo4B9uAmQdU+xflM3rpT/aSALRcSbBRO+avwy2cPrTbGvELkub/o7KlN/gFPIJ2cXLECQTQyppp0rUT7zeLeyfEh6UbmQDPEWwEzQwaj+YbB6zTOqdAzkVQwg0L259xoE+vusywx7nulc6E8Dk1d848x3GbRadTgXX7kXQMEE0HOl+4N8XiE9YgohmkjnLFqc/7dATFQezhBGpGQBSmSEqoqMS1XUaecThWzmdh2GEJyyvzHpXMUFM5v6Gqc85ySJLykGOJZNAPWgNRJhwPwPqUrPldwfn+0HLklgAXiKKrXxI6qBOLa1wLzpVYlvQFhQEq1/q0ougQcuSEN9S6n9uVyVDCjy+qJn1LkdKYHl5gY5cANk3YCqoa0Wxx+XvnZKopoaveULmMozRsJ/UJX5YKdgch3PTNyFtu2y7ux34gIROJvmSvR7TVCEC+sZzmDlmSsNAC7wlzYyjzlfbv6Jj5LPfXPAKt3zbo/Neqila77wGR/rGQutDPGb1/5PBm979xzvq/XWrUi7zKXjD72kciimJHtWTwRv8gHr32ys6xbrOUog00ggPiZkbHj2pimbYyNsB7lQKDwOrEUdJJ29R0TDMD0VeykcE4CVOTseFibTRME/HYWqWRdYiTG9f79m9+zh1+dagfAT5VYr2VEeV3SD7KJDu3EYbHXmvX4ZmbaDEs5omJEz4BV6tO37uIT7eRm9+1AmoWfQuTEr6lrAYDM6Co+IVy1vygIz3LiLH3zgVXoxJjoTQe8dycWQ+WmL6bo5JOCnV2afXm38IzSbcK00kpRzgHYwc+YOkLhQk38XCa8ZsPM6LTulvqQv/Id/k+wAAWGj5pOnE9gQ46mGYmOp3dBRLi6TCxyH4D+AM7QjQMitSBWOadmS+OcBq5MANT/I0lU4XKow0ifFnsmTGPhcyGHAapFUnOrFOMmpmqMExEdw5QW7YwwHeVfZsgj+IMqX0z0rdHSzJ75lfXgJqDZeQelwqmWHydIWJx6QHU1m3M+4j9PX1m3bjWqTymlNQHEslP9rMCQzU8FlCI75Y8BfGhhbN/XQ4Oe3pjIwM89PMNs5nAhgBkDTp+QFBl9kEis0aBfdbNVfKgGVyZatth8FfrRiikFhU4d/gqC59P+rxNqowH3X1tOCr43zbGaXKnA2RKmVPhIlEB+m0tkQ5KEIxpp0z7AoH1+sGA2BFAgT6XzmJhji54pIbHQu/m05K838royxm84RnXjN3pTStNl2A+SGh2xwwlyOdX12wKoJUEOQkOJZSqOYbO2pxtOBxesumjgb8VdPD9JdTj5UTLhKkytSU8CgKViIIRmXmnl4eWQNeIeOR1Z9NEMK07A6f8VtvFNtvg20JFZY1dP/DTIVkDMPadSBFllmlK2fGTbVxmQi+aZ44Hnitjf/rBK3ONG3GN/D1ExxMmYSu6p2/4f51ka/qSJsbQL38u/O0h291fQZe925DoL5NYQgehHpuI7qrgHMwumiFOgxsCyimDfLPBfh/1c5RplMODYITJBRP6mC7Sa3HnrTENOxTM9fF8K27P7NAL971s0loXDxsJRlp5yQGMV6o/PocxdxR8Wlga3QVdd/xxAVhDRmZzTG2fnZgAdJfR7YTy/MVJGCZkQ7VWkzS5o70s3L09ZtjBQipi2HX2XuU6WHJLGAttbqyjLkJIIg6oCI48dhdF0zGii1Gnb95Ri4vc/Uc+Xoo4btzztWUuXAjsTJH6/jdAfh6lMmIHxfGMMv4EDSjysSu+tt9qA5xgljE74RKd7PFXqWxadlLUKqAoPVbI0m4tF/qQyVbswijRHUkD/sBNaXfxbuSFRXtA7MdYYIZq0z4gkuZeOHa7AdD+Nt+8fNhS4uUhuvHqZAHUHpQimlTuP7YW8vY54o/3MKv22BdqErlS/mTPkM59+Q54z2lh7XOUjcaehkK0MA3Iw1eSizeeTc/2wbbC6jFR3wgVWBvgiuD8PpC3dO1BSEb9k7Gp4L60ZnlopN6VbsggFJm9ythOz5KKY+HPGr1XQXpfdvAwn82BvyKyDj7YWuFiLWFowwyc6MBNLyvlQq/qbb0mmB7INp2mfosEnsqfHfYofHbYSqL+B9fO2YoNZEQ77iiqha63X9jOU7ZX3hdYWzlXT699rbM0nLwTvdq6XXAB3FlwwHgfCDSkmC5/qYEBpxXmquZ1af6afP7AMD/9tVuqtYFVt2YO/G/rkEHGnV8PNGUYYFoowAgfheVd7kpVdSuh0W9DhnsKCe4OHVPScsnlo+Jj8nIrE50kjB3uVOGNlHtVn7teHju2FyLccXaD63cP5ZenH7raWLO9NAcdvRM3YB6SIY1oyoBbYo5imeP7jnCjTtX51fo3uTgZjdQcmUWmTUjM0eGpMqyi8JOoBNtvwgB4QQonSIHgpRthyvI8iFCfnKEflVgVyXjg9Aie7yb71fVWsRwO/3MUpAwr1genDfhTPOZCqSc5E0ysiwYEX9Ocm41vXwRnG3dvpIRrkko+07Te7WTq/GLrvQw+91uERZ4JSYXkXCIZv+reShc47NN4PIXqlAzHnQ3n5N8cpmCx+eY3pkvRsVPNZOZib33EyOVVIajkqpNklbeXvhASiyUF3rFZNtbQmJUeY1O9LuJkTrGK4jIGNE1pf/xd1d2HU0ZSpZsWRy8AY1SE4kwbtuxqcxXG4GR6uIFKwd9tT9Pfd5ZGULaKc4ECADb/4RSFgNB1gOHynSYaBKwgY/MXgVV00S+N9JgVL4grux8pfhXaZ/2hCKeHPu8fMxMg4XYfSmtSmoI6YdZmuppUh6SvTkB8+PblBLnqZXhJ2Rj46WYvepRJxCkhEd1mW9MRsgBuw/zqXWGbkwfxWxjJryJXiLTeuH+0UjnWsOveXW/TkIndbbMSAlGsBth2PfNKXccq5HV83JkWLqVKb+Tok8YxLBCAaPcFxgH4itSv9yrRGF6ptRVGbs255XorW95Eo0B5Et4Tn5smzT/eQrGxC3B8Gpwx8oNsdJT9oPqeJ8ZY2AyEtq67bqshElSrvrHtD07hFabyjdHkE/AqN7sg6KDRz93QiV3JWzb+6ExOApNwFLoaJHGgTReqFgcXmixiNDm0JxWYjap8e/RpQbxo6rLiB+DnLOR4ZFe11JIdicmckIEGWPxAwWW9FGDihv2p623N3ERKnR3VSOAID2Jgm3dMLoV3WWK49h7xDs65pJlpQprcxJ95HAbewI+c+p2l8+9fovqGxkga8IsLMc/EqS+2USgKxLcXq5AoNWrdBFAZONYB0oZLQzSMpjjuAdcO6JdeKVUIqGZ+PFmmbeTeRZaZZzqTJFsFTSQJGWojiAn72ju76QHOInDM8jYfW1l5DETOsfzLlB1KmyxmXZx458xjN7TBC8MGncMjR96vKh6VJcQGCEqcZEhKR7rYCNaVLmYfVeet+72l/sDOpiVR5k+uumy+Xi+zWhjgCxl2+UgYUfhMp6WZH5+/CHGFvAMbUQEnJIpnGyQJa2qqKCDvNEoErU1ON/nXhkKAVTDHgoBgaWTjB2nixZUUF5nPabtg+wRlrwxSlYb2zN82UnhwBvJ8KvT1mWcEp7HfHZPekjQkz+LteQxc0LId2dJjw/JMXLLtw7sBCO8ht9cm2nTgSYNX2buKIczEZbWUUYq1f3i+behtv90XH0iIE0kH42DBuP9wM/n4omOnto8t76OnLuteoo29wcwJg7JPKRo/+lN8B0MsMmmxNBdcgnjXfSyhI3TSIxwgAwUVNY0RGq1sN/ZQfLsxW4FXB3UHaK6PrMyS6M5OvE9YFkWUogpANzx2uuTQeLzRlBFkwRGxYMlxE3IFJ8D0sHFDXFQeOcFi+WFeGfCs9+hWbkUQYBA591Hlzr90Ip+qXeRC7LACSFSyfS7i7Q7N1LkTaelqmrC++2CHMXJwRXxwopY5WbmT2ngvl6qEb/PJj2zpt9aq3u3T+K1IBZvlRL1uJF2whG68nKZcd7Q4//NWfQAaN7sZp3SpKF5Knxe9B2PhzJfdxVV7UjFGRvESAyx5zIGbtFcdd1NzqAMSXfClkvFq3AeD8J1nUeSxeu8SSaSr5EWFVto4oo1duss1kbJp6sJTGSmTvhbzd3kfBahmfo2surLA3Pl9wbHsIaDx42z7wMP7n2c70PyuK+zlcsR37Rc9SkZWzd77RTQkhAWVlZObwS5q5vvzUjWm/5/oH/eocqpLIOWh7bPGkOxZFVI+E/IXmaGBv9n8t0xnOsEVw0onm/VVB52hlIn0U/XZdicGfBCjZCReUvzPWkDb190xzV15BBMpI1jeQ9bSr3wSYzt+ZNiw/GkyyYRuTPkTcqY8xQ2i8KS2KC2rB7A5lmcTSgYPyj9GGP9BdYtN05vYyxH8nECGwZ1EuEq7R7oabhy78u+2PIbaC/FPkFqH+JbuDOBXvzsWMVM+Al1gbE7nzYHNnFxfz9ni6ft3LhKRAnhBGi+11g+Pt5mC/fiPiZoHmreDtCHvjtwwYBUk92dziIcEKiiuqO1juuxyjlIhhCIFb34gqM9gCxIEGaUcRW9uv7W1RoxvFns1LNoVCTQ4cirZRvTm7txrokT42N3RP/87DhFhTff6SVVMgsmq9HIpVM3ksg3vLGlwOvQICY7qX4gkrb3GC4gECexuIc4SApZF3wf5OGjrG3rTX8W9LXQNqWcyLAUk2LWPy8GhAL3bfB0Zl4AzS6bUUIucvtTR7K+lHkBiZduOi/eVU8dvfzIDwSB+moKRhklIbUYc7ep+4W4kVPkP6DowSXDIFDJesb5eiEMLj/MONH0PJM34j9fAYB2L7jFge7ed1E216B2jxACeYdPTi87dnfTKimkCNklrPc0uEskq6yDbDRswKXimuX2xA1YtpYTgz+JpUpR8PRQRM7BPLi6raDOV2n3BRcAaxMAE0BNlg0qEKtkKAQsKjJyzTwax08cRvqQ9CZQOUISt2L5afBvs1+TuhXW49oczlcBdqdupmtnkuuNpR3LaVFmESsv2q7r0MMCkzzIdABuOdMiyhsq+ttn1gjYxhXAud8XKdR08GCfFHg9Bh9rc/YOnpXmdESFbEba95p/AFSs594V2et6CaV8t4lIsKO7t8Ye+OqtR8mq/1XRAyiIxrG2raVCC8cOJOsLNmrVpQbSNlWFonzCLq04Guu61xmlTPwf8xi0uPdN6Hh5KRsj48vPU6JT78+91FiE2zROr1utIr9Fdbzp1vB7226Nktr66K7qzMoVfRprtvfa/urUUBuxmMwcMXj78/GWCbIqymX6PjFLThiUY3zBL7dejaicBdNZB5nKBXuUAqxi2VDbH8OdpKlswvECXy+S4l45pbvO++yhqxrgA4vztvQLMVg6gjlFRH/YNFpOO2DP9G3Rx9swV6p+8NbhYRdnE+mIjqp5SbTUqjFcdtsU4ze+Ec5CQNlo+/+4N89wQeQaqM1SyT37FplPkcdImyMqRkV942GpJ8/FT9+j9mAVJ5rXsEUP9PZ0f9EhuYqOG7xzAOUCsOWkLhKaLVdXeja2VJKCUofh0283nQK9TusJXKnY/wsEAfGL5wvIdkmqrGDuZE+usEVVtJa4h2ViKmFeYdvklD3Xv7HmvvbDvc0SX1CyhetortU8DNE7zykzrGL10e4Tn/c+yt4trmJF7XlkZlJZVhzt3+mdK3Y+xff5uzzjpExhlsqZV5p/EHc1VVTGicia3Kzufr+fJXAocenW5E0eeB52sMg6SDrvEa7mg4beuA14emkj3G4wMUu0/cM3Y+VGPl0PW9BHt7kkZ81W41iuiTnr7fH59kyXJLfcBPYUjEXjuqhpvrzfTT2MqikFLjgiS9vD8/rQHcHdCELMpBOjHggZOkbD8ujeC4vrkLzk+tiAEkbnDktkqH1YxKEE/5tl9pFAVHLL6A7ycJ5ZRg8htFpQT7nnIn2Bx4c3mtxTrEsZJI5seQnV0r7SrrgRT3SRGCkvioUbgS7onVtyQjszFdLJy7iYaGXtye5JPIk9MnMhlVR9mHi3NtJjPCLMZGewdn0zFCwXhMxcerT/niBILdbhIxjO343WwrlluQPuiqOaAf/PDiDs0Pv3/pkH2n82YDJmYR+6rrk0HAzjnqp/UJvXDcxFtX5Todyodqh3GNb9O5GIPrye7+yikuX8oIzb8WwFvDnUZ8OEYNCblspa//T1NR2UhyGLusdon/2V545lxPh8ngntEcizjmXry2tKxzs7HUO86CsIipnkuujzDwEnzxTlggqSxTwDRiL5Zn+UJgcXpgC28IvOw20FuLLPYhsM2Y+PnrP//JRe1LapfCUSmitaS+hS5Z6IoLchlU6D+Li1O4q5ryj2AFBOSVk6UXJBZa21CRZswxPNEtPojVjTZdhePMyBJ9ppmg7kT2TvOB6FkeqIzVV8sVu0AfZalh1xX8xapeYDlBIC1kFds0z6VgXQHJDPG6P3qc1Ge5n1m9CdEurCVyzNCqGRUNbcP+qFm1R91Ln+cmzGdC5qY3ofqp5CsecqnsJZeK8qsyPN7YvJoNnmBtNEo4laIxrZnnTC71Nm8VIFesRlRSuyOfvEgXguWLLI0WbDJb/KoCSTVNA3bO9fGWxhubbbdWkxJUkn78iUHUNTjxVndVB4372yINNCMO91n/ItcV4dbsqYcLB/JBe7q1T+T4t2evsk8zbgGbJd8mEqogbDAAJR0KfWufHUbRx4ogps53I2dbJbXrIbOOWp4SMmij1LGgFqYcJxrVU1Pjky+RdaV7ijAvYM7JJLPmD4rJhbZZ3sFZ1qwJYc4xfWqsHBnzES2E3z57AwkzQ6x/VXpkkeNfssOl4UkRMO8iXT+Q+Dd4LeKDrOIKOs2omW6gcWTVRkOyecG2li6azuDwCuF6zWUONWJmCbsoY+yp9jNp4t4ZuMJPlxXja1qfG3Os7PjmWQHiA70V+HyeFzP96wkPJqaiIHQJhsyRwHkxvNBv+/fVklTNrspDANy3Eay08zpzfYuyepXqA3r9SfQ/Qdn1NtcdI3851mdeIihMLu55uFl5C/hBiuJfoaIj6woUPlqcCgBzE/x1kb1v/bOkiOW42KJoz5BClJN+9gIRYcDCRQDQogu+Z8bFiIF97n/7WQU34RsGoCdcnqKAzo1av+raUbzj1EuSQB5UGOHzqf0C8vmbTHwsY1oSAkazK7Gt1raJ/MCLK/D2doHXoB8RRbLPYZoMnsJiTNYtbZC0LC1jqouR6lpGDPHAdmKcn8lKDmhcqogKj1lQSo5NF2Qp2aHc7maG9+fKMNfxNG7aIxEwSoFBdRcII8HQ8xrBIPls7RElgXPYe/Blx7oUVryjXrHcju1IarHT+VDIpzsK54R1oQBVhL1MiCCXiELOveeE5X05qu/xBvs2Q+vPX7F5rMG4XB7nSbK2ftcDp62T0tn3iewd2kvPj2vobHSH7GZDt3MuAnjbaxN29PI5gM/g3bNMOqzGrjJ/lLW4y9BR+MBTXtw/mo83lFNv5fTUVj/L1Lq0eBjAPIr/F9tLmHOdV6nm1iPoKkiftori0RZqmz2V+jTaCoBBVfFOw+3RhzLfcINx5sYJxvC+TBXIzZWcCtYKiqGgumEa23IDY3t0fiLwSuqbwviSBtMAkLX6hRnI96v8mkcxFEEc9UbQJxL0C2LcbRrq32N6ZiLvhiLAbBAp693uD+Wv8te3Iz5o1FWpv0fUCD9dZl6fL3qykEaYE5aKTLNlyPTnituZX6TOqDGw01YXQIHe7JcNJtSOlEBBH6Q03GSRlY/zIul2fYW2p5d7xeBFIfyjqMcXVlab2SMp1hTtCoWw+WTG0AwFCtRpbCqqvIKFVADVOPCFf9ryd96ZXiCLuy9rNzom4o+TDUqBkTLRxFHJWsHUQJgHt27+kgBGSh95W5ilcNZMhpF/PN9Ont3IR4wyRmzcTwDLw+YsSFnYX8PuE4IXtYeQT934lI3N2zZzerhEPSGZ5bch/Vr0l3cTOpXf7Yv49qMlc3CBUxuNoJgrdy5CSpudgcBhMVizTG4LG6JdMZLv4pK45gYPht6Z3NrMHx5rW9euYyHHP6mOE+yk5euuz6PDfVNOUB/JNoLAzzjc8Qyk1hAjA4S/UemPEh70ec4yy2wM+NLGvu2P4iOZAacpT3Dr/gLD2Nk6/BK/sDlmAHi5rlB8k/lONS1J1ZkgsO4NmHMgueBYoj15tKEf60SyJgoIZ7o6TZ6okX5XMkn67ZDBINnEQLOduVu+R/ANlRmiTJEMXKthOAhPfnYwLOuvvmIOPMWe1jTbKWbT1vE1sz7TBM5mmG/+1WCjDRu9SSYPncp0E1wKayWyuDQXbyzX2ogwGKTAyljpUstIbfovW5xNPaXoV5TeFYkWUfHjZ8G4hSz3V6EjZQ+/GYr6Nn/FeciGWv3Z91O8fWsOCa/BPPaaSj1Jo/EKZxLQPKw/3Lp6Gg7gKy5KofZWTOzcp/dqH2MGSJ5cL81+CvjL+7RcSRjd47fO/9wbk1iZJAoeUCXiuICd/R9eVOsi44drF/u4L26x/Je6s8fLdmO0khq81znZM38hjhiGte2kx5Srz2P1GAIlMnx8sotiIgCYif3g9wqYo9gloX7Qi5VO8e1J8icT3JXo9/ybEsKZUj49MfpwCOnj+B9bmBT4vscoblzE0MDBMG5PEOaMBltb3XDmFFmGkB/vODsymcq7s4ByaZiHWbdKv3fGveg30yxiJqztRPXzTfz5iWoMHw4paRdPV7pg3AS30akzizbIOiBtB9bENU1EZpX6A8rEYTEsGU/Fa/u8OM0q9L2OcMPj5eI2oQ8xkeCorWTMsmxd8lpKgnEL1JLvk048AWaYUHjSa+K/TkJ9PHeMfknXs/PIX6EesjCwsWgLApia3qagaq/z0+UDgm2FxxieAZUKp+4Y5ielWisBOpUpePwJO0H78ybttk++v0kqeP7TtEBSyoMyrVl1HsuCwl/qqvdK7qeenDl9yaM311SyUDwImJks2CKmJKIiFx2+LXCSOKDWdxOdp8GRaAgySMXIGXm8qRXcKj8FrhTWxMMUy/BgQsRIHmpzciZ2e5RcJ0Kbv+26Gi1zSDGV3mrTSo74blP1j4Hj3ZBi/AnQHiwKcE1wFNbdYMty4RWNazUBkEFySavBsSoPZkq7TX3qkHuVe723CtjvCpRIc5cKe5DZFj2CJLEvj7qShGdRlx2GnrdyoFmXFA3/oMEWTlwTBXpyCGawSYWzPAqgrC9cqRDU049iLW9iJMrdJl8n/5TH+Y7CovyXQtAWR8xw+gzk34gXprnwl07T5FK7DKc9+BMi5PVCKfb3nRmr6+DOQv7be2CHuQtnWlBfy3iEQ9oY1inzyn+V5FikCnLjkf7OK5u29zyETb9MxS5d12Jggw1UDj43HIYNXJAHsR/cSaJi9i8r0a3n9SEZvxeH+34YvY1/64KOclhwnkEObuTyWXqKafqIXftIICYR5HaPVkcIqkZocfhaMEscntOEsYd1CCjMIG7CoZwLFYmayB3rMsXNC1uNT9kj/2CoY8/6UQmmBhh9r3n5ti9sdeUKH5su2tnFJ04VbQenBemscAGiuGgaiixGZ9YBhgmqKFdLcmGkAf9lFWXFmPPomIUSj3oJXfSOKHkua1ScUv0FwmPJHdgo5sa84XlPRKnH3hEMhp6lwlzMWgjAdB638LX8lAdR2tbDHthAXKd9weKzBaoBH56wp5M4uq6ZWnr1Dq820JJY34mo79q/FFZqw6ST3gp3Kcj+HHgsbxYaD8puBwe9b7X1l8abVypAYlr6vva+NUG/I8exV1/Pfb/lryPM7/sdWTHgMPQ5rYcAZCW65BZBSjNUNy6o0QGiGu0rYQ29uTJA0VejcgWGfqPRLUZReP+Jm0o/PzMN3ZaW3fWaY1C611UVKkKbkq+7cScMJMYNpLNnNFFwED9tgemortzHxbRjWZHG4SPmh690e23fr3orcWjcM/xf68o2OtS6rJbXFacaX9XQ6wAOTEkaCFGJlA6+FXsPs8x2qihrqUyrJQ9cjtl8RR7CtC+iJ8w08KFf7wNSAejl+kHufE5vxth5UX0q4btJGKJQG6SpWuPSF5p6vb6YwEzCMGvl1AtQXmAzL3FPhEnvDtDk9wD5hXQPsWoFOHqDNhZbfhZmNr468tHIgLjS/lfgR1By4YuMtW/BGSj/u1J6ni+DdH0V/ldBpatf5kT3EzoRs8G+VdrvbkGJAxSC04cBrNQJ1Ip+JodJ9yTWfABupuvAz0Z4H2UzOyD54UV7kC9EIbaFSSn9jmmoflAlbH2sA+hAyeFqxR+Vda0pQkBpAo+aaJvi8S/zzYi2YCCBjsr7oVYwcfZIAKmX9vndmfzIvIJP8+5/2bjn964vgH6ff8YN+rDGIrqhdvN+Vig3soUUdfv//EW1cAfgVgutl48hbFGZzMm8S3wzmWqkMGGpGm+JfKupYKSsA18QMXZG/EdH7u1/1mEfJCbNlnY13VUbADsZfVINf3/o89m3gNrnfqhShGnQdFFRE0tmxNjhqn9pdTQXpaUbKjCcJ0rwOGGsWUVUcz5zpRglCCSzJ9upt5igbrDXAbRYvHxW+aPaxPHkNXayrle5c7Kz+TrOTE6omfaOZTFqN20hHlpWyQDRGvW/ff4dvNbckfkv0wB6CHNQthu7I6/oAolEd6gDzu3WE3Y5hkcv/92Vtg/Vucwu2urSr1hEOm4lGIyG7pZ4l+gCCxMg3cVwcDU3GXQu7P8rcu+JLK/QPzcrQW8681V2DwMaml0FRWbVVhZFUgiSlX43bVtYWcz526QhoK3urYj1314noX6t6KArfMcfHbiNlkVVFbzuMuItWsI8W+ECpCVfEJLGxIkMWrdmGfYpegVZ3dF7gBmQZC590XjTNPZCQeeW6dTYs52gng1e1TGiXGoPnAVanSBF3eDOmi6s/YP1xrig6IyM/Ft3ai8WBFJVs8RRUWyv3Y/sVlt1DxL2qNGf9nzV9Xg6kFPrfy1T2iD897qa13AJZjFGJ3UygmBE9E/EsvdPzhz8lVvRS2fUVrrLnUIzASQwkH8oFBtyVXIN2C3qMkAq2ahuvnF4EEjSHa4l4tZhRaMKVIJF+/gUyTwSlsZQIi5VeLitbaIote2v4tJh7FQvd1nqfYrpH/isZIHOsZf7h5RlPeR8gAvyzjK76Y101sFgbz3WT4Lqt57+p/uS/MqocVc3rCBISUvx+GGgSXySfyNnVknIMqJ9bYPmMKul2Ppjy6CNGzr0tZUHsXfvm8VI6EL6CtKQaJxfiHdz2TRNeqackpEuP7b+HP5ehN3AiYpZDUR/6bBW996J9Vvf/zY2X8yGH3wDNRtWoIRGRRocWUFoGQAUPQYHZumUZj9Y8sycgBmijKvrdQP8BxNepbk9obrPwWs6DDnpOliV4rRqJ7FQelQcQcihuddDPTLoKJ7wOEhzEWprEdnrk6UjuwAS13FFvI9haFykq5FootT2Qn+2x2m2I2LAdrXQQ8PMo30UTwhUfv+PM0tS4/utLO2lcvRHJjr5baqehey7z2Re+EXPeK0B3PieBjCeoEbUuJtj4AwbQo11FH1lnPlI1LdGiiTHRNBYBUmATEoRyKlg/w+Macw5qR683KsI1VtUM4XxWQu1fAT0dxCdrwRdHX06x+WbVEzRvcU+U3aT0Bu2y6QkBwU82EHJC40iGMek+tXiUP+tKejO4yho07xX8rwjfiMA8S4NP1sFCAYbHePhbbX/jJ+OCFvZvexVzZdtJCaV3fl1qC8ShWUXGEgASq2mDXd+urVdRgLYHKBZRqSLXnAf78QCsAuvfrNDChYL4kVxR91eyNZkGqqjXaW9CnBI4Q0oOVs2io5Exr5uLUpg/Ym4ON4qFvk7r7Zb0FwaZNmCznbFgXCHFIe3KBfeSwNjnHfrfYZhrSGdeVE1PyXVYSQ2AioY42pkiyjJSn6flKOZg5g8V3RbHFI8rFadDSzUEByNe3xTaUmU8kjkn18t8CYrjuRtlQUmeXEF31wuB4Tnd2EBhAr+VRuAg/FFHql9nc65+8vJuZOp8yDQX7FHZxt3Fbvmyd/5QHf/7RibuB6MbyWCG4ZBYskwWAX0A8ByHpzhiuCEiDAzpxX7s44yiPz7JBpWGe3MS1DJ9BFGS2zp+5SHY2Z6JfEhdLA70LilBsdd6Ynwx6F6x78MPvE3SIO1jIFrYBwB9qJDij+v2E6ChzsBBTIi7RMKeN1NrOpQzRPbAkswbCvc8p5QiISQzonFZYXULtmcO6Ze5olCxAQ2D2W544j5TsrKwsh6bM1wGZEPCiz3r9k++E6JqTCkvPo3U9zH6hLD6qDDnDAvyNqDJSjjChb+HzHnb07m2aFbYgapaDVf9dhNFn8/Rz/HR8jmKwHaKj9XT4OjTsarqh/lVs0Ix5dGE5772CFezmq6VgwlJ4jF2NtnXFkO1S20+rUNagQFPHLNPNxCT7x+zbLdj76hX1g9DKcHRzXEt0RdwUqe691QyQ5z+Nh39sZXjYHQrTX4Vt7d2acqdJiu6OGWrWBpnXNsDoMvZ7boTqI6dSjZD1w4/rR7FyLTrwtVc0SQ+cu1Ab36gITPhPoZJOgTV/KYsUai8ZddPRY6PLyPmhx2G2l0ZbUY3YUjl9rtI+vdg2gFdOgQBoBjir3KMsEIhIG9xTyzgX61A8R/9yEepjB/J5mmWTIFsgUI/9VjnbL0XUY+4wV8aspvOTNexYHynyN7XNilqTZhHJf+WwTRYvt4MkTEtXrAYgIwGWadLorVKae++UeDsbGTCbCBO95DPCYHnWFZ/1/ZSztojgkR6J3b78Mi9ZOgoJQVsfflnspToPM2n3XrPVhPedGOek7tXkGT9Og0EaFxP/9eVEi3mrm028w6EWq6R38O2xvXsCl5uYKACSZNFoxiNxdB19EEIDXdVCJWkP7M33zeRDaD7WzJsGyILCs+ZoWFt1YO6plkH3uF0Yc+UkemnTSop8VDs+VS2RmTQAK5TsaOW9cx9jXQHa16Q8Z8DOkb89Sq/uyzTDGi0LzMCVld4IDJJHilaDw4ddb8WY9IzI9GjDVgzgXUXEWdXeka/URQHbIy7OHX9scAhhzWAN3V4jHUbbWV/B3fvhWwRbVR3GIcxS8kFlPXfplZoKtZbUGJpQFNhkkkdcM26c1be2jTqC+ZYH4HTz1Aq0uFl2Ckdj7KkESqfqUgymO4o6mdpjXwULzaxtdgTx1BJJEiPJHKWoVqziHjp7u0Vy9gvVqyQq7paF2dwk45fwKaXyKRD3/WwuqA6ljisTgbXnEEwBB6Vp5CC1JvUf0l6Q3Jim2t6zABH7PPE0CRK2/3B5tOrTtbkzPGUCKEyXC6WKXK/rDxoYZpQIRC9HBTN9oV/VXBiPMkt3uo3bZFYluumfqwdx6540YVnbLVL/fpr4o70TIzJO8MqSEgRx1I5/89Mx5AvZoyK2dSNUJUGCKDuQ8KL/YZXYj7jhecYDdHltpT5a903xlvfzsmHXIMb0ggUCFtuk2ixwrohN7Xdwb+4hsUfr2RK+isgSnR1boz1/97KO0+Rb+w+M4Vpuxk4nP+IP9FeN9plPGNGcvfbuBpH7vTsA3e83tPocHTddH+smEFu20x/8fnctpKlxw6A1ms1D3fO8yof/CFZdhy7qYaB/3hPQtIW5Eu7fBGsQsWCLU2A0lgT39yxqwoLONPKYHqmzTN8rnPOe+UGCaXNlpwxYA1MaWEtkf0PBsPA0Bf+yyPj/+gB77bCE/ApHrg+QxE9hcpQdv7E7GTmzIg3P3wVOo+75ZhMmk4mirKYppJRO3w8Mg5A11FM9fmemXY/QNjyEHfQ8u8W0TEqtD/drz7KB6CLJHGmJAKidKFbiJhHKCpvlEj4UFc4spvNzP5KUUij0jAw0exQeczHhq/iQx68Kdi7zlz4CYsiROEd3tVIJH8i0lL5ze43mtPvJme03s8V/T9smqHhiKKcC2wUe0L+TnD9HBcWMN4Os9H6QxfXTJdrEc1nhDl/m5Qu+Lmuju/m7+w5HAVIVRX199qVPvqQ/2gJZWjom4GGxCWXanEC47l2N5syX7m731D+z1QyeiF/oBMktawelt5qBqfQXsW1YoN31In5woEuu+Fef82SMSK5+CRCaZkZFb1PhdGe4FkJmQKO6ToWxEu4+5YAc6920RyahJD7JVkNxurMKe3PJnYC50PU/NvBKwZR0tZKCBnX7oeFDbTPPaEmlNQoU6jLu1Ig69Oda1rhNO9R1IkZSqDpZCMNOIwrlNuoS91gd8jd0yTzYUGQ1ViOT0QV6rIE0EyQ+UTAQkkd+bPI9G29dduW8C4bzk6FJNSqcdAwQf9ODzhW4sm8NxkpofbRQKMvmuCVQn8pp3/I/EcjfooZ1Z8Dl+UXxYXF0FqVS99sHChyYvY82pafm13jqTGio6JoG7btgKs4wd25cKSSrZJsCUgzIfyLCANDy9iUMTKkWKb1cgFGmL2wffDRWdtm2OMulmsaUgR3WDPjLPyfRY+9LczAVxiuLC0x+hFNEbHeYBLmBNwPMu0A0iXRm+QpIX20qtVMXijKBLMJvRzFvfnK5WaYSZ91BMLtHNdiWYl8YC4sZEWldkXD8f6zT0HBq9tAOTP1TPiU189RQrzOlkCBxlUEarWrSRWCDC/oY5MIF1AOXlYQGrMnITkXjH+LmhzXIC5idW4DjiFN/KGsoiX4//ywjUoQuPgRukhap19oseHQ609wTQfPtPzpGhEE00FSu1A9fnEIh1gNJGD61gs+GbFHh+j9YiHftw4vWvw1lh3PzixtstHemDJTghMkOSU3a5mAl0cb7r6SLStfZ3fJD7z527ym9Dpyv3zZphidUrexmyjOV3MvpdRPFgH8eXPyVEsWOgGa5FiDy6zzy8bCfB/rpmNZeFbi77xsu6yRq20/JaDNynlNmCVAyGNs+YzF5Jbzh/NwTYc+M/XqV8vabRZp5mFQbEbunS9dmHem/yOp3xn2sVK87v0Mam7KOue230UrN8p6yEm1YshaoCyWxXVdjlaVOfZd3SslbtjY0gLx6sSt0TEK3AHfeA7B9yClum9mfZWEt+9z932TkjmP3bkcuF1HUplS45KAbfy85aMtNFK4YJApyIqP60YGo/nnP6Q6xANcMP/eubnb5A2cagbqIdc1Omm1qmLtYwt9uhAspPZt1BdUaHclLm+CG+VL3ocGI9NtosjfVPrA3CthhUfwN07uVYRQvNsdQkHtQNWZBHyCeYMDBGzkmUgqFCi+8xUrspyjfJOg+h1Zrqkh161aWIo9WEMtd6WC/v5lullnThpvMRnFPSYo8eWbgmqMJzXt+wMMiZJXTj5WmNPGEx7KoAGXcME1n6y/0EjykW/v4OlwWUSZER8LXlc83gpJMyQsPuCq+TeshLz9kHd+gcmxgAj/gXlOP0taf80T7UsjYIgwB8qc0s7j1ulUJo3Tto/yOZMx1z7VpsL50eqkCkvxdBusc93CfVnpm/EBrfSsHr88MHfPDvphQzfpcgLXepAyGwzrrB4C+zt3Qp/clV6C/89Jjr6JY7zzBBnB/VeMhyQ0QyWrGiKkwCo7d+VTjwM/VrZYg3D6Nw1jzYzSMyGrCDFERy3ZXJiqgWwgWG4cgct6eIi2aUGdxA8pCP22rSp183wyThuI2RifxlA420crsm4eAK60aS+2QaH463nksDUs1pWLch9nYJzK9lxP4mYwgIXiF/2sfPJE7/+dU9BVDNFCh+6CyN2LSWrh90IFXqzxNAIxLbLvUqT8lQUT20DZD6AWgZn2/31PPci0z50uOtqmzDSEnf2wlg12y2PXt3gFEUzsOTTJ5m2MwHBjUeBymdOEVzD66/9lIBQoyjhkuKw/WFwciqqcwP4GRnOsHOmczxI4QAmCRu+9l/k+u/9wfiQLlkFanO+X4i3JQV/TfsTBfW+ck+nc/e0IuCQs61kNDhtiQgnsL4+R+j5iRWcuGv+yqUCS2W55kMhtgwpyfLhejBksji50ecsXGOI05s5O2tLfT6zM3G2Xsvy2tiLTd6iulsa5pvgGrtrDCpQLyUvn2joPcvdRJjoBt9O9UzJbLoxEKushaAi4T4dFXJQX5/DQZ5FNYHaEU65Xx9Sz+0CVxTwzW7XBZOS3MgTceT4qHRV3kYDf/MC2+e55lztjnhqBqNDjDL9/Cvv8uo6hgDIz6V8YUTn5Nn4FCh5osTOAM0jiFY3a5Pv2M8esGZILqvzLGIrDaRXYnA5s/Vjgl/7ZyCNlL4jatJmzcSKCXF1Sci8cVZm+Fdy94BdO7ArUgbLjQWRMxY5hhMFrOtwFGZhVn0tahCaNP+XpAfoqEabrpxcPNlz6T9ODKZNQLcRJ1yJBT2kGNIDbgs/82sIsH5lVgPIi/QPXbhuBoBbCwjec9wWo2qgm+HazmCpc+hyrVlACoaMXLI4y2DrxD9+yHhzD5pewfLXmdTOAgAgILKM4DGWdEOiPbvgrGAmrvFQqgPU4VzpEehH+sjW4ySwZl7JSBsvwjZ4/m+pmkP+hDqxlPgdYJ1m9prckhCj6+W5nX0yQrX5C396qDH1miHWAdAl6b4s0UIlPEBLgRGPkGOwh61LETd34iNSMLQg6Hwb/7xNJerq7U6Go6DbHSnj66gZACG5iAHGsJF+hzRisPJHhaZgACPVxKZbkQDt9jvvmZ/uUzcXi79Z1+5yaNaglRGLKqMM+S4+M8v9xHKT+9dV1QBIWTCq0E9oVtzYigRqtdyczPBAcwMn93X66finohr+dHmkQpfA5u0E80m69BANslWbTKwvf9SlqDbkaCpj/V1BfUZwGEke+w0DuPBfsVaHcr+3VqdqqprMewAxnWYA40fHYtiJiPSII8g77wr1UO4OJyYaHXzrxHP0QFtS2k9dfTyh3ORhLY2Z+AM/9Z8XAsF38EBAvj3DQ4bXT/hGV3OglOKyWP1cYSDHCusJSoSmlgT8XRmFlEzFDj2fgiiRgnGwmsr7vJ1K+QRhhSKzmni1cQDwyiEE3D0IsxgZLoHQKYo6yekCVu3FxhDijxN971hfey8wjmEN6xO61pgaWTfj6abn12aZr/0uO/Aq7LstkfA3RIFpgKQ3NG3nuWbfTyuhQ/hdT3bO9jiM2AvyCQFpLyWPKeQFhkyOutk/yxqJHMcVkycNdm+Cbpb8hiG3w0h5iIz7opFM0fIdGgpH+wxXptKzHMTrhASGbjExvy88HXdAlz96Ns2MUaDhQ7RGvVonGiKPtPP+lQRFY5tK5bXIPJUN/CFxto5Lhoa6vDLgiEcOWN2G5K7ZrYrGe6SoJtgz5kBY2HgQF4kN2VloM1OaUVnQRgEMGhjX6ihagcFJBv5Gu95yP3YbWo9d6ANsfTkecQ0RCzaIZpvyfMcYe3Il7UjiunCY7gDriHKmqLY2uvvwEMvn4XRZDiJnDF0bggG5xbtTTzG+ZUqkTyWL9C8Py5PxurnnrhbcKxGw12Qq2xvwzbK1xG7j9JqWV8xk0T2rU95OgHPeauip9Vric9qj1l2Qo4nJqdwz8g018vFR3s6Jy+QUABQfCSo38iUNe6gWPTAY6jmWJ092wNWqoe9yZGJhdo8yQfZIJf8yIqaapVnZevlmIorY/hix+JoG7UAcLvmprVfmOjrH82XYOkc5qWzwhnN0mBCRbrMfUGlXHTgAysoNdZaK/vIW9ryfEBDve5j7mwBuL7YpzlUYJpn/wNtE4qc0qtZDwDHqxZNDiF4BzcKtvkaDfqzaCHDcKSHlOCTGmyBdTYO39RmnlQ2KOPr/0J5hI1LlwBymkzfv7P1Sx+dcr6D/bmA5qL+UWKPtfTw0noukPA2W942nCc/ITyeWqTSbAZsnFA7olH/LJNBWn0Pbj9vdzdU2n25E1g9LcaktaRjVYKHJ1DPZnfhjo/pT68htD/23aiBDgWJKkzVgG2jEhgtC2ABdoxuDPBTexkHrzjTQCysS2eVLVQ4tZURQxm4gKNAEum5eRM06ZtgGur7OtZWtPbF3TmzDSjIefkAK/WSG3cW8rJgIvWX/vbOtgt47L2ChGeIiPE858huuFpUwA4gDufl/0DDNGQxR7mxddzJSBrRnd1bvIYiWLkPwnaVUreIV+rXyH8dNv7QNND7v4U75bUyClxnaJjN/KQ2DLpwtUlR0nM2+By6KyCvh3Z7NOsUaWxc5PYecawFRaZ/0+kJbeDwRE3lKoKTEyjXOwoNmOtgCJqnQg1ckE5yuDcM+7as585y50aVAIIm+g4BOxU4RyWfe3Gob7bDwRp7+4lgXq12vIFtL7fPbcwt7vbhlYQLMY7XrOsd74lVx8UtQ6MEL55XbBzyjLayZJzKRd4f1ea0TaGIFHhcoLcyb7AIpNNmYdkRmRQBvXWebHgoRlPGkjXmhu/4xta91lDM321+fWyzEcDtaID77bKij6/jW01krFMRyJYujC5tgk74A5jirlZbhaoaE1TjYErQqOIIAvFEzPw2/XuJLhqTJpU4aI5uz+oL3CmE9n4aHxppvbKv+DYaJDmkafuqaa4q8Wes2j9oQoZHdjLMPZxbAakin+VapEz//ZT7jvVgU5IXe4YEtFI1uCPlyGAdsr6f0ntvfV37O8yKwYA3ww6lYJefPlgHE0cM2x3aSOE7Ertw4X7theDoY52fogJS0kIVFu8WJJFBU8Kg+KL2Ub8xSTDVUm7ns/hVkEM/8xXgdjQHDY2AYlNwGmMYYKvF2t5/LdwRAtZEuxMbnvhmCr2Rofeyz73ME2WR7P1MoHiZm988Zpy+NtV7IAX7lB3MkUQA0//SN/ZVOYRwT0+GF7fIB6hL30HGlfKKPiBuwXMxv+H0/xyuKa0SaLxppYBfP0TujusDRHEJrl9LJIy1KkzTaXa1w+zmeQHnqUqlzjOw2n3VAqMggKXlk12V+xZ8YuegDvAMuOMEiZcpjEZBZRP4jr+d/KVaVyGarHFKyvhvWhxyFFdxaA2uXAv1KMuGUsndXdB+Ft/eleqyC1YBgIBhKrscZNC+E/d6aNujg/3K0FfJvDZqQVdcJUlZqfqEA7/vOOV09U6BI/8kf03lu62CMnicERnXj7jXZpflHMVeJNeA/RXFPdln4zUL5HmdvhkKaOY5XDyt3Barn33ZAYybiMZ5xEzQ6KC2NmijLOxF9Y6cm+JNU45jrN0F+DoXIBklyU1Av0O4pAx9O+GiyIdc70O295xEbLzVmOBSmnJa9uInFdq98SvXF9H61dACG658odVLSk+TEaGk3S2SjecoI1RO6QDWewuHIbK2bFv+iWXm5kZVg82sV/VwFqAdeLlV6euLWscXajufylKT93WuTITIqWU1OezM0zdRPenU6Bp+4EU3InGDmozZ4cTwMA/oYMcTjSa5pp7Qw13U/K+hkANBUsOS6yhtfOgKce/2C80bQN5jSYOsuoOqAIRzR7cnGIcG1LZoL9yOnOa8s7BsFXOPBIjaF/zsh5/0PZhlhr3Ojvy2CFpk1AzqcxVNAQqYCTHc86Zf1X2CeIUyPerSV2aIQu+/4Be4tYZRPI9rlKXrORXLihTqiZgJnLda6T6xoadjScTYwtdGFezMqUdPtcd7XSk2LImIuliN9sZ6jlPiRYVsNaG/uxYAcLnlzqoMETHJzlS3Zz90/Blv/sXK5teSQ/S1cg4jV5/ybG/+SDOC2zT86vb4Q2jOQdcaq+FReQ48gffznsbX7MXb7rBjiOCkIzItbNsUBalngNUF6SJ7vHTzL2jnHZmpQAGK/fHp8O9J8LjF0HDyyz/d6rbXHmGosgemLxhga6zHN6i/mKR7B4JvFll+f0rhAzwzK1h9+ASjLJjhifwBziscPxJrWDvY6CXdXtx/BqAwti7W/qxvFH94dQRp3vUGuBn5vvqUj9Lvc6ryjUSQ0CtIqgQH+/rojnNhxw85/MrAFNk2FL9QXBy+6n0uwgjlWGic8unP6ZS6REOeeZvhWaj+L4M0f22UJ6zT+y8LYOEmVgxasnAS/d7/Ov/a8bQrI5BLgi5YZdVuJ65JEnVoP7/rLp2nVuZDxEgBfs9vbI9h7zOEcIs+xE0T1g6yFuDvVE/T1XZpMJE3t48S+5LnbIjNsmgltXntfYenQvQzg4LpZJ6C3hdyCKXx41V+cMiPqy6/wLqOKvMPM83KAk03eci7UDHKJXEss/jMVkFRbB9WDEB5camLHFBhmaYSdyqOdj5b77LXxapbWim02i7s8i5CExpVxEdO2m7gmCVv8qpKCa3nDUOx6XF5TXufLLRdtdRF9PjmcbKsIrR8Amm4Ync/O5IhjTwEOEkHoGARUqbjsN/GScFyyxVuJrpb74NAChGsWi3j4CvXmtA/v1OOALRx2pS4Um5gqvbLJ6CKw+kByV7CWm6eoJPEtXbUIX2u1hU5xXQGaejU4C7Ve0iMmK8wVgEmNlTBNBTwZWEKmPFh6b1aI1LZJwSfnlEddRWbWHBlUMCdlTd9O1DpLqhxQa/XVGOgQ9pElB16PwY/bQZsezkDXKtnFdKZSceweLoX1gOnxkau4LRxFE8auwLKDNKXKUwTTQWPU0d+kst3DjZrjNMgH51OcX+fGrtrJD9JCz4vDm4w5CYpPmMM5Ea8k8J3AKTK+DxuwKvzb7v79dfNwRq+F75wlt/fG6hGQLiBXqySHYVEcyUwCBqRd30o29u8oRZxiMTXDJWhb5VVY+pTpSIqxOfTFEDhR0awcU1HwHN1bz2cplgieiP5d0bAzzxKQTkb/aXpJm+KLX6xnYKHDvzBznJk2fAfqjZCM4P9C/sqT8gRcCxElG4j6iNaZJRCES6NercrMnE9Sv4DiJr6UBZ6YLO1fC8yDfmq/a5aTzpvL4dxL17p3nQwO4UhUYhPAJdrmz/yo0D9lx7r+gvLVg4+slIJq1C2ssExtDD1Fa8SJ9ueREY4fuFubiuC3yWwnwkEBrwfve+jA3dXKNWmu4ptrdkh0RquKNK58MTEcC8Tt+MAhA5yN221GON5eN1bOX8aljbD/I/BixqE/IPxSTwQA6W+Qg77UO2JmBMDkeTPvrDUHO7DoSQ27XitfAVbSfSo4sPkZlh1srd8iecE9fTa00ruufDo3TNNgceZOpypXKjg+zCBwnFzi87q/vRjqL0dxzSR1g+L8gVyJ7rOGLNjL/sDfDtM6A1hVs0Jpt178fEM6BXRlQayUZcJMrywzE0xET5YiGpOm4WSZK11uZ0Uu+udjkUhsZqKzFWo6d8bvTjT/0uOQOC2+EKlnXQADzA3M7yGaaffRgssXn7YXGknJcIyyPY8/8/Bs7tREbhOnxdjOjGN2dDAtPXhL9VzpZFq5MY8e5wd8aKJS/6lKtmVxodbAfzLV8t0UlB96clwYePWfDdnm50ZzIU0gU3aGjbEVlYS6tc0qaC3uNd8qingTxaK389C9u0Rgny7Z+qWz9RckY2Yb4sb8uOx+eEbY99AjPvB+P7JpTXVs55oXicxpdyTHXXiW42Nb7muTX9RpaUVqSmNXUhaB1MgZEfd4+ZRMmMU8n7KZMCjJVQ0eWG86KgrukELp4C+rC1O+brXYPmUqE3klc8WcI+u6g9/AfLbPL4WN79Afke3o+45AZnX3ukNYVpdSnxu71a56rq609cZZOSbmm7ZItnjDmVRDjtgUuTN7KG6Xf/e3MNpTl76Llk0IbbfTkZRXCT5qUCHJ110uH00EpFKHncMbglfq62oZFu0yIccBtXk4/L/++iGx7rxeceUoQeyDidBljWD8qRNpc9eJUu1wtMS0d4qw4dVT00kFTXjq1IDMmD3PHvwujwoWSAq624Af5R/fmnXn8rVrrYUNl6qVw7+ybEM5nYqh1+Jc5rNqihvRTrS7HPtE45z96hs/7c/TFh0tSIRh/leRwRdFfxaUu/N1vQ+mkTKmsbQ9BVnBuwDqcTYDxmJof2Xtx1Jo6WuxpJVjmzSrsl+mLmpH1fIn9j5BOh+kLc8zNQEhhoRCe2ZhdPsEBjwtjUl8/jUOiwMwwewbMgSiye5bVjCZ1ejGHbgvLZNFTmeReRDPlst6JNppN3vWZ6XrJtNo/Ubew5YdL0cqMK94nD24HS/xgCrmQjpPR+43kOy+ec/ijLutyUvhP2PrV5qjEWT23nSr8Zh+feFgrQ3O/4yad1gkhqA1pqKG40nDMdk+4yInnrHA7k+Mne0y7W95v+glF8DnvZvF/GZK4GTLQ1YEO2GZAvm8B2/NBYR8T/3io9UFyvfIO4dRPaPnWxRPk3q4xTburYq7IKlMqjF1mzcXhtWnrphisxA8YFYA030OqPCjJPbdVBhn9l/9QT+Na97WH4Ga5pIeUwusHgb8mgOPS7yd2+CdmFq2ZauFww4V7MWByB4KxWVKk5poFGymUpr8sSz61ZkVnTEu13m5gPfY0tFjTOoHbk0gWTnIJ8IuogJVQrCVX2ONnYpDL9bmJEJSC4Xp5UW5MEAWihCK3w5g+reX513bCSPY+oH8ptTSC2oUN8t3u3ZVMDEjNkfW62u/EgK139HNgVVJHAEB+7aXMjx9l+Bke6IZtC4RJ60lqbxx9MA9YBft/sg9VgMOaEWCEu5htay+xGIVmt+qKIkrzyGPlZVrqeiDSvoZaguVXFv9BSBpeuY/kMguzdFI/qZ68QbCBnTz/JFitlNhddL+nFF3DgGZzY5a454e385S60EU9XEmU5wVS+Cac5lneZu8D03lq2fNRz9llS09FOzMt1vdh2hR9+HfxSL+MxVF2e2ls4HFeJjrd6tkVGEaVOLzrtK3GZfIL69vSgGTzwxh8vX+hEvk//NZ/barRGeaGVrcwzr38tAJxJ+CtvW+ecIrFCtqyS46igz4pYnX89sYS1KoXkLUux7RSBJSaQvnVOPMyBzFTofvazUJc8FwvQBRQyzrUx9iIe/l/OKbWcrgwSk32jEFTMwBqVAhBUwwicrccuGjAVe2Xeu2xmy+LRt00IqYtvx1U8cfFf6nVxd6ps2PFfjrvEjXKDq1c9O0XYUv6p5d1P708hOPaura6JvIH2033ZXRRZna4nt/01UBUW7/q4ZQ8SsHRYnseavhjsQYrzap6MeEHHkAdpAGC1g8LZL2ApJ5ZwUv7yE5KTN9OqyF28VPslQnUmUnvsALVn2kKcChDpBVT+2vtBk8XiuMUM6tM7fY0zqP5SNdLa4iual6SykpsENtFkZnYn0l/BbY9ssYXtMyYf69mHb4RBe8tPQh8HtprcCAXfnGZCz5M62az0YLtizds04Yf2hS0L7D5qp+UnnS4Rmhv+hl2+KjJbV3rZKKRq9RnMnGvyYRKIl8pu1fmBmeMShjNdeRWh9hInYEaLpQokowpoo49AVlZVeMmt4PlVQV1MSKd8Tzf/MGqgcIZHyk+y4L9qNua5d6SrBn0h8w89iSOdaR2Zgk0byuDiZQxiYBfIDl2GbW+wM2OcZWgMMYorMQEhQzBlzm4B5S82NGzA6fDadxg9hx5Y6fuv1Xj8Ra0YPQYbP7DvzZsKdq7KNVpW3HpmumIMDogqKeyIMyzR479Yhx3ykRVCsmfpB7HGjephDu7HW3kLY+kJK/sjdiJYM9uHGGfzh9wee/ktqLQaybUIvBd2XjRfQmzrsDS72d0s1NCip3uWPDq7PpBVOVk+P/Im24Fd9Bp3438zxHG865+p+KQXhrDMlgHucWGaHXXKOTI07E8izeM7z/tVYWBSgTa93cTWZ0FEOu+wxmheJZoLtLmQwLtCDW/lKQDgvLuoeRVepME3JVx9I15nt14TxeBQNvyreod7WyWCS/DDM2zTssbSVyfsc9HBb9A0LEtxcLqVjqpESBpwtLkgQmOvm3sfs2QouASX/vNcOoHJAf1UZQHra9Dgn9730m0bCGFUnBOc18mMLJRh2EgsemI7Yax1Wqqt0xsf9zGBeuqP9RClOE31Q3Xlb2WruX4fW4b+7aciwm00P8LjNEZcdpef2ZjvNFGeUs1OA2MnRdxx6jtIZw8Avp1RQ5MvcQmdCAW+p0JUN0SK4HBTrj3bngO1cqAdfiomukzzC37XKlIQnB2WVtKFvpcF7zmQWuQsFJtcbO/MrlKx9m4u+mqfm2nQxhAK3bW9QpZhdHsnd7LAOntXVhg3wjJdZaBg5c/mbyoXI9USP846R4BgL+sxmEwnG7bdb5yT3RQWYTn8F4Tucmnl6ulwpphhdQUApJ0Sw2Cb+EWu6qarwbxlKqSIl6q/YR1pXJuzFc3UaFQ/nEuukSNgeaRjcWDBtrkFHRpQ+JSJn875bTVitg6J6m0LS5r1MpXrM+z5o1W73Jhar0eI0Lpu7EdKJa7mfN9atsTCKjWAW1kNfKKF54tAmj362Sfhp+i/nwQETgYPwPPx30v0DlxJEIXQb5dK0GpMyw/k5UD+RPEzB+QVxATwlz60eWQ0P9xNFw8XSckz1MOZc4v2BWlpHq8uIekLaqofQdTTp5mSuBsGeAN+yZUlZRl1yCzFyjRWKNB0CJCO1Mxegz63AkRcOcCddcWUU9J/XEzEWG/i79STsWf8Fb7ENn22VfynZuUcMGyeqIslSpFKtgXeWhumRm/qJocPbSjD4swvmvxlqZu8updi86SsxZZDJEZzTR3Z/N4GmrMaXuFlNkt4zydp6H+i1o3RXe2ehY9CQVe7WBdpPo+EktnTTfTYPNbp1q8bKIBxouCBAyA98S0T1gg9egns3i0LNrqdclnos4pmuC34Wy8DYuN4rwkte172lJdSWu5C6Wroj+eOg7VrE8cfsrTdNXNHhqbBtsc3Al2ZwXa8a0d+90FNVntkv8HxjYrg3Az5G/zukIr5YFTROgjOfmHeoGzNKhoSgBnsGpdXUiUVYaGSO6zSqnNPAQ7M/T56ZBEZZZilPNV6npaeqdHY+BFR5RAAfQ0kKZplTwGiBZ2OzSiMHs+mudgvacKYYV0gE0UXvDaNta1FlChSWqrbATTcJDC+J6/g11OSODC5V4G0kmATkhSZe+5lBGK4oE8DFWTDR96m9Pfm3m0X1JEFAhjG/uN1Hqc35aYZFdkR6bKclrjiEAwXUYpzW5yC/CjBBuh3fRRpxJYQB7rATEif9QIh55uCzAFeOrZs127xnCCAJ6F+NbcrGKRrqWTOFF3bAsKVIZFMsn24kJtkWrSUQOOvQ8HPNrLUD3XETq9lQEup4F9N44q6vb005vINoBjDZrV44bj9NAl2siQzEA3yA7O4sD7fzQVljXynm1oBlLSUXcayZhJJUy4UQXGh7hI4Xnv2NQp6hSpuM/hiLwP6qaA99JYECogUSHM5WFX+ew98Sr8WW9F/8/UbfiIvKWa2As5s1nInsFqOi2ZDgOOGJ0ziZnbt4lipJe/ozR2NduiS1FyipfFFDU3LcHhdqVzTmiH+1c6Fv7i799IlR6UL8zus+Kho0L6TgOWt7cSFahG32eqbrpAr1wWo090AE28yhEEtkOwSjhPkmBwlgxTy2Q54yIWQ9OUd2M614eRNq4qOfv5k2D8uGPl6L8xlJyEHg+6Sav160UPlFV70fefxF9xL5MuLJx2338tqkwiX7F+4OFVTb8VIU75QO/z74y09/gLm0823N6hqsVsWwEnHTCGRGE44XiVnCT7gwuq49pFIT6PfEA/1l3Wx4sf4xucnGK4UJ+muLeKUPG2GrxnxS5IXV6e/5ydSWe7Wkowbf6MDAS2shW9x4iz9VTHlykTHqy2ptPBOkSDMH5axOWgw2+Pi99/RjfKwwO69uSRgf+KC/VrYX6KDISraMiW0C7Q+lEnR4X+/je0o2mMtg4eUIlC/yTyE3GUG+AY+daB/HvK92EtjO1S3hNuBD2quKWsdLbHrdmvWXJBLMOVJXOXlPCG0UWE4gQ83qKnsU0ILF6Qmf1Rk9CVAxTd1x6/Ym83R21lF2MIcGKdLU6mAzl2vab27ea1U4iCPh/sai9qLRlEGDWvykNpv9uuOnc8XkhCHwnZtNWr9VRs7COBtPxYb8Ll8U1Dptnw/45odwaTb7utsAhsIU6dwDO/zsUJB89WF9PcKpT6UdfYuOsnRhGuafu8aRnr5jXxbRqgLwg24rHq4bbe6qvDcCMZWk5S7+HPUvccL8L+y7WzoEV8k84/kBiregH6VzOGoN4wO6LdeOJ47k0Hf4je7ORaG8KzgknN9jMZ42aGs+SpNXf+WVI6r+2KnA3WvgJMxAx9kM7WczP4kkMk0gLBjQrg07jtZvqDG3N+YvBoCY7m2xUeGkJpXwmkTNUgvVn9u8Yy+T6UyLUTXJZ44ZZHSWPTG4W4ZDvdgzH4DfJElo65Tk/Hfj47pA0de8NOdtnbI2FJGmOBdlv/PZ6nM4n++ruj/9q7yhS6NCU/PyMoiQyytstRdMm/+dFYEGbE4eWb/nAQHk+uRrq/2x8E+K+JiyOdxL8uBA31FkDxzzieRqXOhE7J+7MN9WKr/mnX8GX559QQqlW0Ig5fNmc5at95WEzuwFUso5aIoa9z5ccQhbiS3/dnQYHyGFMByMSOr8/kx6QqPd+Qn5dKau+cAdYfMdu1niyujGqJTlTivhvIzPCmZLC3B9tRkH3bUmSYmnZr874HT7mEVHf7lvkEdtdIkuqobw+F/MlORZQUf5uVVtQmUpKRPFHnpT3ebhxzaHbCv3Vv/Ymb3ERFA/uJEFBvyREHVRVpW0EA+XMvjBo3IYlK8vGxVwsn9D7IO/mxAs4ej4wSt6FiZz7kFUeNfQwH0yfxX1ZxD5YEL9vB8PQk7+6HRz5+bdkDlIT6fZjIyXSshQqfyQjPl5Vg+kTjE3dHOS60M4H+oFUYPW9uExsr4AnVAreQ3v6SwVtSrTYLtDcKOYkFctZ25zKdJDPqSkK4+UPbhTczK61PKm24Od6EMtICQfbTiwj+ezPuL4KG3aPs8gcIXrk6Gq5W21OBKchLRJ1I8HQ0Km+jM2U3HCMiOZHe8vEwIoBuBZu+R98260VH5ZAImO8a1uthGe+3mE5O6oVv5HHypSX7ZQ9ZQR5AJjXiy7fgX8UdBfqoY7KsJXX1SdUuX7nFZoVmJjGFJVR9yrr4sXYx5ag44KcrwXXuO7+PAXuhHkUjle1TRordccK7mWuz9DIBROavyOofj7zFUH0QLgF1NB6+ufS93UllfLeg1M4b0M8Fa5X0ZRdCnS8HStqrFkcWBdSl1an6SgPSMQoxPBI/Qin4EOfmDBkbeoDjtPou11SH12KgN7jTgQ0OLoRetBkIVM964fQT542ENwXhyPOFT2fPTMA3bAsRjyyyrlTAmEdcZbQfpgunWMJ17bneVF3LILACPFPRpYaHxHvAdOpkl+Z9oYDb+dWCj8yzP6fT2PGBxL3zf/Bksx/eD1JyzC3EKjXyKvvz2enxwvJ3AHuEiHpjeRpKlJRCWuVqEuLsl+ZT0hkO76id/mlqUblgRrPmgsjAxoi+HzJckX4WqsXnDFoGEcTTNRttgjyN7FbRrP69j0/xqSFIppEXGhfaazm83PxkaRQ9hiLglfh0Rei2iTzIK78YEubNCOH19j5RriEYCv8xGJSwpDZ1LiafLpmhnCzxxQJ/Mv/O4yyIL/TvAjNrfcI9a9diWuUWgbg1nG7/QoXmZBj02+qFWyki8Ns9WnZUoRVtLpvOQM40IiHhU9MYc1ufYtHSd9EFg27LBJ6epzTo9Ahcoq4oZh2ioLoSoj2KaXmUZyonqA2a1gxrTZfr6UoZROmnkMqq/fr0NsBBudWhFBLN2Usxd3wOUzt7xRU7SP72XCpCu3FQC9JwOOAOxcYrSXz56fiyTb0cV/qPHtuJ3LwZY2krF+kJb5mFTd+ogM+IO2QdNAsYwAumRJ+WBdxiEMjJv0SGg6XNpv1THGgXfsBbr91ub7Uu4Ko9s4YCR3fXIQl7b/Ydcl1WibGtVkytqXH8VltmkVAk4AbMcyX4pXMxWh2yjP+BkaKuOSfoMUlUgBaVSWiVpM0LqR7bUdlv4cWtIxBco0mNpVDC9uOLPz5poU57kCSqf8YI/qI0LXgieyPYhqDcMmgO/fGkuzC0538IbuZVWqzP8Rkk3fsY4RNCqMCdOLZMEP2DbyRBWfo6rfRcsiDY9fUAJVzEgrah8kLiWP8yNEXCP6oV48+z7OBSp/H9ITYJhfXGzyKtGxH9chxCU9JiGnsKRq7CiHsHyjlMJv/m3xv66tXdUs4X3HQqemqf5RovtX9yghiWa3SopsiA7eHlwUjFo474Khd3PeN2nucxkJSa6pH25Z86Uq64aLtq2QQX8UrcqbHOW+9r9o+2oNAqkp9rhmvws9ORKPWIX76VAikShNYPyYAn0/YQOtS+BMc+cfGJ5lVI2Kl0G10HMM2pQuwFPJlYEKwVGtjlUzQk//RbE+w2j3ZdFjeISEJeGjsdkqO1axMEI7q0CoKWhdxnQk/xIRLYpB5r/yPzvgLRDeNjfR9vaNXKvmsOxT2OojMh/V4UN2bDWpv0HnyoaioHZmvuO1Ipxq4laoRu0SkcDOtFEYUFvd7pkwfL/S9jc+TNPngZ8TsM/j0OaIjkzOPNl3TEWZ98eh6D3bxA5D2VA/3mhVNwyc9olXmTEROt78CucRH0GWyjNBIeIsuq1uehpAa1HPhtSveT5JaUNvi147+YrGie3jGy4nTWqD7Qex+nmsaSW1BulTPvl+ariXK9e2GcIEOikqQhsfaqUt24ZQhIvwkwHYJIqmZpYaA670ihovZ446Q3AdWnhrs14Oku7dpFnFtoXlziIcdu2R+JD3izv88d8Ii7MTQqbpAT/ZO0T9N05O5FL+LaEL/tjw2lusEI4s7Lv4pNSf9AJKTkYT2bLj1Aq25z2j0FXRygIn6XTrejXNV9QWkcU3zSC3y/PwgZB6ZIKNN5aT5+H5/jlHzDXigsLvVrmj4WKdG2GBnNGbxmvQmCTURpBPdsNvKmObMvWHPd36kp0BsAfdapd3MF+ogA6X2H/6X0snqaxS8P8KvNs6nmIo8O+D4s5NruqFZjHbIDJ120mgKlGy1TaW5WMj2a9vdg6oEg1x3zTljjJ9xu5xKUQ4KkYa7iobIjVoUKx5Hs6PuaYl6vAhmATjBSOqWlG9S8bv8n3l64lE7B41y5/3tQkbj1Iv5R+RibAu1T4SgfWgFEfM0rQbEjk9CbdNd+h1sVwK7Pw6WiiJzGsupKDC2PX7WfzLdHezc+OYzPBH4cOCEGXn/3Y/Iujmxw6tuZXJUDowuQWurULjy3NoFCHfH/mI5/3+U/TOuVFj0cgUSd7RFbvNtpCNLzdeOYm2bLr9fMfqCIE4J2UQ7XXQHee6LoVw05TEjgynj4G1qFAmWBm4jhx+8XW327TNdRzZ6nNXZjCJgnV+d4VKyVY768dBluLC3Z0gFLHGChLn6yzGLaZ7bSxtgNh9uoX8bbHhkfArIVezVhjTH9ytjqdrW+fRFHTfPSVUFIv+QczxzExTCy1L4Mrm01ktHQs82Ws1OW7exrNxpbteaZiMHjA/QGc5m7mYS0ARRDm5VghJ2mY99P/2Rhvap8Fvoyx70+AXy6FN8PCMaQAk7jKS54ewadVZSFkDzxtTJr+jrd5OkjX0Orj5F0gfwKHi7BK+J1JiBgfsunzElX0Iw9G0Gaj2gZeGGhcXyvI1U+FL6GFaf39eAgusnvZgt9H9RyFHf8NvmYvhM22lBZX6199cAGLH9BVSjtKeyd3TkSW4W4Nr5evsDrLcKSOv4rAdvttWjfekI3awiJPTkW4Se6xcK+slsHwoselIUjHyATavlW8XEDVOJgQMXctKwBdM8lPvaNGfgrikb2abeybc++bDtyIshBrWQxjefpzJeGltSDQPvpLFQwZy+tHIeaRj9ON+SMq1544LKacLQEJ0f2COEFRiWXlTZ4biSwk1pNBkEBMyavUXar9B4L7c3M/QIudy1pckIiHFS4neoTSPIrK4AHoCux8Aq3XUgghFZICtEUqNCep/s8OhwJ4ZdqBzmdEXpRJykA+CTN6C2UONtakxOft5N3BKG4E/qwgH85v3KVYH+jUZ5uEEPzhPJ37RWEdRjix3EgwDTzNCQltxKuleHy4A7ZgtfOurc2/zDv2insQk0y0yejgwtSQHlKcTmFoQlhJO94kN5i22YrRE4sYEgAeozQrqDX87WErzFRhvhNLYHutDqch08Dc2ylCdGpe/zpHHntxOpDZ2wndVtgy2Ly/OmllMsNNAc82ljxkJk1tLrjfy6pkHue1aQq11snUcZudiZp/n75/ff1FOUhS+clBT6W/ZcMvbOpWd90W8Epu/x1yyeEA1x8sIvffqUmqBsY4ezsIx2qalhfBvPKo0cG+YNjC4nG6FynX0DnYCMYbSz0rfHrZ3Cqm/H56koNr0AXAFhp0+VOhcsBq5mTA02acRhkbh77frAKwz3JgD5UO8Otom5lxy1"/>
  <p:tag name="MEKKOXMLTAGS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dJY2OMwf8mgoXWrd8S3Dpr8K8e5QDX9l/GOurOelpINCJLA3EC4Lci7vMC6fiShJ1UHdlzzodfzXVhfa9I7ytsrjD+/2btqII2dIPK169d0wBauGKuuo1FwH74ousM1/+mSexsoEEwB8qOkY1QOkYEldBoxJnoj4rOu7Of6bunPCyOzWHy6CzOlPKHzRMVJYAvmcLkUUUTX7n8j5wKbFI+N95sMXpEcgJcax4gq0cf5ERwycnqbvJdVH+6MPqUmAD64mLs9/gXl6bdSy+7E+WlgRfjIZLOKEudtTcBvbk5AQir878ZGFtUv4pf4y5fJVvF6uA9dTqdeRlPJ/R4228s1cQPwIPDPD82BgdF2ePcIP5kjy/mfPOR8VrZ050/+FYzMC5BvKDUzB2TqjmHLdB8vKGN4Ibr8o5cbQtnJnpjNzV2/pLq/NVO/FuHHAaE8CbEc7ItxAdcdwdX0z01eiT4TGxGfVESuKuvbbJt4U3IiD/J5VJ5L7NMyOD6iID/4cneGbXYwU60Y1M83RmJvVHFrRaX2xEk5WOoMo/R+mfrlw5yJNvFSmL2BGuQKhWDrZBO5rEiAsEH0ijvrUAmvSNRXRYX08D59cQHECQDiIWlHdRKzUzyhm0PHmiPRqrrILrKe6T0prdB8UVPATgwVuBR0H5DOcnA5hLPfe6syS60wEvZnWX5cOw3bR394ZH3k48mvrefwOP5mwflcepx71SAp4EsekccRwuuEO52crnozimZw7rwi6YpS4bFnhh+Hi+vtDxQffDm6yy1l9OLaqp3r5ftBI0bkAlkPMmRv/rDaBhH3qmigN/WxM4kWhuYMyyTsMg5KOU1VAe2BT1nBAHctOgw8naV0uOldFJX2wr8TxgMMQ4RyAlqhBEIv17P1b1huz6mLyRRwiqaAc26fnTdgFKzK9CRE7VvdYn0IL25097aJKufYFOpToluYOlGeel3AchZ8EUAFoP39Hk3SU4jmJr2QHgO1MtKd8wPf1mm9Uazvg/+twkDBmhfcqzo2K0+S2tNyn9Vpc/Xy2NYdIsqKO9FJ41BAn6LSmSzbRE2xc50LfYwGwoTXerofd46FjugrDsB/wiK+cCeua00cDLorclZKNUBC2eKZQtToFeQWIit1STBtRmzqjI/WC/silKVfcUqZZe28uFpyFHn7t3KD9o/cvnrwMtWDsx3ef953vQ7Yu0rLOQN4IMlb5yV0mYwZ+QxD7wNKr0n+Z6J6SZg1heG8wOs0oj/VYv6EcUlIfdvicPoVM+/960pKatsTQFR5igFvXYV4J75+lIEsrmLBBJVy1rpXYbunbOva41EFGC6kinsvvcUqBmddt0pwYN1Dwt9unNNC+U8D3+X0Cpvl94NhyzXW1ucxG6r7nHf3seBH1+LcX/6JTvKTrM5k1Y9mCC7GxGKONxx473aZW3VF5MXjnvQwmWeGNVQPd7JrtcNYXJnZjxvOdoJt08O8BidkdKwzOCXLn1ABk0m76VTKn2a0DGxzpD4KJOqkit68cwGaGh2KqR3nmJ+m5ijlr0+Mt/HXiUyu+iVdVKBHAgzxasmnUXgJicgmPrwCCyoo662YZHMU/DwtuJoa59gPKUU4S2yBAoJZRwlcWeUu4huXj8xZYX6zcVOzfRiHw9/FkwNpiEX9lV3CFMU+3BmxJx5YlSd1/XuBgBuKOksb4vhOvZHGmrbjEgQoTqBFMwLZgpxvtegYr5lkH9T0DxpfFzoeRAGOUAKVZq02cqTLrV7MqCXqYlwQnYS+mrKET9q77uNtIEMlkjmVaFGvs5yXBK16LV0RCLVg/fR64LSGMJSE+PH0ZiDi50j+OPQerUYOp/dWqfBXa1+b9E4RYHiMqEkC5/JLfYl6e5AWWi30J43DjG9IiM5C/NlFl+l9EKnGNmQqbo8KzTemdrPblBzHzlkwE63qm4p/bXWCsbBPArPXUgKJ6wpr+Qn5A0c08r1UE9Q1fVanMDh9GVmJx7vwFef1ZKytXz5mgt24riVRkDO77CHJo24xakF+Kz1p3Ts73KHCxAWkyg4kfcQrCiHFJ8u8KdWgo+2pi/PrOFl2NqtTbc5DHEHeqGpYegtnukTdhmvEokxZ4+f6Zs1Ju5gim2ZMTdAJp9jvjjGjSN6HlXRVpqIlTPhyIV4GE311UJndgaDa6MWz9Ucf39TB5M0SMwoschQY+2U07yzdt+OsYmXVZyhzEz7ciFfuhOaQmNV6fDeo7DEKvnkWFUA/ERwLgIt4bzkTesqT02iN7v8wwSpAEr2uLv+Jej11o9s+WuGzgAkymWZJkpa5sqedJWoOG5N0Fimwz5jbANXZu2F9mPoo1vD2Qt+xvOklfhzZ3BRF/zOLxomSbCl99F5libEWc/RZmKXOIhbn6vxDau9fOPCvlMSxZxzpdBp2CMWlwqv0M0AU/Azt841/TCRONDAM2wK93M3BXt3dwVGLEC4KIyZtu1MW4be8Q2wcuFVkTlc2k0ZbTWUAMKNa99G5akgvivyuZAl3oBDwtPl75uGc51eOp3mtpeW/LVwsBSYE8pFCiDxqhIi5M/1SNtj2NVlQBVAFxddnPFDZk23Jg3kY1K6f/EENGGChqKsdOfsXqim7sPj3Go13UWs9/dnrsuyl08uag9qMUi4Ekl5rF1Gad8SO+xntv+GWN6CjX13NP7eddKzF7uFHo1ljGbYQVdgblF427N+XZYFjEg6Bnwr9zN9l2UBltbiixWYyIF7yu4QSt+AEmtwYqJMSjjYn5ig7rQRldfgbl2Acrtc6cameAFsVwhvtlyMTN/yu8W/nNSuHTmJA67e0aS7o13xZ5JkvRC601+5iitzNP5lKXeb3/fEa31LDpNUpUXbTMWhcNdUh/bnfYNfrYN6rPRIGgdn9nqUJciyQnjdqBmfnWwDRsIr/GhcCBILjvlE6qpQ2KBRYGh8mkKDLvEiLP9Tw6G2gRHeWJgqexg5shwjT0UFQqY1hYhEBoJ6VyHm9sOz1Z3X2nQvuF/Al+vrxPM/hIEWU3oNn/LrVDRO92Re3v2mtGDdhX2Ja0sYZG1ssH0HEAgnAvUyLGShE3uH3t5PbTliF69VGI5km7PWSxVG4iRLBOt4uub0w7yjnQK+2jAfXmk0vR8qGnsqdJHsl44NKzw7T8wogo+FV/+WEYCSNFVljTHjFfgJFkb1QV+MS1P6P0zpU3otsvPthT6R/m3QjjwpnJNF7bDskqNGO5HI3sM/zFQHFpmOvBuLc9epl3Ket5HJ9t8sTT4T6CjFbTbMvQSeP/KVBAkvbWabi99UDHanxuIXj6ZuxATfeJEfDquR29FjUJNIW9OIJ9iYdRFD1UKlu79nmaoVBSPeM9AiEbKHr2pyVUTLmzoi2Wh8JHPAX51AilFXcvpmqU76Rw2HfPViNufwCwTe5jmI3tdC9cbS2sWRS5yBFk016u+tKc9qccrJMX+dUUMTqDezw+vvZkwkG8U4A0jyt/yAAxC0n4SM+tOqmYW9jdFubaFl66sWMSgYlqo0kZj4xAKOuaFLkMvsc/oCLurKaAgLNFCvc1KsinTd5tM/lTNdjiD1PemBLH5dn0V9x4aO+hyDktEQWuR2tURLgSfJXEbsqZztflQJSJcMFfqUeM+hVooXcrue1XxBTxakmsd2m57XdlXJsK4G5wfl7tnaWjwsdJJIfXuCLktqwWNlm4nC16G5U8ynRMamW0jLgAjlfdCMGGvm1pmhMq7zMGshinPqDz25Rg+xR+KJxhG6kt487TG7OOuwCHgTnlN67lAqPO8H596KdyWwnekG0DeIhoaPJwdH0fDa/uFcVyacJyYMwqfVOQiOMfRsm9O/S7poueouzgBp5vyjOjOOkTaAM0VOY5AznGu3DPcr1aHOqYLBZ48yoRxeeRJxAfRTGSyW+PhewxBrwxBihnJVRJG+CRbXEJUSkwqY45av3rYgX+8nN2K0zW/JX5I9UXtcTYDSiGYgNrazPQZO9uzgNhMGVlTtn8zF5zxqz8/E4Uf7woWhg1TcR2QGuN0nXaLI97KdlFSJ/P7LKm4j48sqIdDULW6gq2YWIGkZjSE7V67SVGOrT3VNEiipDXqQDS9F8oi/aQl0yYpaB8sGQVYqLzwEDUg2MkgToQEb9dRAvd/Fs4BRg0IoG99VAslbsorVPF3WIvWG4SL8atfFdpjJLfnHs/xeqcyVd/N2cKW2ijNH12qdVJcJhxq75KWvnOsDPePg97hc+OFjUZnM7w0O+9CD9z50QI/xaO/lpNRrRENeDwJphs+8shuByy3pbAbavsJOWLAUHhtmOxoSt+lYibEE2q/b+NAq+59KXYf9QJg+PcJsdL8XnuqiRwZcWSXeDMbKJBfj5vShHs791ezUY1M0Fjr4vV8cbMKxx2k6Xm0ekX79rc9g+uclaeg04zZEwsmQSguLETgnBqDPx8Ti5R4n31uSVn585zUgwqkx3lNF5vxAfmUWoRWprgc3TBH0cnz5oHlmCd/pbTnj7DM5p+r8cxos70K7lMXTGMnEqJdzfKwOIO8Ma5Z0+3oi/zxbFUjBrWcXBxT98D4Ouuhvkyn87RSrHPCaDLlhne+6jW6erRsqtyRhfcBVdnW4uyIna31svaNNMfdvw6PHmKNs0wsUmAcvdZ3VGI3n0tx83DDNqdVbs4GGh6r7U4OYy8RdU0qCkPFORWvAPnl5Qf2u7Ahfxgbe8PU2s9bgdQeKfYI7jKUWr/6KiA3igoM44axI/0rL9mn4wS8Ee1s6aEXVx84aCsGVcwcjJ/V0rAqXzX1b2Q0MwHZ63UsPG+c++kKqQ367qGGtjZAfbmt5oZzJtHuPnnc9sS+oWe39rH+hVzJAblh1kYVqJJst+FW4QzTpB5siyLRBhcZKMcHPfBOx1cmKbZ6FtgZMfZtPAYe7U1QdtZ2TS3Pj96uBgcVS8YssrG7RQfB1WgfaswdB2Bux0nlHKld1Vq+C92Z51rY+QnaVBqeZjQekeibg/T+dk0e/mfAZBsIJOJ3MHdi1OL90RdrzGzGzYFRgEgrDwD5Rhm7cO0hcH1VnUJtOH6hnOTixJu2Ogodw4ijFWN3iPAVNYmgnHBLJpLuoHXZWpuwB+7GYuECmOzsOVXKPQAb4A9DW/5kHjKqEb3U8ju8zdzTzYl8mLIcc6+C/0JpK1sN50QrtJ6gl723QrpPBS462H2gzs797xktsVte+fp+WBoX7YEu/ZbG1NDqjj6VEVp5hFCHiPgpn0ZnxpYGW7olE8DFtfN1x0vuQv14SFtiDQJG3hvn5npN0THKkAcUkDrJYARDpssWnwasIaoG/VXaAAKeUU89w7ycptPC0BDr/7xAFxZXRHmO9lAWhEnxYlyqMS9n88snWYRqu18PZUbqF9vm0p3FnEmjeKD/qb61GTE219ZqrWf0ZxPlXSyeE0NUSxhpL9jCTaqxjpjGxJ7ihq5gmKPqYCwhHDONXOtLoR/qVVqBtobcM6FFimdSmYk9o5q998Q2zRfgmdh8H1M/aV0KhUMbOLO5f16mrY+OPllCYTQCfGE+O3bTacNsJ9pA4um8YeVziGUgNnscFtYKKSZItbT52T7FRd4lbe9/Qnqvatq5Aylbn59WJolJCNyrHCuC/jEjNBL+crK4K77+OqCF+LauWgTZN+LuAtdJPE525y3tAWlwOPZTdQd7AtLJ+o3XxNIH66BXQHVmy5d7qYQul+fIHVlJtagX3VTNa7zhjTpnIb9v7OjgArDLW9ksbef7VreL3bOEfRHOd+LPTQKpjOTc2mzbkPOpXJni+lBI0QE/dT/5Edso27zF0LZyhd2gfCLcM8tEMFC6Z8oB+tLNLqDOW5rN4sk7j6/5+zmWN7gpcRQTxCEAB9QHNmbZgBBxGhW20ZCdWGUG4P7/pJOfoUnQ0XJBb+fNyU86G3QJ+V2OIwieBaX1oklYdETSoxJBSLLobLH3w1VuNU8hbfKwlr78RSXV06HwYaqZdT8XIHEtSSTg+ubE8GYsOGFYg8lfLDWfNwGH4JEhTsqN3MOODQyN83Sd9/VtBS38bwC8S6J6tHVqPfcydHxl0UDc7JWU+mf0zayhQry76zWe2qeePrkZdl3FltB9RtyEmvdi1lKdBVloIjOVy8vm6Z7BwxWBFOmzvXH4iPnWrgxH65Qc0mOe7C83VuOEn4+ZKKuz71iKEUYtSukDLhW6z9xlA9zzBscRYaJORM6ololiTMeknfL3I9eKmP1W4KJ6sALsYa0f95XpGL4wFv6nQVaikUf4GOFu1jXHCapzHaAmH0EIBdzfM/59U7ruI/THpOh5BQy3L0gJYE0scM2c7enPm6k+dYW/XMGCuSt6AcVv4XiK3GRLtlLEOEDnrSM2wa8PvEoUFpmB8z8dllyM6kPUsHqR3AoJJE5Lk+YW3tvtmf2pYMzFzhoPplR5PJGwTk/gBVGvpRKyM9nkXTlXw2vDju9/T/3WQcA2Pm1hi9E6bGWcDKff+jwYYx6EfcTadwZoftiCEpfdmFipyuWmX9pva4U996Z9jqIRfuh8KbTRCILu4wVqxwBTgKP+f2/BjgrJ4NZjiurGc2V7xagw4uIQFHubgbrvewP5JO5JZ6phEzS2zE9yEWaSecspfsJel3BS4ghUpeDl7lee8jD8wvjZfuynwtiFaQOTakq9eCl6TAi88KHHTGsdnOZ6s9jEYnGeivf1nwmSQYXjvhiC6zTpRfejj46pk7kWhMj6165X9DJI+GevcwmM4/rBWe/+8asqBe6QGmI81vt3uSZ0s/N3psOOuZf9qU6KLPvCnaaRxMvABYYM8Nbhh/XuJsEvDjFguwhfVWiKoOb3ba96jmR8Ndj2yiYzMPV5nUcw+LJhb/dWunrAn8gONuH9xDehrn4vHM+t8BFGGs88QlwzUWyB++06ZckmOeb4mr+av9qVm/KAOpJKtKMDmS8/VO3JczuwTg2/CMsbDP5WipXdyrqe6r139OtF2sxDzPDd1E95NT35Jc8pfH4aXVd0sdTCACSwJBBncnQfX0Bw/61CI0Wqxno3TBrepYOYHh6zpdCaaCLKE0orNHfCDfl8W7d/Ik4AYaEPMvYzGpoyEN14imT32xS78qbj7/MfV1RzbuK4NbtUmaaK2+0LC1wRsNhypw2SnDJzgC4FFGCZ4AX884fMBEZyOd0TmjLcyuup31ZRD2VSSCSIZZ4o9v9ZFQOTlF4zsaLK+enPDz9Jegeks4WUzHOu/wrC2H40OwG+GlnjF+kzPud7seBLDGwODg5nTBs/YbtbCPCfTxEd0temw40nJ0CeHG2IYYt6p3hv1PuDgs7KDTRa0Ku/myQZE1hoT9nhwGT8LCzyQPe5Blt7jhsD+fFv7A+WwRVNfWrnnV9qjzGzxv3wKe5SkbMiJWWXLq3KwEpvJBnvDemGs+me8d/vFYZ065Vt1P0BwIYJ0TasCzyUujUd8YWodkwqnlEdAQG2ML9Hft3XxVNwNf25Bet+yqvMBXRHmtC7vsgZJtQbnytcPiAtEd80saNPLGoMzSwoceZDryYcPlB3rFr5ytWvohYxxZJPF7bd3h+WCm285AoU/vKx9QyzpBDI4Ll2spAJktx22TlpK0eS65vLpVOzrklbQcvBZ7Su+Wrj59v709MBL6Pb5JD5CdmEPo7btGGOUVJCwy4VeYwRMxKPNIT8aQX2MQy0gx0oYV92uAvrUmD0stof2kcN/IC/EjUIH+o3kwmjyALdaEpTo46lBwIFZ1zshqs+qtEfVAkXCBo1TkCOUAEDHDTLKJhLrEnKecGAQfr7+rAqb5Fa63LS/+iHu7+UXUJ6ynJkW3sp1UeJ4zTSaTCaAy0FL6Z/Vv64fJ1xTwr3O2pYOHA9B30zzXeBa+9aTVAWB8c6iaOZDizBPtNBUloWlYGZUtLtSzoGj91HZvrp4MBSz7mYlfLTWNXk5kZMFjdPMZimMY8VN1LjmEtqrMeG0hWptoU3FxH1Dh4LYleNj9hOj/GJjzrVEphiAMp6Et0OxSUOdTaqQMI4e7LPM3kSc1NZkI+liMYJovuLeGf72M90iU2Df0Hu5P05ouvpDqVQ9EUSB9ZIPV7ycBgRYI090YxZgMaUdH7pJlihJmA3DwhSNEXnIjd+CW4CsCrv/22XVdcvMJh7D7EKtczUduw3U/iIhRVJ5PfGN6nsU4JwL3wpJUERj3CRpJ+YJGrClJsd3uM8ge6pDvsG0KFEft5nbJjTzHWxHayJOLSyLgqIwvVuqPZ8mJeAFXBlGEP5zhtXbTQy+rTZ8lIVf34mF+ovNO2QTtiBQmLhcNJCnnp4MT9xJNjaULlm7KkYpqtT0vXuM1N/bznBYvAyMDOsZ/ruvwmyd4H6kT6LSymPg84QxSWqg9ediD6qimS2RHtXeTbDM5TpooR5a/mlVH1WIiySImNiCuH61pR5+LBbxPs7gq9DTsWiGRrVniH+WRYMQb3fx/v9nUq4Yb5jblH/dw1vPBerqO69UOCTujSACzkcUgrGguNlLQPOvDZobNbE+cfFQOHni9flyiPB5vnM9+/6Ok3nIqLr+FfnnkcVyQz2eMBN644GxZuv830JWHmvzhxse0OPtK1OubTFXixisB5iews5+ZYmlzEt2KLiAjgEAkqmy/yi5eRgPdr8FBXBfPBHHxREkicHgs6u8fD6BDoQbQjAJCditRhAzIwHw6EjbqUF5/EBwWv43gzr4l2p0QDSGukugbmYW612nbvVh18ZtWb30HsmokiC3kl+vji72ijRXuYEZljsC1oD9ermQHvrzTa6iPr46aykxfFY8KKs33DyYCmpLywBYvf92li8DjJG+3/50aCbMQJODUwQfPn/V3ekBvVa00anl27cJxjslsT8Af3RfFdd5oeh6D7x8fEPLOzLFBcGnZx7w5re9vDFcjAL0i3ToS4Y6CdiWp4LWjHMUo/Ru7hSRQV5YJOrw36zwyujQy5A42Vz1ZxMCKi0T/80EfJZ8dkNMB/VZbHswRdqLUuc45xARWnoE5Inxl7ABuF1XaBwgbC3XXNKDLN4BC5cTse8y+0aXEgz572aZL/tm7PGg2BOcdQpo6HTWPbkyobGgSymSq5UFZlfxlREzZH5deGfjuo04DfviRmHSsNQTnE2Vknwlz4k0V5klm6S7ihdIK9qasL4fy+rrB8fYVqaQZuFEGwp9t1Wc88vdrtanli2iufphmG37dHqDRkggyUn87dmMkMlXrnCPnYDWMd2vPGaf6v+QJ++8dKYK9B6wBmrm0WMLB0U3fH8zLkTU9YkR94IgBfNiqh7T106p7ceUh8saa3FosPYK6toYRpEiMteanLg9EqK8/GgJJONH8wptYknL/6SBUB/GEifMlbjUHZ+Mre6J6oFe0heu4O9q0GVSKopyiZ7OlR4qDgW9C++R+z9CNZGLZOV7RjZtOqW5b811oXZ9ajcEpXy2SJ/x5SvBA4MuJoW8YQSQW65E7P5UN5F/wm8JnQbWZEehxLC03fDICNDKQCeRK4dm+FIKhnydgbRZcjc14Z9Jihyo3i0lHaSTtKsVm7S241dFvi3S/nWvHdnEVqUBK7INIaatGnJ6MUTBgWAS/2PXxk6PMsdheMNEaw/xDEEOyEjSXL92QRPzZvmJRj10J7rfeUSGY3P0tuYx+jFJ+e7brin45HCT1WccxTGEDUWf+HhrkePYLyiEZvAk0OFUAAl7Wzseex5aLcubn2+sBZAxK8PBHthC8bLh1aLT9JhlpKF94BmRI6jLu9xcsexCBBIuNPAI8C94FqzHH1QyKTTD3qQlvKfynt/eAMNCPw7+vIMgVi8aEa98pT0JxF+qCmqaxiM2RDWYDsyy2cYUPq5LxBIavlqNPJt+j79Ct3R3dPlBlzhLiMNVoolUW7MBlU8EFSQvu52rhzytmjLFN0rawExXkdUIlha+2NP1IE/oe1qbOpuw0/XYv9xZvnxLMgl8ug3klgeZ9qmUP2AMWAoaEQx5+YtPNPxX3MXeSSpTxfTyoh0Bpi1fEw+Xj96GkH+ibJuI7eVSkbN+xogq20JmRCZYfQv3wU87DZkABrZw+iF7oDXeih2Qw1zYVo2CyfzJ55Ku165G1VrQv8a9i5dhUsb8+wAIMjomOieggqPtFAGKISIQP2WO2Eas9tl/pOM4vk463ZEBXLL2Y71Ddyhgq2+cycaViTWXSWI/MYlRjr+poLEAsMaCKXDmm4JLiiFn/3ZmTpIE1V1euySqTCi9XzT4D08j1hFGT4gJ0FZfI+H2D8AAh32e+8/uhWLA4ls67vaSarXi7+Z9B77/52pyBN74BknbEY9uk4MniqaWuI98WMkhvw6YPRQOhrAt+0qvOAtJ5qp0Fv6WqUK/hSJo+5T6LVBM+4SFJ+9mSyew4bDCDHPQIGlG7LvOgq/tzEyNrSUrnqUipHWZVm7NsSDalYfvoS116njywqf92EcX9ZmtKK0pr8PltRl/2ZSeTTp5OYe7NVo/DSdBneAUx72rzisajtWTVzNpENVsjdtyEPpD9FeM6IBYVne5eUqxbNRj7vj68zjAW3I0TLyVxf/uQyv0zFjsEMoRyCpaLUvOB1ca6xfA2xpuLfYAR6OiJkfsMqd+MD7Z26B2Z6hkYiodTMJQd8uUQwd+4vlSyMxmA1qyhcWaRB+v224s9iIxW2N7VxkRdi0mgRVh2O/CWnqJbtHMKdiGzLVfHkv+52wOdGWU65ujxjLGOhlr/aBBSIJMAzLT9zNUHd/+sjIJUqV14Duuz83fQtTkw95yFjKl2YqxMhUn/vN0eWnHCZYh1olTXSe5CvESZf8FHX9OeFXe5iFsEGkJQnCFHY6msMJ2SW/vKi9GLxBEdvuCeRqpxMjoEL9y3/5ej3p2DM7d6ZujKOrsNmqYmMzm/8GF3O1aIDbSt5eBmy2Wz3cvig7gW5bmds/kxaUad27EDlhn51lXUS+rVAA5mEy+l5skEbFMRo5Zwu1kr92TpagZW2uTo3vNR+f818/aFUlWNByk0w9T4oYLyGo2v2bdaQuWry6H5I/X+WAEK+H7F498YzXbzIoihRUoF2INnKkqrDdYx6Ao/zciZxYtMkRsTWeD1/8nPOyxOUJ+z4/3MSVm78dvAROAb0bmuEcHM7tGUD0C0QTqt7Nq/kQN8GrZlgHhzEcKBX1mS6cDmxzdFpJ2gplyxOjqJcOWhkGiSki2rqBBQYZARPT0En8lFPuiviRRxpZ6k/omHSUxOdu6xulQw+oYh65/8/DWia7gYNbmMJ9qdS1ybrjXOaSiDeV7AkWo8WUBF0eu6JSZl2QzkuSAuqCF4XVPDCDQSYh34VHwxjP5W4Wcpb/vPLvMdcbC7Q+5rqAGL55TF97Ff6+l/OnfN0V1PCH0BMAJe/qpjgdQffXqdyrPgZzZVS8WkVZd8xVMuoZttfh8DkbjFzmWWniLtfxg1qaFEoW9Nf3RgUtOvGqOW/8O+jFAqITOH/HZc1RfOQJPKH434KB4n0vPy+nopVihNmRvNHSXjW9eGh3oujW6VRIudFUauOn9grvg7a36oHYN1ojAWi+2Hd1vqIhaIcCLo67IsrGgBc0O/f0dw3H1HkUOStVkwH2Y8BjKDO/QG/ZgGUJnToXfgE+ijrCChdHQvwiv+DTLDzXUiw7daqNUFSHj22JjfThzzOjRsCzALSMxlg63cg/QhD5GFtKddvgjmcKaPBwQiW9Z5UoYvLfGtMip5Qcni8DgoGjvTstbrjcEUV1s+kZ9KxiJJ5wb9Rn14F0D/sR5Yon08EPkflSrHiBQuJWHGBfAkLMVGuWzaptUFOYeBf5iIjjwjgsugQbXWEALHb/2U2v5+x2nlFea9lq0pZu/OEID8PIykNmDJe0pOvJxwLKlve0D3UjXdVfZ0yZxybXNfSW+bbyfXaEkh5CIMXCrS+lC/yKWqDM69IhznHYsfa4vJ/R+sJezyBt1IEF2HRpbW7HA08Y8rnFQ+AU1hkIVbnJuVRcK3zuNHElMpbhr2N/UAL8GT+yepd5i2IZTYC7iqsxs+EAFNns9R7heK0gpXvyYlOM3IABtYUR08DfqaFyptkutnfAMS6nqT43SYI44+G6RU7aMVW4a5PcSzW+66vElSIskVttS0EYfKHMaLP0B5OdnvGrzobye7MLerHL4P1AEi+miXk3sR4Liq75D6FNNs87okSbgI/xZNJXEoZwNlXN/eX9txZT5PuGJTpc+f+d539aefT80hdr6vo5JeFtkR4lStTeavos63kq8FaV/xs/+wsJ+u1xOHL7tetCqJrRcpE2uHF/BgTqb0yBFdGXV1FNAxO/5p4e7j1XgSfDvrlD1ySCFHhNTbSnGrqnjHQQR3qHcKqqku9u0FkkAPYJzBCMpktBfU7s59eS5mioQUw5D48u6rDKtIB1jP/MX8mraQOcbU4p7X6aoMD8qnB7IjeQH/2LtXgD5M9EkcNV1BVz1fWouT8aRGKf1zMG0z4YfqYuf4XxB9MpLc+d9JMTNGfNSiKUCge+UJ2Llm5/JoMvF5/GoqvgaktlQJRO2EGhMiWaR78xBfY3rMo2ldpqvvzwFq5FbchHufI5xIhzPpa3+A/XhjatuoNDNAn5hEzzk8B846u2y09DxIl9vMtp2wQ2Yx07zuoYjydNym1C4QrMCJtXEHPDooY7Sq/jhHWWEme3VwSDfYSxwT3jNfVrkl5eeLuzEdAtrbkxvUCNajg98v4SlMxbIoEoryusMa8uDM8ZR5Y/xx14ogzW5oihTXZQoVcKYEmdwtQpRtDoOtDSopkeqsr0LttjRcHHOfQOdWNGAiGMAHKF77Jb4t6T/DwOuCEBkNQBwmDLm6VY41vzDH+/7ry9HTpKr58JHTUJf4iMywnhDy7icA08+P/oU9QnlpElvb9grK58N8gLCl4sqhSwJhhYqo6c9mtO6UJ8Rs2eMhpT1jJEjqqHjwm7QRp/gsQf1lsbQJnzwoqpvF6aa2kG/RmFw+VH50ngtazk7yGg6zOUZkt9FL3bL+UCyAsl/l9Uf4RFg6ZHvYB2/GKAFoUFV+o/SZ5UUnefF6f9I8PBx+Ct/wxBZsl5TJQ6OmlhDnQvUYT3VVKILBy+J+3NjYAmqR91IqmNfsCzq2bcT+aWGw/8jlVGN/RQNODWRFMUBfjMvoxyYJ1LkXcF0ZjsgVDXtozFWtEOQJYH50HUtcrOIjB7gJ3QX0OGYYi6o8sAc0DbGZUvKoSO9d+Ou/oBhX/DbV5hzsegdod+L3O1loK3ut8MKVAVvW++9YIIQlgdNCeMcit55QmujEprZ+GO1DNDyCsLhb6u+fzE2CJXoYHpjjLpsUdZgpvqzDC11umLiOknIRphtpmftdvJX4byzEdwsWoKg6k+xjm822zN2hfmTYmiDT8pIeUBULjB2edBmOVzLQbLRmydC4MsVnwt8JhmAK5bkjw1IlaJgEyf5Ir6NP43+rG8yGaC5EwY3/dBL1Fgk0fQUDzgLrFxXjpzMWFHmRkXHck+F3arEJocgy2CXLc5qsCTactvill7PUO2Lwn1+Yx07Jy9Xp1/HvtHtWyzOpcubyudckKLXGjUvpGRANslhlJB2p3j35+eB072hp2QR1m3EoOfkEssX8Ewtxf9uOFzdGKb56sU9+/vaZ6UGXJon17VWPqqwK4q1ws5BYEow3tgKKFbCtESSzRJFekTQuFiI1mF1sdkmjzr+OzGvOr0cmYVPDe9fLFNGLfNKlaK/VQ4a5H15GwWVSDF7iTojtTfmauAjRzFWUljEMQj/DPcitlYdGLTFx7Ettps6ljYi/WyFWVh+EouVHmnRXra+KL0xulMSKzxefX1aPHK4jg5Zz+vttLMkMH6G1mzh51Txp1Bx8l1MH3oZGNVtftEo4hLxPHZWumx+LYzBbq/hM8ONIbQxdIBifkv5tL2tsv6IWy03ER5XUYgi0jDBPGX8hfGrDuVd8YNIh6SRQTxNbcDs1N5rhpq6HGx0Ux+P0GXrDM23LZjicZb3Mj2lze9/T4VW0Bwna3mwkgO06/HImy2Iff+WXnH3/6xMk9IG7njJYdZjTqjsoptIFVoV01NUzFmc6jJOP3dqZibZ2cn2I9afAqDQWQPFPPuO4xYbcwMJTfFOfpPiG9EJH3fzRaVPg7fdk5litM7cTFxDCCY1HxtdH29uCLJCbclveL/aBLRbXbqgOz3FNytGF4m3xKcGxLs1DKT2S8U+wiRzzTTmZ1+SziLShGL8Nxynqj+XAKKSvXEB9VauTgTG4OMGGz4PgH8/1haVPE4VVVaOOpBmpS8LjoKk02IUZ5G1cGwUAZIM14ENVJ8X3DGW+VffbmU5cvFefEKFSPNJBHt4QbnMdMfJb//GIv4FeRQOLHpCcYOsD787UjYURpRDhYuzZPLH41Zgx9LRYOAbzH42UCXOMlnOizCsTuQniwwCUfuBByvq3b0zxO136xRvH0yVMbnGycSeguF2mDRMeS1C28a1YT1xawfvf3r/BYlMMBqdAVgBnybGBkQ++XecZW9e3koWRppRTvpAvJFBAoTDZ6eWk7L6hJuOkwnEjNuOUw5tKz4+rbb09Oi2/+zeIBQQK/TKfQRFrdojoofpDfE89bIsw4MRwLxN/YMZ3cla+om/EBxuAVof29hAoq4BkZuc4F8B/sNXrG6xjr2Hmy54gJmQ7T/YwzxbKMbSR/DofiSyXJSeyKwqhh1yu9v0RoXvY/9bvuRjVNjx7kRfvBZkivplkMZ8QF8uPF9cuUf8K7oq0T5XeqwqI6+ZJGkzoGAtxuURFu2DBH6Uyg58qwQpS/jMlzE1ZCg4gxURlPtWjG2WYMEzl8hDoIZ78ueJl8ixD4W+e/StWvjBBJ3nCXq45C3RB6zPqwnL61D2AfGQSlJbIGphBD1B6Bt2xwmnjJret/jWytUng0i4mosqxnPHUaWaCoCyU84xrZxMau33UZ49OdLCk29yLzPMqG/nP9LnZ45H4vY1dbRWN64eY75x8a6MjtOmRFy7CWKoy/VYgCwBiwTlhWCD7FIx/uKyVLemwkSclxWOL7dfWhEJjQM2LC9U42GcaZJsUUifyQBnzWOrKpNj5tZrHdIyvVMi6zLR6PgwQVy+wnaVahhlsXI2d7C1/i57duPbBHdpzkWjFzKV61PJaqiyWJFfNSPU3ZHGkJ3XEhVFMIEMfoLOgdcopruYDslsV61Se6D2emjwv3NjVJvoCMrvN+WAHcCoYWJsCCPNFvNB2Bj3U6ysHMeLdW44sD8KEwhWSJC39L1An4o2EnxhT0y527R/4U7zWOsW4HAE7i6X6oC+cl5ar/R/B69n2ormzp4udtT4JAijWKXfEwxN1dAvoTmlfEEkSiBw1Ym8o5Rs8MG8fLqBZXySSMBjApK6xaAD5Hp46LEiI5m9HK3+5Avj7txUWgIYjW62YdaC4rEWWth2PvNo2H8aCzfSMh1u5Vl9UcXTLYJzKHtxIUIvgOL+E/ZaPLzkqxSJDAi+y1Wvfbd3IKvPzUXJwFdjR3SdZR3060xllKsgsGDeEATXkrasr7Fzl+OuQXsIYUsWUyOJrgeBkDTxbgN9/CNzsah415agv9DvvMPsbI6Ukx4J7PJScfYWxJSe2EONqdxDvvPUpYv4zTxqjlQUCzhASPj8vt8pY7ocIoocPpzIFtmVounUWrALAb3c9F1BbO7xIzM5Rgjw8BduJB+A3XhVviIaPkAefyUXAUSgFSeahtznpWy8KTv2QRnPgdXkzaYLA+dsKgzgstdcDG6s0Qr2T746kbWblzQGyxHnviFAaqBCdRfl+0A5x1c3wy72VnvtavDSc1UqM0yXSUdteOHcs0MF2gZXKalGNtG0DAmf2+nRkPcEaWT6R+7U3vg6W1LuEVB06NxYzlGrNNrYnCIMAfuGYb4Cqmia6CXvd0r2b/by8/v2csIBKjbzPqlfCQiHDRBXtvYN/3YawiLEgvSrlkcAjnFX0X0VxR9ySzIYksIh/z/wto4Xwm60fSxKJo1EaT+b9gkzvGIXLOiRi0Ejixwx7Kw7E7nPWBVvxEnYlVRk0MrlSB3UCeA/n93neQ2Jqpwabs3Esh+Uk/PsEysqDmbhoHNP9FpV8fOiyayHG7I1ldWKC7pA0OfTvJfcbt5P6cWwRaYwUWpsNa8zZZzTDY2FhIjYFypqK4k0KZXzoFMAu8XXa8FZUODEJxAtGZWFP92kB/3AJdj9OJRqLBng1gu9vuyXhyWOFkXPh8F5ahvJOY3d5OcyP67e3rNxhxJApt3Htnn1oF3ZFelGvfBb1d5bVTY0zjv6Qij3m+bahoWPp9p4jeX8PZMXgS17TniFm86vmCK2bDga+BRHN9rwfG4VG2ntr6RYxCBSxPJnn9sQoaqGM9OjzysWUF+OmQesMEgy9cHe7c7T16Rmpqt6jt9m4ZLimtdc2nwYUOvbsIOxuR1/zArKk9FCzq41O6yWMpRvJHFMbP7wQ916UUPRQm+QxXZpFWEuZHJarWiDDUKyuCyrdhdYBdLmBSN1Od1ZwcfSpf/FcS26luBP6gWaFLgBeiSy5dBnP81bP13uh5c4iJFb6Z9JXe8MKj4CqsIFt9T9RVqjfzBCJ4yUSaR3UH3qwRZi/e+Ek5x/cQXP21PAnsU8eAoejXoY/PmBMMA7BMTavOrF/l//HXK+oHkAt4aVxmxGGYBW5faueDTdZMgPIK1h5SDXrSHt6z0EQ6YrRC/QLF/5D52hG3O7epgHpuhH5TPYhguQuhDkHess4ThnabNQmMd8DDiejjsI8PBb4A7OVItQJQeMneYHDV/68z0nNlMklsaHJ4xgBh32T+FI24K1yo/OMc7yOWERG9Uaa7bF92Ih90i/RtUVfzu5g8QxVGp8WrixXBoqX3R2BU1yxmNcQyNHMDYgtZNvpYltxz8FO61gT59SW4qxNxKxLjPMDBOTnZRc6cuIxnaZJc+CJ9N0voQaJHsypYiUFo+gNkRr7srMQFeLuAhlUklrGgKb6GsexAwskCM2yRYHeE7+4OHbVZkJW19SsBtd8jeAy98oU+j8qvEf7+tIksBvYKZzdeZjg+h/p+jQxet3W7Nr7dIyjUBjX1SLWg1rWuNOWKhHGEzNvRDd0Uxbpvoh/3ZTiIJo/jn+3eI77NiyYmQTJSucZ1aBIHP//QzCpO3vuBQhU7gZLJccfFZXw+dmKlSy400z6+2RTtAH8x9VJ6zAv7QsTHNqsCtqvjyGeZYTyp5ipkJX92Q294cnyz2uN3XGe42441OnHo3k13aao3YQDdovhjzSE6QwCwb9cDTjffG8NCtIijiTXT4ZjqZPCDbP6ip3xANEZvXuzJ4FleMkKkBlorMgicbPyuDdRgjwXFPocuPTRDWYr2wt8FI4su3u2AVsiVEVbPNEwS99zszc344/50gxrMj5sLXAYA7DjI739mgcXQa/WFthZ6EkUe8LvYNdy/MwhZWunYiqANU0p9/LPnoYzVt+clY6GfKdAf5yZl3vra92M14NmQIXvEtvySyoPLQVmRyOw10/LDtjbl/vif3l0/eFEv32jlydWAL8qcv3GgMhHjd+kx8cYMsqfys5fxwIAr/Rn5PEQ+WEHmS+W3Hf0FXxEnpxlRr5uyDLQ32QiAu7XDawNP4erK96J/PwrtStELYKaF3iPWYVg6DW6EzQt0PJX3aBrT36vAtJuEVPJkIKp7pbr5DpMsnBaxZr0RaNQJxEJ8O8bHfepw7SeeBjtkUdOemkSsi5BtVf3EYTaa9QeeNYnfEhmk3dxD02GeaWacBzw4nlvNYnqm3k/MpXgn7TwQ9eR4iccDkXr1WtZBTtXYR6QKf9BXhsISKgYkMHYRlfilaAa5NomJpl972JhZvx/lwVYt11mCDYrzar4nbK527uBfDHzbRvOOXy3Y1QFTKQXqdR62Tz4qGJ76oWVjdC0zxI3aalPSUc+IyFoZRymKnHqTKWVrjDMushAZpB1guuXkVMoknwY5pdWPgTsKuOfiBcVmD8lh+8MhslgcI1tEAMvpc++JKLewnIlXr4e3F6KXNR5M4m3Kt1zcUV+aggVbF/jwjlLTHBqvmEMFfxIt1Iw5tfJKDSi4EJAcTDNV4gB3IsqHw3qawMjBk7WBHWCJYIW+PUbLBvgOO3UlZ9MqRUmy/RwqJHU5ULAYX8Wxsg5jYqZvmbbehvW+kdGI89sadWrvkvupGZ/i/dqvmu1N081LYkQK6GneWXuwgOsFEtSnAJap6tWmkSl6bUcOyeSRpj2oL+mgaqhJIILElwcfCUYudk5XC4P1x/nUJipskAdgG/MAxZt5PSpoIXvVHTRhkRBmZ78/WyGTcC4itHate5+g7VXARQlPGUtwGbRepjz3cn3rPofxpi1ufTmOyMUeZ19HdFrSj48LOP542YJdiDKrO6R0JRwCwzoPX6cWQLW0bgIPCbOKOFs+lS/es8hg7dOm1KFExScdBQ2iEKAOUFl0WrDg2cUxguXqRLgaMbQSjzodlNvwNVQymQixpmz1dVZINMjOUkCa+SesQzDQjLjO8nE01zEAAU4DR8aWyQkcpoxuP00RYY1BwZvIV456kEnTzahDnyn7Q7Bbd+IEl8f7yQJihvfuXK6AfGATtfnTthC7Nz7xuSJxo1l7IeEkZy+8id/QSrnYjgRtyZlBj++4nSXwq/tR+pkPY9cIjus7cDcyaVy/4cU9Z2FXPLgjH5VLyZ46ce615UDfY0KwIWsxaB0VehcXQ6VFjhcRTVu+4xHknJfkFdLMY6cIvHqezXgwsZVv0AHlpOvT2u9roFG3P71Xc70w+F57ED1bdYurDxSEd0hAmwj46+KSO9OBo52fBhCy/YcXj/P2xQLnyWzqx6Z4zYhP1t1GoZjs2lpqtVB69D7Lg6GTMfDx065E5jCA6vg9pqqwCilVII2Cb5+ot5v7NnCf+jVeP1FRYnY7NF9k17twNoYq94ZUAglcNijSgCckvBTHJMwUjfdvg9cq/xt1eSxCyTOBXxpmKPXkl5rVu+Rn2gTj03SbR89D/Sx4qOaFPDrMCs1DhOMfbeWhVifUX0UwbKnGhb0YRE0x+v/8eYCfd5yTzGfR4ed0V3525Jw/yoEyqmUQ3mJXHGLm6ax57sqFEfWyoYDb068dI8a2SW07ZhNTd0I7okfxUucl8Xb3c6LhUWqZMY0CLOS/KVz7gpvxz1FLfl9qPSsE/CmgRx6eDO2/ssv87XLTqyua51FHb/13RuGM9Z8iqp1d9UhZ+lUB+kf7sW/7sdGZiSpFWGUrTBLWHm7+M4WDis1iFILJLzJ2dX0eBWvnf2soajvLCN3IZEVqdPHJpgcfW53GZmlkyjkXGd/HfrwWfYs58ecYxxAZPK5GRGdsgaC3+7YSvi1j4tvMB1VmhwPTHsT2xGq0bKvDF6OF8bJvL42zvnnKQFL2bU2OK9itHw9ja36LayVAOtY3ShLdVd7RRySzYyeuzlCcMin3MUxknWaJSLOU/ITEhSubnTUnwmNWZmL+Q+0LAcD+h96EdQB8TEa7jyIeCJAo2TwVoKekAnjW3u8YS9OHvDWO/NRj23N/gQlcnkThb+emuwRMMelaKnjxVDJSdDSS8ucsT8sZDzxUmkst6KA0aNOnz9b5LYwqPdDSJdhkKsWbXL4AUQqlviFi35qeIS9E3hBgDioizg1znDxADg2+exeSM/AzLu9aCyOY5mrzfAsF+T7ejGEIou1ed1BxPF6AmK20tDNEF0zLdwXOcv8rzYZyXRAsE3HGA+i+rdVR02sdrRwj3tB+d+arI7KpeWyOvl1pCfo93RoQ2rSzfVzkx9MTaUfXIib53QkSrkAYjoWGQY0WjRTPn2eoLgfU0MFTQqV6A9HTFSt1zFee/1mfNxgttJZThqtOm68GwmFuBOiP9/pB4B/28YEjgk3dXBGFAO7mI0yFPH7Dn4A5bHkV0PJfhAJPR/gej/K2wFY1l5LuQLWYXu6DcXEHIlww0VwsGTmbEQKuAR00jfjmlIwwerhB83rU6m6fIDA/zmGyAt6ul0xZBoLP8+1WbGIHVk/Y0Lx7mACoh7kI6FnL7TlyidcfnHP/r5si1VaM5XFzjrgzobvWwsKux3oXAR83SrQnbH8DlVeBeOMhjcD+fXcqzjqe09XKE364qfNgQjCgyecypXNXiYjRPgMcBM9d+tc/mFeXqU3sx9pwtIqCxt9JBhs4F3cGhp0+Di8XpKnJvcKfdFLHG8+LcBqND46mAhBQTn1aHZW/qrzHkVT3DVQkJx96rwH6X7yLUbTPVtY/zszziqg7ZxFMz+5sTdcySmBitqTQCEi66nvwj+MHed5aUhJ/Tqz64rVfEVVc3fxF/d9aPmTuuXFlHXoMcpTM2E4xjNUKa3J6fPa6lvXKcFYwaKq76JUMvkWet4gltEw2Gx75ljxJE/pikwPX4NWU1PJgeU41X42tbVVVhOm1Y9erDIXs26HUYHHnqEIWoI9J4VNJNUd2Y+Klr60gDcHva64p23JCCnFgYopx3tSLFhwpxGYFBXepKUnM+x29Td9CMO+M1ma+6/wVV0jld70WdWIOtcJ+HpYvAana/qPb3/+NBgAf5Cwrq2b+E4ADgucT6F2N3ZwX7fuirIapFBgyFVZol3gwC3q6EOeGwHqotB94jXmvOS5ts6xStCQaC9HmGNGC++GYFbY6/C8PmUFhApruR4e//sOIJBeUiLNe6TbrnSyK/y3HaeHylmtYJCvFz4KlbHkMjXbnQMyQSh6ORWNNXxRywKRllNJjgnmP/weltch6DHpI7aPNdKsknc3bmXZjxRWy7qtg5LeIlfK9JuXwtMtVfyH5YjbkWNB7bwb0MHGFJyd/Ag0FoO52N7W/V6PETaKTUvsZ1K94GYSjI+wFKOeWQ5Y9fzZRRizN2QhPxcve3bsvkr7rvCP548WW+Ld2+m5nAvUaoBMOuCurGycMIupHWuV9XX41EHnwf5Q94CL7U5PXk+Q7BvvBZm1uRN9vbD3S4UnanUVn10GeBSmsjCc2bc9AGHKU0gmf6igA8rR7O/Em41mZBd4KWNGd9TYV0lIbC3bt00HmIRfmjMWEGMGnNgJB+qv8AoV33J2xyUlKHhzGnzh89A7KJA6uWmMESZT810DIXT1VV9B9U6UDH78bAYnEIhXCR09Udzvu73VzK3cn/KQunEbMe0sQhjm+R0VpNcFy2Dp8LCOjH9BEE+rVzadT9HF7ams5J7p0CvV2NYfB428k/S1k6uxWqKWVYXR4SpXf7H7ivTD1MuGEFMxTAiepAZL9T9zKB6GrQw6jD8ihW4IffXWzDnOW8EVAlXUalAzTFTwZ4MAxf0WZz4ftNQT6X1NyCBu67ElFdecwf9NodrnZA8/Z37ylGSU6d5bHeGuyJerW7mtEcBbUYVo692J6RLXcp3joazRnxBJw8KOz8KAXwbFavd5RFDrz8MCE9sN+h+vjgDyKWTrw/scGNBTaBrN7MSPcFihP+jNfnwmUAl6xbsxBM0vDwrSnj0dKy/xSMpRW6L3NlrUI5tm9/Q68x/XIBGGoB9iN8EAsvVkJ8aWLreKVBK4OErFIx0axxm0fdz3EC4gNnGbYCFz3LBPht/9KBiXQ9gRFr8AOOtoNct60C2o+KPHdxtlYa0FaPxshffB+QSzTyIhv7at3Ts/GxGPPwuu+YyVvcjmPiLOqcmhWV1IexNK6tW/II5YeIv0hBVNqP/DjTig6vyARGYcwSLMP/KP9wZ7yfSpKCb1ZNr4kFvGN20FByAi5Z3LA+r6YJb9vO6I4+XtMk34NXOuDu79p14lK9GTZpJULo3GtnzOf8EbxQe5XkOKDhsTKanaHRt7mUTEyiO/9bNX1mmuewUxtMUwWarkFi9MjOgCea6E+sCEwc0zTXPf9LrgOjqegye37OHN6eUg73vUPtLyO90kcVvx8+gPsXN843d/mvSuIv6d6OOMKdydhbt1wJw76ajotb/RI4QLfiKmqqNXXPsuZ+5VhZPOYL3tHG5nBpSgVZvM0veD4AUuAWPj5ki8El6Ob5rckH8qJjVV8KNdgvKNPK/bEFq1+/HMNIJFRz98sx+ofBGrQbQ2sCxPnbwly+q2BgRcnewcLnl+BCpmpTYvjeSrOq5S0OhM2WXVeUlDZVHsuTCiCifK5ImVBUp2gtUezObkIVG108Lc0xmFmupf88Y+GLPnFxmSayJyyFdU4wYT1JZXuuTh+56ObWAj9BQfBwmcTUsJb9azd109ynAT2jNNnkySn3h9QjxOwrEEasnDgfBhjW2ad3uUP1KZYwdnf67RVq17UfsDwy40zpDJccS30OvQFeQ4HHcuQR/lMxNOTtYaAIVcWoQVDzZbaEyRslw7XM49OPeUrdWqwUsazh7+PO61ML5hGSOB+mzR5e1TeLKy+L1K3kgNvS+Og53awPfOCGaog7LqTVzA3omOalXAeYa0nC3HQ2beATM8L9kZAODNIYvSLCVDoSjRXba3XmsU5YXw98ZHLlrAfI/2DRPDFZjz9OTXpIaeFUtRsEJFs8rTPMpEHPORse0BYJ39tFZxYipGkq/HZyIKqI0wW6oMchgGTenHSvPjclvcBRH9oWSZTF8NRw/7yrjP1Ah+IvmaQDxqlFQlXWTKmd4n3c21gHHzcT22o7XHaeI5dxyaRjKxjzALD1SD8WCKe1oPCfxc1QYslH8xQgox6hTLih6DKV+4/8Cv13VcsEkkbPzoX9LZ4T9XMtvjta40YUqYlCgtWYE1f/mSRkyz4KJsv/qPYTyPoNIeXW0Px1EwCeR3AGJ8fDCa8FtIT7vz8PbGVpIxbhtjArfruL+fGpbxz+Pqepfj4oZfwQAyvWBiiAj1VYUT7tpwU100HgXZvUTt2hU+ZOhzKFhV3SaxDGgC2Lklt3LSlSV83iFR7Mqn7PpYAPdNyqIhEZcN487ENyV9/3+GC4+I4e7imJC9WNpqUb/CcK3EvwkTbG2MVBt2TbckkApAbF4RiduXLL7VfJhZsLcNAb67jPjP+yph43Pt8v9E/Ir8QS/CDFwqI2fRYF9ETef7oZp15eAND/6qf+KsiwXZL7jBWwI2SLyp6C4jbqf2EFcINo5FVNKU6gSa+lw0oZvYWFv3Qx/X1gi7DNeMZpjgVED9p/eAqN/XFLKkkLOAAETbFEVy57bbV3mT/b1xz+3SA6qht3S0kJdP8ugVwQywmkSKf7A8KL9UzUPa1511GUzeR9O8hrZL4kySvFeWTRWkLBSkS/j7ftXwSFY/ud2Mm5v9UnDmw7H/PWB+CKees7eWQl5xVCtbkriq3cjPrtEvFtlavc+R2e2XQgvZYUbx2JmXQA5OgYGb+qOpfelU9vu+PNoNj9hD3Iae04flrCWM4mfCp5J7sYLOLYrlIlmHJkWEqVPAP42sE5wtHbJ3SYx1So07TjPQ3MVMyuBNebD0CvMlAxS6sUVcQvvUlLDaQ/XH7fdM4ObA2XoB/xvCvf1DNSwstmyOP2GYeTg44v5ZzJKcb+TfAPsFgZlW964/aIpt/bM6vNhc9/HMCE//j1UPiRqx1zR7thNHJCUuy+/PdW+m52S/zgqbh7rFjZFjjs/aabzni1oxHpy5DLU7y/oJZRBEj5KoIPecEhCAKhcfpxakAVf2YpIwE+iTxjnRF4qpFyxjxWnmTc80764bdlxctruHV7uKYS5muHnKSBKPniUGOQseMD6cpvRnea1hkKKEspI04p5A7mUrd5zzbUjFJ7Ev3AGwESMPqdI8iXfr201l3WmSksszro1EgxoahszLDIjks9vSo3Tj3t7L0s7pY9dF4yE45jG/ZS40dpr5YD77/x2CyTHpE6EATUrU65otWAcOcF9gljhW4XV30pmfLXUY4gi8bjYvWLTFJ1b35UITI5gQiYqVOjfuPVKS5ggumecfhvBQoafjJ2s9ZTAMMJ6NTn8g8VWmw5cTK3VbPiF0UHwqZhDHkFv4yV7ywiVjqTP4Ro8vHl5xVmjdE0TbRQHH+0QEqgC2Ge7EnSGCDj6J2r1bFBCuhD1TIrT6n6QblHJ+WSJncUX4TlI/PUcOMV2+e1SAfJHgSQ7JfZukzyUspK/Br1lx/TZqndAAHLG1CZYNow4SniVlChNt7XvDQx8l7PPO+EVat8Ukh3qW80HJ2/k1jAZCHHV0dK0Hm4aT3I1M/lFS4+RF4Boqbf/uF8F7NLHGqVCMUQ5DjsyKeR612Uu/gmM/PFgPuZmsRywbx5rqBoVC3bzCxOMZj9wvNqCvNmnrfqTxk9B0CUJUf56DBP16ld/O6Yl+NILNpPtFSx8WXHFnxRgRnWp4YGPbz9pTPpgCYDn3cdE52LZYW6Li+I8ofpMi9TbYrTmdnVh7wW6fLb4BeTlrPUimZRUcDt12ndtQKlRLQO9mYX5vsXQrQsGuV1BrHAyji5h/Q+JyIbRcBLtnj9fu7qI8K3R60Zl/oEdaq1803rJ2Ie8gmvHT0D54Sej8jXjFvcnowSztVw/Dczce5Hu9IdxzN0JrK76IChnWd55SD83Vg747IpCSO14KT9ahbW2ojtXYgCUUX9Q2it7nVGFHL1HBjDH3x7uOh+5M51CvJi1NGWlFA5p3s96V3C1NsB/6L+sj1iEqiCnKaWf7Yh5wfqgcohZbtAa6N8yok8K/wLggYISD16OpE0DymT6U4/L1yBzNMnaX072jf3hMbzUoXB40ncp2+t+vGDAtwaOcB+n8HTxlKug4ItDuiVGxxqbI3A8vYAxUIl63pXuoAXnOzMz0JiaDOcqpQdVcwOHztH9aPjShNojTRzkAdMWOGrcgH3mU/WySvRSPtDoPtbxfqvuglET6rCuz7xTkIa10tUoCAHu/oHAks4a/VConXVvqZQiN3Ca1nfCqkY/UOiWwwVq/0BTO85JkWSt7PHWiH+Vo1uNFWAP6ORG0pYa2xjVzBCSra2veeydzGOB2IivB2VNkjA9iodJkvBfxJtmWSCPGb3CR5RSqo5KWQbfLKLAed9edtcmWC1pmZIC1IjZwSRSYRYNQHBeZzVo7MY5+bACxZpjZjXYheWHw4CzfRFUnTOZ86ALpAJY+s7XMunWiJE0dmp6GDyHuP7/KGwu6DZQKqI7l7/NDpUF76yC1XdnysGcvHXGXbm7sQ7QvIToezUDPgfjqmQrU7kyRPDvIKxcLrmte1opYqmMv9lHR9e2X1JHFWLMMgi2DVcU7Gl5e2rpxVes+MsZ6ivk60N0AXlFHxXAGELunVE5sxCQ4NKUCuvnkdK7nSgny3v0u5B91rRlFrwMp9rv1rIduTOmilbuKsu+dEdMh0gsAzsUEZ3DuFnPCbuFUIAhiChx+fQkQWWfB/rXeeK6ICBLhHlGxEqZBEu8K5py5IKydMZ8N/zeMaIWaIWRLWChAO6UnLTQXNyJVojWd1ZVmCANE4ZPVx4CeVaVXylIKzB5cVArCsgAZJNWC97yb67XEQTTdtJuL4J4h2kQzrX3a5LHQKhJEIsH0wd8k/ZFJIuUmrD5V7m5eLLF5KJS/RIYaNuSTVnj1a9qnq06+YV7s182WtnJpsgEkWi9xpKlTd2mzNue6aFyjEeu95CFeZcFDi+u07eI6RxqeG1P+jnD2FjJh1BxW8jzZMg9TkdXjqjjy6IxZATXMPlHtBIGL2rdohvUdo5lg0nlOK0I0qGlrk+8OmaZb3jJqUZDhZjxvnvWM8GmD+GWEZkMVhpl/YAdV36oKv8n5vUcsC+6qPW8Eq3jc1ZC9vPLmlrnZVg1EafgIwUSPbx3pFuKy+zGnTa+I4h2lx+rHejADiJ2KOPclu27wtV0/6Kx/nyJKctL8QA/WpDdFYmyLIlk37OYbAkkdgGQsFMukBSPD/dllSwb2FF9hswjJCh/OLUhx1h+XrYOYMJn4YlXx716fgLKY/L9ADp1mbKNi4hgTZbVonEXDknL7RCVwegeIo4j8vZQySOo/Jl32HMarwYS8dSOPA/xM2gGrHAE+cSMDVfAdWJiQ+LVqmJBLL25SJmHyjudjNsoH6eMBytG9k5A3PTT/bm21uj8MnXzJvE2s21h2pAUydE4BCr5zsT0DSCsqrISiR3NyOD99eLocO/kj3lqPuVBxMU+UXTRt5ac2bsCp4lRoF5DEP3PraD2xOM6AN4SKRTnaYbOinCzu6xcppZYePgmZFQCA3F5MfMrdggfosFcATzWjY9CX9tzO3jiaUYeXI7IUzOxEMj9Kld/D9vcH2GowBPYUS8I+5XZ8iXaxfFChEbikyifMW0ffjClZ6PoL9n/JdQzbmKIIWlBMYNrRrVmOjaZ7PeS58wRhNKtGlcfH3yC5syYSuY5n0ev7agnldP/O4UZPBIVOnBgDqmUkSpx7fY1GiChSR0IJiqXH/kBcK5KQ745TfpCoCbCn/3gJU38DE8WSoxdA9yXC5dXxm8kGKAqqBKblVQItftre/v6hJRHPkO8/fepNjiV0xL8TYR40RkAB8nlfbwk7KeVeHqqouxxHBkwtcw/iQSF+gELCS+0ybdYiByhiLz27lohy6Aruj6Y6ysVp5KtW2Z0gZXJqrFl0hpa0oiJ2M1ylmtylFVgfuan4P2jAI6L5KPLv3akJA46Z6x7m9pk37K6eMn0hDvQ8DMp8i9tvhfOz+s6DtRfcZXLueJMBzYUZUufSMrP1lRTdx0iouQUb7dqNwmIhWQvb8CD+BLS8SGCpgnVUkqvNU0rhx6X9/IYsFsXBCfm2XvWG5t6KJgoh6kaXlYy6KAKVsmNe4oPc9jG0ALAK+mMWfXWwm2Fy1ixYVy0LcmN04/g/2bokTeQphRVE/O9+5UBC37PY6uRHkjdATnqXe6W/MyGubnPjsYrWVRzVirITZP/Uq7atvxmj7oEf2dI9Q86khz9CNFzolxk9yk95kYAnfgItZyMnI7kFaZfKmHMSRnsXJr0EkbqaQ8TaOl5MaDUpmxZbvRW9yWNkp7+RIWbJyA1+BgklBfwiKDA85Twj/zMweYPBnEIIGOv1CYyPwuOQqK2+ZzsqmC2Bn/SFncjHNSMko5zDu0eaQW/vjfvTPydABozwoKEDEX7Xr8lpS1+YN34UF2FAefUqKyVp2xNKoB5a1XI0xxFDmywtWTzGkK/Ppika7Y6bMOSzmUpNsPwMKOHeMvXVuWCSxb3ukDnuA+FDyrDETk4tHYZc0bksSU+BEfVh8V3Y7maMU0TYo/sIsY5lIA1XZ70bpDDd92Jqda+iazWKMPwfr8MO6cJnZ+uZWGdeiiQp//6NpUPEivFK5W+9HT2iUNj68uLlJCXH39xQAnA5dCtzW9M5/B6ln+BhoLA4GWAeOjlKSpBfIHB/tuTF9E5VEgBK5tdxhWtr2GLtcXVFs7Etf3seV5F/6STxfZDyRFOMkC1Nw7fTwa20dNNeL6K6TH+WPGHhCN2RiakeAgBVZm8R6a5BsCOrWSjXPiCe9TrNGc58NFEct/1W8aVZKOGIGhFGlfUfSZDwhLWjAdm0XeWacxGWGTAdmYm6p0i7or+hvsnTSCcIh8aZEgp1ITV3dOZZpoWsWZhrr+qfCg1Oqj3JTQjmJTgfKufZxd/oySq3f+DwXcbbM+DKK3e4vmzClhrhk0ElYAiMWoIe7eqSzJL3fdjiQh/B5f3aKo5BMotP9SeBiUC2DBFlil8HXzO2QSCJQa6YKEJHg8OA3Q8xN0XT5gqdjTtYBJfhOu1T/JoSW1ddu+nZ8CRPA+jNO7HxYvKtUj7DdT+59+hSkhxIvmkS4a1NYXIV137J+nIjFaxpgv5LDufkQG85bLjlL7aHrxkOh4nyhE47jq8OrNCY6+a0pA0kFk0qKmDZI0ruSUOiUi0I91vNd478U1ei2Yt4tiGPekKfDJwWCojklwXn/AIfkrzEygLhwyRLmqVMwL2z4go3fz9eBhYuC9iumm2vtgd2ZJuQV+TwFfA8l7z5ilhhuWumj6BSwyXG///4pODUyXE5T0jEQL32Hg5DKpZ+VwYMnVfdH2OE6J3efxShvJoO1ISJDJvXcZhXFzfPFjcDM3J6zPn4M9Xh0Izmrb9cMoLJ+TNFzssdMMB0MWc6iNv23CLOugOPYPvnrI2vbkfc90BTdmJm993cmqZPnE799Aj8cSlS/mLN8tS0CoRXNNAOXFlatv/fr1YJcy7Wf4PJAh2FmmCIOeB5ntJv4Y5mXdH8mEKuCW2DgEH3yYXFqaIindY5AgKpJmAyFKk0eMHsI7JohN4TeLavAYWzN8+YD3WQCGPG1PGjJdE3SzZiQZx/WEmqYLKrfTBpZ1Dbt8Tgqnq0q9pQQOPQMYstDnpKXb2A5VMqzAtzY1myuuv+Y/b5ncMF3FzFqX1gVrbXvH0/xSZ98fLC+6RLwH5arMQUStZGzY14woBreYNrz0rnVUPRPOL5NC18QWRoQHeFCGZNAaBC5AAMLB0kDioLgqFcuBMXqbHq5qolKiuD5jItKwoHvzzfM3qxCeDapLVbXuASJjD8j+hqpeQo+wCE9b3v/I5eja8kQzfPYM34fTKeyTV3O7e2ds7qPFCwIh8UunPAZjPJyz2wojAKen1j1GA6vdcJvxLPkyHVeiVKCEIUTvfeYKz/R1J/7lW+p3I6/JD7Uuc281GMVe5H3sHafPYrnI9wvzLxZNdXADqnyllKgo0vEShu9AAbPSPaaxJyzbPJTKgbOx+dRz6EKvHrqSqJAdZF7yW15sNmD7n708PqCeCmEAWhwMwV1xIpO6V+tczJGt/yWfQt+PiFMr1mhVfYNieFegCd4QqWHAPEzPbtC8lpb4ShLN8LBpZdpdM3rf4Jl/6cEOIuEkCni4rcLudrg+8/LcdIwyHyDmhiHIhURXUenaA0kPMYq013U7ZxEe5Fpjel/qG1VGORR1k0e+OjoFQYAL7pKsaJ7Qg18NBYTlKy9PrnIaWQyOfgQQRzYQq98Smbuyq0vJVrOr+f06ibFjfj5kEI1ls52uOATwBJCMn8JyjoqXoMJZkuWfvxe/LegM90SQ8/Xfd8BRMXbvP/BsbycEg3lBRftpM7aibeptpn5w+swBoabvr+cFQyccY5XiGrA1CjRJ30TlaEQqNUYV3YGZpW6uhsf4ylSoO53pNE/qVs5X/QorncJQqzHgMatNkIK1l2a5TAh3KwRajDV9SS9pT4j0MBj+yiO/jxNYitMV3F6fm1E1mz2cJa3FFo+y4DLfwHmcqgSPKikpfLX0CpGMweOK7iAFhMGButd6mnRfKC+rdleQXIPGma3RNkZro29biCZJ5dloRMHb2A656VwntLsVRUqiHKg0XrnGfW9PhTxhljFnAx3C4ehQzXKIXmEqh58r00H4o+InNm4mj4vYG/BZZYcpi+VdpLN8xNf/Z9rSvDWS8Ra/YVX8vPMMf4PHxuiK44X8h93Ql/ky8YcNMJxgtLhWNPnQhp0tiVmtS675Ury0YAdA2kgW29RffTyVWFKcjB8xi9WPPI6qSowH9UzIqHZ2QAXZX68BxKjZGqjONJMN7cmkrgmKUuN1+j2OpCZlakrAAJS3PCmL8/brjZ0c5hKw75C83X1gCesd7GEeDhdJ7SdhxEl8xPVaUzKI+3nFbiHgeenyGbNB61U/J9E38FeQHW5YwW+kO25GW/2OsVhefVQHWix7eSSnRwGmWSMCLvb6NoMjVJRh/UOtZOPlUp5DYuZjipmhDu92NQ3rienG1nIRajxsp7xi/W/JUTKXBLLaATf5V/pp4pto1dGT+Au1UgNAGFE8CuzBaizNctGSk6gLLVzYQDy0aDsYTrOHcwmDi94jOlmPaGzxtyulJUXQjkHYjOp+HNfRYy1sU9IOvcyh2p8fa1fcJiq2XXZ2PezPtcKyRNnaVzlN28UXgwSwH6ii1SmVu+DbxZc6xysoKxp7iVa4QuEc4dc+8/MZ15B9Tt2Hq6y0Fh0ECVcW9+ODy67PqiEC43OueNW2Mz1d28/W7CzS/IxFL+ekrWw1J0EVqXXfQcM2GoTk57gr9SaNV3dWvi8kefmIvwbf0GcolGS2xbaNPsCk+v7aE0B5swbi2yyQvXZINUFYsXIqIe0SANBFoqLaoI9/fiREh5My3rT1/AlECMFv1iP9ULnJUGl7k55/PVhQWNmAYGlyhqJwRgyCgXbv6/nDFO2F09gK+yNlrBUZTDSDR4XfinWhlOG+yoivZAO68B3rQujmS6F0CfYi2RXqCBuQpPB/Odikaz5Z33NI5oWWMIMph5wC+/d2mFDv14uUWqAqhtNJPEWGbBBk88//MiIWr10Scm86d3zG29LljH53VjGMN7eTqBvFR9AmcibDRuu8FsJslJ+GSjxK585YtxRSghsPRLzdh2W8hV/HpdbiTIMAuxV6F7jcDKlpzf4zJyBw/lDhimXnQGU28kXEXxZaoSuttpKB8fMA2lrpt/BOquzluvv2QnUrf2Bh31aw5pjfuh/yh0+gDOVIiiRAasuAT7VomBBxl19Yo2IfGIFj1wR4C6Rwenyj3ShZqXtn9oMQFJX2IB3+eD5r752cumQxurnocCfXMYfmNoA3WHp5nAHyGsMx0itO1eKPhBr0+rzzxpyNo9o8ED5PbHtgLEn0fwEExfU/ejPijh1ZbHAewAWdGoSXJjIDp4lTzBeXkqyCQU7aS3JQwA43THCO3pYpUuU+KeRhHAfj6WCr0gqtWDSGHSPPIGF41ynXN2dkFaR61fKVFKEXr25I9GIDPEdMQaWswW/jYkuxQUaP2oWR5OO1nRk9p1Nu4bjWUbAlYqxQzuuyJpQ9qC460WF48AwqoKCnP3ehZl+qi+fqqEJJM/kY/DFeonhaHuJJscjkVU5qHOwKasmssooEaKMsFOlwei8c91hU/mqC1VVwsl6f1X0bdn8/c/Lt6RCRRQ0mv24BuhQyN7MYD51/2/ay6kQXhZv8L0xSKHJ6OV6Bf7efRA5LB3jyiQlmFopvdzxVCgv3MazEjMr0cAJI2wxyVNUI5GV0p9M1BcEAfyNcAtaLhSYIA25CQSGNNXh9G3lgFAVPKswNxrh5WRQe4ezG2OPfUaOlH2Z9Q9/BCyfYmDSuCCWPnGX/hCrIEqEKa34JrZHGFJbQsJSHq/cwR+RZdS5pxu/cKxAE8HyY84GZevGDjRrT5jApwxTvHbQt3KTjkEmQsE9MNYmLVAEvpdugKCCNCHR/0YE8tBhWpuQKzI++FAJHIj5aqJOZUkJBO6FMKyvhC89znUT44HwguGjXRGPWt6+8GdYY1GvVe5pJoE+o2fvestcaV6fE/LKriiMPjp2TKngJ9L5vaTdjmcHXcGSv10qS+O5fTauok8/+F6f56R4QtphtyGoMpFHn1d5poot9lY+52iUK73fDmbCeTEbbOkfYhKAO3klvPi/BJT7v+tq6qmh5g7deWgm/pFJkmCLe7sXc73i321gmp+qfTE93GmNmAqyca4dTmYM50Zj5ZLI7Rm/beogOdq7VqFdxIqe9rKZEetcjSpefdHF3DSBuoHT3eAsgP1CrCt79bmPDwmBIaBiU0QcR0Dprigvbx7ADuthXH+5fKA0b7L4xoQmXWGhl1+3N22kLrL9YbAWlI0Nn30E5SELPbscJL5a9EcFHIvA9FaRLvTZSG3vkgWuFFwK7jzHUa7LLNZc3AJZj6furCPrv02JXCPawVVBJOI7ugvkMp5WWR2xo3br+H33IG4JW9YrncE5eBW9BDXPQyB5Ude/mSNc2dZ67jLpWs5C/lUQ8UPFM1ThrGPdQLc8qpmwcCl5NiyfZvlxgSQVM6V3e0s8K6XOU5AjOyrE2+iLEKpdOOjQKolYtxHD2ta7cxJQoCGk3MupJc98VfFr7tzrqnjIkRg6QQhVCVBMihJ+9y319XXrbQ8m/RB7XvxUhuxjxWXBTW6mr6vl1i0qOrWqmn+vbxqrWpIQ1E/OdaWU9RybBHBpvyEAYeQCthpkbaQpIVYMAdSyTFKzLejAaEu8R1F6aZ7MuBo8WRlN51QFnIpKZjXCCYICi5iPjb2vaQgwY8be24dPU49f/1yqzncakRzqBbmijSKB/3kdBdi5OodtghBmL+XqmXr5PzsHx1lPGsfsH0k81zbPypPh1eqygvF/B0LywQHF6EX3i+7D+5XQtM7HTiTj/pWYSDvMPJNPykou6cnFAjWNz3FvVrWEResqc9TOTTf4vKykMKLaGa8chsYe6EGg1Iik9XTpHCrGy7ixgX4XGPE6YPCQZNuszx5Go61vy3RkCE4xaYx7650h0DE4CJnVw5heu70B9XklYjw+ph2TpjOX4QHuoo87aHTdTAQhjIv65qlNt5jQMBlNKFOBFlUTD96yXca2evZEXRjW5MDdT/1JG09bYXr741oMTdxRgP6dYNuYUo4AByxCLYl6yZLqnXSzxgTnPY+/eiY8HKI4b9ri8ZmZQ8ROKhkp10V14b8L+M1/V0CH1xVBCqohsoF5sH5rc9GxBjcWaYxa0k+XZJvExO7dA4nIx7Fqu27ft3BAK6enqsCw1gzrLawPfHu5jIC7H8BgNuaW0XWIyZU456RpIldMeIbmz6KuDf5Y5zIWt9wzSRBPPBFtFYuk7sz/GeHlxXQRCJRrl3jqSY5Yj9pEOYtoHtf9/oLJyoWpVUI+bpZjst7NhuRxLD/5GnWrPNvZKz3CN3uw1xRJD6FjxwtCacv7PkFTRUjad/iAFtCKpeVFi1PBGUnLoSul0kTgonsHixLvHICxWNx0eFwA+D/nMOKX1kWDvGbH2QEvr8hoXgZMjUusJBKqH+MpIDpEI2LTX/1mjo0eRuelooXxj2gQ5g2v8azFfmn3eFSRfq2sPpEjQon68k9NZD0RvdrhjHWytoFZhK8cDVNyK2dx4ABCGVA0Ac4E3AOYZJOqyYXXKKgs8yTMSv50UOI9myU8Sdp/svmBnY463prWYUtSx6dEOMVpgqQnxaHH8FPvUzO6MhSK/D0q3jgLpdWptpPj94Tp3bDfSLNi3j6ROqtYhWMBtLKwLWlnxNgmhiiuxrzBMYcvnp+8qJ8N911IOwkXECPZf3eTKYPFtbi6BvAB742cL+H80mqOepe3dz0SbT0dt7hHbsGTDUouCWXyu/ylKJg39hZx3fiU2P78gNqAEpOnol9q8qPXdIYq0tR3vKm5SIpWqFJhxSmsDLllo4yBZiuoVsY0wr857ljD+/cz12vQfL3SdJQGumJY0x1WBoAVMK3P7o4UkLxWoafiDjDfMOOoYzvfPGIgmFcQ3NEmrKdh4PlhO33s+GrlQZLeftHeDbW1aLdWp1+I5vQqf/FXWv30mYrpoKqtqZBY2mAhJh7/txstJxodrJB4Ac/2nY6hwbIDJvns/15f0iiSYuvLmFQh3TTtGCEF/dRI9Z/Riz+1i37ARQuhhgi4om4hHz9wTIySxcZ6UOhgWFsVP26a0hwFVV+TEGz0io6vKKNkD+mbNgN0QSkTUJnUBmqhmqN0FjSprckq9jg4ntzgajJMAMvDYqhBnZIRFF38J1bTwu38iPyRjwt1MkBVPbq38oBgssxu4f3rELHqOpD8tGSR5fUkaU7+VIew9f0N/Trkwe+7dZhLHSGiZ8cbE6NsxY9SZWLWAamJqB5GPvMPFuAPhrt19dLE/Rcc6A/AWCW9OlZy31vks+zp/2Xo/uzTxoak/mROzilCyR7TACH7kuonvgZ54Pd9SEY1lQX1x+vnvp8NN7eCCUr08uDLB03cRTRsv7JVlwAgsptxnFJMi2q0+B4/LcXKCP52Veth2hvCW18y/DPv3Nrz9O0rteUaEHpe5abQM5aIrXpcYJ/T0CPvvKePBPp8B2JYb1nB5g4jhrqekExzLWSoeMbWByRsv+7AwmmyXR3PF9VSIRdYlsc1k8XgXE5kUK+6oMImfDM4EoAhe08gT4gV6gy/03z2c01E0oACrXs2OR0uzjyxz7GoxCrLqOJee8rKq7vT9zykqLXClmDpQkfjvj4s5cqQ3fLjXYz1bCnTyjq5dy+t4wKVJWSG/QhynQaGWVxFbIh81PnInfWylNdKuj9/a/eqjrGmGPj6rJshNDKz218ibySwNzARnageZuKEfc5pxdTqjbafsc5FLDbyRHMRmpTwQNRv97Q+vCqo5HdwWoT5RoOLegIH30/5zXB+Gn4ES10JAO6BeVsUELlwqlZcpSQcAVbrh3pAp/FG3yYR9BQkiJW00vVUgL73My8v4VlGl/VbUAA4LvXQYTR0L1kC8Y6cW4YYA9132IpDKM99qfOXCGeYHDYpsyCUE5r3yPw4XymL6Lh4tSpUT6HOExtjCrBq1YWFoic2Y2qIuriGIKmH0eJ0jAS2ar1hDbr9Ggb7KdnAm/hMCVuCpVsuXiK+g7af7PNMsPQOdeuV0JifqXyslj8vT8yE7F8OYrNspnPrilNThhyGNXRWfRS0IsEAVAQawC7jvkwL95uW50Mo+J+MGJRvRD7UYsvXvP2misnWkhVLMA6rkp6zjjvZ1x/EQXcqItX0dnqmY2PLcGkRQao5F/Xyp4Bs/mmqFo5SZDmmxL69mxnvHOCPHUBRtn+OsuqaNFY3WlYmQDgVzOy22ZUqBaOdhP3M2HLoQbrTwgQs7dAfKPKG8AorGDitfdkNeENDn1UFrHXbSh6kKX0kMg+JZ6eo4smAFS0OxFXhPeEWIL7Tm1l+2gqwuiwlxwIDopqOmOHW36G/NL3f7uTZG3ndTQ/AAw5FAbZpSGqvARVzgj1PlKDB6GnsJyRyLH/nHmcATEXd1a73oUSbtl1zeGHW5BGBmtQ4nY9I0abOiOEntRD2sAdHCEhyAFd2Wep2mxFzvFFgkjYPwZBWpgvVckclWlCz6E4oqCr4/FdVHnM69YoARCrb9MSU4s8Edm+f6Eye0mIjBcuYqNPaajApfgBMWiQahLBtOMy7AN6YqcErsys7qOYiTtytU1BW1aFb/hCjdZwovGkDY1n6RZ9EaLMeTVxu8u0PauURW9t6gOBllVY6m/Z9/6bBz9j+Tdl4QbZajHqtCgz42pMaHcSr/+B8l0wvf8j8cd5We0kCtBBY6u+3Oh81gB5L/MleBOkaIkRs+lvenKR7SLX0qSmrSTFDz+RL3FYR7onU6sPEqAvuY21/HaH6KpAueltt9DC7ve9RKyuzdlAxtB/1/FM5UpfjTxztGxpadLm7LHujQr5aF3q6lWqqfvF0rQcZr4d+IEP7GSbgnpHULmAah7wRdmQw8HT1H21p4CGeHz0ekOf2+InLA9j3y6KIzNbt7+u5jeTuq3cxthbqoTjhuLS0zVK5/HtvKmer9r5wKYC33LpX1ujDPR451q4z7S/TT0+aAfTXVc6rno2ltiiyjrmtpPlCrrW/Qa9o4jnZB0ZQ8aOA9mD8iq3nx50WitDWeWG579fGsPjMch0q77tJXTVZGgM5A3+1O1zalhWFHJ0Aq5b6ZgTbN8bgvTRn8RLZxHSt7gu3r/WHkeEwhKZj6HdDXlp2RzlFj+cVeTCKqtMfe95f/iRifDCVBmkVoJU7l2lW6hz2bxHHSE0aKDfMDrF3x/0hkOfxHnC/MtUpbcYh8P33+k2FnX2LwPcpZc2Mantyrsyk4CRznB/SDf/m2qmrditq1meCNR9gbLkn9tNFGO7dlBGLaI4q47RPJxhbtw9frlz0A/OEcXsMzlR3GvV87R1rNW15+DuwqXwjTMe7aKU0I1fYeEh67qqoe/kIWThRFdlsqF8c1TbSfy1bQg4H3U1SbNQiMI1nVmQYGwRIYTfZtp9oQ0CqsFSwQnc0GLwBHbI585vjpHheOr0NW8KFFUtXh+IaTntJr3TFRhrQ+XNOw00hzumAqMGBvP19K/K16pmdeWSDgJ2BC7TsqZ8cwjivNvAyNuD2cmMlQBAl52kwbXvaqbzNgGmKlH8gImBfmEjTBRePWYcnMjmZWmuWusdlJhaGqqHoIICQwlhBPqgefpTZ9ftw19TO6CwoLWeIPQNdHRxj/lljDBXbCbIA0m0FtShYCGcg/vggYzYURBE3Z/welRrFZF0gKVC0KYa5+NEE7Or4MTQpKIiX0VXI7fvpmnoh38amKpzPZRGP6SzCN+d11cbAHdGvhlht2genyeE/hZxVrSJEVZE5TgaCKcVB96hjEmzJFa1JrrEKbOicHg5VSN6i9gU1+3ec52ydTUoszligAtBSxoTFenmXoxPmpoZjmx0B6nuDSC2iNE+2JQbu58bKr8P17KqpL589G5iZtVVhWpEGJzrNxs7bOvJ035YocclZ0eqk3HRp4JAnB7x5iHyy2jrkgpW2Jvauc80q2+PL/y+srCohrYAR//ahQVamepLPHCjLQvGpM8e3f69w2kTukkcCZrtWd2VcV1qQSRLwfrTdbtTMnDHBxSmxfBj+EEhwi7NZAhFDLc43U0Q9VA1jMsqNgJVsxIYUkMwmASBtzlcP30OqdoztgYXGPIKRTpkSONS85HKlZsM1YG3VxjCz7ybYvP+hg9pkR6lP/KiysxDuy2SMTL9JHhPVIkZZOyrAYBxJm8VlZ/wLRM+fCZRKcHmg3SNMJ87sOECtX306JhgpNRN4MWcvDhL6c4rjgYF7H2GbO8QTbs1luoqxs6Z6Rddm98KpYYBOzgYUI8UstFoJHNUWTbNcFg/Spwrz8eM8pDDh1GCODwvZVF/0ZX25qbBFP0BscfPjlV/aoama36RodMRDexjdNCNwO6S6EG2OKNUfYJbEjtGy8mqXwZkFyDk78azKKQPCf052Yjn20JDO3RZISE+XdK9Q0PrJ9ik+UWtJypq5JUulYf7GiAzxUr7ueeqEyhboZK1Crik9QgMHG9oHh9ASYLrolVorBCWx+FPTbyWB8xHmWXz4xg6K1UM3R85bjagyXnCXd91UcncNZxsL4+VLSwf4hDNK6LhQ1TLvJiK4VcB778CCEmcNaEyilUNk31O9toyJzAHlcE6hrAwqoZBKNx4VyjARaPkZ/spHvjSbTeKb6VZw/dT7FtLfqbjHAXvnuv/gCPneugAi7mi+pd7D6c1OsUtc9CZVPZl4IVmyspFId5D2P/ytcDecT76OPxvDIA4aRTj+jGgMTfqHBWyjI9kO5RvHXj9ZU4MzYTpMdvbrBHuwlT+/1l+12Cuymu9mQsKJ2o9CZtQSxTpYYTB8LpYx4KgMiDfhn/m3vpxvXX/Dwp2hRPhBT1rHoiwX5R5eZtr2VB+k+1+m9h6tmovmLjmFyZfJrqZvJ0HoLL8P8RyuM1ulVxZ/xFARI3qXWAJiY0DpHsLy7R9BqMruZ7JwtXTsc8aSLprwqo7oW/RsyH4LX6tO10fZUGdDbmysD1/wcQ6Gj1D4AyzGFokfYmd2ltV3MQx5rsIhsBxrURSg/+cBSfBUsv7BuxQVEYNreGq8DQ5iKNEZzhpWjFMAxXk7NhEMeVbxP64MZIxK3XFFNz23XbIQbn3l3cui4Iw8MVqE+4NFZEV4Meg0AxvBDJQOctcKeOXdKocAyJZWLnMn7cU98Jxr1TtyVQtZNXtuZm1n6PEYfw/Az6FURT62qoYPmA4pB9vWo/1US2deQbH06xpTndNfgS+AHJ/io/gg02xjiobKyWkmtNrlbVkA4yv3EmqzLHE3QaVofGgjFu6XwiAvOs2Q8O/wy4kTWEtz0h7Rg1/Kv7mD+7jp2jFYGl+WDgQHrUSqKZepjEH+ziXU+50M8x885O9dHZnNhurTUn+6mjsOafGc8Vy4scF1EnsFZ+4jjqE0fpFrsjVd//pwSJU1/tFYi1tdtHxXxKlCZRWYBr8EtsSMkjbrEiQPwMjIBPbn5TdzInxkcxQLpSSQRhZUt5QojMeffndRzS3XcHGcrwkcBq33nDiEghf23XceD7z52ExSKdlu6nAS0jf/jCI85faSpzVUVQQAjHGo/eHdO1JELftW4y4OnxH39RjeyKrwlllFWzZCCiPtsvN+btoDqe/dKawLIpolS9zFDwhbj4VZ6JHqlw+xNX6DH7kQvi/HGMZTYPrTrbQwosJnNROs3jzR4uHdbT64BIFBGz8iXIavQKvcZFuN7yPqIGDvJIbk6f3c3CXfCqCnz/Wp6BL1dvLTTeMo2n8bsrCiT8+WvSPeX7/jR/0YhNU2IfWdpYxVumla5DnROe3Z5VMAyDudH3CkiiiuWU0fiu43z6eFquu7MtmSu6AJWXEeZagtYdkcAE+UFvpUiQson1SOn4718YtpCyp0ZuOWkeasiQ69Umewh1kg5n6I2ZLZ5mjtPyx9RP/kRuWUsmcWuSWS3zod+J+hboBfJ+6GHmxyBK4aXq6X5hJRiRXaz4jpCOyW7o3gWcPk/6s1tHKTCcavpaP+VAZmdnvK7JvRkmBL5qHnJy+SYhC8U3BBw5JDfg6DRnWQlip23cxe1eu33wWhQvWWBhHY9E6jKUZdA1kfF0OFtQRRw4o2KCg7paLM/dpaiaXOo44lGUtKWWTgY1WYHAN2t1T/nA29xl8LlwkPU7PEiJOfqXo+/UypthOfDdciHmMOmId3+CH3jKa17rkRqN/gvgiyWyWzyYNS0xe+dOR7JVjVuNjPMCDUl7MnxTnOW0rD6siQ39Fd12V7NKgV/hxGXQk9XbrHj+R9P/0LcaRDE4Dxuw0teaVH5+tqDhyC2U8Dt7mofrGBZcr1/lt9Rfz/QisKgUzDdrOIM+FaoanS7+39wT19PotN0VMIOpkjR88tteAieuPFffvixIH+1HJFDuLQY2VfH8vQfZsx+JGKQTUUuN+S8GWuk7AqNuXbUf+SxxL37Iak3f/xcW64vTxR8J9SMTQ/pcpWdHkxWM0y+Ru60Pme0abhQm8yZsYwFKL0LyRff54bIp3sMa8NIYfgCkcn3byWZ/ptxMb38xwYQikFoaRqMls9WBQOhUTcV6Q8dmrJcKm0l+G2xjE+tMSM+Kky0DIY24phtyTD+J689eiTUonfbbSb/6NxO1lV/TuKKGcgBsY2jxyGagseZlOL/lUy6Z7rMFrOzHpQ/7xvhNhRVNN/x3c6mYFHbhcBj0thOXXmOZr5lBW5Z4ddwMgrM3yBtCTeEQtvXy5etEN6dQ/F2cuzJdIrBn/biBrjL2mfQyXfgRKL3Gb26sV1cJHbFhD0SG2bCuzMWKdRGcuv2MrqavGRzSSEDvfQAjB9KQXSJiP8hEVkwA8B7RaJpOY6WA7dZ6zR9UApXUgNiFZHaZ1x9L71JgcS5phn15gkxzLV3UjlSXHyddZZnS69Y/cjTBXc6DolKsci/7baypQvvvmnuK0R6e8NaWUAvnO60Ss0QW30swacrVgONSrAbqkhORFgTVJynV8BjE6WqnJpMFLNnEiSBKR74xkDeR4rmo7Jx1VrkAQGLrbhUeuhf599fxEVMwPb8Zrhg+b9b1Y7Dm35JDSmj86fV0YCpefHUmu1eyMCsbM5yVoh0tp8NXJemA+L1fKSz5fz9QH4SnNHpWQx0tkKX2KWWZu7PTct0CIMh0vZNkYJ9PNtpl35Y+rw+UIMYeHreZg0HUui+zW1x5fR/MpV3MJl5npTSVIpm9DKX1fFBMVgPti0S6nHkxdflsJq1OIYGuxandxZ28B71hyJnQGOUhwzLsTXewryQ+EWfjNoqc+sRPOYE1xgxbCLiESzmxkR83sC3bMkWhTeSjjLnQOaUinSHOoUgzbXonA/g9wWhvM5pLaH/3EgaijvjLVK+uGAZN7k8keWexYdfvH5PabqlVLiivyEKvjA42JaSMRjk4oN/U1UOLjL/0pcszT+j0WzqKTp4zuCRN9dH93ldbinEnH3rUpn7FGW4CdAluYptQOWZZ40bu5gyFMpkbKAwOlSItSMH0Xp2GX6l0EU0gIbgPIf0pGNoLhDEvM0VkUidNchNabJy8uHxY0rbce8TrB/b7ZhNbzC1Vi7QPVTplAq2LJufBcFeOLobm+m/Oo2Jd5lq70rVb5y2/YSXjUUzOwpIbhKoHQr9hxVgqgcqptFB3Fx6eRlR2LhWbbmDhbV70MX1ICSODnSf/vq7GvGauRaFoEJi+MrHswWIOqDfoBZxmver5AXFHWc2KrVYot09Gblaqpcu6zB1GAz6GCICBJQsvN5sTHts9p46UHfkIdjc78FcZPSpkLabCS+9+Kd7YmqMtH6/7ImlSE+Vo6yXl3SM6YUgVFploomUNmIM0JI+8VhDg8XQ2ZpX+AcAS2LpUi85PewZNpr2ppJgoKR30dJECHADRFsDS8Vg0vDgMJAzJtkcxTLIK8mQ7oZJa5p6eyTHuniaESLGhzaN7PaNpmhbty35oPMWVEKoswmFDwqHzxDxU94QPuEAXQvJwvOQK2quAj3v1zld2jnZG6nNjU62zF2whUABMzidgvKothTHOktBLAgRrxNY7OR3PfVttw4P+AEZ8ec2kcXNg9OKgue0dta9ZyfhPY9A29ahenVHObEABLYX/LpKMsPysn/EMJACDB+wgWME0w92rfbm0fs0PG66c8AaSOiUr4hP+MU1OMX1OvGP6pXValJ/iX41Wfsn5Yd2U3i3Kyxp8kjqdJyrXQ9yYUg1EFJwKZbuvGoJwOHjzy/rRNQn8uBBayg00rmzKjOL3GMLoKANpfiL4stZYuysDhzt6nd3Upbl3TshBnU3JXqpVMXabMzN5F0/Hu92H/zbU/9pPIBS0ZQc03GvdyUQiC6vWtqfWbg6N1rbmsq76023Lt1ZuZhrhrGb8/s7Togsokg6+8HXOD3X6ZdIc8eWR52GLsHYz6eWFIy4J2zhJ3W5iW7wquhuarq4NWrRyOKHaKaGsfybPP2MiRVUIy+9PI91vufUWzeaYjwq5USO/lO/KmT4SZGGcPMA6uDk6wEa3Xz6cMKyW8soIRlOXetezrnN4QvQzPsKQqygXYoBiQQM2yRU52WRZ6wVIMxMF/lTWEtXdBLYPyY2KO4CkbqBGwyV89gzCZV0Im6TwkcUU4C5LHXu6b3C6SdE/sY7eMgAfHOR2q2287bTufcn0kKvOtzzOPNsEMzqD245HKuPchT/ZU4No7ndnKdREcs+f6R2u0/7Mj5Lh1J1SLHuC1nu6oUNpgtJASV/42CwzdjoY2Wg8t9BdgDzNADcUYgZ8XWdbJLSVltWcDQHaQIV8KjPIwemP5eF3AhrU2WjySb4R3EJlS4SyegCVdwVTaTAZp0BqKpKlpnnIgTaKoolNV1kE6hRo5hjuwX+ZAw5CTaczyNXfyEyjqwnkWFGP963hZvhH9M3a/fDiH31bUF4C+wUkSHOJukZ+7yByvCgSAayDmm/oTY9ViMI75F8ORTdHbFpkvon7f9QI3eofhMSsCvPvqCVHZbE3GHwhz7KHmTziXPRZQRHpA57oAnc4jb6A6RduM4isA/fEgiAzwn6n7osi8ajDoH5v9KTW2dFAS7MlLseHDChtvwxnHew7o53sxySmpiMS/GINs8KrSy8c28360xXY5ojJ+ECweVoNzboqqc7ihCQPW7y4ta3Wd5/OYxt4BhmsRvLSb1Lr1oa/qm0bxoEQ/H71wN/gpUNEG0u+qbZucstxKGCE6uPgE+t+Ozx7Hskati39DboQTssP9RuPbN1qS9kaSJVP07rINa+L+uzgTZE3s8y5guMy5GPjdTsTaB5wmbp9OOonSHltd6SXDRUnA10tRozMgysWR4prcSYg65GpZ2V5dbOsw2V6wC5fp4Rbb++6mEWfdACDQOW2G6q2h2HfeZriAiGvMRJoslySe9TcE27gKzMYLw90TB5Qo/LNM6QX4YOedN8xjc5wLVrvVzSsQ5bae0NjgPG2ZHxco5cdU3KEJN6oQMAjQ/QcXYSkdNoPE/dtxqs8OF3Ui0itLrj7tHpZyVjl82Pt0+vv6C/OpNc/BL4RTUpDEaSZWaj+KGdQHtIQAtbYZQDHQ/+Jx66a8EOhLFEW3ZmRMvftGCGx3Dzi60zIVg6vRddovHKnglKiJDYYwpzGx5DS+ZBenhNvsAlB5WEZ1fwwyLh+GG2WNovkO9dvLvSzGrnWio3WzKzgu6jzWqSu6baYuPE2xh4AFCHSaBad9wqsDnIttBcR77bPbuVxSlRTuWXufoDtCHwwwdPW+9vH0Dgn5Kt6GMhaWA5fPS21FT+YYLfpsj6qm7omSvg6SbV67bo0H98mYSmUfn4170DQR89342cvcX4m2DQx8+WJhM1Dvwoy+yEyraPFz6+pdXDsWZbSAOZ2tsc2NHa2ldQPeff0+ptoSUVMXkuVA60BGAWikTGOUjtc8W4O9VJPjyhiX0pwbHtuLgflITaiWt9HEck99UXCCCYlWwS/1Zp3MAXObJH1yUbsyU1w5NaQWjAvkL0dGbOxp0pHSKkk8JvOF8nkH/uavUwJ+b7Lr54r2ERURcILdQsHCpI3WMHLoWiiV664KnK5TFHWt5NeJUw13xowfc7F/99IcPDRcgGI4Wn1RrtHeczjq3AuczZiLXo6nK1aegaGhWP1Pw56de5d4zy2q4sPyJ2IN3+hhp42Q/FSY3drn7A/zsbtu37E17PLJnITB1PhZ8HYhJfd01Ad7NdzLg32nSFN0OAVmoW4XMxoBpdird4Oys6+SNnhTEXkCrwEZ1QTTg+YivNSXN3JCs9NF/Eimgj+S1i8OYBYV/cJqteQC1aP/tG4TBOlfgmZi7HBgssnkeUU4wuT6/m9CKn++J5em9lbJoPs3kOSZ5rmEdNOocYy2asSLnszbnFXoSpn4G14cYSzIsKr+kAv99eJiZ+vPYnRcDvEl+ws+oFAbaqkFM5OVcKZ2lJ574ToIvqdMDNs8nVn1FlE99oF5UDtA7ncLeq7QO8/XbbwR3NTclbg7bzV9TmorYsP+V8a94Ty9iogkIwhQXIYrMgeq2hxg/Q2uorKPICQv0NSHK2323rjpMqFsr030qdZp+6gL8mkMwL0roLA9QHj1c0jgOqvDF0QsdNN/0WzNRbOVcqEmXLW63sEKB8l7X3iLnXixt+EOCMOlK8CKenvDPpUr3j4aUSyAPJst8GxzRmXH/3obVhxobBKw4GJjkI3NxfWs2tsM9pC0U2gFKTzyybelB0l93Js+ZatVXv6lSHqw6xrYPxnfIy+W2+iSTjafppw9kezlOWwSKs7igKgf4Y7l/dKEkS5B7pN/hzbFN8IGyRH7gYVbXPQQQ7e5afh+IFEB1BwyhE+lzES5h7i8g3JhZYuKsTNtmd4dEkP0EUGmz7gMiM5YwPJ/uHDQPOxloF/3GkNBPfaLOnjTXk+kJiuXaBLT3iXLzNPx4CZtIEEtcStVTbft8UjEgUqZzjEKqvJBIYcsPr+kVcsZM08C4iAJyP8igpUKlEcHVt1IhckwcH+OKpc22UVVtwBljMHwkoDG60Vc1vGA6Hpq3ABRY6IgFp33nL2kVWL7HrbhyCd3uu7QTckIFynx3VLGicGnKuFDCC+7r4NKnO/He85VKq+HmzEhiYQ5v1wpIyewDEVV1V3xce1+6Tk3owi6m51kxC9lrSV80E2Q+50P5GqcHouDbhYMJbpGkgo0qwol9JvaPFyxwv++8nZnLpemY9sMPRMVLCRAivtFfT/Q3TltD39HiodXgeFIrnv5XK9pwyO7RC2Hi4z8eCbRVsXR6fMckRQSnD6rVsvV/qoSwXQUHTykNeC82TSQSvxe9fc5sRouJ74MmhQhDMSJgK6KYgneKlzIIOiY71ZMeMfYsL0rYJY4eIL4Nv68qgCp46yMcDm1Eb92+wq3eZtf2EPUnbmjvGFoWUdSNJhZ1j1NnGiOYUwkIXLZRHN46gGnHnQmyeSuHBxy1X/GHtSx6dx0QWaRSbel1ZiAtMO3kwTZiDsuWZF/LOzwAvjX9yF2WnyJjaPOXD0htREi3drWXcdCUa2gcyJ2N4bzN2/2z3WyP9RC8rZkxg+L0ZATpiFZ205S/UZ+0w16M5j5/aXdC1dz8ZZrMwC7WcxQqphRsoJgFjn6CNGkoZY6Sijcx2vQ9mBR9z/Q3Xn5s1ORy3blhmnF87MO+OkoDDc73m+QoO/2CYVfIZFglV1De1UOJIiP1lAYXt6awBMJLDZ+PyvoEshFFTLSk7YfcgvPdoZfUeDjGc+m51dpj6AlaF1GChweIMXslIo9yap6IHcl/9sBkScbQUjsRJph7w5luQZAqjeuEg358+9OvfA0ToOP3vc1MALBm8GL8EmPKSnzqHrxbewa5MsBdxD4/1k18rKnu0IFzzl68xceJqQDeDWqJ+Nq+FN5ixGPUurayNoS/Dz3bb5r1zlbyW19FFBX9w9aHLfkKVEiKRD8fVqz8IvhLYCkFyThFYRf/O+QrF+u5A4X9g+DUF7X8eZRWYh5huJH7jVHBnYUg463+qGK4vfx6PMw8yR0Ld/xcyb5QfnloVOBellRqPOEUF2fdcSOE1fA+PcNBcyx3UcQkNZs7LTpk9UG/i9Tobo3zqpOLn+dloL3s8jrYDwv8KAQKIwAw5yWLGIHPBvuCOB+TUWJ0kJjm6gugOGG+bMgk4c1fgppbY0QFvwikeuR/QSYUBEpLbrXRT/kNG6q/Hnv5WygWXrSPBVKwgiQhyFYHHRq+2TLZbmVexy1ISsstTLVKFMC2mf0YC/JN1uUpw9xIQ3XEy87Y2OdACXeKsJLOUF1m9WY1mHTDbSVGWxwAeauq3UvfXf9cavzu5+fvs8gm5wlcMUgWuxNSCfjv4W5tHdlhRyM2Uj5B4dDEJ/hmpGy1M9NhoZAeDGI2P/4R8s1QdNgAEUcTDpHJiUNUpqd4v1zx/7j3zGIchN3J22Kb9QtMN9UtKLuXquX2Q+W8ww7hXF0T4M1euZ26vRyTlBtf6YLqGgjLVo3fYw8mT7fBB97K7uxLhm5MhLNjSMuoT7oAZQ96xPMq3AlbkdE5O/xv1S6+M972aOoDI5acDLa2Ds3PvM4wk/KT4hddtcwVYu/UArhSJkmleX8xpEU4GouM81gt8Zfdnz7rTOX5J1qJ8A2zGwdktCAKCQVZh1TBKf6eYQHdk1aInVksE0JtpM9/TiJqlFaWHIiea+aC7eiy3IMng3/1djrjY5jSSel2uzf6NwT5CRccHxbFad0QqZ5b6AE9UCMAzO7/c9aHBz1Qhz0/QqMOyuvXppjKNc3QGgQONy1najPPwsj+RkH/uCu18WHbjfIxNVa8GgGVA2rqCKp4qVnGt1Gvf3SpXuKAqSFRKpXX2FVyF4RjgaJz44LvxjC4AoohqSPUUCy/Dgu86SAP/sz/UCWADlDY2iRhpeA7suOXfUEz0ae3q63UY6stycEEaJjnwxLwIvqRo1sNhLM7nqBnACbGACV1S6/DWaOzrITN1WKI2zW0E52mHuPSmScJA4ep1iB6r7GY6sbdsMA5Dqyeocqzs8/+TZz9e0gbmUSsjXjz1FygoRyd6J3lDUPEzpIILORgZIdfrvbwMALCdyOeIn70uZkLCTHjYtWgOTdgCKHPPZwcfsCX1l+PkJy3jN1dWEMBbxohAnUaVEUE1LI+XTAc2bhGBD/OOli6SQHcQc1mAzIZQMXHKT7l9JFASrvk5eEvjOQweaoH0Z4h0a41wjBgqWIAm4UjysbUqVkM8xfqVIYXcqXEsDokqcC6Y8iDBVeSptmwct0JtNFAr48b4cBDMpUfiv2tGirzADaZdxKUP2R7S7zeOhlJvDvNeexKzph+077ISENSO67wxviNPZ2wM6k+n0HdSVoT12/eX6fyYawvuCAgYbjZVpoF3JdXeNXB9MZtsliQiIS14czo8Ba02gErD2UFkSswaFIHzugWyLWo0NF0yQHitEVlaiJ5/0gJZqpJmDqeTtZHfJV89PE/e5bYCqbLIpyw74FwpXNgROii6bP3XWsiTLLOveCMDk8yct7oegRdepL6QNAFY+QcthrUciNbDUHdFq4isxbIGNlYbHxXolJM5IyiZTMmpEHnz7wfhPvY1dRz7r4EldEiDN36N8aDSfhm6ewQVVgy/R4G2T8eBduSjD1g/+1Ez7yG7vS6Oe4cgh9tMExDnhKlNKBDGb9Q+MnGwy33eZ1aJUx4IjKTmlweLoVDH1neEulkUpQW/5igIXAgKFshmNPuPV/SoLc6zgcAYIMvkkdkcnpNR4PktgzeBQBSlBbR7ocNFJPSNTFS8/Xtjtas5QxUHWJc+DcnNp0AE10RjVAxvHNZHd8/7IoV6/NWckaSH+P0RYjjGQIVEUfiBDHqI2dl3Id+NpYAxSLyMfCbphCHdZVZ9SHk7SJx+kptclLPmVpZQ76U0cCQzrICoEUeHB3h19Nj7ikHQHZIzpoWwvoA1KrmGCQEB5WR0dJ2jU4TMZQEoXyZnP/2Ms+6zwDKjas7QdYtqEPHEISPZbH/xC2WF3Uvl+xAPqCIb5E3sJcq5u4gnMYxrdtapUWcijQdqjVwQFxCZEGfJ4F3yq7T1MykjcDS63NlR2FVEj3yIDzj/goCEmwjlQYH5AUMCCRqdU+AdTR3QEPXjzildRkAiauFQuGWbIzwvXgEeCxjUG/FS9NmZX7m2b8Tn2zZV34kKTeZdR+EECGG+hlU4p1BMcrzyjPaj9EgHZrxSnmONUZKQnITRLYzDhoXrqvwg2rOC32h67ZyRRGFqgddtfK42XCEmVHJbBYwO03uDzGQee15+v1bdSYhv7MSISRMsleHn879H1/AoKVi2KjsPtqhc84RvfNJdOj8XzwhdHuz2NXZLM+o7Vqij7Bzu6J92RmSALDN6xe/B1tIAN4qA2hz7TvzHxfGojYLzjbGuTkuXIzADNm4gUPouj1wvGb5HT4bpZaX+jtv/eCQcwBZKpcdYidK3qx3rtYT5llFlFRMWbcf4odXjXghRXRvSymVpcsa7RcdKbG+Ej2OMknm0wKKMESPOVGpMrGYnDvioyxSjpfyJl7W/ahgafA6cBWjHFJKqWs1T426jBcmpjg2rhFeW7d7F9OSLTWZWxXNccBAJ384pXb2S73vsNePMAR9jC3k8KjhxqQdwl9pYYpM4GDFDO0pBgf9e5BstKIngPcmmVDNs7ErGwhcvz3P8BfTfvJmTvsoELjCE7IOixnI9fi5mnmubc1ExWih+KvL8B6Q8ESOWJFXOyyaZC/3fzTI2Rh7CaN9jOkD5+G4nkfK6WQ4m3iw95NT0rdMBLWMyCywi/f8tkGfuQinAf9TJs6x4NFikHpIDxU08Z7j6cAITpOVGRqWdqD8+I9og6SHukjMFruc8HCxqUbFULiDJnh+cw7An+difpFg0ptAKKvqp/Y+AFsTEv2rXvRP/Bat2UarW7lZgfbuHeC4fURUY5xlcGTjqTL1TbEw91XnyRbTOk4OrTa7KNvLnGRoF/b9T8L8kfxs91c6sYok8RoixqRG79v0W4wEX4Z7HMVm2TUaiszGetRtVPEhL3JkTAJO/KB/zBZs5FhhIbk4YoG66M9RFK0DHcrQJjEsQb44Gn6HfmdY1HD9VFqHT460epuTM9G2Cplbt1tShDoSk3705Ts9X5m5zTUKsVZPJvaaPyfiwze9+88xL0h0kqWOdKdx80kwyU0wMNBLXB/6wI91yw1WsLeWRcteecJO8jPUXBlbC5RaNEvYPQSjJsRt92xSvi7dq6358U56ek2pcGMOsxBPKbR0JHyW9N2wqDJu3/AStueAEn0R7h07RRjFBS0cHgE3BVXMdmjU3QRcNQoDXV/xYwGVagsWmtE9QDN+9JR+stq5zz9QfLrHzVcb3csRtQiuiLsns/wf3tM3RUqFbfjqWmU5O6u3Yzc98QI0AU+3u1GpWWJS9Z76M9ahwRHKXly+Flpczd4zg6wA0IebuujluAadwGBIwouIl5NYG/uvcFsloYwL97j8vw1a37YN2BUNhHlG8pVD3zG1Z5ofMMTE95ZcolX9ioWrOfBO9YyoZrlk45jABBVIdzK75h93D07P91Ap7j++qQbxRv7WFYVfFuue6Lhgg3uZv8th29G7N+lYCqWweKAIdXJdIQxxjSybvtnARpeKZU852YeumzInMXnHjFcKw+ehOv9uDK8PV6XmTxZ9/28+bpOSSb2T1wDn4likbqgUUYM3MDg4VzfD3YLkKP8jT5pel7+TEtEyBuUVb4ziG9xLGtH5sdFznrX3FtPuyTS1DJvE74oPP8E8srbYIXcm+XB24iEZ3+Uh4scEry9tsNFhLqJZDxeQYHhP1FtuGA160Jmt+GMY/2c5DOlvm2axrFiNjBf1BPmsl9gYTk+5f7D1lpLGn7rPdAhGI8uWiX6iZ1OLdx83sjgXsj1c4XOmov3sujUGbsV7TagLa1c0xW45SAloP94cBFypXR41Jhn6G3UB9K9DoDfSmaCK8QNnJbxZCIQ5PUAzmzcSF1xa9d5+K8AsBeYLPq62o38TzFdYAezU3vdDS4K329hTPFbBx4zPEZQ474rcQg6LKINL9hP7f/8XnlXK6ZiES2M+5VQPQEoSSiNJifgUG3szdqEVDEI6Yx5R8dgEfC7lKEJaaRhIq0fNgF3//6MeNBeeBV3tZ+IK1NRgxAL4Ga8eq/lhC1NDt4C6OXSaorAypiUKd0jwhHPsVWep9jnncsOik4ECW6A5QtnA/MG/tBLHYI6Ryf8fNdvUSgpFkpPD8I4Nt83CBi+WenXtwo7Bvey/RHippcKRWJ6di2QNF6fr8CmIqT27Nkf7n45D6T35+ph8K0sOuTNKKlunYsq8IYxtoXBXVZUf33grPAwBMwZXHvktxAjxQaXWE0kOHX+qKPl7MbKD6VaoHpic9r+rbTV+XtKlDbBblLPcY+rW/YWPNjyKsjGsrPSw8Qe3ahcrCf2qEUEwudTwND2W+L1AW0/ZudXt77gpVOqEe9sWwBKR0M8HDR++8IiPJydKJDKN0RU1ZmI89IPjQ/V5qbxOgr+s86dt4lWajLQ9mDu1za/4UOTpUSW8PODUux9cl0088QpZ+k+L8I5sYXg0wBbQZ6nBQalNZ9KpoNTLHh4cZcWzKQYVuNC+k1Dx8i5dD456stuFrlzMJ41kmkZQgfu+0Aeey+vyMn9MYmO2JpJHBEslO3ni6YzB2caUvN03qY/OexUkXIYvfCqIVO/LxR8wYRSq/USCLzs0fzfdlJSopcnMGUdQNyVrU29Yfbu4m9MGvepmM2B/x0Z0sfGAyCxRbuMBWB1ZARECoa57JsNTz61DgGmJlP45Km4gEEU100Baqj1NjA0itQrCZbYcI1rjA4z6pwR9aGY24oEEa05zldwD6XxKoCGeYi9Gsbr1W41FBZrakFj56jULPx2Zo3GK0KmP1wkf3XiTJppkjFAgDeqA5CMR/CCu+Ms8o/tI3jkqawQlhK/c3tFNzxZEH9kAZSrFTaDUZR39HDSKRjxv58TUqJ+Te+rZQ63yg7fHLftF0d4iytFoD04TN4ATMWi4uIDXKoo4z/ZhoDw6w6NnC/BP8NQWUm8G46oaO6XvGaBg3N9BBitC4bBhGe1PHcVkPfIevefnJoOEgtyMe8NdURHLY2sCT4SQrGuZmeTHWjnMEHlS2drNc6T7xDDjLJozIjjTw2KsZzaoLk0uOvvCy0hUtHLvREfXSQupwf3nnKclERFlgYQijFsOcCWQ5VG8rLzAdlEveOe7gsPl2SFf9HPN5XFPOnzqwrVIUJPdhaP4ANZ/wop6mwZ3TuCCsa953v7DKc9h31F0tVgcJOTMNyjA75Hz6nIRzROaL6JG4d7ApwVrPWI24lesw/o0hkHvXaiR4T3GY8XM6O45W1/SaPcyv/Z8wV35h5wqnDFNHV6FVJJWk80D4ZwAt+EXb8C9ngqbNdOWMJqhEJ7Vto/SvLjnzUFGzncnI+jRH/o/pE0GWfA0TzBRjZdU8ueP9BrbVkBjiceGe/r+AoY+51xDCoOdojPQyBSzRm/qrnHskSD7dWAZ6RqV2tjz0c4cuqNPGnpcNtSkGl1xsTmYvpp3bIic6UEcah0fm9VPhi4JXMVsYBshDPTX+PnJuFX4eLLXRjoC9hsgrs0/If/y5KkWA15fEs+SineQ9UzUUI5qmjmNWaLSGZj+bBp/8GC5SnSGTEM7FP7a2UiGaLs08lIxBfz0cmKaKFyTxzEmXwG1ZeFe1val0NGOAoMUZyQk+Ve7G0lp2eZmSFEaHYkQZdotkhIQvdw/hp1PqxvVuAeJGlVGUadYda2s5EzJxvgg2iyWGXgr8iFbUYH75Cd1zPq1bAjDHGkg19blRS7ecZPbLYR/3XbvGNRvzByz5z/LtHF/SuhMIzSJnd/hz9tN9j3Zx4x85Jg8m06rdli0u4JKGB8RkJqueZHViAntU3+Wqkp44hXemOCCGHxca0C8kuEN6D58yOWYJVkYzHndXcnaBSZD9Yg/tgACFlAqZnZP8Ufp4ymNWsSTy0SUYJmj7Lx+OgrPFcnRQD7N1F5GVDrxl/lE/UElLURjXtgT+3pFS2lC8Z8YiLix8NQhxap0GADFvbc3p6vmfMKlGuRzHTahkf752CLZs5ceeLao7JjXaxrCUy97KX73cWCzJvVAYrxGRGGDVjrEihbmJhkRrhASR6XK/3EgSKu1IpHALRPrxLAVw4qPy446oryoANFecR3X3+rb6gpJUQ8TQ1QATpUvPeiMsTpSzRyb8lC0AKS0QZE8Irck0XVBR1FXH9AosBiynwaD3kJwf2UYqPs5a1nMFh7G6keWjZBscZvS6sEmrFRA9wyHt25S3aoMnkbuWf8KW0oSvwwM/ATEM/oaZGAfL46lKHqji6myC8UNws+F1J6+potRWm8/4eulWENgeZ+tjDg9YR1UGpq96QYeVhOjVTSjBBEvncyJZBDPRf93XLNHewBspo2ccOlnmYBN9roTxL/TqHu/uk+o+C4Wq2H4p3MQx3/GkJMBFPaJ9SY93N6bPcogrzOw9ofQpCdiLZkhl1vNQLNI2RRcgyLNqc46bb/gv9+l/buLzeTkQZI3eeGEAZg4kY2AZKmX2NKM8Q8FXACB1K8P4Y4B93RaHb20ZmuPjvzEweaiMfcwdcclYX9Sc2NR682exUDWG3kHPopeiHUgKCpARHwcI+2VrTpyJCaoJiPM1I6pzapCIUYQ4J667V1thu2crDg2anTw+KJExEc7fhRXy/K6hu7/0C876mp+GnqptPvR5EXV1/v/kJpsbx1YLoMoNF9PCArkuGR39oiVwSYV2C441pOoR4W0YIS+oYU2V2MEsuwCH3Z/CTj7YqmLvWvPuC3MXz00NlnE+BIYrBqyi9KMPmtvGNSpNlVX05mLyvpRigRLS0oNWj90figd1o+lR+belMcqF1GLvmZmrNHU3Fax1jvVhikChxowECHEQ/FcIhkfbBZOovZ+j0t841k2NZ3JCDRicxG253aTGSlgSPtsV/dj7+zi4NWiM1OEV/Vl6xjaafqNcDnLh+luwy7zgveNUTt3Qy+n6ybUgEylaU8xhcca3nBAM/LRM33dydBQRuLhIM+luaDR3GIP1V71n5QjYDcTnlGvRrWX2JPK8e7YzhoHdN+wYZ5YHoipfa608rkaQSYb8W0uwNw/4CLgbEcFSXJMkerq66Krs9eNxR5Ql9T0Wq2OICOscavn8vPc1JodcUXfYf2eSrc4GAhWje/KlyLeAFyE3ZIcgXHwRHpHO6Evva4S7HWR+ADR/Ky/b+4I5eT6VxvBgMV+Q6UU27u1YkHfkJ3PRmfvSke7QWwECFSGOgTtrF3DkKOo+IAnrvHzLZRCB09biY3Xeax4etRCNsQuTlipDPmkCsfjs94SPuV9mtiW4ViND98YBr+zKz5pbR2YfG1T8/YhOVs93wgschdzGZOmheXsvPzOBwiosoLA/eKMD+qj0/JBbD/PMDxPQDuDwTeF360qZqTpEhGF/5U2TZyBwDqW0/UJrnzjPChQVcGqSQLD7a/AdE9ZsgS4W3holzNooenJ1n2l/JHaJgncQZrAEuLNFKkJeQ5/CSW6VXSJzz1+R6AsCPULPrwJNJ60XyY8H06NK85T78o26b963sjH5FGONu1vo0vOS2i460M06Ma6cumNeS+uUSiAjZJkFuKIlKgOz7+UPKXvLiPYODzjz3lscEAf/CawcPCh4T6xxJpHGg6ptZjziJQo1CTI03vhPqZqZGjeZBs81C0N1B9QS2Bk483Y8mUs9/XK3PSmuYUZpOz17GKPH1SwfFu63XsWwrzFVHgbY1SkYeRSL13dHrC3lBaOw34ntbhNpoBWPtnhtdppJxPIBJMCSZK7fyMK0u0dZcUui0niowSrebwGapmiIw8Z4P7xaFAVAI2s3UqlnHDCszNU+q/IzPYMMlGLJkzlyT6asb6KWAirpHj+vZoWUWI6QLHcyQgH+ANeCfBH/uKfIjOcehEjirp3ZgRI6pEoO9tIFs4FAGqigbl8XNjOYGMOBibjMWPTzkZI4skI42du+kc7ZlgYRjCBDYFrbhlYSzAXxv8/ib2PLxkC73yFxFzCnpeP8+i/dzx6sAPjfg+V98hWLwxSXAZMltA9AKPKYKrkCmKYP4ts0+ANaKlRz4irOOmKRPanOVkABC3HuFftKsz3Rf932VnFriGiKZw4o++KFAVFum4JXQ1razXBkEAnSs/tYgFwbt0TEq0LoMVuGGAvYmsZUvH5PwYc6ZAUk2wR++gj0TR5F3Nh3foU161NSewo97Xa8SKQqao2c5aq+4Do5Z5G5O7U/qnZekmX3Ltwolof+4pJjhDIPzlVxJvItaadLTxKaNwI/cQIx1nV8usO+9X1dTEGZykawHuYXYpT1nv1pQ42yrODPx1TmWxUR31Hqkp0JYWgrT3yQSks9iO7jxotKTYf4qBwpp020gW1SRRacNKS63v2tYSjFHDqe2k2XKwqZ64FcseVeRhcy4M6J4KA3uwsbpS37/dSgqETt7dtifGOrmiYh1sxEKi9eyLXJ7eHWK5kvMe9b8/om7h3xk932zOSu1gBy90Pkj0kkmNflXGmJSbyVWXBDaDyfuvwRQLcihrc0sxNzr1FBlWHZLCcUJKT0zuMvNrLB3QiueRsIH1UgqYjsqCar87b1RxoxydfejaZgW8EEvI0uO+7Dv5OCYUvNpSrJ5TFrlBLpHdEcbloEpKrhcpQPVb1OqJHYm+2uiPBQDUHa+ijwrRRUrFOn+wQHPfX5yaLQ5NXrHUN8wqoIFXKkBWljskzDS7AINFc0T25PH0tlHgOdBovBqaaQyRiN2Men0hTrR4a1nOqYAubNvGDy+MLdebRGqrDjDCv7BGTYQ/IDw4g6zXDx69odbChzrqXGEZ1DVpZr4NMnBhX6MflV/vxaHNu6JiR2csa6gcTnPVzNQKEOT1fjaZ1hXt7pBz9+gZo8Ss1qbnjQMGKGSF6wiBHH8dBhW5qP9LGheDGLr6LARIVl9DF7UiRuJoqpc89ummR39NMhitdc53i2HyImAoxYAM4PAOZWyXmkBbCJPQtsLeYVRCundAhhbWbnIfxMW8GCBAQliifdukhpg+YFdYdOCK5iE9h2Z938r1OPIahp2iC3osLTPxyai3Vzse1EOH2ZOadlh8OKDpjVKNpdTBLXCF3gkENUpH94Ey8Lu7CgiWT/8ru5DKdzHLvGa9PgSn8tUe7tvd0bDYvyCPc5xF5Pk4GrAJEo1ucG5WLAYA0b2t8hGW7Tc1jojyO/jYQALx4zorlYHotFeg9xDsM8OpOwf3K4svqF9USPKM7E9uDoBpR3SipsiD/48JFV826BOP7Ay2o5RGuni6G6PrZLOPyqxyu9lmQzbVZKpMnNlllKwXSOUJmcKmMQ1u06T9lquF70JddSIlNcAdTfNIeNDLGIkTCzBG4jaOVnwlNrkfhPbwkCzkFfGyYSYqmYpX1Ew6oZChD7Qex4olQe9NzsERLTQ7aDPIY6TTeMPIpVG3n2sujLq16GrHDofVLo3RqqKVl9DF5CKsL5pNo71zwpZmP6urXw4U2Mdef1qaqyRJgfV3MfV0Zaj6wbPFAjVNJmc6AOdvrQJtsjyA6rDEgk9Cg6va66gSQreLUyGxX50dtf59mV1SItM7vm/1D7Bc3EviydYp/XoVfCh5S5hJC8EN1gSMQ2Pei+cyKEQSZyeY3DB5aAo0ydGmIwF51lI7eDtlY6iHctbvcifR5PaLFVvNmKpfYz440DpktshSAWsZD/Fy6yOOGyagbnAUqxJD1pZl3FYJsO7A3T47tLF5JjpfqswKj820z++aYrHvx3FemC0u0pH0tDVw+waHQipIUzd5k/IA2AzzVzr1LKUMO7R+zsMwgNJ9udMrERJ4JDqW4QTMrKWyXwT07Tqr19QZGFqN1vtFQq6kJa4hLfavJdEGu0dJiCR2mfSPu1HjTgGFwrgn5wySsbT4/tRi/GXSUvyAoB7eLREFmfxaiqXyUBt5Gr5yrlVKmvDyLuyae/v76jzS6WeMvzJGV+bkHSZ1Ra4ke6B2zJhvv0kI25kU/GnfdH13qXyWieDg0WgcKJsPVy0E8slDAdd2Ep1lfL4MTMxuWGuBH5qK4gEhdbgKGz7P3ZwTlQHkqWp4fMEw/ZsxUlQjC4NnNWu3IZzCegWehlGoH/pUORtQbqi/o4UkGvVQAk9O3p10rcDUZ8H465opnhmQZ/O4g+NqCpIm47LS7zW/sjQyCAvkEWZE7kbXRNLAYyMO3j3UAFI0iuZbSLdPKW7XwXZ83DZyBiIfmQ50OJycrvpoVBX0VXbhcbNoTGDJasjYDzSfNQzuGSshggrB3EefxLRdT5nNnMdhqr9QudL9ssdqIwf3QqXwsOfcXtZdYnCZ5gOqNa7SYEHitrczJ5Iw1E00c1n03O1pyIGayse/Ykwx/2Kl7p6idkJDXr9jCUJ4WU4Gvus5fvO7awnF7SCN0URqpSLu3j6eS/0jBgxunbW+cNy2qHNyeJRYxCUfHP6b9wGzAdXczZZ12bfBXGD4EF+zEF8P4niyLMkOrnL6dZMe+NBKwh4ZMWa2TzTIiKPpN/qfSqYM+HuXaSTBxhxJpSUXJ5UNwai3+RaDDuAFPLyLFxk6QTGU+R4cVbOiUTVq+OXjV0Eb4XyddT9FZ+1BBPqb2Aw8a4lxpZ6XOZv+8ZhPUbFhMF+2wwkFmReTaJb++skLzzLRkZdgPLMv6KZra58xpjML/diYaxBbhl19AhOxuQ9RaSi1C+orpM9Q7aFlxpWaVJYTdqoASSJZwiAubrkJ4T4IAwKX+Dh12GhKYgd2zCvhAMIiyTAJWKA/JKApTAMmmPkgvPcRLYbZiVVJwN3VkUwx1stlzK1Lb8/v4r8tlVFwT1ZHiJir5PnZhySTaUb31WCzdNbYop+s9VdsHOBfqgSAesbeQUj+TVmWnIM6w+VcjQw8xRSDn7lxioZwsOBlE/D5P/sazfN6tZqNxJDjF2GNjJxHknTBfifs/7iiaKCCI7s9RqD+N7VvUQ+viaTTVYjsWsWZs//3/5gELPqa8maldefK4hOKJsfPzjszHxD/iY59YzoBpLDc5FGx4Ss7ZDbkoWJVBkmwVLIYQDiER8mjTgq6d++zFDYrMv9SZJVH1SI9SFYSnDCqOSpPkclrPYf5iviwCfz2Cw7/Jm5jynXZehEsugYZBuTOIjvH8OhBFyZ5IOPpgKGfNJvzsJzTwhIW6yrvrZoSUcW0JDs/RqyD4BgRf/cis7U/7HIKryt7uhSQ59jzOY7IL10zS9H/hoPQNXGS/fjvzrQ8cLEJmWt2WJnGOzqWSnHqVjhNyabpBe+GPHWyaYx0oCUKhXh3oEOz0XfJTN27ImJNCPQ3LNe2nHLd3A8SD1jQFZvPOSERekDdy9qRSTADDg2XBh4gbJdrvgsl/CsN6o3FBCsRFEjVC5/l8Rc7MjZyh7isbOjJ5apaRDwJM2ilSM2EmzUrTAgurNUpzn7n1XuD0Guju0nBHXa0sW89ZJprDht3BWzjICb+SQ0oiPVLZQKYJvaWnYtoEFt/iuc3MXl46peJ329ZhVzpUXsuM6Ipyn31LlGhsReGaSrG6PEmCvwWYBzkpuwyjwBm3e6efrqKtN8u5fYuZGQxfAsjbHLxKLO9GGT9lZaVvnB76ERW6B0Ujd7kp/GKze862n5QXxehF38Lw1VNJ4TzzL9vEhfPCUE3RIVHBnHUqtunp4RfvjJY52gU/kVE5ZWWA2m1kcqZ9sbadXYA3QJDX0dioEFhXm3Lfqqal0GaNEvbeFS36b/MyV3Ya2/ngQ8j1Nd59prfdY1ko/1ocVfG9Fb4rv8+OKZGwD4Do3QoiLowAVcHbr+cqbX6yFGcphDo7moK1rupr+LBraMwrTMBtD8B8b2B/VWvLfMCJOS+cvox7R5/Hjc6iGSqk56o8Z+IBKVzPHdUvQiI013ZIH0J9CiUDMswcQK5B53Cvh0JOUVMyIfg592MnsOq5cGAFuBZM8aO9PdgFC/EJAvxP7MPmAmA1cRutQy5mbVjwycF7usfntinotw4im/vFzTdgggWpaEO76SVMjSlVPOyo8VU6m7z9PLFNrBWpkbRImfdUy/npBDjU0OuwpjI+UAc0q4ZZCiQdU7R4wruYrlBr2ISTUKxHLj6ATdSnmFFaeVgwYbrehPHpOZXhEjMi2JOdN4DRsS9Wm7ryu+2+8OtcfPh+wWroOOSXpCk6kowhW7JW3wa16ZY9CnEbBQb1DrcvYlYAWMZUitPd4MB/EQb5sVKqxDE4RveGq52Ymk1M9VwiYlS/+3kUxZNFZrRZNWchhSGdTA2K+PgZDd7lo1prWdVO8WMIe95D1B+txIOKce6ikZ517a2zMySfsMnNRsLpXAEzecAKpgrVti9dBoCY6QWNIwb2H5dY2WvZeDdfc4SLRPjgg+r/ftEmh+ofy05b4LE4svH70zjyLylvoGdabP/QQHFfxC6hhLHTWdp7QcC12P3BryyfKQ95VSoYQYqdCNx9QVIo/+Tbhxg1osRbQZ1Nl4ecGWYweatw9mOnwI4No7JTOTnmdSLJGpgLB6fpkgOWoDzwo5D+r+Kd82WVl5SLL0YrkYWQOop5QUbkhZMopEruTh5IwJ4fopAYvkebrVbfrSyogcc0inY3DRXeuak23qDLfTcB2rR/nJu7aPr3quzwGem+MXsyl9Dlw9nAqHYxMaV7LfYX/MdozphhlKhqCKwf8rfQVM8WzRnDFCeJ3ZsWcM8SoY7jiA6sKrq4Pcw/Kwu2OQSIQnsrDeFfBeXolKfXV8ZYfYLjpIft1heoEB/D/OGLaK8l/kkoQ9XyCzmhsax1scMGUh1Q8LRAM7riB+F7LSd+SKZnDpPrRfOk9Mb5ks0JWG9/RQaKeeFloudFM7Sj3T3/XGs1gBcNVsrcDS0ZQMydNjMG7bCZ//9oGQfygQujtBRxgctkI4NulEVeUe4N+6KLoDePoGkoM+7F7Y+TYFSpeSYUtm3ygQOJXQwkYK5ygx//KA2dO6fa+xB8lsCjbS/RVlva4P2JEFuM3DKcMl3enTrYVB5SFoFRUHeEBey/JumhoaQMFg6miv5O+bc18Rs4a71gxY9T2CQ9OV7akaIW0Hn1JDJjt6HtMHKqk78dee6W7hWhDBL08dUt2hz1Ns7wjGxpPNDG3Hv/h+OWUimiAedVyQwRT1xfDNAPU88j5C4VBbrAIf/hoQzNz5MvkT0OdzkiMx9yv8QxdiadiPfTCTMuGDokBSGgUPuldhVBFNJ83GeFCn5fVJ4DP34+m2A8wDccfQv0vTdlMZ+4h1NcacWS51x4I8FvCbu+7lBqU6Q9bFHZHh0RnL1EAHmzlI9FaKCVcaG6+XWHLLnAU9I7rG90KonkM8aisjQPqK/LVwyb6XGE1MHsQljZu7nSKCTPG3F5ipDrHZz9C8UhWpT+yDyQUc4HGVslB+fGbM0nU9/PYXvENaaPJA20OpYObMzbp3a4vPVcdGg80ckHdFDGnhB62kw+TtbfC6sVlVn6Ex8x1mk8OjRIwMonKTB7HVvFuBN6ZyIgNDDqpqutoQL/05SfkSla+Ye7T8EDnP0bCGIKgZ8NyH5RWIZtucltZAzcEGu6lO0hDaxjZsBWOllmoe8T3a803YIMNfKzvG9nK0NYVwIvsVwtYJknOEwIJFuAxBXC5ld8lkEg0Sygt0fFGxkPlS+TMBl9ClX9ZjI0xudkrkCRqeboskXTMx87YsV3QmNglQR35Gc0nXiZu4GIZB/OJUrAlES1Jj/juGRm42He6sMJmbi7bD3CDWz2CXKKXhMvSennXTzLUFpFJsqZ+9GOQlwZ9VpDpUo3h0rBdk5nw/1S7v53fv/f1YVmR75vgwx2lFCZBz4bYSdpu2K2LBzKisxhjKB3ENpIocPIdp4zv6wJ1dTAHnTx2Ng0EGNuY7HaAVO0RSIIsD4fL8nEWbkQl4m6A9pYbaBeMeHEy0jn9UAwKTcBJ4/Aj1kE5BCoJ0+kX5DUkGccgJweOT3mPrzbx9myr+xiojPY1IAysY+FIpOAgW+5Ar6jrk/11CS5iuWvHrDHo/TAwfUGV0GezCClCQ6Ncc4js5gUGTnnCx0und5bs3fxNArr/4tLaYCTpj1TSXwrAhymlEVHW8mXA5CjWgXsE3VGlCA4UxL8hHB7zxIxBYYIaDufSlvrWnbk9Gzfh4YvRTIVCLlIaaRBiG3ybkrzsr3m+FnHYA8beSZs1fnkAIoM5URaCTdYSrKD8LKViszcBuBOsyqhTePLJ5AVtbelRrKaJvleDaOYBVtwehUqc6o6WmyOmsG7VYGpH/dLS+PM1n49uRR4ld7C5KtsScCvaVdc6tXR1d6ujxBAqRfqxa0sN5puYASnqRFhjk6t45TlK9dzdPVCm2ZWXcfwuv1zZISooBG3yKaW35s6aDC6FQ4St6FZy7f3+5MsU+l/9al+kkGfxTLKvcYRomPDsZazmMO8RHfW0TqTSJdG8Y8XrB2dcexby1qWpPe+67syyKHoetbvLDeWjULUZADkddiskZAb2kbNnpv8olEoYGMY1vB7TioE8k8bImsmfYmCfKOmrImcYnBuIVAJefVbCR0oHDDWFpfw1FJ+zHMhRmgaojToV8dJvMmnSU+3PCOUPwvPcqf5mbnRpo5l0KeldwipH3ggpnx4tJAboxqdQVKvNdLTWoHkPZJgGf553Y0CGREDWg3Uvynwx9uW+w3HiVEqmVOZi9uAZ04Hv73LVHJqDXWgmzWqrd25phZlYCI2ehVHR0qnD0EtiflA1N2NzxkkG318n55ZIkBO4xx20dSapjxmloW979v+XQqrfKyGTZsUY/q+43DWrO4NgUZ9DRRRYCtD/kqRcw2VN4lzo3BfyE4735qsCHGykmt/LylhyhASShuOXwSlq9gjRzsekuprLsdsNRym6+6z14aHJyErH3o+ept6sRNYhwmxwteyu2PaLZ5aJS2aAEnhfePS+9on9rxjY4+jHbB6i54ovjT/Ugnw651nitakmqplGXADPDtZ1PYXBp2kElZCSWEs6K9AfAbbnbHhQiBPQo6r0Dr/15hF7VpNmgiIxtRw4z/NZdjtSI6fM/EKNzkPVMA0NwrHR5gcKAV+CdLae9qEos3WEZ1HsVkSeHssEO5iv8ZKHbolAdSWsfEsakC78iNc5l0MeOUBrEqkpVpSTfgVQ6lErorLKIMjUUPm2EDvw3ypa672JKwd4t3Yuhk2gyXWu1GAsTv3EthjbfOdI3f25nbkIz6Msqo6SIoOsHsgl8nU5hx7FWOPofwkVUurD17m6VqwMxuXR5WV+ObVd1aZihb+qzU/P26RI23OmOtBkTyr9Rpu4gBO3beTsRubEqgRAUSqGHbOhBLI0gAFuDE20hYwM+SE5fFvj1mIOXgSNGACOXy2/fuHY/VtfDQFmpn/UwGN5L6MCIQt03UR0CE7JCoUPhqql0kF2szW/HQ/U+hM/fNV2O05EJNaDiKghuKyehR5gRKESAkJ4oYVuydv4F5F5W9ESHWXBr2ELO7IFNtnz7RCRCCfIg/HyXmbw3vE522cRc4HL0nrFOpbAMeeXKFnDaV+DR90z1XjSSNTJV6IAv2l/MXXMd66ITg4hqYux7i/52wnsZRO1vwq5FWLfjZlu9tYqLz+7p9hA3QHIbpg+3xNy2lJbnapHG1Uz2s+GXjySKVG2HF+fLNb3uoTibqpBGtKkKlw3Ccp6MNAGHUZQw/PKQ8dA9vRz4vn1G8/LCFGSEi7nRxUkTb9LmIO4uPmUAB+eyKUeVYIYUDdUoXWrULTtj2koJ+ntxC1SesyvqYUPzWPuuJPWR0bpPK3I8VwW7tPztDukqObCZsDCvwKhr6VZeo6aTJUWrMw0IwznNdyLehrBWSivPkpOrPn8DOIOx3xj2hnEgbznWvW9Fn5uKn5/yMN6rLOFFb8GFOBHbMIz4Mhi3Yen3DW1u749pZ1CDmcQVG6OHmHvkmbsAt5W1v47kcsSx+4EwIFizh31IeK6j/L0q8YLrA7PpcPTDEslKh3RqKUnwhLtn6vP3Eq0srsAgIb6ovEGVZNx8b7kiwKdLouG2xRIjaE98LUI8tDPblMh0yUaTelDlCMEi9o+hRmZD3MkkC4lBsk2ihvyLKUGFo1JFBV2zU9eJdDx68nRZHBCzfkCVpPpMaQjdpU6+Xg7u8jMtFrsf6mYKxIGbRDlAazVPy1kKsrKA8jINojAia/Zsyw8NXxaXW1LDJnL7xAs9153PFb4uUTEqtX0U8nArzAQc16xs8WDNxXyI0pw06v7GUOjn+PmTjhWUX5kOp1paky/U9IsLfuS99/CSHbCEi2S8F3fA0aBRHPz2nANmrrudOPEciFNy+6ec8ORC+uo1iPNzAiRIaF13tTQHh7TtqBEsNZDfPA0U38y8S3SGMnlmGBFeLxBAfpAIjY5QSj1yJtkSaPUgiQOLmQuaC++cYzWX1QvgBVRO3gNnWWWt+gDgPQa/Rp7nRxyvgdCUpTMEzxIne+rGdoal1MlbF/j3HiWnUrMtZ7cJWGJdWbzny+5xpF+RPOaQohxfmfWfEIAPhcVMYGBaQVhexDSBJtcLD/Po6naofDxKJav29mIiW40yd6iULa1oLerZ9Xx/4n/RBOOTtSCl8I+jc3EVzL3znMljB+/i4okaRseLe16gk2uzRuLhGk1eBs7XiAAryXv8s7Sc5SRw/+LaxyUDIV9ZJMiw1V7fSjiy+3gHN4w4QInYHlh6NQ8yvu8MGmZ3J3yOh/CSgX0f3EqHiTQXFeWxriWDAbokLc3dGyEmD0S6g0aKrXjsLY77OTRKCTJ+KS7hDZCJmspTjVKW66kObmjuW8r8+gMz4Q9HpvOUiRB+Yp1xeElpblV3GlWnebckauTxoYuh3vJxdLNVk4rXFbT9gxiregklGR46Eh1ERQz30K7/Kl4YIbAR6+B+ZCGOkXaC/gmXDNCP7DN/8tUW4TZG6MU8iTzCKgD+D4+zb0e9W42rkRxyNroAgphl+83Uv+tGEKfBm7v/8nQmJo1k+3g4I+usg/2abzB4UkJOIal3Bot/GLFKulrn515Fn94Zj20HvJu5D1Tacxd6Si07VHqefifwP0IWBDJR7q0P9TVM8VyBa1HkVADbutJqzeLUnokuEA4gMhHpBgZlKt7pxusQ8bVhXQ6fWl13//R3P4rM/Nuo9VmhKZtak1rvJe7sU/B/rgFCzrNw1Vo6G92zuEAeIcZwlSA7R1MRIAb2vq+5R13pnFzOVAkE3o7D41+DhjL7Sr029tQutwK+xj0hPcpjDkQrzEA5qCNu8re3cksIqftTJnXD9QJLLDHrtclOw7Exy3AHT3G9cAKeic9Kqnm3vS1X9JofSXRlxzRTbwyMVRv6XBN3efq3+C6mc9IWIJ+fjoLspZ2CsRgJFwbUtvTEbnBoPraCIKBzPBqP9/rOdlSw3TyK82sv5/5Ima3OlrOpHIhoajxJ6HuY1DlOLPFYDg3glZ7uKKX+DtQFKZa0P+S0uGgbrrzIHLJpkR9B+s0HpxZJn2eOW6mTAcosNDgMt7oHzNYWRSuPcki5GULyg2oioNGbD982F3aVCfNsQmga8vgpfvz9TaORfw9WWQ9mvRJpPBSO5+Ilo864dYA7QfVvygJ8ho9U9iGKanh8qWqJ30cIMeQB7uIfptAJWVYBAEEsj8GKypdL7O8VvpFBz2FpX2QKaIRi66n44AMdxKGT2Zk4LeIMp/Hm/0h0u2MbXnS2B9ycJ6ID9cw03p0bduFbyhYdMn6xOaPByeJi/CqMQRQGVe93RLLKiAt3IqTPU8L8D0qZJWFBGX2bb9sucPyuSpg0PyVgyjbXpwEQgPLZGPnER4KYlYl794yBBZt2ZgigKQdEqngDTob06HG3PF+3HacGb//UHn+T3fCziVsRcHMiR79PxehQ827LBW9AaZzVJrVL5iJyFBBh51Xjcv9vMJz6jhrW6PcoaceH8O0yxIqewDrzdFOItaCAHDtOIYui0MN0XdJ11x5IhToVUQMTZYl7zPnSFxp6SWB17SEin/M2lgq0dJQSLkBesPk/5J1yQfUJhFOdL4dJudafe/hzDa2YixerTRRTzbeuNANlIaIUR2TKn9PhQMxuUxhvcNimXIadYguwxiTUvJF7mqbNLq7nnLZsm1pTfhd/Ww1yT5LlurESGuiaEk55Z8rULmdVogU1xJycCKAq5Q3vVGjWN0C8WNNJE2EuK0N/6WT9mJXJA1lwSKzaQ5/wsClLq7rXwEnDb53+NRx8nJV8OQRzUKzVavBZ1SRyyVUtCMxawaH4MvlSdgbU7yCNa1w1/pQpxUDnE+zerEPOr/f/nTj1+OMC51B94lIC8UNn26INfLrvSirPc5umBDoYTLivW+kU4rzGeTnIMFb+Wu2+Zv1fRm03GY9ntet3ZrGVywTHegAMoGoJosL7qFhatKgIyam1y9R1RW4icDRutLC/lfjzYKCabS1OBkGY9NPhWe/AcD5djuR6JUxWdUkLeUwekbgt7Ag/tovPIZ+CVFAJWhfwmT1/XLfX7F0dGvlIl1iSAzCXaVR6Y6JNIevpnfC+4lD5NLwG4YM17xCoFnLixvqyTkyH8bNgnVk+NUBhaHJ9bQXxZdbhaXbEhAsWwVzZ+c5u2u4lpzXbltCx/rUrBfmOVeX4uoXbJ4Kpu2UkxtNQjCIQRJCCNHYiTZ2Fc+yJIwv65k0iOXYS5W4oVBkIpPXv3lyXBylIFFT7iMHVpNGskydYSyOi7t0Q2S6BZkXPW6cz9sV6qAXO3EQArSB+iasNgnpdKbNt3zQLH3rBr/htaZYNOAU0y64T/tbN+Etd+LG7Nw2cOQ1Fro5kglS41ezNAuoGpdBXbO+HVRuncZxA6UCOvPHrWn55CXIJW5TWBDWhyJ/jeblvOWern2CVTrAgh20G9B9+wKKowkl99GdXPovoT0fOqYMXign9yaAsEgD7vP0rWRQiD9aO2hGeRPejb/V0iF4NmGV/X6ysJziOU80lAYCAQggsNzURhxKwCiE57S7+CzlO/nNMwBi2K7NgbiceTkKz1JEGXhukuLZszzxw4Paxja4Tu1V1rn/Sos3yPct2HHDivjiZRQUxVqJ8DXds9KEwmp7/g18aBpwZxYJCYr5mpNWDLYaSCmShNV4ZowETDQRi7RVHrF3c0N7OjJISqIY8sF13YWNcc/cm297Odij/L0DeE9jgcNSpSPDem9X+VCnHZRqULAyyh9uEAwVpinF5DfeWRgXTPlyxc35hb565/nsjZo3BHHiwTkhdBREtJnPu/OS+7buPKwwzqLQ+UOIBW4OTODfRafchX/VGPAGcqAeDqsMUMDzr4mFoPrzim0NB9sed6wKNAhoa1GrbuW4zJ30gpASONS3GuJA9KK35cJ7RramYYTyk/rMAmZwpqEMYw+s9WllnS9XPQFW0q1VMjoh9BgMpZtzjL2GidLWtuqFBTk4sjscvLPOICpkXuLJtooJHqK71f7ZijeYmcaEes1nJZhcrF9OMcDI1yn65Do+zuFl0vUseBOGtyyX5Inuaspull0xKHdQRfBfp0axOgb7u4I+pks0/lbXSkX+/aPw4BuApJwV17vgeC2eYOW4IxGm5rapc9pm9hmJY9kTCE/daWKR9kW+6xOappdfBWU7XIV1UiIj9Akecx5h5iZ7qtz/y21MUQXCFx0Ajw7Oq9iX5DtPWaC9vapNXDziuoTNYyYxLZ4gcOuiMmJAxmSVGacX8LrYa2qkffLSABEJEP+xbUlscFGavVFcXCGQYYdyWlUsa6bu86IjnVwERpWJqPGjMjY3UQ30KVpgUfPYxsjjjBzh+fLGF9VXmMfoyunOt7Zlw64ZkZxwFoog+v3lDHL7g2YBlCklXF1beQvnPl2ZVe0pQd9Dd8GnEpFyULUecC/vuZ21hucSdCst6Bw+EKcDREbxXs7aECggVqaGMIvFN0jWS2wa5X6yt7FPk+QH2gXOGebrZlq1ryfXM6BQOXLNrEaN8/VaHf8S85gAzBycOdTIX3Qt/57/V8HghLjkoLsZUmPR86LXSF9zsP31NxP/Oxs64TAvCEWAG5UMtAqVCnpGoEcotiHWLgYB5FKDmPF2xiAv8xHlgxIioQ2IhvwRbQyp3aEDS1Pli+aQTRqEI6FGJhTCeMgSpy8LGpGILtO6gtyWlF5z4XEP+DxxMqDJ30F3j7VjV1WxAO7TOvwpuAANXdIQGsctP5d9HyDsHX/seVJwXMP6TQk4MtOs1L+YgBICJ44Ga1G/BdZGoUrQ7gxfrYS6TzXuWg8m+ir7Dh1iudgJPg/DqeHJ7VqFssJU/9kPH8scpc9OyMyKClmBhvtup5O9HBu3gyGzH0hzlGAkJCBg1fWPBxOmaKUOsbr0gOrRnqF17lR4CYf42LrHSq4m0eK1vFX8QG/TkT3sFY2RTtoe0MNzMLMHfI0Iu+CTwSR1YlCkqATjMHCGU9KSpaK3OBxhMbKfUU0pjvEQP0nZcGZg+AHxOZ/a+r+mN5giGXZMMJrS67fYk4rbyMczfFoneuj7LDEl2hkQZ2QtZIV0lbX10fCTBqpkIJxJyNxcQ99JqjubxpUhf0vwA9T4fUU+uAkqVtaFauMISchGXdXAz4zEzLCWuoVATXndC44o81NcVsTubAIoiqIPDMuPHVh5nD5Ji+s2G90OTTqOOy+8NCGbzA6LaXSGESN25neaCIaS2TMZyuWP0n686WZ13VmacnmRjfWpmr+2QSlA1iuJQyqD0rbAoFYG/v3cHxKMFTkA0ND5lzef3UzxPPHmCxzYhz+8xm/VA+WbzLuPWD5XqqYCbIQkg1Y4r9Tj7msdfbbO9y4WWJ6pS7yDxKudR6HZVN5DOoIF0NL7xAEPRYjIiilUUaiKCx4I2cojYC7x9rBl3e/PPBeX/KIlf+YprEznDz/elRS4YGFXA6BDGD20Re8GA6C4de4+mVqtws09bXfI6yhbCRRvS3uL6bbGIriE9E84/6ikB6D++C5JNdAHK/kzeqnUZDbCO5NmCryfQPZicIZ6UwPP4ODqVnXE5EX7h5h7i7d8d6JsTNHc0lj2Om0G04YDT1JJyWzR3Eerp0VNcThMTBBpGobpO9ie/jy6/m3DoInC0qAZMOgNLfuZprynyUmWEY++aM1FCTjF1q+mfiRALY2QPv4ECqv3BoO1g3bmCRqVPKVfU2G8iNIgxwCeUE0MKNPTal0VgYsu250D7KFj1dAQEIQw0gBGnZAqm5guaPWUmh6/gZlp9oYr3GeWcEuRQscHOGB4FQP+gwQYFYB5S6g/9Wkjg65bfyQ5WHw7A3H+VehZKFDqqkHPXaaHXegYOevdnngtn3L+Ey864Mv+7Ga5dE0kuwXDJM70V9lMbR9+M3nrCjdexZc7Rq+F/3ArdvqfRJmacD/av99MsBhbw1vm/bIxVK1HiXneRaFgf0LzIkBxBf7ld+cUbuest85XqFwTr2zDJfwwFQRDiL1YE2MB4D6PYVEy9LnfdpfcxQ4jsgcCau1w3MZ2ZUMuRHKxxNCC8JvSY0AN0snWVeRH8cJC001KnEEPVix63I/WPYr0aDpI1WK55DzByR5Z/HytwQTU777GliWVKd8x6uAnCQylLT2fozQFCX8JXuGRFGZss0HhQoiGdBBgn9n4JSU/Mh8HUATe2I2xZWW40dwvGETrjsVqewbfPCn9vl5WnpH9U3V0Il2pOS3MmCefPfKOtax5LIK+tnOpwGyPPBw3scEaaj5LdiTIzH1yLtOEDHrudwXvjsYUk5PdH9OwoxaPFSTP3/R5R0stLD76JF5/nUKmUipESP5UFXhGM+4wzWuZfy++DTI6P7R6vVA/vBx532yt2ah7+V3dNXDKguReUhL4IEy6iZYIS6w0GN1GlTICE44IniZs0QimPp4UPBpB5zgpadxlxXLWr3km27SJG/WHIW41AAUR4bhyvhF5Lt2OUimZfWTGOKzvdlOhjrf8TmvT0qCg2ujB1AD64wlc6LBJGr7AxDEOtjR3gtDj0eMTkTpVhpvjvSy+JGY7p4A2ugQZMdux+9UvqjJzbm5B0khiDyQshADmvYHiSG9HmIPCDaIXoyGT3A4gB6Hd8yxL59QaCMp0JQnSPH6ucIDKWn+xgTsK8NsTYmasjlsSxVbOJH+xKrUkoPcVBlOsE3ZfQ9J/x7fdLwXEjUCL72TDtjEMqR/yGoc4IHXxaHuTKU0C82kSQG5aKDDjDcXyPWkDrh3kXpBJJ0QMrZ/f5AcbZrWVNiNqaLBloT5b2WP4rJfN+LVoBRDtNWFQtVKSkBF9BkEgat2QlWXPhkbCQB7YEwwmiyEDGtz05eREETZBLic5nNTLZ/dWVJwC5XymFT9ms/MxfBkLoeY6ks+7tx8S1ZQGcgbXSPS6bPH2VySZJjPr/dh4ddRLFOkhrlGgV+IWNyUCF3eK41FMDLllxDVOCN3l1LO/OVwqJkEPChHAhOPRD58uUj/eqnaH6UGN9Sy+UfoUc8YE7MwOmgT4Fqw6x9XkFuHrY5S1/+ZDRyK3TzDOelGjAxhgYS1oQXjTUs/qlINuFPJZYZH6ahxSVgurZCVoKCLGYmoz8viFJt3+gwD8llpjwpQR8pIYFKZIxp6htx3Do+uOCxDwFfqK9cDgTaZkqGJ44lmaiVJmBN3djKFgi+QCB3wPkh14g12YRdShRQNESL4ROciiYgif/KmgxR8QO7VEdzbPEUImUuVfxlyT81X1j7vJ2tzN5ZupqOln8aqf/E010AY6Q4LN6cXUMyRoITFfPK3Yj2UZLx9W6tS1tgf4mOsBcDVUTQQUTFh3GpKFrZkzgnGLUaNcg48/sfGyBFNYBwUN/46rrGL2yHtzHsDc9HhmRrMFr2pJYtyEAFjPw04ZP8/PniPufjdJ40AHCSTsrPM+gLs4G/bgE1W7GyAz2N3k5KdAoO7K72AbeVj+Z1tXLvjl/B12eJJXIt9EWXRjja8rArPl4ATFkv0ZsOxkqrJqJylzaYUuqHKKJ9aQRlAVlvZeVTxnLQ1WHgvvgcBH4p8r9y44PMTGSkyLLc68sTC4sA7V7c+/nbMUCp9JU1jYWkGlFtcYxO3GIFTQLkoSomjh5DpdoXekwTlMJ5eieqTUh98fjbJ1FsxdpGPMsWFLLpxUyzlSYwptHdi/CB/sl6HYCkXDBmPy7wmdtesQcP3yuOUDLR+LyMoDvlvL9PPLqZtleQxC+TMw85j5quEbfk6EOYPetGsSOhyUdnKLbWbpmUorqLFW/lEhUYxxZVTedDZ/r7GAahv65lhYk9+8AsbhUbc/6V5wc93gVc1YpspGoh2R45FxOoAZcS4y3BVV1fFG9y+pnqqfHHsDt07FeVJg77sQJuP9pJLfev+rviqiyEMZNWdszU1vJ+v5zpNbY76DgXTdehIk9dGLBaIAyLrTt3H2w9upDA5KLLdnhYQiknm1yCIFR/mqW8nicEOgmGt8C8vm7dsLc+GkEDQJICGyjBZ+QNDVaswT/8e1L4KO7VzTdIzGel5ly7OLZdLPTx7AcBv7U7wYNwUOYNTcvEunkBqHDgadMYQEkiaBGDeIYavAkGIrNfTOAL+WMqSE83Y4uYIjJuIo62OPE42+v13qrzhA4hH4FGTrDZ5BF3HNSMTEttX4UsQRZOfDH5L0VZ83JiKYW4y0sfGVJP7+bsijvd2NNoBBe23o28+BJ9DNDLRrOCDLHXWLQ4nQ01wNGxNuplEgHUml5ui/XzFKeNfxDHE+vO6ZDN6s+Dr1+YmX451BwPP0ri1y1zvQNHeDL7Ass3FVwZez5VRrhzbvwitIEHiPYXilDsO335LJkaLM+3ujIJD69Eguh8Rg9fMSIfeshBI7v5chZZfpckTcx8R3gJfWqp3vnpJhMgwowRLVey4r2QHry+5P22rWH/lQLbXXG2mO+4p0Nn9X8KS4xPjU/xz4WMeBDqyjnFrsx4jBCOUuqzM6+4ZsbeMMjrMJrEx3vpnQr+0sJc+5FnaUlabMJsUKuI8BgHbtdTaW9QCs2TgLMDsgSianJIN/S9FlAeubOjS1tV4P68bHrYiDAT2JWgmtka4pE1p/yYDC7OZ6lUSBjIe3FcHY0y146K34UuJEN6gBhUg2v2ajGXDe9bRedDVwMPC7loDPTUix6ab8mZBnjOFWJCMLcu26M5pFDz3g1aoGwoqGCJB39PtHfVHlz+jctdt1i70YWUp4jWFd+9y8tMc6GGQ0nUxyEUyC6JuJ+zztIGt9jl7nFkfC0e8AqsBdgiUgurTjNop+bD18lO75zidL0IovAivRPIREsYbPhpIFHs6y2ce5C8evqYjF4AuEx6s8vhGM1PlySRZpi5jVpMi0VBlErPtQKhzZx7TyJNVOiq9Xi6zCfG3Y+YgGrZhyddiKLIlIbfnq6o9ue7bjJUszdRmeWAYgz0QWRRaU+Evu/P/phjSr7VRtQq7+fj5buTjCCK2McvygZvMtDH++z6tzYEuaKx5/2MCBj0a1vGpW0aDw/WHwVM/ZzmxGQ59mYLrFhdVcEZX6L4Fgfue/Pk95eprBnNVYbDSfQbenMYFva9zDopQxwIlnPdhnKQacU+9dwZjIl3MZxM6XgCybfNhx+lGAjU1E5mCjP4iAY2YtHVFBHTOMx2abK/dsWnZYQR9E8xZWTEhvYvgznjyNxSWTQwdJ5K1zMWzFDkBcjiGNWK0tEsFU2mjrpqJ3EITLOwHbscJUmXFnh3gcFjN/MBn8CHI++mnaz8TovRoJZZWF2mXXUih2Hqr6Z/B4ewO0bnSlaZwtuZw7EodVHkOu064o+pALlvF6XkLOyDP1DOZIICNO9g0rB5OC2J2WkFc7/myBweCTMg1fdEIptkVfFK/+YDpHmwMzS0Qim++2Kx33rvvuD1PTG5028/SY/8Zujnj5PU8ehHT8vhNkwC5ARQv3LXq8/kEAosm8aN7NJ3Tvmk7NSripu8jXowDljhc75h5xV9n57eoK/K6F6g5xcicsQ6dtNbXT3o1a1Fme7CUo49Z2WIuVnvIc2LdzHPSkwJNstkKu0VyJ9k+DblRNheFMdDZnwhIEYFfDt6AcG5NbrWKlTKbhFNNezNpEzb41fvZE8kJq1OX3j0WZ6FFFEXaRZxCtCcmzcxIVaL2xarOjc1ZnNv1jglpmLfyO6kg9An36vNNPRt3gY++cFsIpGfPyQh5cGb87vPYnArgermeTxvI9LE7S85sAAzr1LLWph7uVFGt9T0jb3VNAYNkmqMjO5y8D96EVxkea8orAcNrWqKTpJBG8D1ZbmVoXyK0DbboE0sRjCfkO16XmiiR5V7CRAD5R/LKVIb6jVEI9HrnkiUObQ5+OQW+JN1SUm/IjPNgz8SyCFxPq/HUNdNXH5e+vq/sRkZglaPuE0joBRGiYZu9uf2vNpL2OZP8A+rGTIOHP3zLrSwcLw8UuQV0jwMqoGphZYMCHS1nQWRQvfhX0Fc8fnD1/ZoucJy/9fx9qy/PGvHTJK+TPjH2UfugpVjlPimXmynnV3PL/ia1PDdzdQGhTFSLeh3uczTvU4MtdVCTen0lDMW0aF7iLMrI8zGg/2u6sTp50avh3BWjzoQv/mfB2toomP8DxZ3lz6umaE3OOGYMFjGvTFktXPj7UylIoLV5fSMnOgA9PKtVzwG10gaARd/Ew3lVEVjwvUrSZumg7dayxJsWSUlai+4YIMeVWvgWUbXsq5KeeOuJRGM9vhs0pZrFsXrXdoUiifbEkLrJ0rL2v2HvbXP23Hm88o5SsnrddtQrba1E/eTNMvr9n2A9Zmg8z5xK3pNhBcf467kMjWttKxqD6kLq37Sue+EAywF7x7pdn+jsTuycZYQQiB986cNKN5btIDq8C+YaH/vu8KZcp0dMWPNh8GvWS0SPiI+9vUJLPBvumtlhK2zYk+1EqeIUxXqhW5/7U2E6ZlhgtLRHkBfegLPHqVidQv/ysKbJbNQV1I4+dGNrPjdoYU4Ck8yPYEcjigkL8CpLrB4wSn8QXDOFbTzDX0TTXGwU3PZMDXzvkQhcwQFmsEodU7AgFklyBTzy5lE3wcnzZsDzs8PoCv3BfNMH0VkjQtOX02nQCoGQbyKDkHEu7Vt9VrBgWmbf9UDZJmFnf1igQSoP/bR+luDG4rX0KoAQuI2EAmMQqv5KiatUoqWVvqgZBlfyJDohaiEpm16uA8XwoRc5xQQC60oI2PSrw0bRJFwc4qTTjwybxT+vkfqHtCG3P7boYsABfKUnbNuhp2lTuQH9J+zR+wyXS3GIwSV4lQ4/Tq6oNriCNGQhMy2MbTTbW6WAMGdPVZ93l20GwdhiGMZNix8wTwdNelCucZePWmvk+nMwcw1xq9HuWj90hLv5HmjxvlXmfs8aOoNUs8xaPlk1mCy9ioM5EXqcZMl8a5hiJPvZIsXZFm/KS/V8kI4BZkAM1tt/O2NgseKfSZavky42M0flugwmC8Fyvwv3dDTGnNRORXCTjh8yrIOsht32fQoq+C6rGLSRp8SOgkzugW7jyoWxS1cRyK38I/+chcDcZgV2QdupUT0VTQdOWyDWX/Sz2xn3b4ZFj4Rj3qPSFhZW3Lm2mOLq4pc9gnJkAH++xnanUsbKd0wmf8qUEY6/JB61K6v+9vOFlb9ix81f2RrU36K0uvZPWvh27D98NL6VC5RwF1aqur59jDGYHAzTxHVRkHbi5T8hGKon4VFJtD58YO0LdJRe0TnYWrhX9ITnikJfVr+9JybyI7UghVoQncG0vGtkkv6oDcZMca8bWQvv6KUfr5TACR2cG7ziB/ZA4GHgoGCtzpfpaz2Ti1FRxOg0E/bBuvdDJ0OnRl/udghclYzWjMTiSk3VETQJtfIri1EhiD58RaQMLkhAYhm9zyuDvkqmBVHvBvGT+fWbLTjAQRgtirl1RP1ikrBL/YGPJWr2R50411AKMI5fmv27YKFOd3rllJoxAqub+4QAwBgQfkM4OCwQ61+8idw5KFGkUlbvX2ABWMs/Pjqm4SYJpv15+NHPqCvoe99ESWc/RkSopdQ3+KpHlnVQABa5YNgzPELJvROfCTj+d9Cgz4uXDlOUzMs/N3qgdC9245iJ1JMZFDm0fl+B3dwSh/6b45skpJUWr7k7xHc+G09HENec/dbZlctR8Wh14r8IM7n5l0csTvUiQw1zgMw2MHv1zaorwhHrvv5jsJKZkgYDOCaXrxMEnzTQLUKBP+1JAZxxnzJRMFXoHL+n7OoqRBKo065fpcUaFrELw2435UNhxFy7QToE6xVyCC/x4USyhBXJN4/syTIej0yK/ybjiv/Iueqicc6pwwSV6uTQN1K/CUQVXvg7arb97HfuuTom5GlSmhbeg+LYWl24UXK0WKitPbKmoSA97Anss8RXUX9spoegdLTGYK3f6jJCHfPA072AlyW0oYT4U3ZYRbSaP43amTdeubnR4P1hFsZ5MguWkGjAa4lbAyZuW9XCACHaOcgNkrX2x5YeeCIMchVAEsya3qYUGF9zZWbakuIYRbIvjxAmj69nSfzEP6cLvVqFslerIrs/PP+frxQbwfCGd3uuMH/yNueArPscd9hDE/OeLTsqgzK3y7dma2m7v6/Pcg3wvFBNodRedVZpuphTpEl1/+8Cm6cLiQDn2v8wn6EXbvHpDbNiP4mB2Vj/7lLLelNTInL3ayZ6pU8BvKc9swR0POoSZqxNEhhB96McOjJazN1nThDMGuwNGvv68sGMuzN/83lS9OmcMFnClSPdcl/hwoyL733KfNBDdirwS73FKaRZeq3whUkRCSGAZp4LV6IjSavkv+aw5UOaU/wYxJ8+2IhONlMoT28QGLXp+HnRZGIhGeKaqVc45OTTC3E+2OHewt6uyBr+0UIGis09ciMEKZ3EvBdmIQYkJZHEobLU7SDwIbuiOIA9CANrvc9xOAG7oM8JQlHFy3mp5Y8tcSWbXe50HS8fXSbkWeie6KlUGaRSe9Mrg5RcXqsZQm6xhKTlRQWNpwmyAp4pOZkczX72begJAx0IqNtUJ9T52eVPomU/GBmi4QWVpA6IE/a7sORpXQMViXM1BL859yOukRJgEQL5co2gqPUEyKnSKLYhsi2aek+isGBCCrW0p5bc1Dg+9/Vm9zt1am05BCJEXu9xn7fXPLpERGC4/0Q1nSXxSZaLHO95hIBDr9TlVM+5ywJ4pQrpUXYW6VaoZF5AJndPddk71R3hPodQ/VXw1JPE8ityPPYJxpc4Clfp3llo9jcpzilCjJIzsSXXKaaKN9z98yl3NDkgdcomKrhXC/SxZsvg4rQYqga4LbIdjA/g156zXRO07Vab+HrTIad8ClxGwPVugYaSDuaEkpbD0DWNF1LX4z5+Bym3d7NF4+cskjS4lyPrnT4UYbLNCZkU2IBfl5tNVvFRQGJrLmIQ/p2fHebEkjDYI/iuHsiWtu5rqA7BxREAh8BC9XiHmGF/yNgarc0LjZ1jXLUAk05rtVMWUwZ1jw6lDAUH4pB69S10JSOxhhdyMLRCx9+BgZ+iqSYDkCHTv8mOcIRt1q+2d1UONin107ibe+OEEHf08st3On3RwZQcR6Bk2KDvmr13UxT0W3OlgFoY4S4jpmV3QonEbE2xUMQtH7QUgmkLJ4FyKcM29CXSWxtkmYPggddI1vww/AEagQ536E8WViTZ+ZF3qV8mf/DR2C0KSUbBGnze4DEwaCffWNCWAKHG7jKSUqh1tEWcIwvCohA0dxMM0DZt/JRJnDsf8OiKSnVdhRa4xQRm8BOrgjI+dU+148IELUQEitzUC8NstG1F9BlKNpNgMJhYDHa0W93sui/HJI2ukovUTgD4xSfJRm41gHcV2j6Y5oMtVsaAJe3jvN0JTiy/8nd6+wQNFdX40n2Q7U+K46ucQaR0vpgbyJNoePiOFFuoZo93t9L3NKWCdxLTz4mfk0HYcIweVeT45S2+cSm6HfDEDtgiJOD2m0Jzzf21aHoHNSXCtNgf32tJ9j9vRK2ehR7pCZjlfo/H/NjdY+3eHy8jNc/GhBEWU7S37ygHG4kJVCHM1zKJruo5U+tgHgrQue4z/wTnf+kR7EXewiEbE9nKBsXrhQLGKCGhg2lv/8iAhjrHzuzsMXJT5QNTjNDEUsmX8D+CdJRpKnmb9nb9DuUmNa5Cv7dSwT0Q1WP0dN9CrisSDzGJ1sEfFcLl1UlpNYDLXB/LVBpJ/yAdfC9zWSveTyB5e6/nnnZz8tSFjVwdfsYCRQ+hCbA++4f/S8vAQQ8MR8ylxCUKfIs8ltWiXeAsvxrRuxyklaaGlKGJUZhw05i8R9+6VEM804u/RN1e1wUeK3ivUZlv7hg3mJdMiFxA/7BZdvNH9guWIM+7kY6xJb51/hG8wGJTzNpVeXyV929DWMpGB5Ii4S5UPw+sKUhR2yf87/SwV3APd8aRxgFvCyoyTi+rpr4YNY4+6d/dvr/47+jL3608V/C0j3ns12WFFG3s+UKNJEhdOqvjCZaeOyELTQYbIHFL6jtse+tYElipOBbiOKh1AxA/zJrFAbQzf/oSSkBXFcoetztRcqIo3L6AGk/T44HGK+7PTadiWywJgfPxZtSTe7im7pwzkkOj0hvq+RKwxzRFiKRLbQKEriK+kUGzrq7BApTVIz2VBdHLj5zi+AsTQV/7A7/5ZBqzb11Atg/H5BgRqi/78C+Xf5XbTnFxgszDM26+JIp5oasOTv7v3Pc2IxyKS10xNTTrcx6dmu8UI43lLg7EX9UByvFV1rggZnsTnlo3SxxfFDQyELR0T66mqWDxea4MkVM9zttSkwQSnn1KS1y/hDTt9In6B64v52UkCSLMqifdMYi/p1W4s36gho/cAVdHP3tmCJfEDFznwHJqVYf3vDGvVvrmhITmI97ll/W8lKhAlWBJOxvUTgkhEgZxnSTIVu9R4hXp830Ki5fFu2BK2ebDuogmPiieB44nKIc3APTHVtcZkalS0feSO4W9HY5/R9gsYlud7qZHDxKv/hD1/DcRorTT2rW73DUofAwrtM3+k6sB8wvCf7+v/TpbT3qUjUuqOZJNXXUGrBeevWTYCeYmCtWSdu19ZO5BArrXiNuPpTCkmNvShyxuMZ+2BNP8y94nmqbrlz7XNd+KUw4c1Y+CgmStpWaTbz1dmpAbfjgwIuVCCkecUTeg5+l/eZDxXopbb0otDKalOpkAeGUIcux3JCwSzawzWWUt4j3A82LBMRvWVfttToNzw4xfYFdkbRwKjJzzzmIGK+KoZeHWAKQgud+xWwm0zXxwzqjhveeyYMlYpD6O0416K3oT4UFT3ABWVf4TUGXscZdeyeyk/Ud/X7eJVr27rhMHiRihb5SG1hg9/SCtQxMhLqplIkMhnAy1AIHoNPlu0yrbxs1f7SLJtY/501ba/oaGGvktX1aGSaAJrFJLYq07kO+5eb8tumWnzVD1u7QjTZaEeINULUT3RJkJwVv01IEuPVyVR+bkf2G5xD9ggLCKQ695Rv/xhr6JkCndEqV9rhOZIM81XAiTZgk0CV7yVPCzvPinXKz3ZFC9AawoI9vEK5jtARVbDvkJROYOFCqC482/ljf2gCyythEOsYdScJprsnJ6Ton0b+vRefPH134NYDqxhG2Xgfum9nwND1yPhgEsZGHxExz7WlGdsVRdGUSbzGr6Jrh4C+/rd/iJOZvsNz5pbJigzhsZ8TCKMeLoE/P2R13y2txx8nAQywtpq2Q3khkGhEtm5D8eCY5oO1V8RkttrsuphXi8qgYBCSoJH8pKquwLtKawC/aRF+H/FENGiAPM8y/6a0LboV2yD57lX8P14ZVHsAOHKlkDXv8x6NCcG/LFMar+pjpx0gQDVcs5XUOZ4MqPK2Ct4xQIz9JjIhv3Y5vTiMtDSKqO650KPbqNq+phRxnCut2L0+AqfWg1G7HTiMk0dfZkS+ZWWCJXtdgpGmdqUxfe4L+qLL36K/IYeXT7lpjpRMT63LbW3yMLlYDbdJ4GgMwaKlrPnyIcxWL2OrDs/4M7pKHwB130WXVmnJ1vF6E5HMn9bs8X60wHu5lcO/0fizEwigKqNcEaW15sZ1xeprEQn5wOPTv9RM4KBOVM0OpJfoGnVA/DuWgLeIJpS+SdyjI0od/Shd1W1O5f591uXK84NQwX5ya9r+ax5IzvbAFnB8wcdMZswGUlifsmX6lrcqfo0zKBiJqA4NRP4JwAw/ts3u1PHwbn/V6N0AKTZDEg2A70CIl0/hQa7VS8lXV6YuIWL2uyFfJQ0LTcWh3EQLTpkw//eMrxPEMwhKPR5PgsFxQqB2+2O2u9khoIDMbdjcj0wN506gBtBHi1roF0vl7vUWTZNJRI4iZE0dCRXyUyCzXm05sI/2AH2/3E/eBEK2dIdasxAB/vNlxosca7BSKpugpVsJ0FC+ikVl5+0MgNDRmvHpp17UKV6JzgjokxCUeWgFRlpWDRezPDmPNXHUpj4mTQFdbyd5lTU5VC5jQuBbTB82cBVoGwfOy83ecb++tq4+zZEN8mPhfGsf1V/xOjhgGX1JIrlouF6Dm7Pkw8CMVqt6p8TwE2jqdNpoqE480yIBJh2kyiKUl0WKSg8w7wmhlyBrny0eAl6L4noDywxLZoEImdnSIigAQNPpoRHTmssHGunqdPVo0OWmfKI0eqTqmreiv1S2shDSAjP8WHG65QAPs5zuHABv18gZXUndgp6YA0cJQ/Uz9g4h3bffdQ1CUSHLxgKVz8yRkAj8w3Bs8lQZBAsvQn6Z1FDphu9P9ZYxh6VhoosCZHyVYZXvITCBz1xR6XLoK+H85fF8cZ0Se2Rt5DXeSN191cuwKWmyhIoMrRMosx0SreOqsFqw6v5btrQN69WvcnWzr5z5ODwrF+Mv8GlTVstAvnRBMfwSz5PqmW+iYpfcJWLVsBP1K2kuTcgDARULk5ak9akRNOPue0ppyMOG+BZTCJ/FRbd2MywewUHfJpamJ+S/bz+sz0ZHudNS/J5efi02tU3u2EK8+FiHhHErQ5ybc4MSF9yLfTPezhbfAy1aJg9PZZEFvd0SJAszVm874ufqp1bJJ4tead6L45YzJieK5GHpk7/3aFqgJuv+/gUiaeEV0ZfsDrqbhTHUaP46JzJ0giBt500v45LN2HxMMeJYlJKbA70YX3tDnF9v+ZQqDAaVDlJbPZT/BkH+42lQ6HzaEzw/wETWMsA/c1SZDAXk/99pHvc29BDQdG854DbHvz2P8tYgIerEPMS5+H5IXVuVlqsk6HIFK8gmGuYXaW5RCS5WqrPkXxYhajocfNrBJOVeNT7JxWgNVYQdsQ3LMYcU6m57F4wb1daWS3hD3aqLehH+OcfCLVedr6utmCjkj/qVFuk+WhQhmrsN8Qjt0CHCtSWryNG6SXH3GH6vUxsR2oav5ynnGkdQZ5hs+j797H9XIj3hBWbaxlYukKmNICPUIf2H3m3bf9cib8BaZg+bH/9BNmCto/XEwvnmZFSM9MH6DtmEX1SrmJzepukoA/2kVS4mpp73SIeNjZRleU/VpNDllgWf5IanWx42Tujy3YrrtqZh6Eyy8reS2MV4CkUDs0iamjsYpGJ/IWiD9aTW5Svnwt8pK2FCyhopDrGxBaYVUgQGfcxn1774cRVxJi9sEVJPD+ysU/XfGzyt/QS4VLzsn7UyptMGDnoX9QeinmqnZEYcm8hzKo/JxuC6V4UnQqcPI2aMrTZMQp7dUYGDfL8ttRCF6uW6EMIq4iLbEoQgarbrQo9UyKMDRwMF1w+3wgHjAKmpS/ipPa6AjcCYvCmviCwra8S8JDlz+lkLWjb/TkQy3aGO32rxNOwwR//tKw5NJdjbq7mRZz/ffCCY/VHifuG/JPRjhiM/EiidtlCSBeYUQqUBw+G6x8t0B+YONsDWfmdxGQ9Sh71MwSIFG+dwG29quuJx0T5/F2wV/SFHaQA6I9CA/4gRYvSQ0Xy5KIqJ4KHaxpPZ+dSUJVrkXX4WyzMlyau0z+C039DATunXOygdaLdsum4PLx1dBrNiE+x5EZwGL4aIEOO2qGCFQBrXaUm08Vr3uc/Gh++osVIvg2glfl82Ic9TyPO3ZCkbO8ceA5KJUfx18OiQhwAOqI1izIdnlWsFlxvKZseIXSEnvIy6EoEkCjCpRG/VBAmvxB7zG/G7GSYggvcATT6sI8OtFAf7Lsal6L0gUWoV73x1Ti/2yqR0bC5dJlCUEiYTWfWjabXvFg9ZMGvuHF9WMu8xCLFG0Svt1KG/166y0RuxYjn0WwJNWMitQZ7MrqVeifnYEVFsSZk9BbI4aGsd+o7jfFCIZcKuEPbe2+8dN0Uk/TSZ8zf0lTFj3mMm2y6rPT8b70JX7dOr6lSEQc46KPN4rUmRn5CSN4eN0onR1HSymXI8OjmhLZu1ex+BWUxWpKjwncYK86WwI0huc25zpjCz0EnZeghmhGFvyIHFDG4A3wf6ef4tbe638ZYt7A0L387vdnRmx+RgWv3zaslGq29IURbOIu1h1uq16vnqvF5TfSfTNH5Pl2vRhawvyiYbFP4AuitD+uJn63+AjK4ZKxrEdtFolP0hz+tmD3dz6VK2uai7PGl4UcGn9mLYp/w6ODG+LxhmvGAvtqrj1dzePiHi+i/nf2mUz8Wb1BFOWc9+xKzedX3/4ZqwnssrIbxmLtA/lQZqd3n4QwcJ8V4AHrhr7VY9mHxVt0JMA1U6cAaD6C8C32PE5dP39HcIxbpv9ujMN3cUslE0UwmXnJHLMP0qdOW0vpG5PzZd34sGBLEIdPddsynGpqu2w7bKZ4DH5tXs3b69iQxrVGVFmmpCLSD93w1sI2782VZjD1gOlvFu2p7UGPJEZN+HC7dAGXrJKzTcJtMY6ccht2tRKVr/cJjOFTmYsxjU8oV81YwVbzOTJEhMN5dEB6ZsvR0iFS+iZFXW9f7S8h0LTVA+fgtm9lu6/j8+dH+PKsyddNu2Chm66vri0zFIm9JZzvTgkICj5xPd0YYdtTivu27nLf5BCZ1H+54nPeHJkT/UgsidZG3eIM/RG56b+kEbeRQLA2XaW612/fdLdbQlVT7MeUXmhpdkfSw/bZyVKc2dKeQ+Y5Sluk+jCR1W7MOjePZ1qEuaFJVIK9MecEkgD+NZSk1kfZt6kkkKZPUzkiBgk/B6+tY4cJN8P97jERVYSzmlkD9eTp/u5Rq8vRQ5579W36sOPf6RtKxXP0JQ4Ypr4p+YWWPh6U6u/GU70eM6ilo3XCADcKXwrCHqGqAuy8fFOhC6E1q0HaLIpCx81dcgTnL2vuIht4Y6nDynrKhMecZWVEAmdqZp+ETGU4RsE28X621EB2PgdsdykPhqsQ3w2KBHwolSQc5/LuYTVz+ZgjqT9rxxVBnAW4g8Z9AyMWQ/p2yHh+Dvwy2j9prwlOarL7Q3yC4k9wCbPoq7w4QuiIK53Lt3iEGRsw6CVBIioSp5lGJOzO9hzbWFKJxTpB+At9DrD+GiyMQP7MmtSeAr7tSu/qZFWjLHzadN4bvlYcg8rXFLn01cqgTFS//d+liVdERNSATiuxqP46kd9pZKFd65V50S3AqrgI4rSrfc/jIVFK2GINSl61l1QGsOWYUq8LXBTbzKZ87pTyYCvKIKlPvMZZgHunY2socztgdr+/g6AdY+HsToZmGyBYWp83DVMqiGuztRH89nhynFyNnsvtUh4GsZnNiqqQKTakTO3PD8ac1q2zdK5oj7xVx4IjXRoZ+wr2XVrF4a0LFO/na7PGcdtGKl+p7kzNT0VaCEwTLspwvVdEbBlkwgrdKzP6QjY6zLpnbPNxStt7pn/tRmcOZ6rsDFi1R+f3pnK07mCBXG2fUSyceXL0QeWevQonmAhcDu+UhOtMUyYs0Vekxe2kC83TZ+ur40n/ztOCGFcNyFB2QW3lAIWl2TSn5XdGmFbn2W5q9X9vtqouHb/L/GRUPw18jrBw+3SB6VHQByjcvhVvTY/A78FrMXQ2yeUYqkIA4EDXEFg+V0WakfjxYseqXRgr8YUrrnIqRWLx+UXVgKrOzRB5h6q+94tol8wgySoMIH6OI44fi8Reh1qg80EczY+/Ap+lcHzCvF/q7gPh+aGIlvVcWnCdP2T+CjaCnqkJpamqWOqtUhLmRPM2EseOzU3jyBOfF7YsmwoNjMR/QqltgG8azcUsQKihVaNi8dBmC8CyXRcmaNuYq7ONybaI//Vev2W+F8kVd7r6348cRPAYkVblQ1VVtw6r8l5UpVoFvFsnlzzN5RdU+EWrIzieBTYh8F9CIgESRxJ+UoA0zR/G8m+1A1vMl8iMyT/0+QCq7MJ3kcdpcEkKU7db8Xjwtpc+O9VzZ8krL7P/0DULdJZuo+KhxQZU5ObSFg83+fdLvBvXgKT7mYfN/NgYSZQTy5dOMH7n41fAGSUYVRIw6P9fxNDIPkvZhGk+H0AuTpJGnFBXOULMVVj1msb6p2cmXg4NHLVx5CDA11ShUG1KHAtdFXLiaPfu7/oBx1qE/yWMAS2gW9BuYC8iBY38DJoXLqf+F19B7KmHbkvl9wZ81RJ4cwBnO+RNoHsSR57YqNJ3BCwX9DD1HMHzh6SV+lXYpCJ/AO9+b+lzbJ/xr0T5I2PJ2zDMjXpupUDpisM6VnYh+xs7p5Ya6Ekag+ExZXFnv/PIFK30XWUMIOLO3eooPurM4566Xd6Cb6/R3Hwb7AcMShGIJazLilBoOhiUPRFY1aV626vKOeE0FdfAd0BjVBANGVWZCoTmEHPdgkUi8BYaM4rcbs3XcHWhqc2zOIuVcYCCBPc8BI150p8G083jmod5B4KsDPXOAV3DEZztTaY5UW7ca6/vJwuGOxIGos4pzjIx1yogpiEUSNfV2EwDuYj9C8lRmAiUoRCPaGfUEpPK5/tmkCtP0vngVMRXEakkDeNc5W7XTBVJPt2cJepIfGBE4KfjKvf2d9v5KKl5+r1RJvtPNNNboz8NT8Vx55piT75f0jyiycgsukgcs2pFBggffpLZmcyTZrMwl2n/jJ3ySqP1RTDX9LwxbyHxplH5o+6P4hbV+CXMt0Quf3UcZYQAntNkRdSJS1pwcaO+k5En5k099tpSK66PQXfNr84t+8Bez31ueAbS3ogYoujR94IVjwkPWIQ2C3GXxIWe3UbzwO5npQRcOuNOS+PdjWggAJne3u0COTC8RNCoW0Mnp1XazhiP7JoZDGqE7F6HRX+ohw6nfx+5yhg0vsVYo/i8oEM7Nl7e4/rupaKb3ej7ZM6Lf1s9PtGEMe0d58ffgMsmICr0dkoJDzf+douUen6NG+q/NPiaVievrJY2rmPZe7Uj38qihbXbXkmZpe1LhRoIvR+h/CXAoKMKu46/pX7CDJ96r5pYfyNX9jqjTUlJU7KhbV9NIc3Zr7SE7yKBdloxKy5busTzsd3j/PHCQ6qYA9EBdoV6OzOmCjfxi2Vx/CjCjhgKIa5f1rbtpwEeDT3sSYKBiHECZahwFwHOeOJpidOS/6FGj2JVyKQg2T4L2Udpdj1JyIaNpR1DEfAYP08N6IpdFKeLCNwfFlP8JKzbzaJ9wwzae4tltmwbM7qL8bYcOCGjZisHBCcx+Wb6NahWYEfvTB4dCtMfTB3iGkTtfZDRV8H9spF1mH1jU8JIHjONr9d+iyFAP3fnJ84v3BkHsRmAQ0T2dlkpFeN/dwtYAY8l5D+ATgqH36/lSeMlb+ZwZoTXB7gHltnTOCdYvlG/IPSG/eWoOrVXqmKQJ2jlZPnBDiqfdusOTdMYcKte/EafqDhlw8TogfBhuTd4klprsffpo0tCNIszsnRRc2r5gNUsSw7wrX0QjB2TfhsReMYo21X1A0GWw5Ee2QrSTUYQgH3QyqwidFxvZo5r//Ibo9VJG2JQo2qobnanXTG/0hcPLhIDfywPyoyqbGEJDuAYcQ7T2mSZfyOcxuqgK2v/QLZu7Y4ZDxnrAZxK1qOPQ/GqWH0HZYwM2lBKwHghJYaX1HRaKzqatbCfeBysrngu6sDU0/wKeuk0QLtWloHGJkCF5N2cEn62HinUEO0kSf8a3Q3Ds+itu/aZS9woifTFZPMwWRLVU9ixKcukAr7WcTRDu3qsouJFN0tC7WBOf0XHgC0c9P14JGq9eZaQSIAKjcCxXAcbvOYkL0uVBAntCBQLO9243q2L4rF5BlgJHFX6YsKUwxAeHAVbRecoREgnXqi9MULWM279yC1aKetChRu9f6CcnpA2R52muKMpWGKDThsriC5volNLEHj9UvmQXLcAzmsUJV/CyZKAswIjdNLuM6jmzcVD2ZatSxFISBtDs0QJ6j5YxNNY0+EeStatlHR04obRyIXRdo036Mi6ZFXXGaO2UBi6dZD9pc282R0PECmMwwYEbcLzDFaMAnseTcKRnGOZ3v606FhcAc8QA08zcNo0VN05OBTyfkskCjPKXQl/XWeOx5g0U1OThVAnovLWO5+YxOB1TSKkRsF3yp9wancxxV5x0hS8p/BGhA4eOsgpGjPXq2oK8KwamH4VwYaFJkPXG7R5QWT8Szn4M8bJWJHEbNJgKKJWHckvUwKR7SJneaA6/8hXynVdHMBCGozXq9xhUpLFlFDGaNNINmdBH0gcBEUDmSK8S+ZyC/6dAQU6RIweSdZj3gjkZ64SDY97mcDJDX1UcaDA1sJZ79qPKen8dRjV+hLtRGn9CLCFByhbD4sbIj07Y0zvZdnlKDO6LjIr20Cszt8NOTmyhMwBGE/jIWwBUZ1UwaoYaik/aIPDZuqfJrvvpKN6WtTrBxx4JZPdA98ovq9iET/uxaLvT2S73z2xLykfgQ7Mdx0t7PAJILWEUZHjreff+vmlnYqpgihpwP7meEAIesFtZ51cFWmcpt9h3u9+gLcIttkZ+Y10FBrbvv17k+PZbOf8J7mzcIR1+My1RcGZZ14DUIVDMTa6aEarRpL6fTvm6k87VuLgopjy5vwreX4ws5bNiBlXSynvnIY9ILnInGg4DH7thWdgK0b7lfTr1XDSa9IBCdrb3D5Qej2SG0HrnUTpD1ATXvu2c2S87LUrf+Z2k/bT4YwLYCM9O7NNoWSKv+hIEIgbwZvqwnjNxW3iSeGvhVOBA6Hn6CZEEyB/4a8xOhEqNob8ugwDLOy63mU5jmUwNceuO7wAHIiZrMQWCcVIb/IEJdaHoLmvlxm5ZCzmwlzLIYiqY5emcYoBj+XwSenzPINLyv9UqM9qGaMPIjBgVFMkQOjfaWytxvmhrD2pdKGZMjbmWm5xsBMegWKzEXc3nGBC4L0jiPrcg1v7P2YCwMv/b3Jow3ct1vIQTRzV8y8RPxDGxfw7wgfGclH+kvh7QoIPROXxTYZCodkZr6GFTcs34obw0qz0UsuES8S4H1LJMPtTtg0k7WyPY/BVdTq3LBf17Mff/dyESOE7zbvXpSjF94Pe9CvkljGXOd6MF8wDLkEBFFyEJCch4l47xbfR8HWzs4nZLTJ1nVF1+zYx54cLlmG94tZ11bKMdu1PHB1teoQf9uuiZHk6urSQP+XEXu5+qyiffBVVT7msviCBN+9tdOYQ9g6NG/2Clj1EZa7PgbLeF8AYYF/YuPjDbHnuu4nzg37kEhIM803IMpjYpKrPIzXnmSCiop+hc5WUlaYIpSO8oIv2IrMAsr/KLc779rOCzfx6J412Z1hpVKSKQCd+3hU7NpfhgWzrzt+7g9ezQHHfU4Ni9K5npUbwIoh5nSavufuCBgQE1NMS7zaJ4NaZfwroqnsagACqrwSbKvGq7ezEpAv3ftC7mAOqfsAj/9rTkD579AWp9qMrCEgmvktRGF66aQlU+Va0Z6eq6W11yrby/lTsc7dn4lnIusPQ7mU758iw2N4lOV67RwDEMfG8gtJKTcLbp4COrOqgVJmLlG1xSuuE08ulz9o1cT54uI/JL3SKeoLAwo51nkzKmsqc1th7Pm8x3spHM90EvQcez21cCNsgaFWWEOLn1E/wy2vmZei2J2vZo6xrTPH1cOtZtoc7ofVlwfK+WY1gKAiFQ0mP0A8brWfeopeTAcw2TLELfcBMcFtRRJp2sFdpxz5toMm+kylwjBV6tril4YpZq9vzWzsu9xErF9sWBHeIBISTqE5tUqmsZXRyBvTwj/y4nUPXMSmt0ZeSdVBpvE/R9MvD0F4c12JRN8FPMdNfFTXANygzLG/onmzfrZEH40h9Jlts4pNlW67zHTxWc8TuzlKW8uBjJ5n4lkMiACnOFMBhPFxfxtlALtrUxk/LUDnx7o0FLoobwWek925qt6f+OGFa78ndmRsCAtxYrZ2bVDJLhBG4FxEXw8YuBst9uWIS0rseuhVpCq77Rwn5jH36XSxglUsxA/lhhjru9dmx687ahfPpOkeOkt+ahncuBAn+GHNCYqNKK9iJfykA1xu304vLbEv+4Rv2TSSYD+3M+5Y7xQXpDYsL314A+k4/8ve4GAlMt3HfppbQGYG0YJ5uamqPOCYGIyh/wIP7rGputU9fl2XZvNN4YRdFMHVBwa2fx3//fSCmu1NFbXO3Ura32jDlVP+bY3WhxHesHlihlAoTMv27CwHUu2Xi5aDucR+JnaEfkB7NDXUuwTxPkS6IeCxHEP34IBIlFO8Co46coSKUG2Ysdi9ZVEFr5VOUniB9GpOnyb72IiaCdSROne3Jk2JoVaALuu/Nk7glq9xU7uJYyCfPXXGI/hmAproFQ845whcn+WIK0NzNwT5mPFBTA2iks6tZ1A82xO9f1MRyfoCkC1RZ4p0BwLwB6SKVhoeIcRkYGp5PXQCjtMTTRdIjAMKa8tVhjM278XG8fvA7si+AW6E7yONgEPr3BM2tPT59JjikwOdeOkiJ+q5cN6aWOahx8/KDxVsd3aYfemoS8i2dCqx8MYHgQ3Bpd6Eo+BvntKLQ5wLt/hjUnsVW9K5JR+J62zOPa16T1YXNtiBFq3HmzpW/0czJ2SoqCBPIvjsFl1J1ZrKv/karf71841hstCLWv9nPU1K4f+uKSDGelhq4gzu0ayxxj2RF9tAdvAeJj+QJV5FzyaWMKWbzfquFkdIrA2Bo4frmCYhjq122hTitH0/r2diFphDDQW0wLQVBYGr+JVYN8f0+RalG1nf4CwniGvweWd8YxkqSbqW/+zoNsewW3wKMYPM1UvHC5aZB/nIAeblVKE8cF3lbRPfbzvS4dPLeJPCzszXGNF7T6IyCcUSkfpoa9RpMIAa8sFEDUjbqgDcvT4io2YkCCCrXNND7cAbjM/MV2PZD61lHs+FkVEqPpJxv8TU1csGpbBUfy+FuuDL0rLbKfWlq3iqYpaawj84mc3SZzZoEAoRVK+EsWTofyOpxdFXPM5qqWx6bwH2QBAEzKxQvLIZ6SH0yC1sKW4NT6QVBQHb9WjS88Q9TT3VVPs61b7gqqKuhI4Kv/GBqVEyWfgNrLrNuwqFcOsLbDvHuN140Gsm4ohyB4bai3YRhrQcuTLVbCEMcv9lZb1wZrda/D6rCxghpM4Mzmsd8+wHGHwooZkXpDp4bd3bHRzVRa8Hapf8eJOSAsGEMaxjtRcwyHekHAM6jHXVRWOHGSEgJX9WJ5gKG2sN0ZROXhNS3txTfrbolpr3IR5Cw8aPOaeYInv35LOOjAtM+iOCpAI83D7lSA5N5OIDZ6mVXSTvM0NgAuIlvg7w6BdUUmbxIldI2JpnACjJ0KntDtCkuljJW9yr4mHKyebL5Q8+0w4nJDPg3MWfkZ4zalQfmnhG+zRbWQqzb2ZSmB6c1EEtzAwTm16APH1sX/pT/XK6lwTBSlQMDO+3s3/DIaP5BeXHchLKhOibQh+VdfXTRWV0+m+KI3U41b0dCybcgPM8GgtBnwlX9QBQ9Egy1MRfjhQJymfe1oZi14hZvhrVuWYAvrXxt1ZFkb71llX4cCAVZz3PZPmIKbRgVMRL5WUiVBQ2wTanuxamcwSEfGOeo/p7K9SBrkGPc3L8g9JDSfyDxM48t/Vh/n3ia0TPMW0ZhaQI38lWDJuK0lRrscbxk8c0/H2ltG96TbMJtK/Zwr0isAFLBV3leiAuq36twegOK3T/gL1xz/DUkxBKExuzVuCo2xjN3qBPXvu41CHMlvWFrbeg21KqsT8WkSGL7ZK/Fgp1wAUS8Y2tv1ENOKLazTYO52ZPb7cN9AIAI10ucjGd2fhCsHoMunflnpJUGc143DjxEIU+DtKHTGJdrClTTJXSCxlBlY8Mc5tOaFM2Z2SFmYWe7+GF2KUsiLfvwLJHkLDfbtDeXW0uv99/R3JDDDHfzxgPhkawWXncatd7XMAZt9DDgXs80CAsYeL+VnEc0Q6RPMsAgxQ1h4fJLkQGo1dg9+uWzN0j8A8H+m5rbCcMoXLh1LbwwFoLdzhIh2vl/Za+2cDZcDODosum7fq2APohzKMGGVpi1t5EDqOHOtxGN1GmhVTluGPlq87pp3gOEHLCq5A6zJ5q936e+i0shBEkkuHjNdiwbsDcQVvaQryk0NDJM/geMT3/9i2WXiPOXbi0OG7Z8w9tcIR9VUTz06B+LnHh4wFooFZZ/R4VUidXMC+zOsrxnQ5LQgH//ukxEB3IcuWQMiLoiCuKlh09Lf+EdM/JOKlVA63nu85FxG0pftH65C238AZTc2IFU6bFYlQc6K1PGSFc8cpvORQoFmmdVVXnf/tt8r702FG3Obr0uBdf5C9zSq4qaHlBvt/sJ5QEcyCPQe7I+5ceASqFS9cM8uhSYowUFHnyFG05ZkRv0l7rmD0K0TumN/9zPSEP7IlVrB8Y8hgghkAenCCPViWj9c8uvulBYLFr2B0wDuCq4VQJ5GjCvitXZLzpvBhjkIU7jha9K7bHKQhPqSHrnk0INbSUzso/yYpXnuZd3NHdcqi2fOh5nuu08cfi8Tb5jx9ZkHrsWIIN2hHWKyEg7HoufGeHCm5vlu2z501JGcfnWP8tB2hlr4j5+Ad258L1y89f2Aqip8K6iUXKSixXnrWD9bbzQV5W12Zz3v26bcXu6jfChwpDF3I02vDYOvTuwisXRk+Zg22RCTn6cGYts0ra/6VD5y4nAjWwBFT3koiovUkuMWg8LJmgPZTzmdEaKO0oUUU2DFVATmKZKV2gPll9lHbqKCtv+hL+6WK0HWu/eQjl4S9lrGuJHmMFm4VFVrMHhy0eQQYyY5O8/NqvsV01ZaUbE/eCBky1tiHoMzx1HpAAYqLDgFCgqusGeavxKMlZE8k6QfvobY8cU/anHBu2D2z/sWLaGccnMpVdT/tsXSYV4oIngoUCgQFLeXkwxZY8VIKcAEbndrhhSux+x8WPyuHtQvzG9arLi+qys+l6f/GAs/q3LlZcuFvvds0/S1H2zKwjvg4bWmYU6ho6TCJjevF2JhSjB9lqq6Xhsb+WOiDgz5r69QTdp6boNNzCh9HX94PLRsITJlHedFAUPZh2kCcSHp67ThRVvtvheT3UESQZ5rDpyXcceWvxBmaeq6TWxi45Rb69pPXrSQFREfl5/GXbzGwu7BWuMrgSb+P8N1sI8m1f8vWVCx+D6sEOsDJsd95psKv+gNbLAKLK4sYnfWFFDis3pz6OSGeri2Y+tvnzu9IKRYHsVNwLBE6Fkd++K2UnXpzJLnX6VGO1LzNNpYURzPbIYj3BYy1WXuuRrTq6QzADHKgHwR0uLS/cFUX0PVGgJVWBs6oJDq9q+RNrRhVTCN4Z/Y3VLmDUUJNX5QLlMA4n26rTNw4ma21ubO5KBaY61JSZsqnV0UgWwVGMZ7a3biB6I8l8dbqReykbXzpeMt7OQdM0D0frkmPMiySVubY7WaX//blUJGLOB1cYE0heOmAfbx7TMgV1iuFg8oX/RvKbKbBE9IuVMc6Vqc/WEqFQxdCe7CUhQH5y3wf3tYHWVpjNwhEn3MWHhnXGbhZPeEFa/z9WezwXLRv9TrawsQBCXsVHeYVqGAfJYHSlt1j4YqWvJdn18e0VyfTmIONthpcLj24XnneMgysIyg8FAj8Yec5sH9xRzln8m/+7NF2QhW84P0a5tqYNahTLgSxKlKdmLmw5jUWPdtIoGuY+1yHyYM2pWwsHOEwfq/hgsElKCfPrKaLAxFyS2g+Y5AY/fwrieSnQEmxxWvA9x5UNyaMOvb5qC79v9JATsXPfkQOgYPJleFF8MJMfF82jVyS2mACVN0RI7cZ2pdjESmnv1vWLFoUQwUwLN1dGSHx4f3ZOd426vw01zQuweR3vPxFZ/rLRw/XNIm8sskqGrsOT/wwt3E2DWX8pBRQJkH9p1anoiB36/6sYk8vSnFynIoNh8WCBwoPI6ubFHLN/K/SeDOLXvPdZg91AU0nYkS3RcSIWd8It+qqvMhA0dhYXvGAQAYI3Zmjjo6G1940ciEWOGDkNoHyqfVFOEAxfdtWZkM+NxGM03Mv7yyypmIVgRKYeMO7g5TpPH4FJga23SRn/V9kOqYY6DcXTn+EKUrh2PPSDwfkdA5Go0n1CtyMqDN4ygT/IlZLmskUs61FPSQHtgM8vRXTJtASqjyNRyGE8R9uOnI17ffB7fnaqAANun99Ek0rvDMsJG3i6XQ9K6nb7kr9xJ/mjEpNZfVeKZkeKDFc2wq+L0agoMCIOeNqS1b1q6/W0P8TLFuPacOU3NhRBFSaBH3BctW6P1FABKRiEOf7m/dvwphl1PmgfRA58lThvqrOpHLw10+sSYhhIYQwu8iiCgtIjTP5CiwdHMJlf/M4bMfxOHnX+RK++OX/yp/0ONZqy1qYi3owuPlo8UlO4B0HBLAT54784kaL9owmxJN1UkQTZZA8F7/97GUPc4K1Ai1a3j3JyxqoPmK/JJfrWshBKBzok7YmEtZMJ1tL8AotT+C2uuAFcXFqrGSnlaZvdOtCVvjqQYDO1r0F898RxmfGzEIrc2lv93TIUk2UW8N9gdzwTyVWHPG/Qcqdd66YlB7WkBxDzf4KNyEDHd1FnNzL1wgqcC6uVDBdJiT7eFxuffQ4cC1cnjhqgfnTS7/+oowLMBp1SMQ71Epk+NP0uEnz4lOtYtn9/+AcubXYHutB3sMUPIrObuHpobhNr5UO0rlGJN5vQ8zwr7ZA3jpa7/XMRU11sLXSdPwTMtdGLFW7KM91ROj+RJHqu1hzMHI/UziFXiug2ZmKY/DoRHyRMbnb6NVFtJzFhSkE4LptI9we+rNkgRhX539DD6NJArH4rQpWiGiCGc2zjDqRbs7VkQwVnMl/aQ3O4G3a5Ln2EI4ffA/MqF5lICPKeHmYw4pDhMV5BdHJziDkSqb/1tXvO56ow3/q5dD1BCDlejIsqycshKnEguiGLx9alX4Q3/tS6AkVWFi3cj2wAf7GzKrJFnHBVAl8VUkob++65iX9NLrBUkzYRL+y3G9ZkgSLtZyKYAb1XEoMG9Q8QORo982cTOeeICDeTyjzqrQGKwQP/EoycoYZd9oqX2lWecv2UvjjT0A5bCYKct4Eg+uzA6DwtHE/b96+P9JBxhl/OWngUnr56TVTSXX5z2pvZGe1+z4ZLnMo4QQLZyYpC3jhONlSE6oKc5sb12PlT2jmUqZ0TuarRhZ8X5/EBsNipmakqiH2yUi2Pj5eLQEvi4b+xJp3cy6uM7kQd7Do8F3HHaywckJFEkupPRMBV9YHXXjAMy0EMWdSbgCNG6MzB8YI83Te29fro/BFRSkBCb52iWPcIigDEA9XQFpFuCh4JlaC4eKz/fh0Zp7I9WUBOtCG6Hbd2FNT12ldT8kJakAxPBt4Xis3q03QDJ8NlimxFaMRcmGQDGnQlj2sByQFoJDRrmEyWz3MRqSYm9igAchIwBjY2Z9Eqacf/ihkcjdqWttjeMFbGKw4SKRhaMSESMBzaoVY7wHLgFAATIFA5FwGn7k4+cL7GvYpnpN+c8UiFm7+bisJmi9S7Wv084ZRjIpgqM0ye4DvDjQrwLZxblZ5ujXuIsW70expCNa0qbbs/fH3Hvx6ON4TwJGmOtkXyP9SNA2Q5U5rsdHxU04wLFxCNGHllByNOYu99hYw9HA2K8W5+RSB2XMPdBWRyYce9QXFYTaWvcwSC8OVXfNPFkF7pzLPV7HPwM6PM/VkCobLWycWr4khMEfpw41vio2m19Yfw/r63g9aBgE+yugC+erc4IzxnPY3rMpy932W+yKWcdqlCclhLkXuDAQ4TPE/DPWBwJezJPmgdcOEfUKGvy0uE0CBt2HfZOPmiVLiSXiHCW+v6LWCC9lzLi/SMoPwHGV9YYH4CEq0JfNgPQhD5w6D2LV5HHesv/pOZ2jZEWWc6YPD6ElFJ51BLeOVd5C9LcEW7+QtX39jESXYchN9D7FejZM+J3PC4wwWPMA62yWYrZ/HBkqekbjsmVengQr08yraCMRHsBIzz7WeVOfYyQ8MED0xi971v/MalwW4HlMFJtnTxvvquqNzdxHxdg/Qm/4/wzHJdxI8upQ+0NwivlFTZfKbNl+IwIjUAtcrIS2K56YHMTx+/l2rNX6W85YsD+KTxqJiiTkU0LRJTFEb+tRJlgGm+fgrBs3SoXVcO1JWtLG5jWDYtMj72t3HW9tpeQ+VRQrltZ2sAIyZwWndfE1NpPbEv5/M00cNCmAs3Vqm0KR6+1nUxixLjWi6Hxdug+rbC9L9T8CEx1cjqTitulw6hwvh6Fmv/yWqdi+ocay65Qle1nUjaj+op9RqmogsA79g2XrDSvW7pVWeYM6JAsmOMtRPrNnn+8Mu2pjrueVmX/u38o9fQVkMXnRc0nCT/a5PaA/FetNUl46hRonoTBuDelssooUzXL0GUQXLUi0azvzH06tsEwxQe3NGQ2PnYGRB/6iMRV84yf3n/6XTEsWH1xu4x65dzw3lPuMMUPiQBibd8epDl/cO9rN89k/iD8mvr2d8salrwHS+YHw5LKMQHZqlgJgepoik48/A9ft8DGkfjhmtb7iZrcVL+wT1Z0VJH6HvScosJ30/PTQCn5/kbmX5sh7tvqlJy47ZvAvqtyAU3EayDw3gBSJmETzPJf3jDKkmxOvoonYbq3cub1wuQasjpZyzT1VxE9LSguoVbQDsKKbLVoW9kpapLVKEAw+48gFmuvdoUMGH72g2z+crUPg5MQ0LDroj+zwv2cL6GQn9mI76ApLfJBHjfVW3hyNRfOJ0I1QI65ISWkM5dm8TH7/M3v7JhN/pGl3qMd7k5pum0GUT008IWy0lzAO7bd0DSzHzM4RqsTEeX4ieduhRhwGO0EcBKs8dopn4l7m2eld9oDcP9l23CF84X+10Kj72bwFwawXtn2BdynxUIqY4ZACbjTml7kl/r1wFkuLh1kMYor0b/1rh0rxx8abDYH4qJmSkFpJuQzMJF8oYvb2jWyC2WVisFynL8yusqg8SWmBgCj0laJE+1cjcyguKXyBJoL9xxU/N6c1wtNtEUfiseI3ImCRKg5p5nObOVFN7IENrHm+ZOXSfXiwyvK4MkXv6N6Yw2bp1CssiukvKJRoDbnfcl68iJOonIL8WD8PgsAvIdj7YN9ZJ0qbgUc13g8Sh1h+IQahMACtVQr/MbJPp57bC7d2PL+H86lSJzWb6LTddhmdUhRLsK4oimmqFnWOM8BicLryNcV11VNhFa1TZhtk6R9C+EbXloxrUDpF5t6XfAemjQytF9DPHizjlJTOqyd7DRy+ZDNA32pzoFA89Arz3vYJ4bwcC5SMrLG3GHaP4ntdJPh88dGoCoY0jlI80vY2mCOjHyYFeZknOOXJIoob4ISSne97R5q0xUnQRdxbbxWsOFoaEreaf5lFrdQRoa4kWpmPFjfu0gelC6+Co2MFdVCgOAYUaIOOtje5uBEynRDFCxWChsMBgkRPbxONHKqpMm5zag+jGCJki8mrRHOPvTLmU7OINkrmfCyOMWKc72K8nchuLXVqH9JHIc+KJQvanTXEjy8ykGVV+FPcnzWK30U2Sxb4WLEbR1iHqoE3o9cTGg58VBiG+dpURi905zATtJ7V4gHB1uMD82j5UYP+frXu/3/k5BB2mJmhaj7a8u7ABd7nNo13ehSQkA3ElcXVNFeoa4Hetvmx0HTT5dQJ5rUx7bjZzrjEzIspNR2nTgGlD8OSz6exXA5Rg5HOAc4gu2wzthC2Hu66WVMwTgqI/BUPFuU0j2HG6YVR4uxcVovLnv4rQdi7huT+8zmfoaX8YZAJwerlq17LOFYbtl/swGum5QIRv8MIP7kCxVEs+60kvH9p5YUnQeZ9KdAhLoI4tTLCaPgPnysAyTWBTWOh6x6h4XMhF2ODi+Kw/Z+SNn+Waf1yQyr4FvSM4FhAfyks8wzfTEh8f1xVyqCbA2cgAvdotIwopzo6uurz03jILoPgSrtYmGs6pHNr9U9TcVIn6QHc7ofFgRacKXba2QYaEfnHTG/uOyb3z34ykR96OGHY2BIdEJ7tcd6rUcd45yz6Gvf6q6uZ2KdYmHAfOhRzH4LNYWQTApxRVLoFtiwtalXYvWvAtGPEFqPuJvdnaKKl77sk+BxwsVuSswoOD4CYmAZiAB5KJUAyXpZTtffpyaz2ssI5S3CDd8Wac31t3N9a70iVZrfcWSzwGvzyKmMTc/QgrbkXB3ZpfB0Gztg+4mXqnivMwG41u7ikzqPT1W+syN9XbVfN+/sE2KnionphLvAosEtu2oZCq4Usz3zrzLR/ODl0YlFuq0fPmYB8Thvbg6IMeqitIgDnUxiFnhL72kcO/dKpRRGslHtcAmjnN5PZE21KTd1EsD1dx1y5Tg6zGs6/waAR6mrvl/ltUSgICNjhW8RK5UmrWwtgp55BRKQ2z/IMrie9i5RgJtAu9BPvg0+JHKQj5WPmc8t3BDD6iqwWNxzwZ7/UunxRyU0L9UljVgFzKr9VGVryUoxknpVadFR+Bz6Py9B9WktqAfOORX9pMm0SXfvtTDyBtfIu/zzp0QXQg37w5liVFCnFqMUNQplbRBOIrbAoRTL3soGSfoZSjYdeBnhOih9kygch9XThOc+7K/kBdCO0DoIxcECwGp3IzTtx+VOg+AChaWUZKhPJPsKAdHo3L7Nhw0G7Ji3YhohOaHrajA7A22tgNtc/bFCmXXi9QcaTxMi08XpbXnC5m/SOzuY6vfHbKnl2k+wEB/0xMeP3T3c1jGtkJnEO65J3jdZRbXA8/pspMfKj8Mv2cuNqN+oZMEtNAKq3V7JcQpUXDbmJD+tVXzx7BpMX2vGfTudoJXl43ae/KksPjg346Tyf4RA8cuICSCncSOpRwvqa6WFaOoIh+bC+o73KyXOwnCvze08aSQ7oMSz6Ti1jUTHXHv2pjzXPF5amjxP0JQrzFuZCTMmhvy6lCjuLL6V7+HJp3cBD9mALgm9NgEwB16Vgfef5GG/lAKDzxfMZM4UJn8KN1WTpGIN6YTehwIkvRwUxoHS36gCn34j4bByDL3nR0QJJZuHQkQX/BPj6xmgNVL5kLBU6Wz4Xh4nJJLCSo3pfpZMFRiaiXJ/J02nNUHX8sFYFgewCXL16rhl8xaUibTnj4NoipQw4dLXOGmUuniJsqxMG7edEnYIFwLV4U0TceZ9wJjGegi26/kOLrZCKfjr0xaOtpnQSuK+vOraVSIhsg5KWjrrJfNjzlwlszBbJciP2jrKKDo/GeBsxuP80SQ8pqR6Cmz97fs5ORLMTA3YgUX+m1vJSY9LrZ3qP7tL3EWpBWWi8SunMLBEd6ZKLJDYK6q5W9W0sc6oQSPCL8qMcaPsQ9+KchZVrKCgRFxHlN7ZLxIKChyWlqn4vmamjtIyaHL30Js6hse67NxDOzQ0myDUdYTL+nt/GHL8kRru3JsJt2Ifg172ggihO0N0FMtHo5XHS8l2KhnobKQit80NS2aOTv8DPAPmW3YToA0+2SYYZucGgG6Rmnq6etS0U04HPVSAYfm1PjM94hadrxtU9QoMqurvajv0k4/pW6OFz4N97awqlKZp+r7c1z3R0MNIU4Mcr3DyqZKlr3VOSbxWD/0hvgnssLdIcpXc1c6OPLBoTCnt2BUZ5wkzfZEmgD/BkiXFTo49KTWYKX+Zt/o6/xf5vofGzeWEfl6h7mzOUNg6jMSHam1iF3hV19EXDeYwlrSwj2PQ4oFzuCyb9WcPjk0djBSP+Zb4FUys7N0NMxumSSGxoLmOe5cV9aQN11KmLfbXqaAQZQQbgpMh7iQuPZ1KF8qSeBe0t6jLGQMStX5PBOwjO7w9HzN/ZXLq5ySOA0txuusRgX0LYbLaNqWjVzJMB4DWCvlPfaDm7UJERKfaiYj4sdqGtH6zCba4P8uP95sT6kOC6ITPAAhfCKlAVVFqEkn6Unpu2C0NPXsU8iJE6tBjsMvib7mFm9Tad3K9TWcpmobacOtKCn+uF1fL2MojzvMwoKu1fRLOtibpo9Dd8PElgkRbWthhuyodyMuQLeg4Rm5F47SUVFsPNwDDNVGn65VBAFgicZkHGxsE7OiS4ty/36iNafUQ9eeVCRAkUpkUc/KjwW1HVo700K3FfBfe7tZsIyCbX870tBIqzTvvnU4FqADFtLYAs7kK7DX+kVffWW3KNkS6kwUCyQE8JUu9vLlTyREmpMNktxdDhpK+OYQZ7OwDhb3ILh0umpV00peWmFShs8LTL+5vI49CSDmahctLXiKDTTb/Xn8bg5PwBk4hpM5cdgzt/NgOJRTE6CP4LG0hjPeZ6ccwBvBw+MO1ERuhBue3HpX7Qrqxgyd374xvwa2P8emKjhu6D92/RdoDosruZ6PxdkM1dY/Il5ch/9BgvAu9t7EshqzBdip6evMqq150REmRFzACSG/nLJSACuFs/p2QOVr4ahwEqE3kVwEGACVhJTT4R31njZVQyAJjsEzQBcYp1RnN3ccpW5IfuOoU+PsiQa/SAAJJ5V1ZVe5rihVZR1rYsUB1bd+UIIiVY35o4/VNnwHJS3LqG1n1SRyiQt0DTxswKmkKtX/NFmGU9gO3uXd0RG9PlhButjpArKz2U10UyUjysEcgbTdmQg8A4k8zs4cvq56q9AGrCLdsyf8fk+nlmpHdzbE9mmcFHgp/H9AhPSCcd+LxD8Pkx3wLf6ZWrV/fc4D6vfoir5T/9PLryFtb0WJszG5/SW1sJMIg6jrP3eAGAN7YUJTR5Opj7DRMf4z5Xpke5FI0YZjIBF54aE0ZpAvwewP6SB7vC4/OYL29jAX5A/yjQL5m+TQ8Ko2GpYie5IAk2AVqOG7Yn/+nk4aYij3dusFYe9sJvEdKHEb+/cxoeGwBUZ9e3kr0i2w03GNCPyXwuYco2hqZJ/fgHu54Ubb9x6x9dTTPiCgj0RY0qkjLVu6qxCFbkxMrb/+axogvYfvouNKds/FjU3QI16DQwv79ViA9QXweffOCCSuEZvhkdHw4nxWTkULmYiXL53LHzCEnBBTD1I8wALpYqQNqyTHmQadkJ08LLRFNi4fjpgiKz0dtEgjlfA4e56QFGj4CTRi+Pwj0xLOUhs0mxm/hPHZiMkGfnI+cffZtNbrah7OTi9X/wqVJwFay6xpimDafUApwSCIaIP0NXW6xLdS+3YPfN/Wd8+iAeBliDWAfvxtowhliwFaWnWDAJ7ymuPDrJZGWb7Li74y3jvOXZ+OCeV3u5ANvytb0P/rHLhUP4bjQ7dlYcR7I5Nmfq73fdjq3HilPNG4KXHIZBcTX5EaA9JoIllqPdhsnu2i9+a/Ybt7z3O5Bwji4WJgcRZ4prI7PUynM3LZV0d9Rf65zxaoUBwWpcaAv7cJIfOjEj3eEULIzR6Y3JJKo950fX8v44wU5RuzbsdgvONKFg5iQCO2ym5N2ANUc9S6t9eUSBIeY4fZI0lFkVMR0RnlqvvQAImceCq6BxRQMijtmz9g4FX/bL7d5MLPjZyBUld4I2tf6mmt7UGGATNfpKsOVJj9xesxswLED30RDRFus4TAu0F2R2hFeAdMjkT7icZDFOiUFrLTo5gIBsa2sKaAXSLB7idCi5592Spc2OWDWYk+uwyd7fyd4KqcNwA4iArrgX9iAK5tIdLPgjIq9UybcC17UNveUrHO4KA96MmR9vFr7CZ8PRibxwxDaxciq/cKpQcbIhMAuDMxkbeOXDSbymh2yK06/WN3qV0LPCPEn5wGkQNZYxd0L44F33XIbh5hXa7s8OCzVuLDLy3dKDRTmrMZwGGepEJ5UfG8HNS53HtOJGoJzlqp3eHEpJuGYuug2bLD323NfBB1lwTUqamaE2X6SVCCiFM9u5GEDguLhHS2FSaz4Y8CMGouqJ9v6W+JaYksNRJlUR4rgWmWYN5cpOjdQo05DdgAqt1HprAwym/tDrzAY1KopkuOWbW1+DP1pkE6UhIXvOralAaCbihsXE7noX1CnN1K8tLWX6/D8z0JpOWimVCnaZXRHGLgiHlgEJoYIEL4tKCoxWG4aJph8sGlkxQTGZU4MOzZ+xs4aNX5U5ur3PxFz2SVRJO3Jp+jORVp3IKPhAsRf9AcDp7nBpHgd9bbyXZXnbcMF7bnbM7/mT5U6y33n4batAaFp4ci6Oo0uhfmaP+qyFnpcHMPEMghZkuiINuvRo1Ib21PGtHTL1dEYk0rFWfUdsWY3fzjI+DTl3ZKwr3abj0vtz9QwYJNllkeO7cGlDzYTpY3DqccssS3vCLaST2RFxJ0zX0f4L8AnH1zKlrINFAJYraFczogNeJxK6q+2iDz1S5ABAYM3DXVwb7zH7dPancV6Mb+aO8AwNkxrj1T61pUMUba6TC3jfT5o3iZJ6mXeV/TZ5N/W1CISLD8iXWcCrpj8jS9Fjd+BhVxGPSOyzqVzUNe+YpFBuEr5/F7Inm3v7V+HUGZTeCQBuCiJXIusWMRPTKV/py/uC4Iqom3QycFLw4DofPOhjAP5fv9YPymVSgrj0kd+yX4zWIDhDHxrfTdZ0OCRBkOKFuNEyAoTZConELDYKnJFq38wCdrGLUTk+94zf9MpVai5kKplzw0y9BqPJv3DylI1p00vwmcmeiJY0l5taMtfBPOhYUDb6H/jOiWYE8nXJWbDY3hLiTOxl82j9gmWsXVhLQuYyWu+FgP0Ru0y4phKJ/N4xCKMeDmJ/9BObaFyldVyDaiWcf98rA/5dloqVx10I7QAvxDfzPG+uMlAP0+uNuDExY/utfVdyAEkPM7me6aTl+0R/3fyvcV7KmUEzbeWpPd9wZjgPQ9WR2RwG2aVcH6QiSSf1MwGTMxyTA2KPk02KjXQSc+u6KzmcFkr1Ow16kMb0nwuN5GfKJSMcwEg0UZuv39m4cWrVFQ8rDaTqtSCxwuxHr54rgdQ1ZsJ4KTnohT1gW8DtY7pgsvwBpIxyFbc5xB5uwBTVbxP0k2MIUsZHLjk1AJbkiOkCyf6xCjFpKwDg4WtiEyLA6psSl5t16EEMU/fr8isz8Qbz6NxY80p9VvmcYP03Td+waQgA6mjh53ODlx3UD75/U0Z6rgwsFw0L08IVr8L4eLLyLy/aEKBA1boeEFZBORA6grxCcnsoaKnJjpvAN6SJWo2R0cp3+g/nLvyB0e1c2MyGJh6oIwTi31LTSKj8xu9J8YfZ6MtPSRevPkWl5An5+qdnCLBe+0LGNUbDzax5goMriYlGvg2ptWTKoGrLyJ+IeFs7jKQTpOMpfPIra9gRg+fzeQg+EuSM93pbX3nLAiNz2PSEIduY8Nl7pbM2PRozEEX60UBgXB+IgQ/gFvhySvoYSpD+sZjVy/+Tr1m85UMmMJKdCdNfY0RJd0Dq0+BVZTl7AALTWXqs2uRLySZGImm7hNzOh65UdokrTYNoi3OCK7N5TtenayGaP/o4yZVuro7k3QfZXlG0cqZkPSOElEjfQul/0zxtvVC2bUw74zh5pjwqTVQjxXjnXw9QhlOVavpP7WXDlOUm41Af1Rq0rh5Uhw8D1BT3MkjyCFgUsVghqFPjk4e8dkkDjM7vpaWUdX/YNWLRuqm/u6sxYtIdoKIqhBPlkjdEhsXukVSrGLB6nS8xx7euNUkgzhWiXjKOJ53tTJ6rF/zxWir0ds3GJmhPKEC1NopYqE5ADJtz5WNGUjd9EFsjXe8GxnK1RXs16d4hPWJ4Kvbj4CNAl6PDmA4wY5fIxnHuAx3NuijBMKDqtTdP7wZHpD1Nu3K7xb1Qidr+prr5ZyKb8F9by8kM+6DtbDC2EXCqG8uwDjBr4iHvC1LbXLZi/zjlqAQPH0/VyzuIXm4ytZtGG28L32XrnW8FGO+lQmVLzhsjJcwxUv95nMW5IHMjq15iDT4w6fUcJh08v5fPcFSI20uh2CA1MCTuzVd6dewM6A2yvIaiSUT1KKAAXw97sq+1BmDs+v3f2vMjwURbbN19vEcTzZE2opBVDbIJ0NOdpr2cXftTBQ8ZH12vo8IrqyIk/+woabu8BUfQHeVZfu5ipBRbCwMsoVc/nf4c0LPYZYINKP6mRGOYYcGwQAnfF27oVNhHJ+fB1I0KjP5XbBHcYNZEyMrwCOA5jx/r0eyS/VhzOg00GGrXhiMApZr24R6EJC1sgGJeWKu1dt9arMi2wDJBzL8Mo1O1Q0P4+nZBjscEkM5PDalwTk9rBABAOs+CHbiPzpe2MVfmVFkS1CdsEdTfQ1R3d6ECeXkfROLEgFEJRCCWCzxjvM3y7el1ksgNzvjmuv8jxFd+bXXORE3VaI3nLlhzusAZFJFEKV/TNaKmJazXR4BiWSBAwLQ2ygmycANekFuSnoci/vZdP0sgGx/Gb/GIrPS9pHAxoqZcnERoeJH7m/E2/2B0pvKTjy2NJ6RysXLsrhA6Zr27I2rACb6Ea3Gi4JNIR9BWLKHuU9C2YUv/92SuMicZ+5VY02yxOpMfTUSJul97yzILCKEfmlnKB5H0b7UYUXwsnE+sxnQ381inuNyLT8tVoNdRORwFKO72yUO7IaHt62GABgTpabMnzzRmPYCkre+my7DdJ8Htxk35wRX10sBaxybMRVGyRW0kECCBx8llt+qHFZVgMKEejgGykHmxHvTzw75+bRzW61NFmddIrtoU9kQEzjinU4g8ZXUYG90m6/qMk9ZoIcuAjkmu8kJ7lF4JXD90Du4926x+gZlGdBvgE6JZl4f3z90JQasSA3Uh9Wd3a42NtQQY582bR+EC2p/jx8u0EJ4tHPP0oI6qC7R/0R+pxg3nyLvKE2I0Y+eo23kyk1xdZyABExk6u1UGJI+1dfrq5ifSJ+BQiW+zcadqTdJWjy2V3FSKTMoi7qSXQzqdqp0QNoGk57hiO4V0FWLfeJubCUukExg/cHCunCGg3JJ6KutgdcdZHtqtn6wLRhzckwOaHVMR7lgAka8aYesm5/S3mt/ZOMASLtdTkf88e1iX3vO+QkUhp56luLvPPlvo4/cWTEK0ZLq6LKBNFiAEh1sqPjvlU+WOnwUJPprO/ClVHlamP8YBApecpcd/4r/J/Vk1U5hwhHTQCu12i72h12SuXVFNCAFvSdAneVzQzWM4Q0DcBftXl/n/MXp782Lz4S9FWAIpWm91Vxn1cksavlpB6vOMbaCEiddBsEMftixyNljeEjgB0Bj13bKKkjB+wDgsKD9c3zpltU6HL59BozLYXbi83WmHk/NHQ31AMRxm3G609l4EoI22Qp6ur5lO/fvRjbU+ClHSzesX/U+Dtc6B/naCWrLfz+ovSY7Pb5TvXIMdvc9hxzi4bXuZSDsR5UCCl4uwoNrZS4SBlHc1q+/vP5YOvCdioOw5WLI58QE7avMJO1E3NyolTf2L1BxPzuaB3aD0DQFsKdsSeTooVkZBvHKaJSLjDUP+TaMLjU6K5eiIBej2qsQvxyiQH1FcPnQTPchF4kVKuz5Qb3PiEAUrDZcs8bvumGNn61418KZqjSZqyOHUOO0QSwcfIeACTtzReNbNkk3odQi0V3FqWws0zwS6ci0MyBvrIs3DCVPGF42+vehkKVVoT0c742iNrQ1SNmMi6rCVHa7mx1x4Awza0zXwxFROtum8PrgKprfVmKU4kb5X4daBErm/ZUczdbQKZgD0p2ur/wcdD2gWJl/WpCQZNTNVYOp48zpcSSNAc8dUUm3KvqhKWxZN3rO43146Kyc3iRGAvWsgW/xCguzWBPsPCATbpKIA25qGoWxrn533w+8WJQRnJzso5dfiazI0L6s8rTh4Il1LPbwtP6yIwTFSu4Anud7iDk/cEcxq4td7JRp4YJ4nefZwPYYa9wH0Q0FvbUx2svib/+0pUEnWZWZVGHOTlp3OjipHVc0HTkroFQWTU1nsUJgRPHLPg1hyugwbgvLB5xXKPjmlgE7dQUvmKVW7qO9IsuMpwyTfK8kJ99A5ikEQO+n48Rm1pZ82hPo/IVffwum0gdTysmjvAofYuFY/lzy+mMv/n4rMKLB5REAJpdtHRmVLdz01EcVtXEjjf+jqZq1Oa+mzBFh2FkmL7CBSaxzSv+/vhQpemdZ9Y8gbmv0kcxStLTHsI2ytEtInaSg59ECPgKSKtf1Ges0J+DWRZ7Rfvigd4AlQHDRRY33DNIWz4Pg8qzeOujRzl+J3i9mjzOO5YszCY1Y/UQ+nOBQpBOxp8atqjfaB2JWwi6/j9OzOSJiv51QLPeua1sLKSdQlUFeqpeHSkqqSrMwiRlGjmaU6fy5E5uO8GnpiCDpKeDEQoz99458Q/GORWv33TZp8NxI6OLo9RtzOTb29ceyAp2iZQIVPyil8OSeAUI48zA9wz+aHHIWNv26rC6KpMHqaJIvLlB8lDMS9zr5S+hgNXHJC4CEtt8nLgOlv95h33RU2a/6Bz8oK1TOGIfiZoiwbfpN6K1iMKGsyWlwVhh0/CNSSqEr9uEgChJ6cZwuPqCvOD5jLF2HnmI2HU+JKzqQIjvlwF9OGBhmgC/pu60F8iJ/yx4g8jSpBPWYzt316eKra0RBs1ElNTnEsfgM8Q4f8ehumIc1XtiJNj2qYOxXBgmtMMwbMLIW3dyjudhpE3Xqvi7czFVczIerTe5g199GBBtZ/P7VrfkZqZyFe7UGknszscthZTlDD4dO+i88T2KPhg9++0G7/2lQBI+Jj/iiQxiUvuQGnLOVs4mP/NGHTkDqg600w1A16eIvc/WBLWESGY2fUdfr0ZsTU3LAWjrpYB2hHJTzvYOF8VBZdi1CclG3aa9PdX/KQt5j+QRwqNLUgbR2r3Ut3vzEmuLdPvaSOvmwOg3/gecUCd2ikFY8HJFdn79N9n04C++4xcbhiD9MiXeBGNaH/7tE1+vUT4XjYsSumD3xlEJDmuVyRvsLI/U4nq/K4vfO5eUKSctuyUJq6NNaTs++3dLOeo4f9X8KBS/wm0NBOeIrGnUNNQzUHg5hp7onqKR55KWcuTK/OEmwO7MFq8xzWqL4szLXRqiLn+n84jGYIqXrdALz11BcEI7rqawzJcGfIob8lzcKNFMh+eARgzdSOd+M+MuZeljtc8ThOeYxkim4nH7XNa12Cr3zJnbwbdav2W7idqpoLtnvCAUZZgVSWkbX6gdRCF4c/S95wzeN2LdwhPZy43YMybzkCrjvDfEiaIKYITsIXFn28Li1YBdCvmWinUbkllaza5bSXqJeKjwXBn56J+YI1wfLELTTKNOA/NDB9pDDo8XR0Dti787T3XOmW8CC3ZiFKJCIeKBVziacG9flrtjEvJcjh7vvE+SmSslMybGx8unojUz8AB0NXwG0CjZcS0SgMYXQqS4xsev3D2+VT5cVUV5n0aSCgZuqJW9GmAO6AsR/vD/t1js9utNTDD4oIBazx7zod4v+fE1Ri23/XPwpEsJgVfVKoXZkd0kpQ1K1bKOk8oQWAsbvQTtmJNu0ePtL2Efr8X6mtMcn+ULKEppWnUj/UZwm5MMsdt4rsMlLnkM+cGPsoy4hoV9ym+nEBwwNgTppZpfNhHiVPhJu6EBVAqYnGl5sXTbQpEw6ZxEKqdks2grCmqijCvFbapVc2JIrf1gh/MUbGDmT7xhuEJ+pOwsqHVtb7U1ceFo8FpkbEdzPyBF4Zj9tro5zPd5xou9t1bGI+5ql48D//bDv1O20hwS4ZjfkBPjHRdH7bGqhGkH0dpiVeR9gQFHalQSUjP8wcsNFmQLbkAwnR7YX8mcKw0e0r1Pq4NURSANvbP8cY0t5KBv6JX7/xQd8tBiwuO1+oYPhY0t6q52ln+KrJH6xUC8+ngeXwuIaO/WETRNCyTs834SGL67bslbEIHN1+Y5tUsUUbK0TYdZUF0sMZ4TCWbaN5nI3k5z+C8ak3a5PfONwtTxK/0KC350qVf0LYW2c2F6BBklpaE1SGXnZ5Rb15PUVaBnUOqbjXcwwTOnt/uwh4ZLYBBqd3qgZCmuaKhPQQhHZOeLpKJRAnG3rBcUcQmGEaq/0l3SfwlRyjllIvXdMhTA3m5DjtZMl6EW0X3/IATPmX7Djq5Bq9PToseQCJbnArj/ky8ms8r16wVnzp2SzvVCYzY+fJl6rlj1UkXp/LxU/yn2j6bG6WB/NhxBiYcMXUkmHSgm7V45DaS1459cuVmFi5+MozZWHysahmnVX6Uak0ax6K7cUbGsy1CG2oFwaVEd6yR5NDLf8p6z99oD822l5+q6KaovfZ2VUK5IKJ5aSwqK2X+tlWendXodzYfY/vFlXHFWn2qaHPpd/Og0tCje6qqmy5guHOqsu4KCM5lhGVfXKFgQpIULgphUjyF8fLdSFX+npdIwNmoWxutiGG+77yTiNoLCRUM2Q3UR5GIMEXQMn9AZuUHL/ruE4VnujmWQnBF6/Tyo+5Ny+Bo6ZxGz1YWhO6C+qCF3x6GxZ+8PlUHePveUw8CPc4zBFYGEfaIj/GF4b0WlZFT1LAJQhbG6k+jyCdoY9yIpG4rLgR8uQrYTHCUl28UmdpNDiH5ANnl0UP9jHd340ecuZmK//+xAI9WrJEZixesGniDOZdCixlpf/DGlDtQXcMO5gCmeHeCZbandrEbWTt0XUcfeX70PIPR51bnPK6kqLiUvmF8mWPuahHntU74fAK5kXk7NA7sc3bvG60fLIpAp+8tmaDHjmLqPwVDa2/g4xg8w5SWFbmGWmBJ+ROgcBf3BwL+RW17gDJMs2oIzhGpHulB+ZkweEeqG/tnu9LdQod9BzoIl9ktFAlF3kRN4rLCAFdE67Yv7OzBtcegrqgyPcAjqbPjK17K0Y3rXXygqInNWnBuf/ejVRBIkX3i235LEURXeF4cocf/DBaDP+rPEmGRyOYVx3hZFQVcgBE4rZLNM7soowfY2TTUvePZR+ZiBHXIlpxQhq/AHooOPAiZk6mmv3oVAIixC5+M7jOsFYFoHq/KPtbvTLfqUj85X0cKqoeBntYqwukXLeSOtaonba8VDsMXa/PT8YyDAD/x1jVvQyizIfmoxt1g0VPFMMP/MF0CBKLZ5lJTA5HRcqP2URFb1A4Fy+w0C5pxJ0rwM+j0dwCTx2ZGgRqI5FArwRa40Y8RL+IF2GlqFvWQsL6YaPT2ZX+ePqUGHOX/UyaQ8J8sZDiifGkdYYXcxHjJZRktYWVR0c2vQsOR8qV2TtFdsGGWLmntPY80h9mUleiFCwcZG9cwAvM3xPEqHWvE2UfMknTtg29rkAKJAUThipcv2hdQOOkWNdBse8kLK3PnePi+um6tAaDPY7Vi4GJpcylWpGZUyf1RoCaAWErip8tGCW97q6PvG7lg9N2PGi/qPhPJ8NFplEqxANteqwlVIjegdOfunb+SgDRMPul+iHy7aAssIljGqV1qrfEE+ew/S8cut0Fy7IhyM88hLEFjRNzmSXBPS5rUnoxPqFIsPcGVIqQrSQaJinQ8HlZzTryWtqqT15vTrJaBAIQAaexP8oTJT5IKcvkqU0ww+1oXjLA9uU5iXc6/WSB/ggcqbEWwZVV4Oe5jb0uotktJAJaNJUEsR1jC50csQ1gWfLXwrtaK5kvV8hhZrrZjNw6KOArbfO1HRmoU9kDqeJCOMJT2zMawOioCvB/WzGJh+Y6aiedko/TiLueniZ5zObH0IUVr3iAoXBtROgNZYuusiUrdPByk8mDbsJezK+Q9icyS7i1LzfH1tQqaGyMFWwohcdmTAWxTNWDdPX7Fq9WK5nlFSYPjTNOqhsR//erszI57GwpuM6uCWRuLIO52l07c0IsHBocCfz6n3ferK8oX86nvQ2FclPaMTg1vfekAyK7RuG3Z+pNtt17MvaV5NJlmOe7LQstudIugY6k6Kwaa3kDsadSgRc6eQvCAPNCYvY/sbKjal8qC02O5SA41AOkuhSITddcwt7RFkZeh+L5SJjaAtS3kVD3i77ZgnypAziKC/R804L/vPajDVxI0q3xPlUrrNdmZgkwaXloAHb93VeMIX/YqAZnjGWZGPjaP8JQrQe8qVfm3YTFN8Lm81SJxb69eeET0EHiirVvmRySCY8aRsh/IJ0hhpiVoaYQi57f7OdiPCVVnOpdZbvZ+uscU5yi7B7mKUf/SfZSI/CmaBjbTpvcS0k7fORIC2et7ktvehXBNRBmLolrgZGJ1+uIuQuEUZm5A2Hr1bVvd0QS6/tz5AGkxJ8KfEYM0FL08WiGQHX/5sXkiZYYyOlWSyEYmTD5LMq+yonK0zssw8vhGt/4n4adzL5kndX6xnEqHGIPRtA+oGPSu4uMq6gNgKH3FQdR64AL81sENW7kQ5vNKhijas+CKU2VjqZXUqC1Q06xfSP1bjjWqQI0fy0J35T/E2duq4zFDF86W+8L29/bBRz3jT5r9BwScfFgYJp6B4Q450XDmssgeqcl6voDlZh58WZhzHVMBwq97Vn/RQ1IWIwqCXDMRd6wmSb4gPSpgpMH5jNEFwWrWj91H0EoyRMEHw9SsPsBwT0X1JRDU9cNuPuTnuuZCxVo2qkQFd3oO6XmFKT57Ji2EpJyvw5OMc1zZiYXiez77eJZvCWTtgXax4ACd6q8r0aG5mM5vgdyqPh/tlJ5Cyo1VBaAxl/1GkC9jSp6qOQQVKzqXfDV5aRW/ORLtzhZ4Nn4I4dkrMUbQ1rchtwSLxutuNGtAvlk3EFEjHvN210jdRJ8fhtE+sO1qFnl2G7Q2TDYUeGC7XvgJgUrIA02FBw2AXxpMVJX109PwOH5zDDbQ+gCiP0dXT+VgIhxEcLS8+uzj/0Kxbwk83Dj4YEX7DP951ACG0w83vthftu+V6FuAa6lG3YQPLTOrs47axYhwkd5OWPMVQzWV67Sr/mh/ie/HxLh4T0yHkooqTppiT3CaVJy7R0NUhQJ44yoa2r1K3hRcMBdY7nQiSoTU99WmtafAlgkzFLEaY4eLRqzLqBOk4Av65SIkC4L/0Y1Jml4PczUDgt7O4PE+ofrNbdaYGJJI7sXTu3DTzYsMcZiDwpYmU/GrVXIELcOlhEUfDI0KSYIf6F/DN18YsVi6POHe/yIA3dBkeJPoMGnoD/sHX3qwNIFTY9KGRVRI6O2kQzxwAeDG9arEGSbIjRZrU3zJAakp1Mzm2vBkB4zi4haCYWoUZc+AeHzBUMYLF0u7jVd46bd+k9cX9sJ3P5hqHVvboqABvGq8ZuUrzmi/VInA5hMhBFoLRUak0DihKYAwKR4k/NOnJzDgMt36ZueZRQqEPzOIPT9ShETV894JI7fim1EKlGAGKsEYz+beHPrOpCshhQTCkwlxcxaZRiCXvuqf6kpNbSYeqx6eyBBIhQrHxTXJQTLpMuH2UFNMTdWvX7dJmU4v6g/dhCh2J9ByaZFV4EOydayJxJn4CGcX0M22imG6YlsOQXs0T/UP0lmj0P+/ESE4O8FiPlek9w0y/Og9ioYbfBURd6uiJZKRU76g9D206sq+adAYKED+0uIkxMw0NsWwXmNkjjVJteBb87iOcxV7sBT8FeChZaC4vHhAhL1Xd4WcbNdL7ZGhJHguMvxHD+YUfufibGXwwj1vqGBei2R/s8DFu1G88xcW+gGYa0n8K+3anoBEx0WpDprbxQY2F3c/NvdfVwmugY1rj7L5yIqC1XuoNoRyyWtVHMcmLk4k4xE1SsaMYuyTR3u0lQH6GH6DzUT2RT82JjWT8puE1Uq7n1h5ggN60R+5uaZMh6iV8PySRkeKAAUfpGi9kfIL/6GXGExJhAYKfvHiVKizCj9q6j6xbWLB57SK4mlW62/tbZ2jchdzHbgjJsIB2nv+IB2tFr5jQ7BLNq9MMVSnhTE5imyOT/eIY/IEX3XXuKZ21mga4xR8dF30H9VZHAyz37PthPYxSPzbVT7CJsxb6hirZDyYWMtElYWi8juHMRJ8nrEpyq4A4TPGUSbBjHORS/a9ULVLXsHGz8TWqIAlGIEFnDOuy3jEFOclvBFGZg4zBmQ/A9wfnimLz2rYciT7rqAZBMmDE3uxYFq3qH8KaIkSfgAiAaSZsZqiGxWH3hF58r9/o4+wA8Qc5zV2Zm3Ok4cNYhsGAmcXkXmv3WAcsT/g4/V96XZuXILmX/OL/PTKvcRkCyDgwDR/nMYKZBIOYOFGRXKfEgJUGAOVk7rha6Hd1xkkxlQlfT+g3kWYy6e4ZVjWczFBKxnneJWCcXnOL8O4QDzpwcOE53YnrrlKtNaIVCkE5YNc0ob8//mp256vaHPz7DSDukUyKNXVBvjiRCgv1nO905H9pwb5QIkYArxk+m6kDEBg6dnCfwTf9fX/2CbicsJ/v4pFuo+pxfaJvfybOLS2U9mN6XkwLAjIYsBXOVjMF//2cV7Fg0CN/ne9TW1BJRnssVSRqab6Mk3HfOeZmO0GUTWfDUfpHiMgvqcLFVhP1w1ajHi/MP9fg5ALQm6cGA4R7GjneaKJAxa+DPDpDaKxleUmrSEHIGp78V8/yG3uWaW9MHHE5wOqFnLZBAxuH6hf14UrkPCeidnSQhAaF3FynrrpWRGmZ1gqXJ8GV4IvdKBoVy1mRkh3s4ICl5We/8Xjm3QmQgNO42JNmZcjFT9+i2LcrfpXSQWc0W6WdciwvIUTrqhPwGwX6oYs7l77yhG4EYl070k0GHzOvcSbZvu2jtvBa6PTBid3+y7a/+5hw7nbE5CXgKGD17EqM0C04zv3Sf3OZOIMK9KhecjqUnWIitvVKXzZahdHzE2OS3YvIOG/XD84RNzKzLSWpZjKgjd8p/M3qiI5Xld222gyKsuKV52M+S/ChsKNiiYFfHXJPU9yVaXzFf7KzjyEm+U8EZdQ2mvYc1VGqQhldS4pcO2ONaP5efStVany0PcipI67jsbm/6Pi9m7WPbCexaaPE6Cms3RLw6vspiQhZqvGfqBykTWnZMU0cKurMGKUf3LvbQ36VxHGaauKfZD2iutwR/q8kjonxsngM5E3/wh8bVXZiE8cj+gGL67bB9AgbegmJetFFhAH9hPySMsw2Kt6mci6uBFmP7EwDXFAWdHhh6y+E9ouwfWX+Glh+ge1OG8+GQAHFltwJwv4ZqMAYW6iT1vS8KbUBiSphysTr8KHVm9IE8UnJ8y/bj8yneG4sZy+1b5qvGU3t5loo7YRHqx/i0mF3DPK4V/pv9azxD8rd28i/4GMvIPvk6hsV5ZTqI9/kErSvywABswPyZT8ExfMd856gtu6vAjhr/9cR4bTXmfR/v/L3d+VcaQE/hX3HUbBOnmx+mu+9hoABjV9XBTNop6xwuJtdSlbISo7l6jXunUrNAdTRcO6zSXrVJbPOWCya1bVnl6yhKZgnJ7KkvHUzBUcSLFJk20rQUMAhCNvKDN7837kzP+D938VHtIcMkdJgSQPP9qGOWO0XvLKET5fMG6JuU6UQvVIwIeLy0DV/qZ31bRiOgVQ4iFSTU6z4GlgTATjGIZA+67KhHf5qnnXtfp5OcR9boA3XCu2vROgkVVE7kTMfyeNa90dL9f9tCXWhrkOjBh5UX8Je0CIzOv3SHg4W/AzBmLfn54lRcltcp7nzGs90MUthO12PSXhr31Zrao28vbvcN3Tk0GmiL9yV0qwExKGKyrScBoJQKCuRJYORbcWRpIbWr4mk1vP0FTm7kBE29YBwhDYNMpcLO5IuMRD7CiegoxszP861WZ0rqlXfT8nepx6BcD8awx2ltn6SsncUt9e2V7lzfyB0Gvzflmm2NtG9tMAPV/vci7zBEvkQGvHTdxbZgJOCqyMEy2feyhMvgjY+Hv0g2rurZuh3X4NusXgsYyWiA+S74QeSAY297mqxF2dyJlQ+jljND9tjIK8gk69hVBkr6N6eCt1wuFbzMMdDhdKS0VAzCzhupzyiBQR9omF87CQ41lYFSBqOHwhoGlYE/JuVKJW61hSUnQ38Zd6NM4ukPUrT7aWr+Lv/HMUVZu5EvVm5/XqwBibve7fmAH10ifd+HI/EiRI++GUSnYOuOaU8vhQKnsBglsVpiX5FTrdxDwJpAUXLeN4pnBROoq86xlc+V+6tpQ2migsxO4uFo+nsEe7+Xj5D4sp8Kqn2pq6IlSnbtw/NJwRglNNX0X4SoWu0I8iOxfUBAM9l97qebNyzwRm/yeqBOOJIJyJrn50NLyB9PWbtyo4JU9PxvanjrgrUgYh8VAsrQefpks5nh0NksveD3rs2JPZpETBy2z0pwGImq7s4xPMVSsqnKi9Q9i1jb03//m1TphoS8yD50YWGFF2VWyVFjjjj6xT4FmHkZz4zfMUCd1aDgxnZNCJGChKflIBIyO61ALUBh+dAfUjRaarRMr0L8xfnXA8OFHku00LKQ6HL2LZ8WMzoS9X8z1IrUxeOarWguwEQXAcPkBvEGjCjqNxZLOHrEuqMLUjWhgmIF1AC+CsFUP4AO9kuHdr3mkSKUU6OoYKhk6Gd5QFxiokv5MxvGEaBsUOnBIVpPMm3K9td+i+k9VYgxT0Rc5jX7NUX6XZI89+5m42ssRLoTn4oDaro0USndXwUATg1BP92g0huwtjLz7DZZZCLhisUdtZt1sCYTDRyuW8tL1qyib3qZno9r9AmyXoLGCReGRIbZaFe52oZ3lfCn5K78hpDnRitS9Mja9Yj/Hm8lssmE2scLLh2U3Z6zH7+0CpiMR94iPp4ySTcBjTOseeXv61ZIbwD4ZnmvJ3R+eb25exK5ap2hHYYWkfyoL+qWDqoV+TZshzRkYPT9cZPz0RZ5/f5uo8Zi64+0vt85/90AjzLrbyNvOL93Ig+nrtm+1hWmia0xLEyzBgpMhCf34lF3aYMn26S6x1f2kipQl2nIsl6dyAsEyhLDNoHWu1izm2p4S5LxEBSD2+DzD7bqyNJwnq94F0z9H+P6bCmh7cHVTlqzKQoAhr1YpQYOe/x0eu4i/px7lmHP+SmYXdJE2V/aJJI17Eg4nBXlFhAp9NSHJ4eqKsPCEQEw8rktnvh+oFN7BcZtJDs31u7D+SgVkAFguEqmHvdc7DFlmVoOSlWQcjtZ4p4Gt4zVoIppOZbHNh0l0ItIt2hriAuOCQ99Pg78vrqfvQ4e7aC6o8HEcNALISfyVTGM7HJvqThd8OOZsarcAFtbl2ycW+k1R6x66M3NaVDABJ+fyJmTygMYR1zM67kdY57T/Qy+JMY+uCl9UPn8+Ju0YNFPpETTBRI4e3+OXtpMAn5Fu9PG5i5Ep2LyYsUgPhnn6XbcvHh5ddq8HEAAMstJiTpd4qvifo5u2RC47CWAgmNnPdEqPeJ1TABBV/vUyW4QmrWO/+pV0HOOMFDjTp8gqQWWJbiPqtQfovQtYQmWxC70CkS3lUHtMT3ryJi5wCLdppwH6nqBlKLvrxbI9whbWVbMVm0uNDeXe5EGLAuosK71uB1Zo6q+ClQ3Z2LLo44eLAW9lkJ6WwxHKyo3M6OvxENSSI/Q5/kQB+GPj2cClG7Q14w14j/SwPx7o5qpP5NlXWQvboXnROIkzsCGUo86+K/r8yOYrAwz6jeIhLOOC6xPaXkoVi4rnc6+bPwks7C1vCusjoBvGi1U2aXwMoA89z2QsKhjBjdkaNDr3mm1OqW2IfFgnX9IpiNYCmbsAylMmUZMfRDzFhnfLz7IdamjxemqmBoM3oFwufnTFF5ah9uXTsQnt+j7PPju/im+u4mmAKkngO9xk1CTZ7WpfX1iz1TF6BWYZr4rT77cxTLgh1Mkrm7LtXML8kZf+PvU1kYVmXWd9IWVP/x/klmA4ENXNkHb2MssjhhVEfEkEtFgrq9sAG7WEAEtJlvtDcq6IfEwMUJuwLGk8iMM0wgbWXscshx+fMEh5r41JiAmZvl2Mun+VYrW475BUXjZbtsRfJDfACyIK+4FY0AKjeMD6BhFNiIcKJi3HnsOpNv6qJWf5niQYBbBklut5uyX2rJpoUszf/jqsQoG0EYw232u/okBboPL9KJfdODF6/7aI/cAlB+1Km617FdcW6MFDF44BKhhlmzIY7a0Tss56j3A5zDO14Cg1xD02Gr/U7Kkbc9lr0K+E7NNe98Mei4dNkUHhQzjIh8vmO2OjrbgNzFKHrOVaYlFxho2KD4boOKuRuSqqK3ZPa//aqfJX7Xss0NcLu9L/DLenYU4GG9OPn8J/LohAitOt7Uir76ZmdxnYFncuT1UVfazbHKK2IDhW+ALfdNpAwI+jz3u05WyYFZRxDLk2Iyj1GpPEoI5cgiGOHd6dGxqwvrHgH7+q3Wu8GPsPsSio0zNuo76VmV46Je7yJsZSAXn9QVcnkaBLCZaR5AsoXdK5aodm0CDxbQmr3yWkPd/4cofsFTvi0NquFrBoTOMfir02wIisnf7C6wSY3CDG+XXQN95WyNBXtQl6nw6ug9YGgJihFZijp+hUh37/tAom6X4ATudibVp7OlCaS3aSFsQu4gmkSO1OSxRs6eVHU9XGo3YGtm+2CHM9zd0gb0jLvmAfGE5cgQFisV8kg27x8ZPGVT7rrOqbclwGRP7J75aFusQ0q54uboluGBtyDaf6eyHR3OBBMONbZ49W1I3cFEgaDvKXwY1XqHsgMYAALaLHbubECFio7q6dVkAF0pAewj1SMhLPLvaGk8RXS5RlCD0dl8GHhI/yeEiDnBVqNSngoIFDsgHucrRhayqLqPrCtjYFKTUHAaUGD+6Kq/YVGNhnBmI23rVlTSUvxFdFfQSM/vDv51S8Siv9Whp5P06/pCq5gXOr6rsloHzmNHbscR1UkS+bhiv3XVXMY40vWGq12I1MVfd0rl7gwa90ciZtOSazBKKimC7wnIoxHoQznqpHwBVXAjSNQZ40LL4sqmBn6dgEUOgqdzk2AVvzZiuT7+UwWcJTVXZO+RHuaxfNesU1gsDtD0wVpWWywLhMFoD6Hzt6JxIOrcPc9B3Y50kzJpYE64AkpUIHA0mNimnXEaRVmLQugdgECE1Y4LIkbLCo8JdkSRJQVu8DYYN52P79tcsx7Evp49PQ/OFcglOOmuHi/7SfBf+CazXx/jDQwDpC4uaQ4v7ZIbrczM3R35k6qbpYFvCPurXcGdq9DQYA9RvLdBuzrH+q7ilenyOFDdpQZrYTBwW3il3OEwtW+D1ks1mMv4mA6I8Brnqmis4ChCih4FVW9UHZiL9EyRkLgFcHaTOypnvEdV6VPItXZBklkV+0fi6r+j65Ze5xoW3RyVOH9WYdMEh1nKkPq+u742dsmFqMUVMa3PtLVsT1IodV2EzEeiJprA8yygeyB4jqkt8Jw45YOgt9BOJLf7V+gKioFogngqOhu1CG7Nns5sJDN3eZjGebo5m6u8kR9FAToo/qmRT0Yb0FnM6FBnzfygCqiolSv3qQYrxcj/WxXLG3lI+7rB9nppC2xFfPQaiwASrQDAxsF17RtcpxKg25fMp3IPHt52OWY+53EvKPAXrJIfYwNJs/1kQqjoe8+6ZPPObxtY3FyOZ+Lmg0HlNmjpeuvXPEbWaWDPouLMBv9oUXepuX94rPoq8yCfnmlb4rLoGNCUwtOZGdAcBM7ES6+2tzLi3odfDmbbgzwaJoINZJsJGVpteV77w+lh14rf9XCj9jtW7p4eIb+fQvQAqbu+vCtS5AltArie5SxbQv8WGTVayriUGxk8BSaz0mWChKRVDzNm8ZIpzUrrEhs9GtgyQtMQtyYNzHHn5QIRaJlwLfPjVzRV82Yjh5hE0b/hA6nxDLNoH8IT0S9u3F5NjqlBA88tg1EfrWh85jHW6kH6Rj1Ea6QKEg0yaBgE7lewLQ5oSUcw4Rx1FtcqNfA23M2TjSF5YkimDNO5siTj1Lyok3e/QtNY5f1macCIUm/3yT938QPOqfSpbONlj1nmDHsRSboBisNhvtd3p5W6ouFIWKrCZhN0rkapTkU54S98HKn9YyZG0G7dRgDBhfNe4pL6MDicPQpb8G2D/35DCMm1IUvhAXTQqgiCUlXuvcTG3vsA32QEJckrWIeGc2CLpNhaSvIRfInrDeyRW6/Z0nS0asEW1A3aFJNC7EIg1d7iKww+OcpiDogCXR6AEds36oR5ISuRYbmE6N5C9OuBMfLLOxRRn4Nrjg1PK2xO/v11CH32LWMDH+b5SoBHjDBIhVWe1cUe2hceM0wR72b8JOQh+YJ8u67EA8iC13EdgaKIEz3to8KxCcSbMvC2XQtGM99VPbQJfegYXk4khv6F4IATPyy3wbLuiBGxiu14kH/ZeEAv7ychTD/nhxcyJTVnOSt7lJz90hpwJAbqwWjGX73Fc+G3HTWBRbWQB3cfBhSNRBawwtsgubT9B8sEb0KOGq237vfIFYxgToIfeHytX8Do0fnrqWMgYlNgM/hpav//pSh7/70qqAdoBR0udfgVhuusPeSzB6gs+jBuO8fbHCVBQmVUqZ9GtPu5E2uy5Q7Uzd4G9cI9G7lRzIjBFtNckzjWK+c9NgRpwQyjeAqRLx/O3uZd4tjie14j+9BK+WONcdGdXBG6lkpdeIqrQNxRr4WhDf+OUMieOIapnUH8luaUL54Ho173b/WOIqAckW6KeN4DlkGoazoTP/uiuHJzEIWcXag/HCsZMjEQPYQ7FlZ+VsneW+lIpxtlVxraahQ98fBfaNJByR99cJbg5G87fyGYbyB45Ggc7on7ZvGuOdSJ95h5eF+Q5nKn1JEf5z3HhhmSeRMB7Qq+V3DgyWzReToly5ZWN4dQzUYjrFMJjvxW+LepQqfIA8wVuHuwI90Mb+j1JTk6xCRjZE71vto/Is3NrYow+O7eU5VwMTV3ticWO3SjQbAsPjd9MVnd8o63Km6urTicXRoEx2y9h10M4L44dnalLCLx1auiA1I5QMxZ0pQcQIok0ZsBtADZuQM8WI6LdYkeidgOE8gm/NPBX9Cf/koSHJ03AHylYbTRZrDmM0QqmgmRmnE9ZSoJusntRpVSCkJq4fYy6QvSJ1BsHwlVzlbn/ihQx0g8gB5OflOsHxYwYHkKXx/1W7aZrBk2gby3dqa6UQiXBO/XyDzSxOl0PPTDtzFonFkCl96DiXxbtwEOc/0mRjuCkIK8XAoC0LLQX4phEV8WGHXExHQCqrPETlANu4/lfUc1CkpLlroalCFoVm7nQevDkAEFSsHlFX2AxKZZWVExttCFSS4pRdmGLjunUJnGd8GVXWabU6KECPNrLPeJvaxdHdoF4Du79TBRZz4114kmaWGleyHn27MezhtLPicRsPKU5764Dt2hB2uV1s3TIatPU/l9ZMU4gmlCj2vvuBzeFnbXBWgghiyjfwy+7R12K4PacTwNvqpdI/rQGYFlPIEaInEVgJ2W38Sr+K0k1PB8sDLIfRnCPqPl6Ye88i8fwTRY5BD4TdDxZIXuhwhyiUV7AlFb8zdxoqtG6UCCvR4wgDI1oIl+uUcHl3cQ4YJd5x8IgMONBBS/JQgJXbjjLe8shcYy4Eu6so+VRnQj0B9QU8Aagy3QrVGZIvCMQuvjKc3/MJs+LZnFvIXQXYrniP9OiIIc8MMKsa8Z5Zd/oU8LGvTQl8NewKzCGMaopE0gTyoRl+tLHIGmEslefRkWU5HKnqU1JxwLRVW9oZEs2eo6puCv7kDf/AbV4rBgsNH29KaHqlAANyx5IAIIV6AbOgOA5jo22aB5NO8ZbrouRmqXWnKd8g7b81+H6kF+HzC6z7MTQAoX4L29xXcKMiw+8RMRp+wFQJFe5/qQoKTfvEfcwRfypRGVVezXVVh7F/UYOVuzeMBQTV+4Hb3llag8K7zZ6KXaYG8T0XvdcwS89ubDz1Qf96wrWl6W44X0nTZwyAQI97KUvXHfSiqtZZyp3qBKDkyod/h3aCwDSAIlSvX+R3tmYUH8MEz6rxtnjo/NtpX5XZH1KKejT4hZOuV5i6fFWGeK8qQtKVg25rMDGKwQb8rrVHS2Bg2hQOSFpTnssAecyNLI6HkCC2E4zkYNFqYQ+Z99IeXLU/g0TWXrF5MuUftUm1sl9wSIHLjZ66e8umGXAXLNr+45/eewJeY4UK/+CK0PBbxIkQB5KNXpYcOwFkEJO2vvDqX5Dxpd29tORylM0WQkXpBKcJ6VsZRD/XwHfNu64Yi2YHy1MGde8r0ilLBdJc33l0XAti9MC9wUYkgIT60JOCdYEiwKBmgYKSahncJKuq+6ryZBqWBkrXp7NsGGnnEVM3ybJk1pdfAwE1pmm+v4zb29H+yc2b7q/3EOquVDigN/RogcBSlbX1w5DXKbL7ZgQsozp9R6mU8eHRnODFeoJooIYR8KkVImqHhRKXOAgXub5JFh8jRA/+g5iS/vNBJxxLpiGDIt2hL48TWK4Wt3d6ptjqR8HAG2++o3xL1AWb0if/S+qmLUa7XwWxab1Xlbpwc4dGcTEs8SAwEFneaPrG8p+pGZrB89/kF51+i/S4WFYsNSZAk1VAT4DWLVrMy0MrNuilh4wZ8te9cdMD5bVYa9MadQsh3X1NrVwMYIBELdyOyMyjtZqqF83II7J351cwTJGiuoObmiTVDdl5cxtNR184LS/4kjJgsM1W+7ndG4bZvYwfQrW+Wzy8nJ4N6EN2yDdYsJTvJ7wWuRuJm5hOZkeThVY3UjF6UEIybnB2CtKLqahzPxikAnEWkfLoK60Ee6jO8QmKQTqxA8L6KJt2Tl/VduM5xbNEfgUwz7MAd7BaEGE+GyuESdFcD+/KN4WpTz03j5sagaRShzTRYdlb6GuYuqvQUyqRkeZtRrvkU49Bm1lGY+C15rRUZb8pn0fLJGYcIA4BJ7oqIXK6Drr2YBCgGmfg4ikGNFm578J5MDWnTXsEObK5gemKDeaUc96CUVIXcWYA2I23gYRMWKwzmF28jdwsoxVAi5VN9F/UgMyholRb+QH1JJoObRd+O9PHo6qywKOwlyHl8l07+a0XiSWAHewkD5MxMbSYst7tv0n+7rufWdivtfKEQp0zdNvo0GXXEP+udQzKxRE4DxWxojHmccba79b8lTqyT8uqIbAa1w+bER13kgRbNXvMYBc1gwHgtzT/B2XjOImqBw8tz7MgxwwEpbzWlT3LqNoUQfVx8+rJi91kj5Kr+M2akxvxPFQkjCxGamYLbADDyHYQpdhy1SF5D/F+kg04IThU1sKb2LThymA3siNLueOzsKI3PMaqfEpTwv4SZ5RcnjFTPK7cIcEc3gaAwXVpHTRenvzNW/k7nqX4Xhd/RxEwKKC3sB/5D7I1w1H37F+r8dz+5Z/GXgSq7dtTTi+Ig1cp18Pa94r0LQW6nz0Hx9rZhKQFsDFb4BeHrqHvz5NuE+8IZnyuUcIG/yMDVvNNM9EaRPb39DrtwhFXbGVvjOiq3oejVNuIew7HJNxAKhl9xPAK4ESQv455PZtTo8TPUgNJ2wuJ1FqWLzyIYK5ixYRVD7E1nBITCn4TzY22F4xYZyYhVYTUDombdhtp1HgOl/8Cc7ep/BAKfTH4wg3KifZyftQuMwBIEX1TIUSVqtdaorFTgCanMDWruGRJZL8cCwEcHw8AnUFOwOstRaZsy25v4+D99B3Ktlf1FLBK/kwcc85OZykcTpzuG0oRMY5aPZcFMAjlJSI7cP1mYovrrx7gY9K41/DADP5Yx/b7KFlzK4MRL7xasxy0kwQVKXPv544guKFsHtu+MP+PQos2/1YdUKH/yuvRiyfUVEZBwuSF3p9IBuPe+0lNuRJPZq701tYOMfDer6Ty/9jkYCNg2TsthFoQoDKXIHuYakDdHUCKmMIcbbE+7xwU3UvRhsyR/VGmETYGBjZH2WZ0tOkYhm+25trRarXMcL3OMAsYM4fAVGK+QzeSR+P80WE4KU+qfvbI7CNkzxUW0tSTABA9ff3CxNm2GTu9VFkBK52UVKAicyz/rJrrh+N24O8h22hBJg+KoBxPylR/H4gT78L5CXogFb4Q4LUne9JaNQa3wooZt6yqROg6zLGuD95OtuqFJ9IT/7EQf4Taj8G4HZC6nvAKg51mJXpBlImWkAaaEMC3anGXvZM4/nhk/Mi+viz/UTwqRqZJMU6oB0uCoc3+LZi1BhL28XBCOtIVlNQCkOeS22UBf5IBAusawAGv+YdBvXSai2bylw/SAl/zYac96hio7g/eHZW7rt2JaAcr6g3DiKs3f9vJmmOZDA98tqZgm2crmTrKVnxImxwlFNJKi80VoO5X4jwyccWaAklvQldhQdZ38AmZmTfrEe8yWQR99PPgDqDntK//eFhF0KB1qTOxgNEj3K4Ojs/6p72Y+FzdpNpxMaj7blPd8RdpErZbPyu2KzS+t3/g61KidHgsJcyZFLYGn//O1AwR0CgHSYHd+0fYXrBAxbrl90+NGAgtHPoLT6LZ9uZwCV9FQMEScTYT5zzjswyeE5WhXCs1u8Pg+OkngQ9Gvl60Zb9KyKovjdlT+PwMNi3X684ospJnsWZbYyf4wiOS/DdbkDUPHjerMqrKjEvpWRCNUDspa/4gTShJsWlSwdUQkGOzMBHqn7h9yBb7djH+DoIXaE1xeQm3QMW2el8Qe4PHLoZggTGPX1FLX0J9PnMlsMVn8eqpeZeLqRaPIO2ANv1erA0nhp7DW1yC4OLxSgMpBcUPDlCd+xugIfDOo7hfcQne17rnVFGjernBPIzbqCIo4yEYMAH8JmIwF9B2S5U5IPR/sYscAzSh6g/b5Bt0r+dTdWjG1wVdjI5mxButF1SzglvVSqyuCreN0SV3/gJ5g5ppnpwyXY51wQVmfuS+L+2xZPotpk68bDu1eIiJTsP3OELBZfi04mYtmzdXG6LLTbLHpnAWOHt2lXlVvfXB6MXK9iAzFP5xLokMbxtQn/lU/PXsIjn5rx7xNUBfH6uUIBos2AXslnoT6QRl6AnfJYxscxEnQ6xro8BwUPk/xvOtyiKVlPNCDW0dmxgLlsXYDKt7nd004wyGaiYNFCZ8rD90v1MCvBRaPtPQKY4CtCmDLXLb0ur23MgzkFjSurSzT2f/8YkuuWf3HYmulFKK6rnrPrpIPsAzkrBDlQu2PSocS6l87wQgKfO2DyGvfgQdLqTxz03phOtAhKSBg3Sx34zMvTg/ZOTFR6mpjZAycUh87OgRlziHxOQWAZBVSlscpPbDEWjiSgEpOFq5hUEQ7VZ9pjd58W9jALJrDOroOBy2y3ocmdfiK45utvFLEKyXnZf40J5L7AUColS20c1iwxVQNPUQPmheQJl8RpB+brK6NlY7vPTFieg/eRQ2gtQYA2Vj0rwp+GpeCjm9iHq8cJ7XhhuL44vioHFW8HOlHbUOkC89Qc7N0RwBQ8KR0Ych2syw67EUc9mGtI1cgSyFoeXQYwN2ezLD3hGaKsHS9uZw60VR2ed6AnuhUWBU5W8U6EWWB4W2L27ZCfKh6yKkdzw+dhQmHSlIlj+u6jsAp7J+YkQExnyX4koo5v4b2cYuVqxDI23Wf7Ma9l3s4lIwHlZizpL0OpU/hOtwZg7qj1KQEr6wNAMcHoUk9Nk1OHgvu2wQ1RlxEojRunM31mEHam3Gi5D4DHHa/N35NPLgFR1BG7ZYF/htE2a6C+9PA0Uzpf8w993DKsAcF/2noXGN10rHcQnPoZcb0pfkbj2Rsq07aY2NyPXxMoPf20EttWmOQJRNpX+vFoegJENlyuQBf7/n0Wh/73d7AQM3Kim3wja7FMYf/QjnNyulUEBEw6Ffl/3x8O4h89xUOL4oAKbSPzCU9CaDzt4ZxnAqkO18PkPhV8/RFcHDjdPpnPYyE6ldhXp1NQ3v+UadXPpzmS/XIk+G8ySV8pwBWDAUs+P3d/AVESDi6j8SggSmn9PBWioCWURQlFC9Ypa+UTJ7bB4mtj05fdd2YLX+tjf6k2YgXbKMi7e03P3x19orwhutjW+twavS1XOnx4aCfiq9BGa49F7zyqef1CgDbixPCTtOAbAz1Tkd/P4zSJ8IgCSvbrgnhbNqtpQhZm06TYO/BjJWMKay6pmttnsFsBMiTH8E+PnAWOwl6QagZu3axsmpf33c6+SESZ/pSCw569d2AR9fFuTzXGiqFzUFyFSziPJoTFODVKKW/fAh6WW4jTFN090A9XBJIEG0yjhuR07pyrFpnGPddPSm14g1sdANgxiv7HuQEnTfysQ1vzPRj3f4I6eSG3e6ZDdMIHPGnoDfKOtzxHD6jvp8RPzsKgJ0zp5C8+FHh+GSFlHkJtJbxrwBVmD24SCchfEzDEAl5ihqOHwJ5NV/d9eC5YLlB6SlacyBC1RTssxgaDc1l+M2uC3OZ3NutdJ+6MzoLed1VMeBAwHI5YzcBDfSnpxtrwb6KCOcc5PrhxXddt8ZcadA0smEYf3xgZqK1c6/+GEDHAHHZEO9SDMWTYnONa9j3a61MWqkVzwgpL3K55OcKeyGy7Z+RXvLRxSQGzwq33GDEpM0/mkV2T6efWNpzBMjeuQrrMhTMXksAO5Zz/Jy+kISjVIT8qQdlQn+hJYrGq3stwr0Wt0Od7sPQDcBc3AjCG57W7CWnVocYUaeMOd4T6+BjTxHyERSDOKz5xS56GLFFEt+boct+XEHncLNdpF15if/LAY445ifpjA1u/Eu2YWPUNajA8w3veCesZ2OEiafPeLTVgSR/e5G0jfubOyR3jwtGa+CzA96oR9J5V9k9qVhTfus5EQotRrLeVPxaifgsi2W4RJ9Ki3T/23ix5NW7arqNdG+LDsoHxfFMA6QBJB1E0moXYP3n1V7JASPugga8LLWuckTCOQZzVuALEu3yQ+GhcN6iXdPJ/bidS8ua6ZFZWt9Dm31ZAdTkQvpDQ4Rq7K2VzlzsERV3TTUSdGFKzXVjAY9WwSyozbX7J1rrVXI1F9yC3gpATDw15ejlpsIq2oY1UDGQYtwRqzrcPppOfyfSqlXs3EQB2vTsl4lkRI9gdyvorhrIqLqFtDkXnXI1HJrMK38Rf+JcMqnFMRqk9vNsGm3jBuM70JT4IDrYyFy28eOEmVHeXQh9KgTVFGeWmuxfomtU7wRMJ7/ZGotZOfAoua45TkqgqI/fynrWoTSBC5ZhIQzCYAi6OEnngUaBFVLZnQZXdVlpNva+r89A+tDY6Lpnyd4NSNPwmepAQosRDE0P6GTJg/CSGmWtre1BCkj7y7Ebc4KVtzIiYz+ehnZv36dQX7lRb57Gwkqb5CEPDYJXn4GPS387gg8BHFtn6CDukVlrQdJJdqceUauLqQF9N1V2pKoJWGGvn1gLMfYEVxgBj66cSp1nhrcm/BGaACh+FccVMxnmDctSuGmqAvI5ZOGy9oswVPlxJ7zeyhqiIwsFIN0KYOU+Xi9e8KeCaY/S4V3O3+D9WTpO4tWgW/tGG/ta9M3P2248vg0XS6IGP+z0qJhgdaxv4JpoRsU2LziqdGQ/oUN5Xx2ByxB0YtFljgDRHqO48gqZoidP1gwN7R0Y0ZP0V2ud9TAj9N+YkdnJaJHIi0GZDTTrxzXg2yr6FANcKPX8spTXGZTNOaQLHvzQh8WX0fVvmB4DXi0mwdUnvvNp+mCxmCYzkNlyh5YNxPkntIxW9L6exNJJyawrsg/Fv/6UmxEgdTjFPuPEfIEgVRxWl5xCKGbflRKA9FeWnVYXYom9BirnHO7sLh3+n3qpX9pQJtr2piqL/Rl3KgZsNAR4vnqQFNPuRtpJ6H/CP5xL7cOzhBTXqj7GPQx9kTNVaYW6m8X3ZykTkR4bZjTEG17DvPYOGwfvOAqGU6zOxjjSF1bnVXzLTZamqWv0UHUeJYtP3ovUrNfyJYpBWTLKi+22eApbxd6iDuTFoS0Xnu3qKDOiKeHumGyBpGUK1H6YR7SUEPykqULcxqhTb1b9vj69fYupqZGA1AM1Dk/3oNx7BPDVDSqcvXpChVpaDEyOp6Bsl9175R/7TnqXZlwd8Pqj6lafKl5L4fuo0rE5UJZCqQKXoqoBkzG45ii6m2lCX4011KDnOdqjK8+LivWUsLrWWcpLo4oPPNgz6SDRFmIjzethUj/Mb2fnSUukam1dtf8v0Dq3wU6I6MVasqld8U7xKFYF5sQ39QTUULCikZiF2y+f5f0DIvLpqCTGixg/TpeuEkfrD7xIU04H80wMcjntMcrdyy9tWui2uDaqABvfFud8a2jxC3uYsH5ZgTwhpoI2KgQTamXL4szIvyf4bd9bgY5L7WmDKhL0/6zBor5AwXo5Lqd8vLh7b//Do9uaHa2/91URQw/xDo5sdVAx7/ia29ELzB8HDlhExcJ+foxi/T2TNqWA5R44mteV9wV22bwcwSRa3VJAydyq8xp/HGzR3T/5Vvld2k9XDN/7Mi2PmgM4Z/PEDibZp12mnSdg3dugxI0+/ypUnWHivUt6HRmM0r1tK5m0WVPF2nuP78MJF7+ZDfuILtKqHu4gnXIDWwTSUVWfurrPZ0X8yqcK5QUM5oHt3LIctxS9FZRF/OaSFQN4EWwRoTKx4WV/MGCL+VPx2EWiMwBbrXu+2j1f4GLe1GtS+EXhHiixXOpdSLMJHSHDk3+Erc27w+dqT5rWNjp2pLvnU2ipmq+Iacjg4rJOMD6+LsQcZnRpM7R17aMZilKr4uFUXHz/f3RV9IH4Z5H+3YdxC4YcCYdAUluKKNarh62LhEIeXKYUNsOVQxXPpjoOcUjXBChhpmA2wBhUZqDUz1m7OhZxxSpu3vG8Zpi6ZohQKAwTfufBXe4bXkYdZ73n/ueAYDNYTgA1on9XOIaGou8QFYC0MXCcPryFbmqihtWMbl4b/AqaJmmJC2ILNaKkM1x/d/cV9rhMDsJ0wcFlWx/KjTzvfMd2l7z6tUCgB8qFlbi9vEYUdxrQhWPvaUNKwGHWWNkjRQBXH2xGotiiDpngIaZgvemm1c29ahFhcwfJasoSqOlhzv41R5q0cP7zIYrB81xsP7sflbQZtYaZ9wnt288sxyhtXxKA8peoFlM8gg3QJwTjS7okCskJTvz8SROgUG4cffQdWuM4yikYXBMQz11tWtJFrW223u++YZaUJdARGeOP0NAxUeoE3C6wXa0n0f8pmEdP6uPXaS7/lJDvhlIPWMsMJuNX56E93B/J4AjxbXp3jOAAlTreCK4QuWcCL1lDNluA5RLfpGNk8IY9OYMyRWLrltz82R+iL6KvfUuReCdtaHd54BF0O5H/O30wFdFpPzmDG1ygD4WZJ2Ets2YrlyCKn1hQV1l9PhQjxB8HU3ghYVEEuhuVpUNsNmkcSsGbZrNNgyR4cDsKS5UMYf93wAvvFz5w1ipoE2Lz3Oj3xgEnyeh+uEkhayAsk8emaY+4Bu8gLJM0w7VGOgARYXSGP7guUEddsSmFlMDIw11iv0YpmQPzh0dpRmJ5/1YVVdGlqHOIyKrMta6ZpOTvLygFsK2nTFEA2JHQA9879r4CAWodEfmptJQknYoFV8slZ1BpPumPrCeFyROqmwGdgoB5hyDI/Se3xP/ThWQOb49Hg4nz52x8Ep7mxKWrjhmGmMuPzWF2aBMEOZi8YvZnymqyhseA5HDL8utJWSV4ADgNM6JyLlTvHfKDrbNPKb4Ow2CWbyKFLxkdRrmFkJb9OSCiUZkATq+bcUVAu0QjwbJyzvoBQQQ0wVhxiwRwmHxnjaoFDQ41lu6c1buW+OuzM85NQZD1L5kHmhz7Y8UurV6L5QmDRoI7SQBWCCq7lSok8NEjdn16RMmb+PnIvKNr3YAUQg3fBD9cVTVFjLSmCyNX592h04DeEzPbAUDECl4T5U407PPkV+ebB+rS36kdBUmym1p9evJLGcgGV7eRegXi6O/jrDNAJxj0caIZhMnKXcDkwEZxP2wP+8OcmaEvY1CCkkRvM4BTizo94+1auCVH2lhwsSKxrVY/Ws9an/e0CUmhomq5Vih1ZDSmjzng5ORe2O0Hy0BuCtqc9FXCNST17aYskqKDWfRzB4AMpIrNhPMYA3TXBUV6HQqUE405gWw31dMl1mjgJrdgqE4AOfyh34beha7DmdT2kpyUPckTqnY/3eBjy0RO8SknHILKCMgytxC/WhEL6SuFXlI9FgbM7aJqrU+Xc0Jt99vROs98XI2SyTWBaIh8R9CugkhlzT/H8ElXjQfNwtiX9uSU+glYEomv8LObMXdY45tEMhB0ewl2Ca05zeff9cQ5fvTMQOWEtoUEwVQT+Ilf0lxrTl9QQ6eft5IbkojZ4NwyA1xT/kUaz/FP3a1NoFH5bTkMgwj0n3soMUiKjI7zH4MSY/2icvOjq5EwIwWXQmWw5LxaBgrBUiGiCeVswMFndMRSeH9vdMvvLjfkgneCb4q20MqoCAS9C6iXbryVh8DfTaL82WKf7ReX5WMk7digzdXtbYfvc8t/BeJ86PuRHmIF0XdQL4deUK0gbyEzJfBO8vblyYKvW9XCb9WznIMYLECnxcbvST7kAiG3drKxxoDX+JAaQRY/5f5Bzy2EELfnhz4boyZCaELiKkBParXv5nE8L3qhlL/YkwvJM/Nvot1ng6fsLmafUFnVl1qvYIgRDtKOozZaTq/BaB9eNawh4BS31i/uN4lFGOH4cYroJNKPqmU9CaxvIbJgN2HmWKsAoDjn3pJoZxQcoN5pXGvNJLWs/3zxOjUNwVtV0LBGIdon8QKH0KwcOQ/KFPrAsRndbfCeT32Ii9kTiIivFohNLB4S7Qsq0N3wfRIhUAU23koHqSxl8qAujQ07FDlVQevDxIoQhv+L9V63E8RbM4VstnG3Poke+6Ik2QFAiKe6yaFUJJW/YMocDMqXw14zGb2UPC2nNmJKRh9ukF003fUObbusro6qz5ACXXacsxXXnxXJkGJBpYylGUDjWcZpPK67xgpXgCLs72IOH5hZ6LUCa09L0Vb5gTdDhSO4nmfofUJZBpXxVBK6Q4POoH6rrC75vBQ4ZsK9dVGgfSp/2oIuAqjIfx6zIpTv0yu1OJIQJM5xgX3qpMBJOjnaQtn1AoECMy2W54TEY7eau04KrikTGaJXGLYxhu+96Z/C2W95EnoLxuU2TS0jmULlCnrkiD3yIJS3Bk7WZJaLO5MABZaWqkFdvqoncuvlkx7Kq9LrTKDr0peXZmeQIeINe2jc14h9wWoLhJLQ8sh6dPiyT05OPhib2kXPhBKXvEJZ/GjY9zArFlmE3U4F9OyFT1L7MKyDJk5FSj1X/WpHlN5nzwi3Rj/RdeTZvLWDzeWRjkqxESrTNxzx5V1X9k7dvdaFUbu2jokx7VX6/9LFJO4XX0yojNBZ35WhfRw57hiYsGsRepPVK6hVcXVZ9B2fojOofXEBP008U38JoKAEfBVNPN62+hRotbo9ExxFFAyxcyjYBRIX9XwnFTQqiyfVgWea/Tm22ezaQt5Pvykwh+ZgyMtKEU2396nsLYrjDGAbk/39gYsKcUp4j0BjNlRlq7xXp9vF9lsnx1uYRdiqa7ELdx+SpQIMZJhv+ylZiq7Nh9I1APfyWx1VrmG71eD98nTqHsJNKMme35x94iCJCiRC62+CEk3YY0SkDqCcoovgYPGaEZmsKwjIsNetpJvhW0NoxeXBA6fUZN/L6Z5kYXPNPZKih5zHU46WBuii7QBsD+lCi1EUirZepfONbrUu1YefsIZ0rdushA2DZj3IOBAW8fNECiKVYvMVZXbsayF3YLRPDBT/Y7QLU31I+mLbUqRGQfrmuD8DkIDwZJGpiWBU3SvbATJPM+fWFYINpgwc59rX3FcOrrcQPkWYFox8sDHOdPcKBrXzHxuSFjW0GCM/dINA8tlgTVMmdJIaGl1Lv+Bc9I+6+vaCaEl0v+ukhQndi37diwDhuK0FSZxGOlpb+alNwgzuHdBtQytd30xhKF+qK/xiNZXhjqk8gspCuR3e1X2ZA7fvAlHgn2yAf7nKP+tOMACpLrNFnz9r3KUlCxPQom/PwIh9TOmw9cYHs1Sqqv6cjyaj2e3Ym5k52RbdStsnwr4vTA9/hFFRnpKKwLG/9ILYTtjw3YWqP1x7MRA+gV3VGdK24RZZQLVZleFPU+Wb/Ic0UQnC+0WYWj0P++CACjIalubb0abE3WQfBxk8ejUAbz2lgiQbihhD0JyPpEzOWiObmSvSBCEI3Gsaaf0ATuq2qeMlclPM+m5g5s7ocNggxiVj6/xAEMkfc+IHZkZPRE7YU/npEU61y3bSJckSSZskXyFXSH9sVCndScQWiKo2SH6oAEYe8XoVSmSGKdALS0bW27n0BSBaRzh4RHBlDBHrjL5KSl8LSzlilxOK7hTFxv+S1nfvRcuv49+Onr3BssfbC7BSAup4d/eYebJiv7NUQ2CU0lyBRHtNnoK8PaVjvIWZSl0XK1Jwjb9moznKNYzUVu9dAvKFBowpOKhU5RU/nOzQgEJNOjufAfknZE82JNdhyrSHjH/EWVciB/elZKRr+vwOt9rQQUyLcjXLZj5vzRhFt5ouidr52moAslXi0HndpwMD3PEHGoviFiaU3iZyJlIQHrGlX5q9mDsBjN3oE28vLNQPl6uED/fcErzNgV8dN/k1ho+4YrFZho0BXOROv86bX5hR8dpn9cpbWDr06zlpy++95tNQi0E1dnpXt6G0fAPzaxOxZCcFasCWdtprleJ+eeUD3NlRP/lWFoIsoA5HhxFywL6p8F1aAHTjVeWqYt83C/K6Hof+LzHZizE61JpiON1nY7NOj8bToY7sGuTLRv5rXsnGQ+eTnp+mMfhAe484UogabMAGLLJP+Z1aC/b79awCHkD26J/jga0KBVA1Ot5WyNTgt7uW4BDL0iBxymCuO6n5it4CUn4fAbWiucgtnWc9ptOjyIObbFqOw2GKy7uXUzgmMn1m+2p409Fa4ZiNEEfkqUDzhBwmsI4TJqoQ1MYnJJtue606rwbbXFZKzre7I2PqtVN98h94HYz4HPusJTlLwjs7KXcsCH3aErFfhZ0GbNaIYJSnWviNpP8qlpVlikyqpgbK7jl2Y7zDYhENPCqgDbjIEv+opfF7K7gIyBUl+5TPKKdQXFLE7WF6CMcsMEWWo1QCapHlOmJX8U+QQmc84B4M7Hp7c/EBgRh8ifRQpZpvew6jl98mmiS8LGkldpMRYZ8r427+aZuqvP6gWmLRgBfmhNEszDBlKfcw+UBGr5R2JCDH75SaI+XX9tb66rZCrhG11D/FjpihmPk/nY8mcfPgkK0qVeGOZ62zwUKGqy6mO5bPcOIp/OA+Z3m3BEIP7BB1/gs/7eyEHRJJNZTS/kjmYNQFgwSD7bPLZZApOKQpOWSD2TxvkKj7qPCspAavMvdCM2lQSxQJ4Hr+KvqBrTyEemGnr8+besiGJmrrM1iFnPYHPpBf5Kaalubc6MngWLrsE/4A2YUTXAWPWQqeuQ0QvZel7/keFkka2JtGm0DWFnuxgAXvGMlAWaqS2DOXHjgUR9UmA3Y1cMCGrSLjJrd9GEbZ5y9cHiqNahCY9SkhYEQ23QSlFsNRSYvFyjhaj/DGspZhlpExDKPQfOi2WVNiyyYMPIPDsJVzzqFZURlx2ZOB+F5fHLSMr9RKEzQ4HavIJfHTHo2+GtMbV3dB9op+g/9XvcssHij0tdTRyXN5hisFbtm81AHRQZQgJYp9ifDwTvtZ0Cpm8j/i+H8aHKyz8qbQNfLNaAq59Iq6OQbiT/Qz+NJQaqT3IdzXBpzTSV1o7QguSeye7dvt3sxaunFTC9dEtjCnNp5ZmIiqja2Qx/Y9l1nYKA778gK9bujv5FdN2AmUkIMoZhChqjDI+vX8HwI8QeGSa2iUjtnV8YLcL7pWuC5zO2tvDbvE2eqVL49vOjxEsbFFRCKdgpVBmaA7toA9tKZfHrfX/6vroLf4taVwuM7FsuMY+rFxPelGvqTROsrGM9eT/ocE9JoR7xnDaopunygMCjfSq83ASbw8aXswK3MHcpUTjtoa9S4R5ZBL+ow/kk5W2jpBzyzBU+CBF8Wz2q27RHIyYHPPdemtYaDdYFm56RKJc8Fb9xiLRELYTH8S8ga4YBr/TltJxu4YOHOobcraoOs7a1SbJwK7a3m3CultCn69o6Wsm7nmT/wF+xUxrQO8DLcAPTqmd8ceidhcGdXW8QxCZMYBPzgo7/r2LYuj5NhNaXf+2CyeF8HBV9vZmTmbH2kGTk28iK5upjgH7OIGfPZTgMy/8TInwbeEzKhpofXRvF3VX8y6teNT6pd6m3Fe2PfbGvxR02xIlynMIgEEWOBSDiCC/Bsg7QdSA/4OYKrXceoacQqCdLzI6RES0H6DCP5+1Po4xIJEgMfc5kJgVHgcgLTlmnA3tebRi4UX+QQlS5Xm0AhNKGh14E0569Y+YuS7a8Br0JvH8KH6cT+mKJFJt95ZgavRSwEIOc3wYOpzD7WoWg+v8+bz1UPmXgfbiwYhRxJqUEjCcarBQc27ZsqaOGNAl87mJ9MrcDygrAQlC8gbSIbzEe3IBjrLpghCQxCbL+MnzLEg+75QBcMjLsvUWRdoyqWyokrxLV2dL8KR66tN1G1QAedMB3Fn6trnQh6x7VAaLAKVFK3aUFmpI+MhX1URA8TMG9aokyYfIUfW3XT23eQhF+pisnGfF59dSCbsmzJRSMmrLD1etqjGzh1oBw4xm4cT0NuuPWjWJ85gWEutIILN9BMWhYVn2SaV8E7wK9xHPpN9oBqvgI1svBIijok/FZR+/N8L7N2bPZPBH5/3dUFp2aJU4rgeFS6PVvK7ff3dsEivRZXms4nEmrXLJHuc0tFUTXIlhgtxYtsc6hp3dbNQV+OTx3UMb05DLZqQhISknm225hs6GbBw/TEqeUq8v6fsTxP/Gs0tfPHlEjvq0x8ifipRgrMBo4x0k3xjSz3qnh4/JmawT37o4dNv6ppOV8JQQVe/bWH8yUcANCIKKvf95syNg3budabz5fliNBRv/UEX3OBkLX2OeBrMnxRvKjQBwCafDPVo8F9CQDjDPaDy2jgmZtjlLszBVEsG/cgy655RKjJX3zl1HwlgPEdF5OoOhCFoIoBTmY1Fv9orWQDywyn1vBoEox+f1Yz+vyxwE7TBiDBjIUnEHRo4WiClMVJVf6dEO3quRQ2wp1j5fxWR/mJdiLis+//S4n+2LYhuz8/uufAjfl70Qo+NND6o9S/tvt9bwzhg09Zgv5jNpjgwZhGw8VdvUWLwWhYkgp0OsVeTR4Yk/rVDBxKi0nyoCCvJ17zC5lJYFF8ge9esKeoC/GmpvedBM9q2cGqme8K3ismnA0oA+VVXLOpMjhMxSPaHDsW7+5D7BrMv7J+FXXGKIP5Ea64WhQzil3rqavPB9Cx1MDDfGXFGFfq2WrJFTUrYLQATkjLf+SU8uewzIcmyiZQ26Ya4z3yMZz5Sx5lpnAbIY04a1pYQZc3kfNZ7KkRRSpZmyYccFVo+6hYjoletKTyJG5KFyvlZImO4s7+2WPHJD+JbS8fIVipfW8LSKAVVC+X/7rAMMSDMLGoF+wOtmsWJcNiSUggA7Jkx2eTh0HFRmJOTcAAgENdvdp8K5gHy+t6kNFMofvLYgHr9muk3kV7DMuo9d/PGAyU5tvDLnG3dg0iql6dJDQ2hk7Y5fUg84W+TFoMfFW54UqapKupEzzS1TItapcYdnswYxKOUf0qVkPIT3nWfIUCCcfwwZGmjOxnV0y7w5y7dIwFWsKeOkgjT7dxt1Chwcox38+MeOqG3YLxbnOf8tkPbYk+EpeFzCHK2/elrV1r4oV35kcWyjoCPsCrZID1QVRWvGA7zNhrYkGWBE1dOXAS6IxcuJ8f7MPhDMGI7Sk2QdMvLNsOxtO92liG6448c768UyzfaexTb96C4qKi2piL7of6shQKf/dnrMl7Is6IojwJhXVgWgsR9THAQOueyp2YTp7/hR1UCIRh2lZeCRXoi+3N10Snq+66v/TAKUdVSBQPPeH/8dNqdZKKKTzbO/Bd8FGF1RY4HSveUm6JSbGF3JTsDSr1FwAf1FjFrGH7xSoVrXwTnDTzQo+7WpCrLlxNq1oq38pCHGPk8qZX9VjjsZ4zayvPXjpwLPGqrZ4goGy1SkjBmpg1kPHrYYI9KBwMUnfC5GebFeE/hzFlcnSjQRGu27OpbOo1EVMwCL74hV4N/vQttIea0j/zFbsJhBfLROSZQmp4PdK7YImok7Q0pNZneOYTA7BBdLNWpPtExvgdN9snE8/Nt9hyUoUCAZJgogFbLY5m9yctf8Flx3ietFXITelTLGgJUZOYMvn6fParSW1QBcS3AZH9kLaipk5UbmpMBW639H8SwQyDs9MEs7ZHGDaPj3x5mAnS1VSLNhHSNbhd32WiMTVOTzRvpeUsg5BxUV1z/7xR734F4TOpjUalGbhc4Upf3E5iW5HrSK6k7dfi6mr/1Np0THdIpNQsdDkQkr62dWX4W5uGvjAASTI+g3AoOtsEu8b7LrVTVtL5tsvJsNGrB3xeQvgLsUYwMgTz+rKgagQiTlcNqoK/2DkfRwd5kVoYZ1S09wt21x9qI1OEcrxemtAwm8hy/VH2d3LaihR2Vk2qIgOwYFcbx4+6Yi4wBpIc5oQ0xz4NDYT6GFDX4wb958eBtAnJm1wKgBzIMzYCgm66tRg+BFz6Ah5HTKZ1XlMW5Y0TUh83FgB4f6htyE6UbDzcf8RUy2Z2r0E94xnDf28YOsOQuzgpJ4fXfXzBMAqCo1L2pCIYLappixdtNKjVMrv77LqCrjcS3TjDmfrsa8+JHZwj4VydDcVADOaFj19MXk7Xu3527kpZikUt2QSab3HAz2420+SYYFqdt5d4ezVLxZsc0ZvOesQnntdthruV0NY/7dX5z6eguBDnf6fV76V4obRDMqQJvJEzmNh8Odxr7nFXpJSsbqiQtux0gJ5qifaLkDQZh2yrithdV1q/Ls0/BARTO1rl0VP8tAckXOlZ56ZVl4xlBpHvJlv0zDeXiYF9sSI2MrW+JEHTevOVYEV4GP0yPQBvJtjMgiEmM3MNzaan2b+7tB8HEoqaGjsR3XBJj4RW6L5Ur0sx/4st9Hd+azSxxV3hQ5oHHH3LIwzsMFO91lJFaKym41/b8RMGl7iHSuJ1P/Vqlb31u7qdSnT6JO3g26AeZHFmH/j37c12/OKJPi5ElgynUOBvvjlfxIsjeIHMpgPdJfDF1JHwoUKDRrvVR1Mw9b/e+kdqWIu1hnNcI19ao3KgywAxUaJ1Y/aP15Ct+ij1kh5U9SjEP/WUv7C0/Q0CCWEE1KIxgPYkIVcSeFAD+D0Iwl4EcuRUyvZl1Wl1u6m/EqKewyVtiOB28SD66Ud0qJCPZFF8xdj6fh+9nv1PUrX558BZe3lMMF/gQd7+d9h2sj33K5/cCXPdbpK7s+nOqry/2Ko3XZyfGJgrAJgTaBliVysMC/peENCKhhE+olUgJXhN+NunsYjr+KrBI3GDA8Q4S/weMKFrJhwlh7mfrUJ1UHxPnm2bMgtsJlPo269etSOMG2W+LYAcmQV615CTBOMyuTJx2oJlKFhOMakwzc8oIkMPYBU4Cv6/EtYxgRf1MMnLE5JmqOekdFo6L9EXOrcGHSeY5UpTZzLE9LNcthp56WCfhsVEru+t2e4z7Wc6r8YvYX+rGK9UEgCeSiHcJfeV00/891KmJ3Ti9hRBZ7jfPqejufSJCMq6E4zI43b2MDz2DnyPvlyqYL4hJ1U5hUBaggMnwIwPvRBSVPmAmMCKFVNfM8Bq1nrJZjfNpflPyScU3OxMa+LEVd9npRhBT9AmN53WprzidsQozZnBcXDtiTRq4he7JYjsGWSlrKgIhGuupW6ceJOvRpbm3e5T4RrmlGuLVCCdPY7hi91Dd/TUODSn94yl52TWAbd9KIuG7cL0/Bvf6PZ/JVxJ+I2dmEXPMc9Q9uiwxCCT2ulVBbJcTkdAHX6mA2YP0TtOcCRgTiAXqhcdYtpQDgsBWbV3XRm0vjcuqXHAHR+lgGfClLl4Nl3cQ+ynq5cZ6dNs9mpl7hw09ELxb/2+wYuDXu+mUMuJt27z4X6eSxTtpkaXNXeQB5gnsnrG80XqIFkCMH7xY372wPwwLWgGDoTo54xvZS2/+O1XGLral4Sc9joKsAuJApFUDQNQABhzyg1VNn+1tcgyMB/BFfCV8Oynrl4XHDgsOYIMJpov7ZZ3+9afN82do9BQ2587cPbb9l0H92ja65gxGRxQhulYl3Dku/HDbYnRocoFqSvNZ3R3mQT2xYS65eoGt3rX3UQ0wc7aMGRhnW9rvrPfWr+mxdysYB/lSkBw3DhzVjXNUzuhop8qa6IuM/NQV5WDx4rvJrcO2lOiRG2kyjS3rPceOv3Ok0+xKVV8XGkzJwtJ5WXtfHD5jLKmnjJR6EzICNbqknX3ckIqVVe9w9qafbN/4Luq6eyGrJlgW+zHue7Hmf45hm9F1kYM5H95XAtqUW2OC4t8CIH3Ri6CEMC+82dToZRjUoxUqH2HIp0ngjf9eZGGcV3NnOKVpQNcNClKSEs3xAQAbWTNAGFdgySX4L0CLQd4faGCkDFdgctJPQc+M0d1AixzLGJRsqNYttFh04rotieiz7JjHYalc5ezz2Zu/SbGEPcBFTnj4KD3cjvRFvqI9wv/Fv1oHGP2qblytKK5NoSPLTTMC76MhZzHGpToYhss/pSAiwipjgFiQogrukHRzVFnn6Qqaf2OLvmT8OlttOccqzX7hctNZKHjBI3MxVQZLB7DwBluspiGsGkdOBT8qEPfZR2mhg83GhX+s9U+DuJtnHpcbvNzisR4oaKnkapXFSsrlf/TzB9/8RIZvRRt019/QbBQTAA0THKY8TMMORy5b0ESchGrIbKy7Jk1/VcQvQ4Xqy0oXvvqslhY4RSAygj/iU1cHijnIMOR5xHL8s1W/+/Tolf4O+FNRQDrk/YQhfE63xUZKi5D9xBUPd9nxN8sFL8EpSFpgUbHdrONJ3ln+YqwBaXX2ESA9O3qDZITOOH9iSQs0+C2vHhbf1QhwL1cyVUSQZZwHesEG7l1OnEcvw6fv7uudM+0eCS3lwINDJBOMYwpRDym9y/zUMf7vmj/4vjnZFC44CaFli5p0uDk6i6vQSuHFceE2dY+0yKDYP3/9JsfelwSTyVLtGhsfPM6bue0stxpi89VS7fAUbZGFihrK31K5b9GKocb2GVEMJCiPuHdq2IXOu5auX+g9/qMiBztxwbEmjuRnekemxCRJme3TPMB0EAr03T7pK8iNo/yYheVNBb8eCpstcDIVzddRchBeYC0GymM/4/Yu98EeQ7ePYtybxury/ITqzgs1viQ33m+gj37Kazm9XnxzXnxxqfxLwCXO1XMwYxTa3kN31p2FWHG/4LpYUYBXS8xIR5ykIt6PJdiw4/LpwSjh7BD2aolDBvAaLzTFPks903nt8ProlVZ5AIxKzuWTGmp6JT/zqnPVibn8ki8049+lT59A/F2UrK0SJfPHw+gra/mzoFKPsd03U7uh7f05NxXg8Te4Fp8eoyvzd9VhKV2XJSs7wYGIawn1tyrl3DKkgMCKUZ0qePai2QoHr/3Hriw9ab+p0Z+P5u3ohCW7M569S4v2SqWHUVLMOFQKhGoRNkxIkc2jNWzuOFUivsNLCLg9GKPBZf0wJBUE7CjMxGzAEDEX+WI4QkTdqhUGgipr1Souffw5pMO/5uyHyG9D06bG0ByQnKs9lpRXVZ4eoim/aRgQKt3VXE5qkYQ+tRmFwhuuz0Do3YzKwMLHpT8yHgzRKnyuW1jbR+iHfHE8II9c9G3tihcfvDJaasAkNxgC668PwOLUa0vwOEwkWE/NRCwmQFPQJRJrFZ4H5rD8OQdEfB5A8tX1o9BE4XXFQZA+rKEWiofWW7Lfpq/tqBU6wrRdcuRvNJ84j44o6I/CGrOeoXKogJMHxNqdpFI2HdjEIEfqg8lRUZAfnfe4Imgx9C9uZvIlmG2A/HaKH6OAYb1XHdtJdQR2OdnzTa+GhSBVmSvm7R+rshhfrDyRZuU93JL8tMEN5D2UEzPnXlf19E/KcYaWExUc7KBmdu6w9tS7LbHpSDihmvqML48UYF6U1YyWvbg5jMkgtC8Jhkhn/7WnD+Tkk8S5xfyUQPqimHWfadjP3A3B+QawdPC9ynh0vAbG+cby1chQMLvGWzPkU+hdzdot0UE2iJqWoLVs8EXgXZ1nY0eIG61fNzO1D6w97JDr+mSghM6X4VJCkNdLEMBcvIZ/m5tm0KdPxI69WehCgse3h+vZgdVgb1OIuVclkUYSJkS39AUIcTt31UFDDbfBPuKlELWFAB7M1oEmj9+r+1NjA/wt6ZXDM9zj2LqmYXkSIOYEdTURs/316bN9XpIr4HLfXBaeGm+M7Y4wiXowKG/ZE4uisEAsUlWOfb8zOjuFVIXbjy/bSRbiM99n3Gddlz9umZqXo/STnwkPWTfjYUXyt5jY9YQxF4k6L5XCB1bYUT5DteRi6Qkv2ziSfu7y2LWFpw39xcGltvlri3qZThbJL4LBvragXc0pV3FsJj1gi0ipZ3GCFE0FVKGRA0rYIHR+lu1/QbvibFJLg6NlSQPodI2QFiWU8lY2dDayTegBY5zpCQTfALwBvvGXZ66SRfwHtv3wxm6vAm33yA5AsvyLswmRLdCYPvh3PlCb3qVK119DsVrnwjEbR0+jau68UVPeZQ3b6wqGBX0AA7GoS6o2bzNBevx9K0MZlIXoEulCZNLI3kVjat7JDn7EjPyAq4DaWMkaUk0j4N3eZPPLHi8pDd6R2BCmOc7zbq7kiiVJWPhrPF1y3A7rtuLO0XF262u1wAujFV7nKxneZ1sl77BrX2YD4k5c/rQSghgMFVmYKbMPed5KkngESEgfL+yBLFzHrzA9cyWi6DLOeyIO7G4MO6qu7fZQzYQMlmZMNGQMnIfP03gsmkY0RNkOZv35CrFjU770D903GP6yTJNX9HzooT23gloBRcdZhnED+nliPQHWAApCj7mWQXtsf6a/agtfHJVs97ypB+Pt+r54DUvyg0XYx3BRs1FkfoznZrCOOIJ+n8SMqteqTPif3+ICim4yMlYz9W/COWVSvpZqSLj9bH55uUIVK6fFXTzlr5gsMd+jyS0iWxKA844ibgm9MVHp/MwFG/0hddsQpAXtgyTUx4zlVz8KCXMS6T+Js3tJxEHNqVyKJSHa093IEZTzD4p6vofxYI/2ZvXnQh5M3QJN596yiOa4VEhJehvhv6ammKUNN7m3IO2R5WwDuBg8IIOtCC7JiyTNtX5h8YUXykhkxCa9IsWKLWPaKa90hAWRJGH2UgCnlbVvoLNAxHJkEZGLxZ9p4SXAcdIld6dHB2AXA/OMIGxfmkUHX0gf6mCqHZs8pet7xn9zLIXBJWEx2BnqEWDelkdrZH/LDNJaIPFe2mL+sK3ZnUzQwGvT3HdLteQDmrlrmLJewOWLK9tsdEFT7w6HwNKkxT2Dz/pcj9tByO5BhCHm7MztseEwpB/nM4rXXYOvGEOygtHwM2GteIRlhdZp3WrexpKFt0S8Yl8uoDGBVEt1Hd7ihC9zApIr9xsf3GqYGktOoBolcV76urIGah36GvgcTWxo5kI5D9jeHrHIfqNrhfBEAucf6DlHoGvr9eaucPJf5Fe6PnlgkguMV2aZBtpgrmjrN4ae4NwVfwjedYuH+oKlnhvq4fS5ohFPhg6+pOiu9POwtrJ3ZB79RkbCBZQPLsIHnp0ZvvMQdA01+hTMNL62PCqYydwRvEHchyfyWo34FOLtN8NQgbCytvrFnGvzuRzjVneNm0FPMrqGQt0mllJzmUxW9a7okF6NrL8i2SyckwLJ+hJ3WcES7bX+B0mWWjsy5ZTKDCtLsfo09L7rOE45mzbEStwfaUzxrSpH9SXI5is4DoGh59HT5DNKWD2wd5eRBq1itxyEjBQQVjYlFGoPd9GUxayR+GLyZjZbZwk9dt/0Mc5W0acUWjw3hkTETU39YD69TXC59Ji66Xm+dI4ndT0MM7WsMCpmMXhPmqKaV+XigEvkoepGRGS/QTXRLCkhJnxo0YHxow1Y8lkmtjUZ0eboAomOz/8VIxVy9G7rqW/wSMmVn7Vd3ihAHAT33/D6P5wJvsNbc3oTJwZntILghs1Mc8gvG+al/Bs3ZVIaEoZJx+O4HWN/h3C3Hzs2cxZcm3sve0xLgfFArCoruRRmVtwx5ApFlfu7DN8YVsuiASi5giAPDl0fN+M9XcA+zrYf0SSS/vkEj8HjGYfssxG7UELdpu/KG+BH+sEN2qysSeg/kYmFQuXYtxeZp+tYETZjJt4jwLaL/rrYYapBtAjhrgsFSCA78JxvbaIJQJhtqRNM9TZzbB4NihKnHHxSf3aJkl7QbvUjpJiTLi1FIrCoEHzlDuKkZ7ilocnWWp2/TYvqYn8xOBRL4zOdUR+otMwEA0ivfm90KbpmIGnwwHqHGIgivRnQkPl1b5eTJyyNQmfCTXJvGjeCqipBUCAUOfp150BEmYl8HdHdebKRaMDEG8Fw6Or7Pex2WopBH/Xiee7QOJ7/zjfkIE+nHX8L9vkW7o/2rfCA35uGEFKQ807qOBxsC+a9KvkL2Eq6v/UHoZVUdRx5nYncAmU4eqtnO1p1fHXUDdCnihNPt7XyHRZazMyacDybO0MHh+il+NUNFwLWnrr1bw7/NiEpMveXLbrvx2l4V4ISacbWvg7Gevv9nEV+/jGH6IZWzWa+qAIS18Jif+UKHt4qIktTFR9ZuxCS4K9DV546h66aMquQarFzzZp4OOb6myWTMaw7TPgtJ+ck7jVTD+qbI4BGVbYLxlKicBiZ+pPvy/RHZssITUMIe0JyjSgL6/3R0KEUxb7zUWlfw3EYbPK7OMbtaHdtKt7ShgQtaQKsIQ+yBWUfRbP3Eh43kPG2MWX26+iEzOCo8uTx/0jJV15wQNnfZR3zAZPpsFIaeT7tV8m7hotOqOHe0eIP0UVtUbg81y3aqIxyln1QkCsS904r0mbOdULSmypBLYP5wYzuw5nTKnHhv5dA2Zri1gSsWss0ZVjXxQKzOK2Knk/ppx/fjqkkqSBpcQett33mRCZ96X6YnTQcvZSdU0p0ampIyP4NO8BtxTzGkNCt8BA/b5ZdYu7HC3g6NplDTI9QuFHGD8MdiIC4I9/Am2DoymRFgaPhqMpkS1tReadIvnvFIPJ7b/LILDzUF8j+ElFMTWkRHHZD9GLl75Fnct+4TE/aplsohN3akBQFJ1v3wvGrdMctQ3t6zWPr9y0d9LAIXlH35lW29nTKm077P/qYNH98+CyW2zGvSVyZ8EO5MsBM6UoP37dw8X69M4q9USso6zdHq4uY5NVaeU5sqirEqpBvY64btB6nJYKrM1r+LzWz1hgtJhv3c8gXdB6ENtTbUxjbfNk7oD5Id9aPwm0nsTAO/MCqlHus4hMoqP71HiTVnJBYD9anUGEN9iISSn6chWVEpgMKBe0O+0PZLYOJ4rz2ahMCL9LnL2l6vFSWu8lFFa9GGf6zPdaGsZfliMymeZrhhqsN2Vmdfy/fYUAzfD2a7g1bVMfS6HjhQmIHG0LD9BOI4V4Ag+827gB2KLER5tusV78B7TMM1OurXy1XurmAq1OpM8yKWlWsnWguNG9LjGL3h2g2JTfLvR+R30pD1ws5cwZidaaB2a+gFaASPd0TnLPM/fdan85gdDovfvwub7JqNGIx19jXrlFR97css9eN4AzE1vQxaNop2AlavEvcj9ycZ6XurBTSiwBljDF5yjpBCl4kmQctXcRkbqkw47xGxB/eAUk7PR1k/I9TnqttBLcejjMWbi4RhKVTW6H3FoxUPxoQhGBzHUro/Jr5cxng/ub872lUfppC33ojalxiXzDTmx/Sc16D+j/SSUG1yr1VepYohOhPJbi2ilsAPWgUIAVptyGWOreXSbK4xiTfPc1PvcN2FnoEA8rrFSlnznVxIgYrMu25AVCW+6F2Q/T6g/t4SuuhaREAXjiLl9JxuBTc787m6ewOfE2WjfX9uxWO8RVPsEPD5EnsYDsCM8jlnTdIQN2udkqeI0OqjMQlt6+xxhOjvM9Nh5JUJD7jiUeSgS3+6C0fW27rJj6LdwBHUYCBhMcZJ44GisdthkRZRSdt5D1YVRIPzWtFuU9OLD9pZc6HMjZ+Fg3Wew00f0WF0g6feYdb2iBXJVWMrw11pX3d9A8kumY65mt8IrM/g6ksn74ffQh7IKpGiN8jCQ0X2sVOc4DwaaEAkrMJiUV5JD/yfqhcdyAGq0qRh0XMgEKc0CZYTOAthhIqQC57WjbfBsrZ0wFJ2rdyXt08jW0w6R0PZ1vGJZMtxmd/iXKQcTmvFw3Oa/jUVDvTGuKTOFe8TW9o63nv3trdhutFVTtiM63z3JJKpAgnXeskBWKV66PYgiW4FHZTuDsUio9WKynNO2uXkZjDKzJqpGTIbUx/Ke2VYtb/oPFvdEyYceNmqFjQNBx9WRt5TJRHd4QUV5IZBEeIwOE5PJKvBcK7tWz+Ylhh/k5Dr182pEeVmEMWsxOzS79VYEObmHve8CnpV9x9avGFRUERWigp7EpeLdCQTfhUApHd4WxSkMCuZHjp9w1NturN3az8R4r/G61ZyJiPk5DHwryTVdcoAMx3vnRKOIfvpfj4YrKpOatZYwtDbH+//IW/wYX0PckugR80KD2nYIegYu/D3dGcmsFh8Vdghy9eU/h09/ERxPBU7cV3OXKXxo8oicDuBi0stM3zUbgQPFV9HiTOjWkVQrn81Pq0kggh6pRZdAxkHqrGVy+CmIVH7OY77l3ntuJIOJs8WnDgzUGcgV91nS4e3F/jgNDsz+m03ljxMDSEi5e/kK1RN/AHUTXMkH69kEbuJdJizqltmkFeaatXyLq9uEQg2HXGv+x0i/zrMTSUnQt25788YxjIiJPKzkslJYgeEKXXs7aLGBdNfc7ZoxkBvYOH9aM6s6bnGja4DDlrdsTuwZpYcftM4Ur2RI3Xo7Ox3KX8QE/LqDPXpuuYsJkZgMms8FHAQBku1stQoKBcefR1lpotFmv1HkMxj6sJwetE9X8UHJygDSBdIk847KULzDTROIs530eSQxus3US2FeRuAqmUUmAcTRSXqtwd5XmYO9nPyQc00MYV1Di/P3X6tS53wCuBn6kJU/mHythl6G28OWmJWcDv8Xwk6Yktnz75bCNNuJY7bSa0vn2KrUaXROZiUia6vg6kph0xk4yLOmOf8Eb574WPwlAR9z/OhcS+dk3N+td6W4AF8B7Rb3eFJRVNx18GmdMzid9ijFJfPyaYAPbVEFLxDudZ5HagM/NzXNZi+jgYJRYV9JClZ1Z0xVq35kVIFYP1+jOmRPS1xPPtiQF2x6SOO1jHhZV3B+9QM1apahjgkhP+wTagVcfpvmlu4fhXlQHJiADVtPROj+ClyInfRm81d77UW4WxO4wf9XoDWtMZBykXvyp08sOl9cukcyNIJanMfZb78nzdARNSE+Tq8LOrpUReoRhEV+kVw6voANSU4wJ+0f/yxADi46xUFrguits2JjAT94WR0g9fYGddZ94p6kyrI5PEOfx/HKX8uVv+2IfHlyFtwAJwWcck34BfEPvSyaQvqnlatyNhtVLuFhJqiGCjf6FwXjdh9p86HUasI4ublp2bUCu+TJD4Cru2SsTVMHfdBkdIZcmYkWfeYM2lMaV0zHtLoqKNfVLv6nIqz7XPQBiAKlvPfoXWGNDtLAEdvI8gf7fA4rN1IW39wC67oZioukcc/x6t7+fP2RxApXum1e0+yzPvMf03T9L8iEbC/3DehSZVvB9iKjXbSjpoA0TGGbHmSd0q5ZHLZsfPRIi9ux3cAJdPdwXA6OU0H+nkOxs7dfAT0nfEE8PF4wezekRCLtLuEb/ILdWnKxTMDCtzClqfk4not2cuTGICThuJJ2qVtPvllY0HL2Dt+gyXeRzENrpAK8kh+uxZomDsea8Q34bOdbXltQ7S0wYN0lSF5T3BO9milMixHIKTrQYEgyBBHYfdWfAdEbcQbui9RpgTyr0Ava63LWRdC7/zYBM0/PrWyM0OxXJp8XQ9BJbQLH44h54SsFLYtKKmQ6sSauTFSAZxHg+M+w9dBtPhW6ci2ZUhY+jCngGqTHU8ITghRkOLc4XSzVaCrUipa8W/XzjxF3udPeYcA08Ue55HOTbVJXlKLvoufWWCqLP4UkZdt3aIGCaUfuyzBjqsyJ9lQjKoh50+MWefD1jHLEN4HeoN0b+Bv5JSAsiCYW1/ivRHYVzEabpvghudYx4rc808t9X6GEaHwdowgwaZc56L4ecwGT0UAeeAAx1ANZwFc2PI/2Fi2eGQf5+WmCn1yXg/vLZllLh39IqMoiIesMiMyb7CSWwbNgSK4D24j9s2nvUAtX5KFMr6riE+wPUmquEGlzNKGDa0yYYr5b3wuyzhnapemOAcZry6RpcW60eGQhavRjB1ZxbZlnb93jZ6/MNQSWN3N9ONrIY6+whFAwRhMMME19wiZ78GT7bMrdtf2oEZ4UM7V1464NuBQVTAuFYAYp9/+7OSp4lC1lpUZfRjjixibVJH1nUwHzLEXzzhmcolicveTYObdcXyKPJBFCSKMZFHES18h6+0U1MKGOpsXk5fK811uEN+1BI1Q4X6kqZq6YHTYTgnKmY4tu3uz+H5V8zzyeRjCp7oEkINkze+R0gmUMh4ZkxfcQf16VbU+jy+gtmonw7vYfLp3RDaNN5HooUlcCY9EnCe9QZ5rEWEXyPAE+cadTnXo6O3atHK+0mELW0IBLMRTb4UmUHLE1X+VCIl86RrWjEeoc39KP9znR+z8v//grE72JfNTQn/CLbL06wHtcd+NJjOOBjktIop/KQVOXsYH9KYYlQj2YuE2dwqUWaM8vjrLP5LRCKliK8mTulXVLxJdJV6/3Fjbdmu7NgIY+F+efdCrZXW9Gh54JIaeFx6tlF78RyGCQeW7SquzCpx4xAI0Q13WrzN+UttoE32R+2hBPo6nTa7EeN6YUaqa+SncUNXJysx7dKmd/RnlgSC4ARxkyuvrgpbPBvwNitvpKeRsKoRw8PSJSD2K/vXRVKO7PNy82pEkFx7nWneimAoGYFW7Df7TDbCsyDnnBZJVXkTMuNwav5hp9zVnt00HsxwPuEGzVsUyMD3PHBa9nwUmS5fic9CtQgjwpavGjflH/e+bPNSDu3WG5GjY8CpzxiCetxDy8YrHesjzp4IWdRneZV0AuryWXN3qmJb3fIqa+pavCuayGwoE1aXiSdqNU3C3r1HNwjiWJqHj8iK5/3F3RA+5etcpOPhtbGppmj7JbD5GNgfRjhT0GPjXlN/GKJSn5IRBpoKQJcSOC/ZLrYZLbghsgVdiUC+ipCtbsfbioQO+P+OmoIlvgGq53bL7jCWRmekhUvy71zhagv0DC2OH4lNsKqxv/GG+xXsGypmzucqCW6suQyDPhOtHwoMSmX8l2869Sn9HhxdHjZOPtOkjikdHfENfz8QqK4LBaoS84t6RgaKVVAmGDH0cDWUJRZ8lryJUuzjI4ltwTnihj+d6ahLqR6UDVW2Y5N8aIA7MKCGnlRFb8fE/7ff/+e3HXK+Xgtgcmay6MddDNLlNONgMdPnIfuBIvzdB7wXPddt5M2LMIuDSJb2x36bVIwXUEnQp8ThAEc8asTNWW0vUIQydbwnGJQW7R6gEqkzcqKtJexFZPJpECaFt7jrmpTmYCHzy4Ro5QE1Ptmkc7evabp0ZueVyO9MbQsG4b4kkwvui/ifVrZPID5lOAUvImJmuOm+WsQRpDhNDIKdphaS5wuq9WIB4V/tKAI4TSMwCBG7vUPqd50oioMWIy1/ivaMiDDP4bDbusZKRSr+T0eNLmbtknYB3lL8Datjx0+KqRYbfVpttFNQ7G6q6RdWYCs1FvYW82L7hAXwix2u2VKI50bD0/wOlkHeux7zMVRbNUBauAmYwx6bkWWasMK6WCMzrPUaUuD/ddNQjTsdnLFmCJv076FfyNroFh6pZNmTPShu33wGYxpbtvSeAfwp6DmYN9PefeeSlvUSEfG+UfMHmah4N2UQ8M2Ce4npObWeZeYhFKOvbst3ZQWJ9as7QR4FrtA2/R2O6/32pv/Wqjvjf2nn2lu7dVDGsaaU9DJ+VG+9zC9kPZYxa7uq/Q+5iYnRHb7tcRy11vGRml8wMFZHPOnhfneUizzQ7sq8Y7jlp5gudkMmpcS80y8OIvRrH+5rE7d9afZCXnjdaRx8gl6a38adQ9ZPjR7c4eOFpW9PWtPfyXSLsBey4l0aSNjqqfeZW8NWa6oOf/Jr/ALoViPtI3XaW0gHN1pB7HhDg5nqFX0jzoDA0U2gkwT/3lAr7V5UIS0X+qtvHg4nJv6ngkLM/IXpdK3dFFG66SY2Faim4l581M98DvGSxQzzS4q/SNU/SbbeI7VDQAg5cE+4F4PgRLkMNfDzV/AGbYXFHIMVJsqEr6boaj332UScEgSRNe7iouPyJgmcVQv5GyopCLcFRJT6BmxPTNLodgeG1xwRCK/sBYWqV9UOSZAT2vgGAc5z2t0z9BrOzwEqFmGcaiFAOt1ooMWqvJDEI6GXW5cN422F30BA4v7eIantrtMkRJcqcFs/fa09zuAymtFPSAqZI8SGV8KMkvo7OcZZzJL/HC44voYPkUL/FXqz/5CkEk8CLA/xWprjhuoGTLETzhlSEloiTLNg2vxqTeWEbsAzKJtVXlLWjnKLejgblVHQpN3d3NlgmfIX2+LOuUd6PkaJ6OUrzMnFSjLC+syRIG2snL/xuawN86dc8k3xHN4PQGzlQ14zx8BSXBaV9f7cJoeNhj0HifJ9hbs3KD44pmV8KRmt0oFzHqTUB9vSQcTa4baDhaKmkZ04g0R3eyGUc595b2M2b2PPXOdPRMc7rQW6dBP9AQg1LtDUYfJoMLnLsll0lV2Dgtx/LtXm+YQnYqY9YYXs98B1PQ3qmkFnyd5j8kAZsL/tcS7zjoy3CD2Sr8QGga7aQd9boyS4s2SR1YURbpR9aYy5n1OK9aBLIsM3N955/B2K23Ndjfc05HcrqR02HKCqDmU+vAghNaf0dLiGksl1v/3Khwyrtik2vzGI2/0DFTSE71a/9Zy4fhWHVbXEkoAyhATGwkcBcAH7OsaLd9ys/VMqrT1GnPoQECM2v8Bmb1Vl/nvhcsEa94lWMgyX71Jxr3AKZWFysMi8sSfVFXtA22YO/eYUtggSw8vPs78xvnbOoVvOl5pFxfEj39SoeeVYezrO++pPLyQTyuuNNLFhpvEwcZoHRKfq6vWQUGJQ0c/CMeOAmAM0glD5rxsx6I/EYS0g6Ocu+CqjXLa8/goqnqOWE7GBTW0gLHrzpDSNDQjNU8og3FHFBmtaiWj8XBkFgvAC+BgKPJLPxh/h/KDzDlcCr6TkywWJgrDHpil2mQMtys9w3pCxFHWBrN+tTinOJ1fukys7vyhxcg0bFjp9IdL+ppmLNC9/UEkq4zMTKjhnr0qt07zlhRsTYcrNVNkUP6YwGf52g0pomp8ut4a0vLUdXPY9NP6XZllVsbFdex+1kD14mnyS83YyzRc4ZAIONCniVeC/vEATmqtp6uA1JtTPwQIBg+PmpJyQz3rbDmvKcXaxEZZDdTQdT3WBL0PiRJ128mV4OQhJDDkXE6XFpcoplo03BAmvl1Cns7t8pqPpAaevSxYhdh0/LemRtfQ86FmBs8DAn4GRd57oXBCi4x3zpF6FTh5rHshk7mqKe0byVbyiLqHJ1BfUhWDOKggbykh/lgGi95GXou0WfgEsz55xhVdq9GL16i0mYEVnZ5rEvtn3QUrXQSTderM6AInVYH/X6TrQgmX2fgCjF1y4HBPN82Da/sqNyFmWDTlPr0G/nNnF+uTUSPaEkL3mnuguWuNxJO+zfm63/4fsL1AL3RDqCGXIuSyx8D6/LC3a+CIJAH6qqSHYIOyvI6Ie0D+/gQkpxFYO56hELZaMcngj980BhqAmFzoO1LuBsbW24B/+BSVw7Fam0lfVnMRSQebMD3OYuqgkVReowZtNQ16Qw10rQkMly357x2d7Lp2E1XqM7YvG6LXhc+rBTgsM9kE4R+dwPNZ9ODEOE0fgAoJxH32kDAxXWOm6n3xLtZ3TvdvJjLndbr6hnUPkyjeZWMzSJJPtQArX6FnXIajo11OX+FqhtLbuNZBuglfkgYRN1C4u52iGsfHYUW17gGrCUtOgTV0tzLxE+KNj7qN4QYvVIKf34UVNe5mbJQmo0WaZGBAAJN7Bt1S3VPec4PdGD+ElSqsILRLosEiAlDmgqfSU3Wj381Cb3SLWnP+2RVqZNuG2SEeh1SWJtKdg5gGHC1odgCwtVA0XdKBucJn38LugJXNeEsIuA4VidyDTIaoUuuIZG76r3c3ouVEYZyByrns2LwfSen+uNGxxFhtlGXpqtIVCefGSJ2+SuzFAX9ODbF/De2tLttt7Yl4ZSSIAe8syfPRkmg0W+LB92yq5r1yT+t28AuYuNSB2/X11JpClOcdlHE9upoEP+ASILCDr3ydjOxTqPgy4rCFcCRlqUddCfJdcYpIgH1gHyIF7BS9jzX+s+yLdb8GR50ci7Z/ujz9URBXVlPQI0hhBQnQZ4zLomPMDjDLLwxBsiptfZmdoI0ynULJ5UQbYFQ0FCJftRpG4WGZ/r31oXk9Qq2BGTPN2O2RdgkLaw5Q+CQhpyT/SAwMjQvW45AM8aLkad4ngm1VRp771DuI3u0J21Xz+UWHzzNbE6SXNRWUl6e21El/f6/4/WwY141h00cv6OxLO3jB3NrZE1lEt000RCobus1N/kopDICZM0BWkUmAWJjyknW+a33NW5Z8lUNxHHl2bvWKNsYztfyk14uo1LoKRUJhjifU3bHfPDKaZ3bMXh3U6Dc1qg/Bmp7RBs1mNFFcWj1SfV9rZ8L/bp+2sAq7oxh4xiYCHN8L7qERPlfxnVPi5CvXj/723EXDvqp83iNTs1OtI6swl3NJdrEw8dqzUIvNTN2Ens/7xGYG5Y00TgL4/0D5Y7u8GwpXAR1WCGOU5SlGcOztMAx/nN3jr/bhiEg3SgGv4IhOyDGgUxCKhRa/ssmrYuy7bVYo7cDlrC7JzGupLK840llSqj4xdEixwIZr+0T9p5Y4hNVVNsh2BnO50UrYPA8jAKUyyQm/IZCVHZofNq4l3aLSRXt1wISe3dX6Ad2YZltYj2dhzumG7jxAifu67W5QPmXqvBqYbiAHSOPWbt5jJjfd4U4nXfm4/bZ4dtQW7+Bvf9qbfuSX/7x88lHT2QJZe9c6dgzpLbYxSFIMlndufZNMAdAe6V0TRlcIHEYcTV4OX3/i30sGlAudHrEIR6YjVl9DJw6UQqx3MjntpEnoozYeXr4o5mLjws+bIPww7CHoQftK5c/CQkWAb1ykzjJLX8Gr+FUUA1uP3T0xdsmFLSyOcIzEy1DLGkEVQHbe7/UPx5aBoMwd0zybVfcJdEoX7xMTQsMQK9hA2k7wINkJPiT0gq4WD2UkBL+H1yCDIeXEeLa5kZafpmcxmdAy+BFsiM0VohfSFImjuEYOkT9fqntM0Tfcz8c6pAMfvCZ6ZBpeAzAbfbj+x09k90NhqTCMrJPJuqVu3q5MvTBa/6BIvaLQXhpBmNaal4EFprk7Tsq37+RouWCkumnpaHMUt3kgTKF2eLMde1S3IQzrB0hGCt+mViHL+ZntcKfKUsUj5ulg8QCumkk/Em4OXnj6b2da4sFKlwT/zlNPN/fMvlsg7OIoWjUBmwpzYrArHiwJQpGxOAlTo0CzNjk/Kvgdc7NcJc5A50B9GFvtcPrrP22tHysbffQHs5YBEEibt+uJHAZRp0XSjpJMmyvEXd6M9ZKo3KnWvex3r1yqp/5gHxC26+LsNfsFCCFulK7HM4JcvZ5rF5js3TFl0IFE1KxY3swVhAIMvjfR1z3N0iMcHt4ODRIidWk9UU8Ptkm9GnjkXyUiTWA0hu9Lbmb5HqOhcjJn7nlyhluo5rRSXq0UxjX676wsz4x+q+ueTCVENTif/9kC54y3vma8pfq1HuzdlCkNR2LnINKleVz9Izii8N+TTAza4BMGwElCdSJraFVRrBTnvmLjDrq8FHA0+fDpA5oMcnf7exeE0uf0wihtWjHkgP/gA5+pLsA1pKsRiTX759nZVcxxDSRQLPFF7SGH/0PCFIL6BkpOjgnlvnBRAffb6o/k4TVkq94XRPlnzdrauGwCyNvNh/PyuX3uCN6vPZSRotXldJLw3ApGsB43CoZy+BIFHLJmNKr1HR71LHWrgZoPkV8svUud5eLpmE4mJdzEssQ5SlnG7XHDDKRoNUIYMuUP8z8ccSYlRipMdwVV0JIz5KBx0H1ATnyfZhvgMtYBnXzkPpXrXcHq2EXXJL4pFRJM7u2q2psxDwDpVHUSyVLlDxmruxbmLX6i2Wa18JZ7c9s5KxxXcoMdD5h8c9CN2F6kvcDScfQWnBteuo51jZ8S+kIXqSbCPyntzp6ay2J5q3uYRa/xjtqOfpCnb/knuyb96zNVAB4rgsHIn2pG53lMYdUlK2m3d6fUhBfVnSIDX7M2nP7cG9aSMlffcYxK882ULqkOAbyKCYOW3hhiIOVzDMUGPPJfsrUV8035rHfJ5VkdsIhVjWy6UIC2g4DGOjtjS8WXp8amBprYJyykKQyj3rnOYrsrj9/8saMNm1S4zyjdMzqNpGIb4g6tvu5UX/aJbRY/WRThiyLdLjBCoy+o+zthBKKta2swhdEC2yfnMwaJ1JFNB913tiVtyUJqP34/07UofxeZVRF7N16RuYle2QqyWPV+LV/ikDbu+lRnk3fqTTPmK4PtwfDj/xgXuJ+iKMZCoLZNFyOCHLLHBGOltUfQvEUA+FKtLBsHIHJuJ7IsjsVCOH60+HvVS+8NQdPw4D4F96QXEWhiekN/XduMIHEsvAtS9T/QDRwvpib5ZPIAPhXbctbDob/i14Z2fepqvDj1Gpu6RcH364n3BC5kDGlQjSRxZdvgHA/LglMYIIqnVRzhVCR7vnOODtbN2qfV96RQBPcJl8fwyFF5eiR0+dEkASCCLNjLzbM6v0HrEMOFVaMJkljq5EEYlxdwuQalUETzvCl4GXgMA4S10Gda1isYYmM6LMZS+D4gmCSu7TJ4FqnjWr1bayYe7aqaJoZVw9wypKrq46geodmXWo39Lc0SuDgZ+fwpO0AuGfbpWtvcljPxW9OWFHrx9wiBUdotSNRhkWvdksz+ejHiZZffkJm7PkvLdYJL/LnaXnR/aWJ4pS1PJ/g2pBIa+c1W4+CPcBXK5GyUb6MTtqlw2uOpyGFOyj6+xMgymxcx5gQ5lNncfmNL/Dd8ausXb8yH4Ge0gGYUq7fOkO3gUjcraTMGo309nDe7yA+LhakZ8GnjE938dpo7fmmBVRJ0uggyk7YwxJZZiDKeXQapcSt8yFBMVlJP4BaHt5MAsXUg6v1X1mgGARIKTg81HxmvEYG8Dm0O3W/AJXT9bgBYNyQVakjXz3Jd7Ng3cbJ3PuIgS38y3OCSe+zqJ0FlkwEaeq2qbJAuRSonS9rpwnc0tzyz3uOxyC8yPDaxnkdHCeaKN+EUSXE1ewP++d/kPYji9PHNGYV93QK1e8+Hrrhm44Kos3ny4YKFeiOtVaLOKqMvy3lunGxXGhFxGKbOzX+xuucFHfEEvIHgDuvMBH5cBrvOZSRzGREEmvMAbJX6UF2VJ7dC2cHOtuoZSLvQu0Rcx8IuhnPO+fvvcYo1HhaBtjVeV4OFLPIC407sIG8q9sPzWXiR7Sd4twH3JAUmIQ2cpfWvXMlkY06tAep+Fwy+0nEPxdDhsGnK51xSzTCT0FoN6zfrvvtXcSS2iSu3YgUF/ft2FEm7wTqhCrYn4yuAMNCXh8/uso6KyjHqUuGQncLsoD34Q3K1z7hOOGDzftjUkrINYlcpI4ADMuBVdk6klh3mwjO8GQaLf8xgOQn6+uU4jio2QOzuGvtdZnxIk32fhtF0CzcZ5mPyhAJ5lzIb2ATA8KDJ5BSJg1pDZX08VDw35FW7eJk+X8wF5P+/YcZsy+5ZZHGnU2eMD/vu/ityscIZNr96bnwh9IaSstqGZFtxsRGhamZGX5tFEZX9z1uQYV1+OtJ9ENe2YgMI4HAV53gGse7orHmrGCrsGzLJhnsx+nFkN0wc6XldVxhRtXG/J5cSeTwZL/QYWlT/WNSNuAUvs3klRhbCSX5XCTx6B/24CPOJBwoBtnXIutARDFpJAj0LM8ZqHkcxG5nLjng+iERFtMMHJyu9Yoigg9yXWBhPC1FRRI8oGZWqUkrrJq539FM+MmCGgwJepc4JYQXJmGCRj8q9YHhRqDJvc9B7YWcC25eTt3jMMpKL+FCGuWNrOIAEX1tT5klSbfvQoSveoQBaXKxTeSHSzqXynDiNlYy3yH0PmJzIaX2f5glfoo8ETQh5jyWsrJve/h6tEMGObIIgvFTOK2+GhOVBbqDBbBskoXNo8ZvlRIjDriiU1YVp72Io8wCYYSvchx1JHQeowQ2YF7LDXO4rRySLNadrleG1gwaiV1vIYtqqZK5aFsnso02ycEgW4mR3T2OnqDYp6MFrBC/wtbhEWKRGsuvbb8TW6gPONAhp2oTriWXVrlY0d01iLO3dD5rRysauFdAuTkGz//yYeJs15CHCzIP3KtGJOcFgXpFk/Y+gJL4VJjwz6Fxd3FgesR1iFi2SU5ARl5rxV1KKERyUpxfYT8hDe+6K61Gg7knD6D0/jER7m6pDbKQGOFVXcJIqPKleUaVTYQJez4JPOwJAH/RJqBLl37nCCNHOBmfaaLqMlFB+TVnt5esGpXbGliWUUm9jDsxgiezyFvWouToetj+54iXnUjI7TyTPzK/aemA3/vfv8OtnJR/TOE0o+Opv6B1cwBm9z1MZvXKw0F2hOYmuyzBPNdnAYGyEdumHt8h1XcdPiM1N4YjG0QkZDXyDK42+qwoeDEMmtLzISHLCAXUYY7JIKeR+u4eH2z/NX9hjUO9WgIZ5PdGauDZLXDtKLxrnN5HHo4hrJCXKaHlkThHxNKedWJUAjcsxP5+foEXmumgWBwT1ppLu6OO+7ajlXe2/vzSNGSZLHmG1SSxH9Dm3uJm72BkPUd2Acct82bwFWk/fVkdU/Sy489Ar8vOJRt5wLOFbeJ8i7TSuDqNZOy8n7AvNjj9Nh4JVOM/LAVV8+YteZcPACMdlBo6LjivAUD/giIQVxrOXWpCgw4IJ0OFAuyonjEAARKByC64qJpvBxg9i8qAc/FM4FliJRx4MkfHx0XVLhvux9ebeMlTaXz/lLrJA0DySVJl55vQoidcfIH7r1S0uV/Bile85i1ZKVZaxydHRIx+Af/EqI7IsATDgEUuWy1P9lFG4j1gFYDnpW7wHoOdQITxdoY8FZnyyAGWkupYrQHRJBTgGGLJYGRci8AM61RwPPWfULHM2iGuhzTI8ACQMMhM5Gm6X88P5id1M1VbT5O49kaWd6c5lGtDSvK8sdcMl/DGi7VNYEeKrp/sxG8QnViKoV7zRAtRyYaU5dBfz0srFFmo4OoKR3nDNDtilTZ+0b7CFRDhdA3f8pCYSeFjBaMUCclKjtPX30JY80V9OmOD2wdhEJMla8JyOjGyr9rkQQd67+Cjhx9PKstnLPhtMhsr0XMtBdOgyr9aCyXSVW66UMvV0xUun0pcIYsob5vmxgBuo7XrjVKAlPhQAabEkNX5fQJPrwm3cV7NhaR1Vc7JomUgoUfxjiMCo25brW8NJ0uyW2GUxTfEjeIlMMcdBiwG+Vl0bu055ip8tdkuTIx0vbeFPVmW/gfU/h/ZvZfGkGE5ZbSK0pTt8xEJ9lLLWq7Dax2pwl+jW+kGgcrCyXBNAO7dhxQEdBxZpyNDOpQjL+LFrPlaJlYgm+mwiZY3MaapRzAkHjXMQIUZNN36/c5UmsB+Jr/accthJaWUWXVfmU1TmWY5SdiWDZONe4wO5fY9JawEy6Bv7yYlW1DE8eSO9oufg7h9sjsf/Ta6TF1xI4GEkHTWV0qaSA7FRfdNlCqUi7/wj/WF4IhmVR086XlJ3NV5SY/2s4L9jCeHij4IHp6Y8Gps4Vbug2kkXyCPjkTokXqji8Zqdd24YRm3KA1MDMxJhMSd/0ZDPewYqXSE9Bt1ncKwthNjN9i4VlBxdFDyYTfS4lxEByoIZ565uiJI2+3mgvnVqH1/zyR6QR+ZDv/Y8gtUxcD9xe6aOKPy2aF6Dd0O2HIt9oV0KWezfkRrTVK6cOVi7wdMAQYgKCUh4fYw1cYhH7DRUA9hcTn7qeVB3tB8NwgoM2mcUIVCZ+QycwwhA/c5v6VzK6I1uuegKNKOSsJHZnn1/iKUxjKZ0kPPiuemMjX0pT9ZE8oIoLZBda0ByYv6Ho3ZsJEBNKGpvnnAPaJ3NFpEjjb8LjZvb8juhPArOKVRezSU1jlAOk5DjB1SMuB1/dGd7tABNPPvUH12/0qCFAEzb5B9piVGSeXpFVxQoN631VgWSkags255ODhY9cPbrQZY7kzgXPt+6SgD3YXcKlbIbkneUtyJ3eaLph4pU0ooPzZZHw7+I8A7jV9qCOPhtFvmqefClA3dUESAI3DU/y6XXlknxG5Hm4beMGeUs/DZrCSqscdIApEPIWohCVvsckpt4/tfPOPKmU2dSM5hSN2m2bLuwgzWFNWSeT3BrYcYWsRtd2yTBc7RTI8csa6LGNLyBThDg1k1UAl5zsJrmFIxz1lqco1IeXL5ZSOxxbguNOpceMa+zJ9cpt0d0yjKpQbNPKokZDDmC9JqXkW7wOiaFojEFKsZg/p4x05SOvtxnHM6kiWSLk25UsG5axyNOMgPOdULu5vbDqNAbbI6fDn7/lDhZtDorzzOozXlyyqsAFRVaohS/tpy0P/PWPJ8dvfp707kqkg/4Qt2ByoLTP+nA4Q7irH+LSEPbuOKjQvk26M9uHsSgSBFtsE2Bnd9DP9jLH7TI8MENIodXnQvS/ROz+YqEV7saYuBPnko4pqdFrECUxJ0uxww8PWrMEZuqrm9j3SH4H8S/2QevT70JWTOoR7ztRgqTFGIaOJFY5SPB0aGbQoDpW6u+uLcRVgCRAuenx7zRNTABpubjE9eJ3ObNPag5+5WEpbbrZZqUa51ABMGN63OQ9Hz+tyXhXrlQLox6aB2nRMKdPfAmiWDjmdOrhv+fXboZyRdeAx/8y04iPzoDm27fR1a9Tsm27HLkelF82oxF1CmbycUN37zutCq5VK90NLaZbvc2Pjo4M8s5volMy8fbrMocmmsS7kZqXhefe3JFOHq5RInrdrgJ0pgoa3tYHMs+XQ+1E43Ighe//epfvAqrWiReoJBQ5we5vYxctS7d+6WZoxClO7vzvnHzfN58T2Lw0l6NSAvJlob4Hx0cx+vV1li8DZFFwxPFwB13yXmljuwjN8htI4YdPHLTAuZg3FRy4SofQLFUnb/l8OSDNzfTSUn+i/7REsme1BFANn1wXJRlAX+5dz6GNSXUAuH4eFWitZs0wIIdnmguvYHzGubxo2Hzk/LVAMGuAS/t/GKdnxdgjOZrp964K+QaLZ6AKFcTZ7E7NiSRSKgf2UerBi//8wJCJG5Mm8bfM+8ZguELxh3SRscFqEdSZj9SzD3ygTEDDLa0BnXmAj5Y4HoKUsw6/mkSg8Rm6pjF57KsIfK17W45RDshO0GzYDlDom27IgzOJRBFtHFrEYSYT4BQx2vRRqfHZcamQA1ukA+ZP0bGW4lyAdCaZREXUGursRQuuwlvZYKLpV6Bevjz9kUoFvkQSyDaPZcxmMpV3VyvSQcBz7MZFJVyfaEWIRtRJqwVVwUYh3Aph6hp9VwnGq+Z7CVseSHuuJVt0DqSmRcBYiy5Mk4ZiTIjFREWeJtRTewtbzKp92vGDV0rm3emm6uJzpSSzwRxcRBbyvlzF+CdMaZGcz6S9lK8sGuUZzhlKm/bLrb/uUsvZwsR2n5c54O46/Akxgs3n9cOPdMdyJUlJzDsaWm0lIvQv28rTJmYd2clBEhlTz2N23UfaEe2Wr0QpukqxHAozqIIEEfXp/82v54jaOLdDu65DmWf7iqvSDL2EQoj4P9N1WlK9mvK8FKzzxAk4b8WnEYaKLmSxs/keT1XP6pHVtum95af+c4cvF2E80lDNb2CdPOnXe9SZX8vjUXPnVyWBgfuqIl8D4za93ED5n8EhvZHAGDTGw8atRo2kO0snC9a4iRADMXjxlX4D5TxJ5GjoItAjEXaA0IkAi/gyzid9ONPonkfoxyL+aPckLqd7/3FOdWHi4ZsVwEOKb4RtWRs3vEzZgNZksSXYZh2fC94+zhfTsv0Df7zzuSiVYylthzQey1TS3DlsBtK9eqzSIdMjjoGXAMqLIJ8zp3VAsBR3w5GtCYYVhKxxI2rPpHmevDFRKpwxzirbQ+3N2c0eZNiTpoWDH/mJV6hwS0hEhsUYSWCIMakGuuSgKU928o1i4Pq8zJHjjGIl+H+W6/Jlyfocpz94EIPkZSQe6EbSbNgjp0dQZZuFKPnwORwslVVkwatOm+hrg2vWjasqswR4YWepuBpOxG1LpqcD+0+ihsQfRBIwakwdbNlVlTvhA5XSUdWV9JbrBDfWzeS4Wg67+kjxFgcln8aauuRso6oskCy0MHLLojJ5JZBa08s03xXFddf/eO+6lxwYQbYAIJrvS1dI8o88oSRjrdrYk++9bphhJcWLi0v8oWu40oZOEvaf5EEJFoMf6LnoKKfRM2Q5evanWGkkC18zHmSToyFU8LLDon4SUGuuSTGtHXGGxsyUBpCZuIh7esG6wfsybpZEi4UGAVr18D/EQQ0RTOvvAGNDXLWZJ8C+v2BgmZ1ehcrh5LYinNyYYhqy3aQaNFjg+PgTcTv7BuYYSsZBkF1MTraa4B9RlzFrDu0bPczseMyljdA+bNOFFA5zxow/7FTD1BvC2NYKMB5S2p/HMae9dVq2aK6h/q4g651UMXkfOpYt+vWu5OVxWueVZBdLvrgSUm4CV1WOF86VwOuZTJZhgz/1VJPbX7tT0uwxJqUHuIHErpVMCAq2bpnopGDJTKsoiXg4QoySo/HFjovHF9EnFrG+tdd+qvFGCUT/HgHuF0TqNLdaONe9uMD1K43/9BHRQKBdHihfdkzDAYr/zOxpRy3aFSURnaNyifZS6AHobSW7mpQDWUVX5m24YHZGyibAc7CWYzGMyoC7eO9jl+Kd7YdOuNvYc38nRseyWljcFoJt6HdMdn230zDx8KthzIzg5qLjcJ9rOiontPv6L5kwoia5RUNggHlYItGcdRzib8qFdUzP26rRh5cKYuQ+oRA2CL2sPXChEpR8zHVHdkIg7ykerEtAcdnWO5x9+xjlJN7gxzPG4N1IsKHjqx4uIdHqH6tZBsUXVHR2kcGGANERZvz6dJnRN/cRwRocjaTBzm00oX6IIbd6gXduGyQkzmcYYJALL7aGROuXMriKG+fwtkGswBRnRlFmGqJQPx/utgJhD8aq3jane/wInqB1snNL5u6SLgqmqDor5LMk55gKBNKZrlxxNuOH/H+//hZ6Eb6hD/cmvAjNXJL1txqJEwARLSY/TCV8gPg1H6Ba+rJp/cdJC3L0qRVL0dcNrQniDucz0c9nSAPL+ivzYPK1lDpZsYxsF7geH3d/+rANnw2zeBDaA1eEJzIguWOOU5VLqwwfZ1wl1Y2hzhsXQtEULVXyQJ7dooPkFPuOhb+8w0m3OHTMGyZhQwzj/3R8RiP7mZR5mHVgi+Vmkx7co2yUVpV5C8P4+oNvhpGZ0LcCiDV30bBOIY1o8iF8qQZLJ6oTgvVJz6Rjdnb1WIaG2xesiPlFz9RM2ugHbdDuQ70Zk6F9h9welBTuiAjuS38QMaeT4QJaFNbiA2a+4YM+lD5Frj5921+uHm+dKbicGkdE+gkN5c7c4speDSbsIBIGloX4OWX0WbsyNVLpUicIHFnPvyfGCw9VAVWQYx5ziJGO4fv+HP9V+kQ/o7hY3Q3sUyf0876isJu4qQMimOCeUkcHifkTGBviXssNRJzbOSBNc6RTiYCn6hHjwGuyU9iGMpDDs8+El8h7EcoMyaln31u+BdqXM0QqW+UuD+3EQqi9vBwbQjhyvPfuaWexkRJMq65idrUIvbZih3QqLko2UOUHhXOkVuJqXjaiLn9zNCb+1ls7+V+URCpZq9BtY0wPlibkA5kP/HUPWP4ZRWwR1+sPhRwTKwJNfPKPOuFDngTO9oGHfhsUFnIrGoQp+ENZRzrL9MTRLqGQiYGlVIFnMlC3NGgK0gOCoRE0xRVjG1VKeDgmAc9S4G2SHqr1MNaIiAgUInwgWU5/1/7hs/5ZsH1Yisi7RM53JAGw6CeVEB79oI1M6BfXfhxup0bHfJMbZAIaIOtpDk8BCHxenxkJUv7CpZJWoikJ7Xaaad9Ba6c9i5mtA7jbII1xWsWW4owHsXN+iCWoPcRapbcCVUe8tj05LwBoRZjw4SOvGOH5qA/aRBp9xWR37U9ywiNnp31k8uCKg5/xeCFFsIcYo95mWIEOkSNoeJc3+k9li8Tn7cE1z2SdnG2LBa5LVQ6DEYCkxbvZ+625yiMDHdq1TGfVsDARsxOlb3h5vBBNxBX4j3Iim1/et5qhBa+SP4DDGfeBbmgJFTn+FnxVKyD1FobE1g3ORilU/Sj5Oja+NWG2wq5kXh3O4tPyfFqFwZJopPHor3QKICR6+jQMr5RMv4JSLVCuQzucIIot13aAxwmLFVOUSd61Er9ppsahdAseSMA6hTeLecmy65oeit4xkMrEt27ag7BsWbVmmb0D9CuTrqVkMtJn6rXoMOBCTT6cd6d18Kgi0Uqh0Q4/rNQbDayiaIuZCo1J8PuvdkzGlEAqBF/DKIGqvMExPI9LNLU/0zi6jZb/ZTL7gzeXvx5O6u/4I6DXIvNiIUgKz0g4zPr9xKp/4c0OpB8CnWI5CFylTQ5ugIBvNLCtflM/uqQ28LtiKvXYbZOooNyVyO02UD/KVxD3CHB2yPog0BfSljYwA2IBIJIQf84LWctRFgkYHNEKfSZGsC1VDzZ5YqeO+mqvFle6QlHXZkZPpUAiU2Hy7lvi+NmozhkV8o2Iad9FINg9znIAulyq1SQJV542xO5JD2baNASiJ2q3+CVv2b4ZxXLk3xNHuVx6oP489EWuBHq36o4hN9sKmKe565eyl1KhbiUtF0GrumS+pzYagDFI1wh5HNIQVIKK9+o515CkzN4S/SkedVkw4GSvan1QW4rkc12Zq4sEPvBH8Clpk1chkiaj69gaRW86Z3UA1nTQ+o3bcy6Cf1mRET0JYO0qcFUNt8capKrgJfgq1YHtLpJHPxgh3XYtDCBnQTgu//RHNWNjiiwvyY2nKh0PrElyTjTHXaNm0ZEb+FEQ+VCCc6bDb78Eh5T7Dl2XWZ1dKXTv02YI8cRR8X50gZ4BzU62c7rdwqQBLR+Bix405WjUfgiUTeMz9+GlmS9DOZrR90AsEqpo9dt60hsI1XAjT+IciZ+O0/YHeN758zc44/pNPCfGeMcOavkZd25Y2D9mmoZeq3rSOOOlcGO0Kx662+GgwZDzJP4+0+HmdcZRbuvgEqVk8ZDpsHOv1gxxDq7e4nhMA/sSUcabLqeo5AQOqDTyT7WFcudhIXRPt3qCjgQo/qpH3NBuDLm5b6+2QZghhqC479H98kBM6/fVF+zXgamV2XuGLOkZVNV+8L8B1rpsoMigxvvtHZC1wWJrbZtk43fA9t658o3rcnYtihi5VzAZ8Lvcn6UV8j5txI/Hi54Xf5ZCVIjJG6p3sGuARr3cIe20GPQc8VkIk6IWXkEWUs1KyGHofhfXIt/K8lP3pf+iYI9EivYdkvTkz/cLLWuSfgNYIO36HvkRUFJXKQ+ABZ3stDmB/xTANMWLhAOb7CahEkZ4TF8N2LS5reVxAxJgoOyqRCQ5mxixd6P0HxX7CnzQbmgV0o4QBLKHGGrWCNTkZBcozzcD2PbyI37In1pMWsONOvrrs0e9uVFyf/cFrvsHDK0T3Dk36N7SDwRke5+X0VPQSDBVJTCYZMajAdcHEUhr8wZu5PrQBjy0eLaPy92lNkMLOZaTx9kcKPdccBM1HYpusa3cbmYGv2RfOU7e88wCmQVEuuuPoXSpCZfeIta53dgjg12c3fLvokhuN2c1TFLa/u8dxwiAzYBkVdPAh3LUulV2C7bis4dlo+qE31xR0wrjggEYEasjM6PPdIX3rOAXNHp/AvlNhSOWl9T7oD1YNELnMgsIZ6+3McuilL6zxoRAjsx/ZnyXNviEQ/gVKU9mxDln4LEQypwKWxGPRngpnsx4B2NHAJOfkOwKY9AkIavnlH4nAuxm9XIVzleUfnEuvn0J1iNsWijFhvOk349kp3pPlzYr6SABnvWLu5K2UO3d+ZO1GR3H/dSgF0crG2zRCUv8vktOfBlGhGFJszlpQvExE6fEXjDEtYuwQpRAXJN85KURm/4Nbz89mbOXVtzIsmhIZ8r7Tg8BXOY5QZoSKcaPg80dZd0M34Tybtbn5EGATAQYJer7QbJYEs5B94/OdURUnNJqMH61Gqhm+q4/wX3gziszujg7TKtyOmS8/vkM/fJD14Slreov12a7qIzZU/UHU4839SEowUZUX8sIAAWDPy+Sdb8c8s2eK4KBbf9ZE94PBUocwkgcpAuNPZDiW/Cl41PdaWpRHXF51aqNMlkGyj2sGi3YtIISdlGMBWShHFavTyAToX4rf7/jqet1DgUjRDe9rbY3mY+G6lw9L3gDVP17EckDotS5LCY8XpEt+lJ2OWLY7/N6GB6Ff/b/2oHpAK6Ljx2plm3hqhD/ydQLhsqmAw01cBT5TVshpMBX9QjtQTqjGRyfJIdKUjtxDqf3Ba0R+G0HbM1pz9iZ6V0n4vxK86/7KdSIDNQSR04ThjqAerJrMwd3m3kDTxhb9Ss1PudTxxODiKDUCM3aJcisyZC8quLfTnUHoZLx0bDy+20zn15mJ+vawncWPIkTq2+voE7+GltCVC0CJLEiH4X2qUYPbjAnnWkr3yJJhKTPI3FP5YwYSW+8PNl1JE12kEpqEyEtd8dpQjSg4aUPkt0x/cIghnnFxA/dvHHYJ8YToUSIil4Z9UTnQq+bS2SOd6nCxiGT63yXD/tnVfFVQT0Uq/lYfQQUIgHVUO5aVpbqHfp14Oh2kDIuUTujft4h14sBarxSNxMrHHYh53bUOOyJ+8We2kqURv/ptygs/DTViumnot2p+3SUUp6an5hChLAo/GGQNYLBh4nm5O2dzXU34/owK2c8SMJOLFO4o34M+YwzcjCQF7neT6fsMRkRcdlUHYcfCQJp+PanEitFk6LsFetWHGNVeCSGQAgHj9xmYCSKpQ+lIiUiDC49z0lAxSLHN+0FjuSPeY3k/o8nZuA1XABapvRHFyK/08fy6p/iwLBUfko+QGuJMajYvJC9Nfx68HCcrAgNzcTDReSzLmqqT+R1qwXHLl/1M9g2Pc2e6tAF7AKR3oHlGFP6rRWnzs0cd6uGt71b3s8wvluVop10qKs5UqFacIgJ5jx3xYGM5lQbqnIkbxNDU8nRPxjest0RocDzMcVcXXJ7wczXYwk7hv5mtYNmk+ngdJuBoZwKKDV3HdF5C+TtYRxQQ6bVnffu8bb86HcM4JBcpTIUd/oaWaU/ZDqnxhJI6ip1G3ohVqo99jgG14RqaVshQVP68pnJprcMBwIYm/GFB6junwXKF2lQfEGrScDoUAtcymFjw0jQVx2UbYRZUtGGtAfUkw4wO+gGhkMkLhosoWMm6dCrTFSfPf5kUevN175cD2JPk6HaC8cBuYgFLE4RbizLNTi/Dr/H8cTOKbjZ8DwmF3xgjmPkJ4FftGFvdl9Q8sFUWwaDasV+4bl1uU4eH0W84Fr7p8ROC5NhNlN/yDdZA+lVjwTaQ7solZu2cTpADMDCI0P7LQrksk27NcGoUuDnRhTkCzNvjoPsZwHevSppgw2cg1rae9SGH1m3Oq/FGLUwa17YCFBdqp+3l5d0qUO0gw21STQ8g2rHOtZz9bYhHwhQ5mE9PwFaBDSxGCc7bXWTLerfH6dd6sYV+/45y7F/2i9bAD9ip2KPS3JAXH+f7JHppqTsxQ9zaS3U5ncYYH+rum+Q9O2pKX8RTpKJBXPejuM6zalnQ9cKigrqT44QNzEVQ3Ol0Q1m1ncTJb9Ub6zEa5FCmImJF4KfOOi8PuClgcKcJ0wgV4pFnz9PiJDyYoSfbjJE7/c35fy61IOZXx6o3sQ0IDa5sbQuhx8ZO9isDK3mPC0l+4rJ3degegTBxYbPDMxPIotBlk9BLUAcYV5dHw8vEoHCKIlCVQuJq7BdfOvKjyTXpYGdyX2rWe1ywJs/vwG6qTZPhXH2/V/8TxQbbJ5joTnAw4eu4Vmu1f0Bfp3D6au1v55wjIro4RLuDi/c3X22WaJNXQ50+iS7S5NGiOM42YvfTOrQl2wq3VWMIlsG/cVnfpV05brFzErW/Emw0UOeHV62El9Uc6tCNsnP/WGWiTzm2280qn8XExYY1NjQQ+6PVbi/1GTk+Jvrw7mJpGrLaMgcsHy/43VSCJk5hhDeFQ4wyBTg+aLW5S3ccM7kSc0iUw5Rw/D0HteKlHBcmHKEEewZSO50XUGgdJjdry7nh5ekWEZK5hDW1Doa3YmJM9ExHsVZEUoT3AvDmZD2vVVbesSnXiS0+iU1Fs6kwXuE44kfXYJ072z+9V96xwtZLcwI0ARAEtLBCQvUZgcreForh2QzgihGaO1hixQZXUdCMhM/Hy4b1P+cyf1Tzwz8YCdKat92q/q1+LtNiL3j28POE1YzLX0BsgW4WuiZDtjeShgJs0GcTEU9Q/DItevjDB4zJ2om26Ajzl3pDY3RqcwPxT7LREYQluGxepP5QMw0k37vNQ8cW4EbFg0yHMfzc7nihsmMqIYnsuvus8d5WqoFwuQkM+6LIhXOXxT89qKqWS76oWOljBuGto7JZrj+LznMd26X0COPFu6b6ZzHEsJln6Fa1ueiC/blPq4PTTBprNXgr8lqBt094ecaNOh3LwmJnbYPTO3snDAy46Q+bUAw0remeAHQBYCYL/QtvgoK+7DuVfXVfee5g/8IUdnXteW1f1VZmemch56/wd6UhV0nRLtCbi0+fJPy4JuHiqUvmlBrh3BVBaOES9FqqQZMhdfn2h4qSXC+IPJNI21eEEq1jO9WIIosFz0b/jPARBdjNJ+RTzvfM0XAZRcFDTr7iI7Rno2SHl9o2ZHnTU/EirWZswihbSSaifhgtAHBlZfdUpdu9A6elSCHti2SZTsQOAjynrjk4FzcNqkSwyEsMISh84D/1tqNdDu4fWKP6uaP60+WqynapWz/SMJ3hGWXVzeJ8GDYtvJCF9usoCF1QQdO7g3ZzKzqpWM547+xwMzg2afIDqWITIWL/pILNu2Lws2QXyFyLaO7LeZNBQDEtXYkB27OwwPFmoLNHaD6ltzPbHqlJoWVp2d8AX2nfycaVCCfbStUQbYKLVyrVTiGclwYlfLjFl0+PhhCsnQNFlbVWTz76R8hhZOl4tXmzxSCugrARNUwErw20c46PP18Ut6unyYfvUwHzYfBYt7MfJoUcqPWhJ55FPk8foI1YGXGyJs0AZRa79NS2qx1uajfi7WW/klMkEwnR8uxlfepbBjURbIsCIqQVFITqvzlLZ6yAePalM2yblXA7nZXMmIPL7OqanPHnMha+ScNoQ3LoALslHdAo2LrEwKQFcE9CokhNLPSogLqKAVUfinkgZb8LYrVJ/penwIwtdSVkx4/xKMb724D18uLEs+Qf8U1AEj39c36zHAYSFNMKnK9QcZxIK6B+/WsAE65DNFuyr18R9mXf5paNeC5eFe7Z5LlrDQFmAkUcqHq4wcfZrp9hzdvQvzIp6JVlfp7SzEt4oNZEvASr6imM0c0DUg3inS/JeoJEVxtrt0aaBOrKXydTnJCRZUE8D7aB5CiLOcfnlBO8WEFX2CXQEQrSP4zFUWc8/Jyeij/3HA33UUsuQ5uuAb3pFbpuXiecqB1qm1XXNFMtzteIzGzZ53k265TAKEDUoNSBV+PLxhjeJVpZ/SovyjjzQhjdurYzTZprHwmaxGlx7tBhFR92zJDWIr8MWzJdsIwnZedBWLX3T/S/bE9mSruWOmYUM96keVr/qIPzHqVYuAEtEcvjCWpbEN6n+bogzhEn1vGs2lwslMizTBK7xD/iQw0mvaXniuWNiNKgYmtAAwOEIQjAFZUaLvf9BTXRFvrQwNDaszMplL0WN39VhRrJQr8iDe232vZyNtk4hPm0/RCvPSzAN0hgciyalY9Z5AFga8ouKf7hcQBei0414ZZoJ0EVH/+ZtfIpUpoAEHNHbei1cREPxk74K9XJ2tJEiNjd7FshVAWT48/LiaORlpsCmbECd/fDq1L5QqOKexMpbvaCEb7lEaD/KgLuMPcVlyuRNONB4HE7bgCxwbwtZcGM9Z1K2rS1roLW/Hyv3DHGK2reuQiIeGcF1hLvZYmR9NVrJWHgqNPdPfy+5hQxIrbfH1qaToM5BAgxj8BvjhOtJwmIiICdoBUCjroIxoy2Vo2uUHNSt17Lo/dAVYsCGHjTqsm55Obv2oJyUn4oiB+lfuzFxKNmPIMpl0ovhL2r5OVPbkZ+Hvqib4K0P7L/NnlW4nIuiHan5tpxjgEnvkrfubZXgbQDo4hCWjBt5owLIszAe9bkq97srrPNBZ+YQcMjyxi1tZvbhXXh79jAvauCq1T2TvuSv0A+QYKImMhwYZ4HnRBHgFbE8jxv1leoeEQelCb0XT4UncCLyTJafkDjwtzQBKrH17f4gZVULm7GKDsfeFOK46W03VFqpv1Sq8yBd4H6yBoxs5c3i01ho1mme+w+kUChkHOMR5U419VZQ3D5XUFFgzi90hIuZ7bS5n9nQv8Hj4acZvTdGsQw3YaSa3xZKIrvVwFq76znl89o6D17+5awPCYKIrK2lZUgulFUMsvLvFwN5klV9Xa6TuXFr12NzZ8H7WhMCw2F3bcCy8dLc7ystan+R2B7yvm/dOFXIDRMFz+npwwdSdRF/80zI5z1Datzapy6QODGaj8RcRCAnIKYFa/0Mz9R5uwCgDdOD7r5AAs9k5NdegOOvkGz0JQ9qFQdS51INXP5xXb0ah3dpAuMBM2NAGP2qVJ23MLyhRwFufj/iIR72nboGruHgJInWecMr1WGPBAb/b0blZftOzhf2HJNN/cfTBlJhbn7IIKD0wDj8p7ePlWYHNTaT2Sw+mqQRuDuTxjuH29I1Ft2V6CgudTL5K3yF6Wx4raEWJzeTcNhJIwQLKg7jGLLhOxVsnDjKj/EtHiu/RgmCPQc69g7EZ1wonnoeZsPIzlmxCcXRpbo/cFkCWUWK1npWQNEYE0NlfY0OJNAWD4HoMlbXu39njxv/ne0TX4o1+i0b1qM0KcLssD48j7vFo+PO1+kgoYwTWAIev+D4G7tg/CyCp/toXXY5evgUwWe4NEGgT3Jehx6ZXXjnGLNkT3Cv1qPXSEUrsI/ccCdFkcbJAFLEe547zGsbwHBCC9SHI1qgv+YCGghBgNxm/A+W7pgFpHPMuroekhA2C3gExLbsc1lEqQrVccEO8ZBacGR+rPFVIkYiRpzjG82p1CTkIR+KA/npcU33RXbYtvLTpQfsCOABJIqj+7C6tTe21F0aj9tCZeNLX0wkf+D1G39uOGtoHtnthedWHYPMjhQz0vbfex3NVOoXTXhIGti+jMQHA0OOMx8UZ221lYgE4wNpmtenKsk+HXGAb9AGm1zaFdAXE+mrIkJwtM85/xKU+lkKX2VQRYDrDBPHgbQZYkFeddd6CVmGkc1uSZQmwein4UjFwn+ygyib65szI/orodWpo+GpT8HRPa3803zXemptRohrbdIgAHk2+vFLb51s8h9N36EG2Jh6s+2hkDKjpKzb6CbakEZnVPXud1jAc562g0M0bRM84oWiFmZe9gcw+v38WKuMVsN9Fia4W/4zkT5iw6snX9ETVcm4C0z56GoeN9eUroOswTwUibdaadOlXm1jAsutN3zBbiaT1kqwHbRnQA+t+xxB6rWUEL1mrihCScyGOvJ/1WumX1/6qV4jBXZTe/q6Z6P7Be8QZheV0qxKqbJen26b/bez5FvuQ4Up22DjNjrEQTIDZ8NKhbmyWAKY/fzvhNjdSEjFHwwzTsjaFdvO7R3zyEUId0thafoGChOvUXrdWhF6uDqrnM1o4y2p13m7ktT7O0pZEhU2egonK3+LPd5nbC+rOXdvlOqCHC4OkceYKzYD6KA/aJf9aPnCZsjDcQN3mM/xxKpdo6aXKhOwXhXI2bH8/xfqBh+yf714/KC5ciqlavO3tAQYQZwiE+SUCWIPpLPiN85eVmQ8u0g/0FX4LkNRc9c/X68Z7VhRyRs1nfmkhxaMIFy06t7488rTMak0nvzN48Ha5YcRGJS76b1OsIm7sRL2YqzPpXMGUx8eyM3tILLSy9dEFh5Nu0lvpcPVI4bzsguFsdbNjrHDe0uwzU9nDm1axAaC0plKCJ+oGb0wBjogF6/nAKRfdKSpYtdfNt9F+Gq1GWcBFikInzS0wM7XgWkotIOjKuR0j7XRBHxJsoVoRhSqF9x/9lEDKo+aQN+tEMi0bN6BNnuw7Pm4WLf/MO9QtXQooprdCHmfGRJ995nN5FSQFxFvMtM2blFf2SWfG0Q6O21jyfC2L3KFi6W4HakMCdKxxO2P0Cca//E+cO8MRSWJNc39STA2iBolOoyYeLuon1BuHSQT9KzWge7tjGAbnU/zMNgNbrOxDL/IzOqqMQAVekdXAFZmbDpW1YYnv+KIRWVNK87K6uGjNkxI6xtUYUEtA2jIbl3z66ZEBfqnaEnoB1Wp4BLOxasfTDTAYjh5ljy8z59kp2Da1AUSG5GkQ2/V1GsaWuNKdRYy54QC5vWR5GCcDfol1CYSKI53/pvcp15ff9Dw2VhPxezvmRT51VpiWaXymYIgaOczKmb55Sst8alM69gGQGc/x5fKsSNXPqk91U/eMO5vwcAlhCVwmXM3Qv99v96dFImyLOY5VpW8XyC3TQtbJXoVDZyzK8yzwA3bbpsI6LTeDX8G9bNklYfAA3mj5fWbvVgv1gWy7ftq22VEeDEzb0zjov8TeMZodxiYE7x/Hj3eFvy12g0ACppRXHn7cs2sWnLtE1DeM6b7bjTISpJ7OxJHYtiCvhioWH46cbpGgQ3i3FgnBXasCEADfHrtdHGHv7vkQBTM4MYapN/eszih9plqHcAp/scKSecRkYx40uGsxf7mBVlue7MJDeJ0PCHivgsTIBVhmXW67n40X3r6vzU8fW6qK/H9aquFRL8b0Bdywg9u+9xN5xGILP2yy/EVg/5tfP3uy0tObdXDiulCrdiOgRR/YEYJeY+M1U2fM0bHIJ+CwaR/JSd3q85fYsBwFgPqNgZ7gzR+taW3Jf9I7WvmiL/B0Xz7lNdMLPMvKEjHLooC4tx3LTPyRwtuwalApvyI/DC3LTbnFkqrJp3C/8QUe7zOqSItq5TcwqGFzlFVm33Fb9YurTvg2R59iQn/hTGrLTjvbAjiNKIdDAMh7JcN0PetXbICkk9tjed5LjZrzHQbsthjuVdhwdHaEU9HWL0PJ9knNisOGj4QM+NOe2cIhbutk68G/FnvbB94Dp3DEDj1Gob4vMfyDODgRYPSRvH1ElkKQRgz5M3SvCqOE7+8x1CUtu4Schc8+QdOcxi1i0udFlBfWDnmUjvPZ5X+KwAI9RSwybnUZ34C6OD/IeFFnd60jy29UCnosET/YrfbXSuVEzwKMcErdVwk10LNeBoFbG7IFajaiwc9wgHPbiwTG3ipxnc9HbAKEkBxvJTy2YnI/9VOReMTYkoPsgI77wa2ZaAmokjwvz/CNc7REuA2Iz+ci4HrPRQqw1D4N4xXzFa+T6Sn+LI3eS6Ai3pwdz+ZMeYaVFj7gW/h0VBR9CBrp/uMfgwKC/GjXtatnx9SyGFG95y4mU6VMG9sc07yexCPS0hrG1DDxs4NMESP/QUcQU7H+XPiP0VCrt0ofqC2A6u9obWEQREHpy7FPkvWAufZS4xCWY2JTuEXQ8RqIGYdhQDNjKpsCozEGo6ZQsmB25/Ai5CjgjHAjufo0mwUg4ObVvugxG5m1OwswmqJRyq1c3NHbIDUqB1dpyfvF0IkSJSsGJLzswG8QAiOyQ3OmYouYR9ESjfOO2VVlfu1QBBPOEgqExZS8ZdHg4viDKhaN0e/h4F5SEiTx6QrsdjyYWW5s4KvX87HbqylunuKpn5vQxsidRqGCZXLPM3cc5yqaHQ+MMLTw3o4sUL/ZEzsUbOM+WJv3YhiOiKlwXeY82+bjTSzZwausASmBHHQ5ajc0ZtNo4HwGZtBmA8MSRnXv7q55sjYpDrYnNrTL0t874kuTaWb9uK2ZmIvf2ZMbepAJyAfB0LaJ9eB9OqQzid5QSgKPFiVurjEiDF+jDB08ZL/l00Ns+WfE8o0GkKfj7LItqjFgt22pnLFL1YqR+OlOk4U3EIFo0+WwgioxJ+rIJo3xiF5mKCcXMQ5BhlrVI2tZJHzS+vtGcWE5kLpMf0VmBQQK4QoknF/rVvXun4hkKJAiU9MGnZgxY1qfCEyBYBuuKLQdH8+tzT5jkL1nmEWFhhzriWXpx0j+b1E+Q0BDit8jdZDOl6gFJnfESBkLKq0DBi0tjrqaFMcsYprxBoMB9h2DXKSCCMsA4JoZsuu6hrT2pOP1GuL5M5NZ2UqrNGPHTat1kFdoQbxpbmRCKO1texRty8zjDPRqc+FqWaHyZmBLjonbV/wIKiv6mQYXC3E6tlRQT7ntIY2Nv5vyrlWx+UttmYNo/fitM76ogS2PGDuM1zRnfuvMcGKvniamHXe8lzgSCZfYEdHbqGtOkYecG2Mz5SCpvdNBgY5X7EgR2AnDGWe3bm3hsDrGj8bI5SUZO02XVs7vP8VlpNIl/T/Q2uUTHk55pQ2hxGIcu9lSFO84SVx15TJP6MknZwUbd+tMPugsjNIUlpYW1aew1eSBRsXxEVVE/nD+WjRKmsWf5xZQe300LmeOqzO8dVJQugN4H1X9xpYtk9bUaw7OVmi+MEuqS6cNaF2p3yeZjAagyxu3UHpfQrMjZIRykdZAe9AN6wDn15aur81rfMkm61T+EZYZzquwEBX7BpuJejm1PqfbiBeDq2Yuwa26xfszlj+E2PREhOIFOMuDcyLQ59Ki/T9ofSQRLFXeeee5cWjg0dy2Xhm62kyKsUawPFfpVYobYBTJB3M2GCULUqYA5C41Nfh2mR5aZMlY+HudpMjP9ZcTEYfb7LTLiDK4NDww4tHA0IN+YzSZypSNSEAEVskk8vAJky3cUBEdLwpTR7t3fxgy+zglzboksxJE8XrSNhWs9SjPUUGOzEJ2qCzFDId8CDO8DA6cqvnB9B5Tst/uuj9rhgcpSeYygMSGnmizdJKo+p35GNNcp+QkY5911+JCj4vAjqV4sONxgQ8VgHd6Yi3mHueW2UFq2lirwWeZNd92Idclq5IQGG713IBdugGxKxiE1Tym31pOXjQdTEBEcV8/H4QltywyC3nMv8bd7wL/cN9qikDJB8JIEZeVKeRW3XKDwHktVJu80REirkM8RnSzaKkBd9Gn0Kt80C27QzGxW6TnhXCNB+b7fnfF4aIBKhmIFu7JdvagJ/ywJQfMxXJ1+jzprc7TV3GBeJpUeGCJO5HlXJXPb/YFb3bO7aVK2dmFqpRmrNmHJG5cgvN0gtULmBTyRswwKVwoc4kP0XJY8W+CcKpxcxdKEdJa0hPATmh6Uu/ULTT5xU+J3yX2oQsSXVWWXr5yP5YmciSW82/gN3bvqFvTLuvYbmEh78tOMYtotCnYpbeL/3V58m8b6IdpsSpg4gkxwXzJA/uFBwY7W3g3n4Mq2QZ+21UeVUZmWKnzZ6PL4LW6J7zx5jTL0LlflV1lCryJH1ng+oezcur3Yn31Jx4vGyy9IyHIwaeM1ievVLpuQNm+2rlkGDkajvqxkK/feRfsYQmQDuDW2bEf2KwF0nc70OtHBoQd3b+BebEIgdjTqOIwYI9rgqrlQcOu2I9idJ2/9ucoLEtW5LmwNhD7IaUzfrdigKy45ajplnWMSQ9yHKTgutrLRhtzm3yVgMQiVfp0KhOLygtqpK9c1gynjjUshygjplCJb/4uvc6v/t9zAfUk8a+D8WFJ5c3TlE3/aMUdsm4V86qDoDgKcA1Ecj3aIOqTZJnCAH0HfRuPofTNtp7FL72C5gVdk1OSAHDIoDNbqQS2jxgiiAlWLlCX9GwqNFJLbZl/Hy4NMYrclsaGE0IoIBzye/t+X/Cr9jT55lpj2e0lGDmcT399Rh0UaMVMsVvw3NdENB8pqg/IjVUFbEzO/QW/Ue2cHVOcDUCIneFohHJCPCrZwYlUWWDky5oM92HTJs5mx/zmZvNfacELJW2iaPC03cKidxxjCYK5P2G8SLAI+S1qmXpYiyCpa6YNwyYNMLS0wSD2NqUDKJcxbErEbXQ8vJIEnt1eU+wpurmrYh+8VpxT0yreZOgPoNc51fsWIVomCtKNBk0NXrtQHU2jWLtcaqpRtIUtC9LMyOEAdvaeSitsj3LhIGX+zFtwkwHpdm6qMT3bNlvjj2T5SHY2LE8nSIrWEw/DvF969pH2gQ8/R3dLFU8Q+DZyDUPJKhj3Upc132uKkQkIWqPo56LbXsVYzMTT3mPQToZCfP6pRWrb3pHRvHaF9ZZECJPBJzntFhknUejePCvyT+1H6tpd6Tj8SMQAXM8+akn6of2TAqPZvgM03ZNSa4Eo7UuUz9NzT0iRxPtgmGIzgE613wide5G18Y8+ALiD0ofXDmZvVpvbTIcKCIQwzCBPPh5WXBEtyKMJayjaLcV0rUmWxKYKdxSAgsD4lDRllHR9VYAe1gCfr9khdFUNb8A1ggqNgSo6TZlrUZyP+/3x25cBkZctcZs0ClPCmkJ/1y2cdZcBgZtGyVnS2uHB272Ug+zAZad0Fk33DrK7aeLPoIMEQlA3QC3qoQUitbEJMTbD44ttJgOhRrRiKznWLlxJcTu43/w4qSJkezZDRX6m3OIjGzXw1SudnaK+DXQY6QPndXtt2welDQqtn87Os0yGhtwkccD8+Cu2F/xc4Z83i12e8r+sZkTSGAAYxkUVu+f18/IjryqseS0E5d9So/8OxiIgVhcikVPvqqMnLM0b+H7/QOhXkZKJQA2eWPZGZGkNSsvCXpQoXuSfXQ/KOEC55rttvb13FMUlI5rweD7KHERQGUXv4qKuSmuUxMKd+0gonhkcKwISnnqrL53SURXMISySYqRooNoFXIvCHG33rmVW8FjEG8OdpGCGejz975cW72EH3giJSVbcQxxGCrJkN85flQbkQTx6BBT4/H5mvHMKz1UEkxZAePAyC+f6tGiesfV4kzvDjt4f0AJGN0LG98VWU0Ucr3qpEtgDBM6ZpSZMmd/TO4mJ2/Ys0QhkAnJLPHguJxxk2bnyUZ6ZWeYc22lfdsloV5sZaiN3cEr4k0BDEHjhHOPkmXDk+kTfwSd6iOD2kVCD3/vwdHpw2JBQcNduIEeF+ymS4Fx6WiqNO3UMiCDx0ytrF8vkK82efg66LfojgHZYAv5GZ9IEB9pMtx6O1t9n78SUD/m6ZyQc/rnsMeA+F3xeCQEVsiJtTNpBdqDF5BF6lHWudDYCbThDINDUZgSwgSndPKZa1hJGgmvvvpB3LIPAHr0DpJPDniGTfdaCLaGQ9iAjwcYkQIm2MRvkv1bhL2pPf++MiiisO+UOKG7PAwJcZ1VwylpiAeBLI5Suo4oRbu2iaV2pBDVFGXXvUXIfSFOrIH2+bS/9gzd4KaKy4xEOis2CA4vXXQG9u89+7Zmhi7WOnr2HJGYQ9rVuOaUcG4YJ3DVUwmwgUWhXbs87OBLxvFK0kQLONDvVA2aNxC3Fpvxa5Oa7DnmpVl8jB5q8ohyX1z6aWjEq3+iK3c6XkMJoNrX+YKJNy2zio80eedF94Bfv3nUjYhfTL5GJmIPpD1Nu4aatsp66PY8AgoEaiURilFGtbWSVVkGLkELzy7qOw5k9TH+YFOMI0SfgxR6FpGszZNap6dv/yP+gY43sjKJcZ5dvGBWJARSuxi1VslR8dmGS/nQH2sar9Yltb7Q9gvV8hzBnK7GXiRwbji+RtbxTnK2RMm0HhA6ItXuqhbBL2A7YGhQ2Qe2BocgSJoD4Rh78zLMFVCBHOk4TdKoz6EbYrkyW4kymJ6fYtE59HlBM6C7TPgyFv6AeozZw4HiAI96OTzIHhUDpvpADhXPs9SwDuFigzFI4rZGZmvAKDxU3ATPCxN3hNLCicGke5v7z3JzlbGpJlwKmcEP2tlQPVUPqxmADwjjlUsFHkgQsJ1Jg/ayKIzxOVaPMiO8w+4YSv+z9QoBUpWltAl7sl74adrcEXEqrupPmnyqMNsfhZx6jGZUZVsLnrRxharHNUAzGbp+GCxUu1PrHMHQp8TzokmnykTzLJrYCb91HTnezMax689lL3ftsU9Hrr3DiAIdGrhsN4pYIJ33ANrPQEZnBMGA4+vGV1Fo93x057+ZlXnbNaK/5uqiAmM/+w1cd5u27O5TDdXQcvWLPDzt5tT5ViBRSfPvTh62x2gcSWMO/81b/MtYqPMkFtp1U2Bpn80T852OqCsjE1F6S8GX1P/1HdIJz+5byrg4sONRiJfJGDVusPp9R2I1LNdGJRhq1iAnxBiAqE4/3gIdGWI7vjwlH9zzKJn7/Qe9plVAjyjeiCuCPxhl1ZU72dqz+IqvOrjtQSG5H8KnsrajxowQUHfJow6ChnRuXI8D7WZtBhCS2pN8bXHNfU/EKdIraGqb4xJNcjoGQtk/f+8JHFQM11yjcyMlDz3Ml/wtuNPiu8iEx+JglOryQh3DygqahRo283OzUgMNjEaEWZwRu+mcJZgdgYAAtG1DrhlXVZixtcr+itegKic5IwvHzoMr9z4kagPfut/eSZ38FQLDFj49Wkt8lbAjRg8ZFWBJlVCdnpUj/hO+5nuG0dgQd6adkRYqyOel3xrLe9gRkje3tzZ7hzsEaBQIH4EzlcIpONiICbYROiB3J8gMoE3BOI3a8LoYeGxyCkiNQb1tBBa0tR3pklIn+bnXz48bN11PMCJk9OrV4rlAK+oLFf1LEx9oYSyqcjbsio0letz1vnfvldhcCyXiOaNLrgcrKo0iZ7VciMTVwsTLhqnl4lLX0HsUJPP7k0Bh4XNc9kyiY6qSVNF7KvPChiJ6w1UCeiwlrVfSkbN45xe254KUv68azwEOMjp2qYQk3ElNclMVzvGqZji3+MqmN4MVxzDk/3MuVrWiQSPd1wORCU3PTqReqGxJ4tnVurMI6vAgwxWKbg+wzeCZ87cLwU9FaMgeXkv+eV3lKYNWa0cs+8Z7r/Gz7WqDIadfVuZt8ciDta9uauvoMJYPo34bHQldoawZ3ue6vVuIL0ANqru7TdpCYvRunQ2k5BbQN4Aos7luiqGPNI5YGIPAWUDSula4etJbM9QZ9wVej+j43i0jI8m19BXR6TBmBNT263a9QPLmB5Whug7aiDgcJ4uzM/jdPFMuXZ9yFcaq17NM3kaFUsSLTh1XKqVzBEInHj1ivpTUW4TbticbGrA+ePthR346U/Pv/DDf3yD+m5IorebO/Q9M+A1Ub89iG/rNWMrVFRFahISWB22/dv1bWQfkt4GCsoTszWTdNOQDPhyZOo7k+wiivRWis0XxfUjLyflQ2wgWmEFgjChLbNSQwq+u6WRuAR/kP9/PIPajv5kyCKSTpw48sHY0pq6MoF54x9sOBoZxXPQ/3mZUdFF9D5x7ze/LKMOqtsxCDWd7hF4C8GCXY/B2F4FRCY7bvl/A43CQU/Ps9437+x2ZYiP4RlWQy9zR1i9vOHUX/WEEIjnVurSgRA4ozUxFMpdw7pwQZjBQAkJsDX+go1jAPmVPDBeLeCDqigHejeb/JjbW1DSN/qhqjxrqq9Mz2qj/uCq+vs6hFMq5awKF904ooWZagD2PKKTtAj9dAomzSaOJ1Y3eqvsLc3+SlZcmEFTlOuOtxvtb6FcHwAmmMuulV02XK2bzhrxo8VXPfwouvOAjIL4jv+0qME5+fWmuX+bj3VhGMUwgixCN3CV/sxKEZkxt8c1wdHi2q7/fHsarM9JpyOHYgXHbi647htbujtt0mERWvaeZ/aKnhedf2IXcwPfuMxMFl2xOKL2wADa6edAr+JVhBcnKIiPAwfnrLlO2/1jyPEigwvygfSCVgd73uFLcwd0U2hjUQ+avVZkCSPG/zg8zCMF7BVWul4bOQrDU/ZX2iCoHu+ZXSntZkjwspGuSj6DPkD1TT4cgUBfAidi6zTaS2cNSJuqCG57qUCFTNrscCXtQk/D2DwELxBAGDV0HaoFv9oyEIl+JGjsQTfLHMptucb3cFHJmanM5zCV+opEmjnwQPKRDVW+s/jpFdRithpENm02/0Xzk5O5TM9eIKvCL5C3J3sgB0/QV/KMfWxAzVlNAidYv9E7yitR2N1MTnr30xjX8piXVFggY8F1/KQByt6yHEQfDpHQMYP5ekeQ1awe103e6Uo8xb0uFeRAOt5j+cgclneuAg6ePn3T3eemrOwEbX9yI5HOjAtrI7npsTE6GWYfICq5n5vy2Z4Xs8B+PaK8M6BKvBVO1wHctzhwDamwqTldiEnQbQYfXI+fvhWYOsjC1PyqJw2xwk/gNCLm0jX+WAlxwPtIvuWQJbHwxmGt6Ds3p9ZEQTG2rWoFUvynJ3P4Qehsa5OT4EXtfxevVWyEE9c2keOdAACp9A0AVcD0eSnErzQQGwqMzbUrY6fmNPrgBYSdlXUh0GbhBxq+VXcn5nRLaTBUbkQZUGJF7lvbN1kws2090DQt1a9oRwfyCl+fQSmJGv4l7VDOg6etbSHT9uYM7A2Q1Egze8/VCCtXpj9NhiFNeiCg+J8y9xaUV1Ju6iEfWahJOAsB4YTrOrhI+VprB5u7mCqmxEDtd+cSjbMUAwGkzhTNeIMrIiDWFa8DPKX0Bwrn0owai3kP3t5peZVxTz8MRZRS0oU5sTuztQpBiElxUXe01n1gSA5VNZBbdtOCtfdLAxAs6wJt1LWYEIU/Sy3uDLS1Cft58UM6tUAL3bJh232nkcwOpf5AIOOXvYJ51sX0kqoM4MUwlcv58FKcvS6F8OQayQjMX+gggDbrQHWmHLecjZJ6m1Ieetv1NvNkysJquDjpfXJouk18VpdRXbjdmb9WN65Rt2mOKT3cfbv1L8ni2EVp9JkoK5bBuvCJEmMtFig1Xy/maeZYA5pLQvrWQABEc7Uy1n3679MQd5EoX30nz6t3gf2iJZUQ/3QclZXey9aC5r90ytebq2WvK1MWUVM986g9kVSbjuCdeRgW6HIemImda2Bm2cvGxfbKwIw0//AVqW348gF0PYNCaE9KzgQe44efHA41rr187r0K4um+LHTGmGBiLydimYv2Tx0kzLBqxtGKRqTM1eUCCZ5rYHnORxGTRy1Kcs6PXyWLEE4/LmuHxMuyve221i/NCzoTvQuR1yTteMrTutE2wGGRKrJpA3KItT+THxOffneeVtv2HQszCW5QT4zYJfFlr7x7TMKSU7i0Wuqrk3vfanQG1ZzMvFGw7lxpODwnvLp5chtJ+F+ga/4HlnRwWlIqrs4mSKCOdwhi9cCAzziw3UIFBLX5b9/PO5ZCWKRiwAQ6QrlA4AYU6J9JR4ynXsLIni/AvVvHpcq6btaJMoz2pWziNLVEcXFs8sVsy1EzMZu8hCXinnLANtGrXJVetTVsvK+cEiyly+xzI+EGN5UDZ1zoMwCR/skprP1ItuP02n+3n9nBpfaW5UhiuE/VSCYQiU88+F/3BDrghm/qDb0cgCcu4yE1xU9gy/eQ2dtdCWiiMkns1M0iAxJ9A0SxuBNlGNaCa2QWDm6nDIxLc13060iJ8r2HiVYrgPTqw3/hFAzh1wUrA03ScuRmpNraJKKeO4igo98OoDeMsOJAJ/wqwjx5Gk+OTEOdzkly+RMSgv2azmyI8vByi0aNXPlrIMusRTQmIDNpCL+BfyR53Y8dAks3+YPOYQ7GWNb5kRjhJDSZBjwTocpYt4KwViKtwFzUeqHvQuvWMH0X+8jUPW9ymCwRtqRXPPck1MeM0F09Cb776ez1OvbjoOyK8Fy6QRC8MTZQfAFMBgOjLJiauH6Nj4Ep2ZOhgqgjVYDv7p96AH7/mljJm+YK64+lARgoeoOi04KNAnJU6cGFxsCc4QLQpYjcHmhh361g5jQGcLAIm8ypP7PvmvsG7JsU+vj4j1lfwFY9UM0Y6ISV5cYPDxaZcw29cXG8R6afjgrW90KWvbTRpMJ3eOJPLevElJMUnhiCLfrlZt8ej46WvMHyPaJMN8CkJ8Q9wVUeVjmU2dId7emxOswyMNNp56B7H/62WeM/pps4Qo198GineCiFQ7YgXaOVtwtElWl9nG+MhF9L5uXScLxR/bxI3syApddy3OtM0IdpmSEWvUEf/3alqUEpZZCpgFcM1hyczsu9YR4QYwFbLgFEulG3ZWiTEfPZFN1kBYiytVwAHntXzEmzNBELOrQUsqECrVX2HOv8RszuWKVZ0aYq8YXv/UsVY9yJJepIVPv7II25bgU8HO7RZX8INR8DZclV2t3arM9WIV160eHT2OOkLmXHOt/pBRvXm1noM0O4mi1xuSda13RYqfrO75fUAysgVYMxe0IZWRrhZTcocMSsmnJpFrvA5neeCnTDaJ01T9ary3Syx4wAsm1xsM8l5DdmsHhjkMuZ6o0hWho/Hen6gH6orzNA1kJYi5kQ5EliFHz4Mr4/swx5J3TQX4+r7mAK6JNC8f+6ZJHnmEXwNa6VRaLAG+oX3fe6dqiW6k3z3aCFvClszgLDGBxCCoHBmCefbu0PpgT2t2hLBPgqyI+CAZgVGOox6YpCAKhIIwtktOK+qSaCjEpoGsU/tbJGjMxYJvqCYBxXFyATpbRCUcl7c0BmbT47F3tIyiIEW55Y2TpUECTTgJVlQ3oA75I4pFHniJUnYwCLTatE23Its6iwV+ObzoCWh8UVQ6qXSX8NWJbOK5lNauXdv2cbCRsvoRNZ3WJJePJguaiD0XvDGn/4LyZXbHRnz37I49qoITH2F03VsOdB6K2SlEEyopFjDASlaHz9Td/VqTNM+MddLsqxV3hS174INtXNXvLNReziXBhRQsflfXKmS+Ax8Br7VDG+jrRWXB7rFUqpxhzWuWCn+fHQJVLTGtyXQti2ApZVo4breFnlwIvycvgEldON7x9Q6jYRdR2YYrvZFSPhjGzmn4nd2gNkfyF3+EM3Tpc8Gg4mwMtMNT7yeAAyR1HCz4nCIq05aQ3RKNliBykohnGeFdoLLLjCWkUiEtvvVrgU/uJok1Fi42K9bIgFewX4JO/qnezoqRCVlQz2UbE7ShBLge6oqxq2qw0WqDbZ2YXYpvE5rus6RdKpMcCUgpmK+r2tUNCXpnfckrfHGwY8yMP0F7X6bDA9o6dyfI8CNWlpuZlLmYhhKbh3YX7JPQNbZXUetlVr/xUxVD31gZFjJu0UAjIlqN5hXrbzpJkC6oo4CuB+q5sUAkOHErtTOvNYJokR1YSi4CN8UajCW6Qptu0nMpZrG520kTGv7sToIOpd4hKN4PL17hNyTGgL44EJwHKghteF2nKmFIWG0ViQ/XpscT8Cnq8zLxBD5U1jlher90mca+6bPWk7+GMXpBWsZzXCB5Xk0211Y07mk8Q7RBsYs3UYvUy+G+GQ+LBEMwv7Yh5TVsb/ZOKr8mxAdwcH5nR2pgfejlkpDmE7qhHT30A2zwLczEblp0imV9zpdjxfG8M7PyDMKtIZ2EWLrQ8wYMTwWh9Gx7CtCNColl/c8RilfvyU4qbwWSNSf6UWI9Xal1qnwKAkiEbldlKEcbbrR90NQWzDINZ/HnYburAoEmfK+MoNq78Y9pZ2sNSXa9ojorquvuUOML9roY2OnqsV8euVu3k5M8F667HT0hsp5G0e3UA+E+kWigjAFnDmEgvUM8IFTBYSZ30jXL7nlZLU06Qun5lJHFWn5/E6AiNtUHlQ+UjEkGiDsyY7ZedTg1bd6MnEo/5aKj3kWXbjPIypYIqS++hjUjxiu35B4vSBAZHe3wACir0BArX1dvCvBOW1/I5zBpkQYnx+R2UDdLPDewPuZdErEor3ZS+KwCxVVW7bgLMAcjh/evXdJ5vjhdSszfqDWMrhhwmmePP5BFdKXAJIUy5eCqF9sFkRWIYSJyENhYnEGQtjPfWJB19Np+XJQget9gvsqRXaPwmRjTWBv7cpkgwwWRcqlFHbSptdLtxM6f3yzFbJjMX23cMIdRUxLDMfrPhtOEtmW+hZ06YnTToVk63aDjTxU8gS5EnE4GDRTyMIUnXGHMjoNTYI4SM7TDxudjCwhpIpSPxPXzgEjID0mRFsTvNAXujTT8/wdaTcwI5kYoYcGFGTDxi9N3Yk8wsmHfotcEK+88bWFy8fxKtY9lIwwKU5OQtDao1k7RQV5mZgH58ukTZMlnRIJTyyxB2s2L5U59WywOkSUItCMF8E2H1VrTg4ue8cmpxSWOGyHVvrxLHTx2Ns7Ivg0DzIoZVd5XwLBIjHUg2p03MgiOxrrPji2fwU9enCt6mcLJ9Sp31P5e1mh8GntbzwNDFaeYdjrqezQfun5/NN687J0Dl0Xigz92E1R++u7+ZKLpKaIRNZ0e3yFVr8PApClcZmwQxZZWURwQRdFCGZ1SzoCe5MTb1ZlpngWBtp2uN8N+p3JHpj1VESgw+DmbvYdiJM3IiuRwOpQfIJf+M9DqEslt7/HpL4S3uzLWHARZZk0z9UqVe2OSRdJE6LKmNw3/R1FE22f6PfXJTKmCVlVbGNNZ9mwNYkyWLJPKHfeRcScHa2rQg2qLXKCLxvZSAw13WeMNKakjiSqB+R3HZJLyipTT+fOdorPcIhqug+KFdJ+o4XgbKPhIe2cu6To7PmM4Wyb5g4O2ZpxgjGAYgG567zrAnQTFJX4gEtkJ+Wj0mXelUvgml8VfvaZmurmfAhG0xXQnleP9VST0pk4wX4IcNvg3N0lE5hZFGz+oCJn8/b3NF5hKgnw6eDiRPuqEc9Rpmjj1mVgRGW3tDORKFueaaYuKw2g2Z+VWK/txqjtLbnHIjYhD6lH6mzGvbWWC+kQqECkHH4qKTnUzRD67ghsOpymMrIGl4+KGvJ+vEkle4iLhUIFC7ODCbQ0tRiKY4GIZiP+sDgewTCLaqZ0Zoei+65ceL96jd3UWRxVZiycObXoWvSD5Yfn14e8mDgYJsE7zeitmDHCGFP+zT5Zw2T6DoD4otq8u0wmC2EDQpLw/cAY7N5PkHDkpmFKqoWdGpaQr2FK/s6efJmA72yZ7UnvI31Q2rUvwZn+wlPx+iE1gvgIe0yKrpbzWddVpbvVEEay2Fm6Bb9nYSWv93J0ejfvcRwzx5pIBHBD3BwNVdaxmhOWrWAHZGhKkgBOTvIkiEranlEWk1qHT6Be9UNzMmsMDI58YQPzNwZTzzIyqd2lswf7UGwdYCT68IcEpYp5QXP+W8iLTT4U5ZJ1t7L6Ji3wPnOSpq3Jb9HRIfYtEgQMxy1U3Zx4R/6Mh5REBI7pKzs55NC9tAsFJqOK5PWGRdutoAPwVeNCD9Y+gAe2RSZN46fs7lBJsow3QQXhy7XUQgH8Jh17aCq3hzFn6PXImWfxpM7P9UA0rgzUD4PRRqFvrPgJkxG8Ra1l4Hg2beHmXWEU6IDQ9MPvYXTIzFGJz0xnY0O7pJLdfePDJbKSvz6Knt+F1+R1h7Y1T28+UAs0/AqWuJOnfpAypVFNF+4ejA/k3nXSavVSCtzreZc/ajkGN3Z1XOYFFRJZjrymhoovG4SzjazcfV+eswXz1UEbCYhqE3TERHXAlGPNMHO+MKclBKc2mCILlg53ZMWq48xtY6TrOi0rKO3/Fdo35W+0CmSWTPGCnmcmXv706RAGg4MfMfJaPts4TCT1ZA5QODeStekHiwSIrzx8LRHcpn+asBleOcEUd/ig23oVm/fOj23Dek1ookCWP3G+17ZwEg6fNiiOWnqMgyIzphbSPNSakzNlqDO/25AoNOvqUM/dYHL0jg9WLBmkq9i8G8Yg3eImKmh71SGOa58p1SDDyJCaktIuLbYX1wfO4FN7c8TNl0IdrN9RuZoOLqaQpCQIhgsmfGExxyoGacVJFJw52H1k/UGI2XnA+GKQCQIxj0TNIAn+SMS6ioYM87w64sRUnubbA+bKe2hqcFgSsSR78O5FdDKkTPMrPROqB+tU5TddHRAEC9OsZZxzK0w8pl9/XLE9GAp3BMi1e3ywtObm743bkD11ZNMKZQ7OPH/Z/rgGNDAz0FodZ+p74uQdaY1TIDa3XOtN7Rauad99rEp0cCcUxfpbh72iK5oGSAcP7VaF1bh0zy0bVcGpQQsmCzvDAbtFEFM72y+AJSRTRMCuY42APEhlHfZiao5qn0bfhuSRoFOf5CIQ0uqWKjUGcRNmYnrj5eGDlrOOEhWTKGkE1yTR0GBVcKbUhsYiDLS4OOAqhN4P8sJSUJwXl95Ehd8NFO5GblW/+Mp9PkzmEk4CMAjROgC8JVdL1j2XgFa1R8TJmheLSVj7IL791VLo4/7iLa8fpggGGxxRNKJ4DqKsaN7thZJ6A3iF7YIT7KNyCtcXh5f4VsULtw56AzEcLnirCDltxcxVw3icMjNWj5eyyqa4cJIqRyOeiz1t6FXaCzTvHy4qtDM7oCBge2Tp5c2PssaRoc8s8490Qh09yScke8t1jtsHkOVTRicWPGPMQhtrlLKjPrbRvICz/h3aYCWMTEmnm0VeJgwS3X7QLFHRY5jqzL8pKKy9cEQ+5LTG31C1E80fVwINUbKVxywFqo500ocI/aC+vfIf8dmjr/zcm6z7Hs+JqvOc94DytevAptY61tHR/6z9NU07zpcz9XwSUaFiyIz56n3GmcDwcSafRpEWM+7r6ahWpA8JvA2jVailSYcSJlbpuXfIvJb+3VfwVUkQaQKaE5QqTyo4/PSczIUWXZmP1J912tZ8L2ACvlHvuicZtaQIV/RV6yeIGtrk68b7X94WGHhTuSGA2k4aLnkYVJCFPTNL6m591mb3uioMxG7uFmF/iR+7zPxy9FSu1TNypSjHyukSY9UvqexuqDXayWFywaEpbAFGz1m26F3KHZkmPPBNSWzbCW0bjwLPseF3xU4m1yuBmoBIvH5KH12E6LBI3PL0XM6ME+ouLi3la2lcDAgccZb5jO0A/bVIdsTyFTvYmC9fPGEiQIbHlCTDq+c2VpQTU59d0QyerS1TXvRhZXHbOvi0XDpkH6c/FrAii5A01lDd6vvKQIDAfzdx+drXB88iteGu+OxFXVVFZLvw19BYK4ixahdl/erxirRg78Khb8fYy2S+nZh2SnJWOVQ695rQ5/CLzLSKuMWACbkXZKwTOo8/nI7PqntjqpkQNacsdaW1/oB3nMyC06Dj+Qsnm3uhITg8Jzo2YKCC8Ai3Iq75iYzZ0v86vRMZ1AVfKjs1eHQUluAnG+rvjFSjkNBZt+i7TLWClw1oyeDQxKSV/myAdkWacimbtsUHJBteKW/ffVNaFBNqi4ePgGzmL/AJsMNejKLmT1bPiN+DjNUjA/g1qwkfRIdgbvzedNne4IjjfnBZutiM+WWR7rR3dAw4IMz/Hr9y9d9/kbTNFuBDB4xzncR+2JsUKwaQNuaDbCureBrlrTyV82USAhuPeEiPtBPreiAKqg1WkOTUjaj1IWYJBDrBagJj1aBW7hzxjMIihC3c1DkZ8SrfY7GX2P/d/ENBmfxKGJTUHD6AQi3/BSA4MkauH74bzCZIyZKKbNDEkccTXn6kM5HRhcU3Tal+BkD53Sxn2o1yuvwDbPdd2MiUl+7MWAf35rA3NWYJVYUfFbdlzRFrMsUeTAwlkHqaW3uQCSMdHCLDOtGXOf7FHH+v8wO1FKC0Ce7bT4S/KD21cLeY8mIw6XdeQHV7Jht/ESbwdLJKpnU4YXbXZJ5G7IvN3B8bMrpu3HfQbKDT1RqZF97YZyI495b5Ex7VGsAj+80BWrjKy77/ih/dVBT5CI02JcEW+i3WxbHAkUV5Dl1ZqLzifzqJ1WvJqjEyT8bk4sR5MHYBX49HHTrAOlwZ/8UM997bMLteP3h3l42GkoCY2jxXNOoYi4kiqy/pd6nZ6Jr92a4h802UVQwApdJL8tQDzwQz5x+VMcioAJ4rtA5EvXhZtTK70rRF3jHZMa4f3n3/eCHJxZLKMyWgXiCQFzDQKWJBt0gIu2pN8jRcMwV9IcG3q0fQGJ4AQs51D/KdzGRh44aMAMRAa2Z11NTRteHwLdY3xQ49zT1e3NtvCoetOI7kHUmaeIfRWaXZPT4Uh9Dr9ihAJtHpEeZldfg7BfjBIGVe541/DNmiNxByr4jfjW5kSj8I/PaQO12yi03/iW0nzMHHhqd8ThVv2eJdffRCsZqGYqinUuxHv4y5BRePkZBo6lTWlf+o3K0LefrkTu1RxWgHcxmP13pa5fQwp6nw2VKnWClzXQ9YdNwDe5qT35uuOgepoMsPWhhOropDWYanJ3FurUxXafHcQBTgfJl1K1//eTEybEbCnj2j7XEU4lGsOywi8++C+dIB647guKI5QcwyfJ6N3WYtFmqcf6rGISwPTL9JY0fSTxHUhPBb8NnkXHDwA4YWUpmz8B+c90tCn3eXBt4UlXPpOXh42JNFii/uOG6NnpuZ3u7zXCMkKl60BBlpzcFvvQjgVMun0FxztSgUN6PUcaIy5Jz1Axu3l6RC/hKs/uPf5p4N9uFTdUmr9EgrHqGp59jetF7g/75pxHKLZviqrmhIU+JiJBFIVh1rJLWYiVRAobKB/qzJcgcJDrUzWLBleuUKerSGv118RC7UG+xYrmLfBW2cFRdOMBLBTDMcgKsb92bChKr5iB2RFCcfSAuaZXlnOiTbd8MhMTbFc4hW1sf33RYMrmGteqep6WkI87FQ4rT4m+xsAT4H9XWuUfyXtFzMebe7hEQJ5UdCcPPpq+Kq9fiGs++6QuN665MCdXbhT/2Qb2P8Mt/DDapynVdTaEYoaEChyRjsEmcVeqasBj5kZ/J4+4Ms+wRSxJiLPKuwE1NMUH+BNXhSxt+rp4l5xMjOb2rGZcS1dkHgp3q9zJ1XSfrg5hbbMhDosDu8QLsGpvn2173IVE9GEKoRkegIhK668v6cKbW8xzHYbTSUhBZJzNZ3qgh1bKtUbqbAh5a1ArkLsLQXJ2qPBCW4/hZ8raAFDiyrTImYbB5i7Y2i8QtkYH5myfxOJMcfeC/OJpdK9CDmrKemowIiOiSwU0eAnFdw5D2gF2ibzqj4wdIURnQ+7jUPN2CCxQopI6I5OGblTARddvekZvvEAd7b3pjaP0TiFSdJlJdzX8uGaTNH0/MMlSsbXTdzbEOTRHCkOizyMVsmOtqnfQEVCaO7szzYjUZL/6jTAAUuYNiXG9YywUbP2bEScVLgl5hDhx/1BI9M41E84PYv+izR+ykrkSiNjNPGA1zwmaI08Y3naVg/W8JlPvvyW4H62Hpg1/FXJ2RnuPkjzOVFwTPK24NYg/eyQLiMniwkKBvlPrUTfSmnwMWutFjD+SCjw8QqAPAIoazGtaLqUCuKEhpCVoWxTFxfxeilZPEPge5Ukxrv7KGQ3FCanQ5OV3Ya6mJsujgq7HdzmUqVw9DJu6qb9tpaahEMm/yaOzApfn1fv+k/BU3VPiL+6334p6ydSh0cvAIkip+tmpzKwmoAb9pUiInO/JwEeU/5Rtg2t5FMiRRjMyT8fqrFr6brOcxPqqyQ5hH9ZPAua9Lr6obPa5faXPuXSr3nVySL3iYq8os/JoHOgshUo7lI5i+pWKLJunogmlHE4uBb82kJE0+iFuxOH0PLm63ul5jIF1uZZ2K31DO3xZULXSKn9TCZ25BuTS+3tKBJ90DRcVT3ELAOwJVYoP+2XXywWp2iR50tkYSe+cPov1fjHd+n2xAkGSsNH0QIHWYhX+VPwbQIS/h7hgO3OJ9hdfU8t9GfaZjbPLHW9Cd3mr9uouZSzGTx1GnfFwBzvyzNVVVOUCzZmBf6L+Ys+0evB5ApVdBF/ebEqqit4M5VTUZ64ARVMbLHB2Tvh6RZth7X0o11xFogIq9iOGzYDhcoYJ64UsKooaD+OliMjAKq85/8ACnB4vJ8bVEghMkfCxbPibIJHvM4jxgtBXDCAA7dbVVk83KIN+LSLoQ0XIyExo+P4Lf3LlANCKgbVtcUuMyYX+oxmFvo5JkgW3SLueTw5I0a/UPqclh8rzUZrhXwbvPSDRxdttvofP7TnumkfeQ45Wz4KzmiFGLiYbPwCte8DGfVv1f6q+UmjhRTLOEob2wGWb7Z+nBn/2xTghdm0dKF//JDgcmqFyIICDPXuf3RnCLYlqgcThjYmjnS+s+egWpN0k8uyHAjNRyGb7TlAmgmgaOFltZQarpxO4Y2qP12Cm5J4mOregE5Ba8okoXKafUQgJWT2krHWtkja8BqCv3VB8OYa/d6GWbqYDpanrr8reeShau/gQMVal2g1sPkRQQ08qog/Hnwsrhu68qq5+CW7Rq2ni8PrzO3xtBMOTBbGZygu4oDJR3x9c9iCGMFPKR32Et9mXCfBmfVK5uW2YuxqzLGW7G4mNaSfZALQEVFs2vYJqoaIR5JOTCeAL1Y+4WLDBHLAT3y7nvf5oVTWjZsFMCGAJN7PRhL04ZNGNP5XaCJW4urvjPz0rgt6ufP9/6NXSigOjr8JMSEVXATMPZxaFDJJKdyLPZA7NUb/HT0mPE+U5KIMZiMlFQiNYhoNQzOWWFVllTJV2266Z1J95ytDdAbEDweeXfjuFupaONa2BHsZPqyGbIyleH01Q5R63iHYw0nz2mghSZeTCE92SG+cN2LJkk2yMnGVBMuJJvmCGLlJW4gIjrqu2QtO/FD8NTKOrD86CyEVUO/2tkQwqloxbI3Mme6ZkPlqGk/HDOzHVeH/qrrtf+7hXHRVmFHihFnpm7iZ7g2sJwX7sgtyfF1XG+AmQ32TJ/Vqke/YL6p7RLT+D5E03bSatViJ5AGE041ekB8E+UqW60pKz93A7WAX+BVh2UmtzDKlx1avT0QFOhMxzYSCFTGb08YpBZ1cjlktj7FvxRkfUoFjRTEz5TKo5d5fBkkvpfG+W3FI0pMGhj7o1jKKsVPH7wjCVorN9Rd4SYOek8Srrubus71uKucttEDX4tCO+g7LJ6zWq9kL/S33USppTMBYKCTR+eErXbhYXAtPIb2cYPTWwE2KhrWkmOLej/FpZzB4aaw4H0TCHWhnmQ93RQW4ppKVHBsbCYps3tvv57pACeRkIiIQPGIb5ptq5TDG3IRzI0v3Wydqqb0vLf/U3ONEIK+yo0s2l+WIWDL+/STgTRRaiuLF3bN6DflobqAKMOe27CNAensXVrNBET4s2Nl7Ax4eNI72e9TjpjpzCKrmGFAvc2AMCNGIiM4D/Y7KXFHYtDCVIAmGwnsWJCnogFGVBUnUQ2p9lTJn02Sp5f1zLyWaVBE2qOKiMZUdTqPjeAf68LJKI+2C0XZ4OJl/+M8iWJeZTNNbvGoRi3/kZD64vmyWEpXDlfIDS5CluOOPGn3FTiVt1EGxrdQjsi+Ey/FNU97yTUvTfVSld/JqHOMVwWobKqdC+KDpYbLtQqvCiQRGOmkqiVfpbu8hCrYSuUddm8AKBYn5Us25nSbpAnhxX0nMw0pDGCHMDjCvgvamPVSj8ekv/NvWek0MjFCV7YT4TYl0nLLe/zGpBSdUfr9mi2bYIuPtmE0d368fgk2VukWANQdaWqZj+Alwqvg4MjjDTGFgR66G1PgZFL8YaRghqZPerFq+dLciOJRCvl6AI0AgvS1jJguYu4kbTHNDm2OO3LmveFh9w6grk4zRy1GLCopOeZeTpimzx1P8C14GBL3x+qcb3rF0aTbzEgsVPcRIjp1kbs/rfuheIAX9VtNxU7eLgMr6GVHLIYag9M9Uhlge8pZxvLse20m5oWloK4sx5X11Ipsv91YTvoicZPq8vQWEyh9RljaLOmtayGTkvh622x82CQKiKpBLzF1maKKE8pl+Nw6ja1K4lyVn0cdy5hubfK+12D2XpO0hDU1gCfFd6ynwZMZdNijWRiF8XEBEG8FDx2NF14gv3BYFFzuW/QJ3p2J8uC2iZS3EhMhbV66bq/jozOQssSnN6XsTCjTd8kYE6a2ZbUkjDfq/I6bfOwgSrfa2oeqZcIim+Yua5XlY5CF6sUlY35GUwNucsqDEySGYf8tDcpDf3R7NsiSeWhUGkjklc3d1K680A92Dw/0J9fFyYz+dejvsXZ00jkGk7pWush1t+sR652OIQ34FwJXOhgCAQNkjPUXK4PhuWcrfx0ZPMvvril7qyrmHw/70qLmZCK8TYHQCILBL6WTcaXUOuZMgf5t7YRJhFo5oTaGwXuwV+nlRWlj9e4BRZ46xKm9+o52LI1q1MZCX9X3upm32xmuTzm40dwQOuqVEdfxPRegwnuFRzX9NDA/GGYgRSthGLtIa9hxbCZ0FFReGJs9uRmNlU5+/PLlaFHKRZi+AlsMBgjC/jWsuTdz2BAq4aXbG+G0tzk857J4kHJPMRY5HCtkaCboOPpg+2DcdBafUSqq3UfFfgGVQLidbwt/NT/g1uni2Js5eWsPFRRucrP45A3B0FJQ/zF11zbk2DZPCCtESTYfDb8FrpJe78n4u4AIS9DgrkqnLaAU0qAlRFF6TsOK2xirmKp/0Y5auvyE16XikNdKIV8GcafCPq2gI7v0+SmV5wrwnaWSX5BMlOJ+q/BHs4SYL+gv04cuWKUKSI1Sv6+sxS/Xof5uFSH+yx7dwoLjtoxDM+BKHWp64ZZHy7CTSBfYi+ePl7naKYeuQgNuEVtxjr8mYtudYEmfBCJIkH6AJ6vPTO3zTBbFYupp21bywy1PLvu5PcGkjB3Gc81ysVDE/XYMCvkssr8ZHUvSyItAtMfh/PsM5ZauRHVoyC2Fbrqyon5l+U3uWiArojLutd2SMocT1a4MWLsLZAiAOvQDW97kUDjvyJ6XOerD8ULaZhXjxfMXBr5HG8AE+DR3O9vun/OVS+IpYHV3xg0+LQvrH1tuQ2QaSw37ZNsZVGKfLPnHLU9Ci3m44n72zqvD6ZrrpIc1Y5X5L15DV3p3LEW+Ez2Tkwvr8BsNKx5jOlCGyNQ6Z1CRYsctzGk7deupqHQRNM4CozNdzUcrFXr9kfkfGxzO56+G7vkbzmIQKpQ6x6sW51xo2vJ6z2sUSsA3BY1c541PyuYchDaG2kSyJDw4UcGL4jrCkKtVhYVOcSzi3Wu3iNb3ZzlJhyA9DOaGZ9xkSiTqajMwKDLnNJ4ygNKBE6XYZrgIDY2OIxN6fXAq1DZIGJaEIvmA4diojngb7aLvz7aIWV6LzOvMEqwLIn8wVflsYF5SViEdcBdDxVCDYOefvSG22patk9oNJbF9i/l9ztgKbAXSmylk9KL8A/s3+Txq4PXxR5bO9tF58fwsz3Hl+VOS+EBuI4APadOqTcwNk9bWpYRahXBLyXD2JK4K0dwRF6WQq+xJx8OUBKpN0O2SXdsCAFcfBgyd/ZwxJTa4wUHhpon2/VJFansXb8ypp2ZwWnvsxx7dm09kbOqKAVespUdis6fCoEWCQ2cu6FOXyYUorW+eov249ax7Rw4JSpdUzJAJy9jQXx1KWM0RzfjPBYTAuLh3m4kiHbAeMXMwCdz9Dx3rgS3SRxYHQD02lHnlWV+mUXwyYT3S4sDZt+wDHFmWSbNbXkc4Rfa5A2hhF36xiAYC08X6Zo86CxAs2evFEIfJJG5CeMdFhXKSXHvs5NrQCeGEYpIwPcT1z1snuvacnOcit8i8rpQ7TGiV05QowYWznEwD2NzAOdVVffVsIusv0YxxUZanBzAoHczfcRyqvJ521anI8qSQGiiJwBTabCRgE7CVyaDDHnpn6WwAPPchGMECdqbRq9QMY9vCw4fGxeOAVxF8JfcE8odJkgwSTwENRNJu02kCJXSjoMO8sQuuCjwn5ljtNJHul1l9cT9fSoqHPR7rCzb6hLDGAhwf/WNd7tgzaLZdYjkozBLd2VZdbMoj7fg6VEaThnYVy9HMu19tMeFUlaFJqm0nrN51/nFpkEo5DM4PEvvuEnmIfhZ316JNStWIi3i1QOnMQwME895+ygIfbq3nwZrRuX6N+n0LGQciCzZ48EnpeDqcF+S/uzO9IGfOC2jBbo8G9zm0ieYUG8GzvzDBc/7gNENTqmhNhNcGULpgOHfdVmZa5UFs4hlcxPvPrhFukoORiiHkAIbRiEIyWv3QbFK6UDCu/2l4iyLe9L8iUr6dByle3rbhIVUIbVNxpfVUPQ68iXHpBGya3LfDOyJRRI3IHiqYMeBBFbtIxIJlPCWxWUYEU28skgZuHUW9fqqC5/qJBKpaNBTHnU/w2KJMh/JLE6lwPVpw+pRwtGhBZ8iMoFQqCIITrhjz1oQpgK5X2kbfiAIxqeYeTOU9vuTLaA9b0jg48WvjQuD8pgICUOh2GkUV2X+/3rTlGvQeZOA7FIx5rJCQrcAYcTEBTILJVII8YRpbvSZhFihkP8baSbtnimSlSQTawH4gfrJG27A+QRPloSbC7h/KRYPNw1yNCwJXcHo59jDuK4ma3oPjZetC45F1LEKhb1pj04gEFRIa3mMTjpbOfLq7CSKUNC3kjghLZtPHdbTLsWZUR77+bitSvfcsV87dtV/k45F/3NiLvIvZpf51H3MViRRq+qKhciAmDnz3kLe2fuPCpudzlciKG4nrv9rehGEKgLOmzCqsBA3/diGCI+bgf9F740P5nmEYmhKKeASRzPlGlfS2neDl1Vf0MTrJuHwobVg7HKlZVRDoAuNYiQmO+SVLlLLOVizY/LLNDH21e+kGprukhpxrDmHdhnChjuNxsAMemvRLuWRF0r7483Z5TCq2Dy7cjLdTKxeHxufa2uYWvAtFQ2uSsmkvabAeva2K4aHx1qBkWJyVKfhXyKbbAAk5zqaoghGPxGDkZ3uYEAoD8cIarFlGzIxYysWHLwZLxdpYdFCoGctP7uUCGrOR+LPyd9MfOqRhYLMbeAx9e/iPhm/olGX8auo2QCTingGp/M69nMGGUSMuP+ycisExpWIBybzYn4qBspnvGL84Fa0Y04HvgIqFPYmMsOmEYUtnkj6NxWIgF/USZ38hGfyNPOv5gWDa1hYq0ZLlC0jnyZh/xy39tGJd7h/9Qy7KICbjZdqs3PP4sx1BNg2xCfcd5MuiAxV+Tcw9In0WAwFGBcOm7PezmEEbJOGQKZlh/MlWQlKq51zTg1stwWUeCbNZZDDQuysSg+i7cpdIBiyYhGp58zOeGj1UV0aTTCIlN/hiTQm18KK4bSWLaY621RHrroQZCYOpffxMq1hdct2yxerjOd/3o+d0StxL6jy1VkmOR9PwksLAgWmI2DTRO5QKKt5Jmg12+xaW4u82VHmf9KZg8t1pkWXSjiyx211QFEdDV4MFf4OleelDQyCmKlFfQcIwPorjDhQ0f1Fgp7MlyYGhFpAtUlw4LJPgIWImUVUZIU3bkJec05YdzgzdVgRTaz7rcoB4WtDLHTSHTJDxcQ4+NC99wuQACiXWNept73X9QwTkyhUXvihGxu1q9h+dcXDlpkLNFWOGReaLwVu/WsolAY3b+anQxyQkt7Z81qBoyeKJZCE4CPjOnp8COp1Feu+zRjAz2xkhs1V/L7Mh6e60ybOUkMGBRwmA0q9QGYcgqAWoNF6TSvgp8DMAPtGWHnyTOugunGr4NjSo29Py3Nju1VakoNOp4+7WZ1I6UlmaZb+xI6ys4blqIxZrdNAR1CMUgCFZWO1nRwBbgIyqFcEVhVQZIDc2rKYfIH1VNXNe2HRQteJ784SUxkWTlmAEcLJe7azi8ts+gCRJzdt/qABTRdPi2asQxtOtx4BEIdDyu47fvZnI5pK+DnVlFyoHvvAX5k3C5RKpP5bm1ntzznTC8rj0bkz0vVY6CLvK84RNqixuxpNg5Vju9EDuRSPeQVLKQZHeZ/WwHE5tVVtdDL5QXitXcnEigJV6Pi7WAWjKjxQFQLH66FKcfwwG0EWtk0hN9JG+BGNmq/9XSSefPmqEM+Cqg1zeLOzFzqPXWl+vgtI74jQgXjdxllJLu3MEUWblluJg4ZeMsJrEAuqrgMK76tf4UlcWOif1qgYxzQeoLf8eg3Yp8qckiotgw9tG04MAYHdR/vWrBW08T9Wj5FeFNnl51qGHJUP6p3L1gFhuFFI5kq4EvlWYJoE6l8H40mP2GjtJmtjFtxO7+5tYj6aQfWOI/u1eJtwAYs/u5VoVkbIHz88XJSuEK4PMY3I+OFBrj9Dd6Jy515J9870S2F0dhSsGlgkwwWkibJUZAC7Bw4D/O4psDyqEDbvh8Tbt5DlX0YhBztKiXwqDpflhcYRVzeij2O2wnNUwayQSq/LOmhBwVrqhbJgwaSLrC7Q5wtxr5Fy2PKA2pUpQdGLrPRGTJNpduRZXhLaYHmX5oR4OOrzWmHtrtAuZOPWc4V4KCZB3BKkrVIwv0BQqXraeYUi3BFg/OfjRY0aD1wlKPdhPtHFvjxLUQDABGSq85RjbShxAUjeSofqMR2mlY2BerNOvnv8dyCizWrOzgwedZaNiMv72sqBQOPVdf2qpXimRhFJNj/gmPedP5a+GjHF+6YDlLpp0HSmTaN4mfVRaDNCu2f3ZGSu19MTcEvJHLkwW7Jb/JUejrWGL0kmTGnwk4gbCNC6lz0T96jPF4OUUVsUB3TbDjwCw6jfrY+8dQQFRHOY6nSnvmLXFBhgQO5shBFGMQZmc58i8SPOPP4TWBp5xkNQBa/bc1B6TAs8uaB3d7KSuzgW7zWC5TvHqLEvdlumfykZDw4MHIhACR+kHUz5zYhFws8XJpDiptLPPB7t5k9Bc3LYB26xeGTMnXFmDbwGQiX/OtgjF9mGLzgRLNLBnVzJiR635Id+MTunvjXcqBlBDv3iUngLNu4EEGiAm4hRXuwfttV+T4A2b/Af8jotkmpsPcLuzcuttoehc1Zoawzg4r9+7gG/v5R6LFf7WxppFWYlP+581fC3+2/gmLEH5u+snW9swLJYA9Bh4Y067kOm4K60UOOws6/WsWZeJXnU3M6zV/Cz2sM1tPi92anOkO48D38j0VTeztM0okkolumWUYdG/lsrXkKr0D3mPwPjoqHdGk2gO7MJgTuGENThGz5xPdSSwkKuGJ3iZiaWPdNURnhtwpWlO8AJOOUUVA+eN42xiIYYJXVxc2EITqqc7Ja3d0Bp5fCQdAVRnXft/v5vr2vF9GeFOUDcKrYmQ5uGCENc/FbuvJCs2OMfBpjDNYImmtkiKgg/YVt8WKBqzc8kaI8eu33LkpnR/qI5TVr9bPFp0IbLaB+uPPtd1P8oUrU0yaq2wNm21alykUfkA1P3HroAfwOvAgSMCYljG2bHsnwlpU3cPfUkkcIS50nL93+wF+tsg0U7yy6RaqF2rROQUPBhgn+bM6BeC7oh54KTj1Jo/qYL+3NySsKQa+ADWPxdtORGkOMe9+lI4Uu4P6nkP0BCOewUy4IzCx3nLZvUxIs2LsLzz3CZ7t7ZlPvOp4RQ2g+8SW6fwIVIZp9TXbPFG2ibYAk+7HbIZ88s8Y6MwbmcPTCNlfw6cSknbcWg921PdXbZeVyFzFGM9c+79lPgP6eQVG3E7yMuCFOFji7JImDWyUu1jX1uMcFiwrvqWIzINx6fHEsvHFSZhjj5qndTzE2NejDCaitKdfq+aO5G+kXYaeJZ4ERvzCQHkvlX9sqnSt+/mBAMZ3rn/4/hOq7xwXIYUS2Ip8jQ8aIO4F29NZofUyQpXzXVFn1c8nYFkJL+jYrVq/X9nHafCzRyukVA0TKdTFV8QLxteAYrpqF/CQq+vMyw3qfvEa2xX5Uznna2c1yyn3PO9Jwu7mDP6TgU/BR1uRdq+6hXLA/4w716QSZDYCc5NrwIT2LCSQHHW2KQhvDq5fFd8DtE++eoNUDP6hOrJ4dEZQepYX151wdgLzv/qjymylT7/BDQq29ztNPIE8oXLPydglVmUY9Oe+ElShfeZVaqxghNANjJfHm6qvt/cym8y9Gn1E3DuXW7Hy1lDSJ+4Rhnm43LuPllarNJU9AeWEd3apW2PHk/himcJNCYTu5vcDPjhDxahvxB7PPtw9BtAzy8I9T+f2z5Y/+vud6I4LzmV/9oFd2aGneztKci64AgXIYQCNhSu2KyfR1cBppRJkPaDKUXJRKMsPPaE16f1hcTyv6nvFhtnV+qdD7cIHOhy6K5HYXdNiCWwLFJ4SoMW0RDjyXldGRwl1NIFmYbYbtIwXiT9M7kIEcj4KcnoiyBb8hrQAdqOYQR1lM1TEadQIuoEE9AF5oW7rWTv2qOs+p3FVIeYdMaf1wU1wPWv9IQd9y+oGbnwcOb/3RbieXIsqVlgJ715YH+LBDiJjNfzX7nAkHOYA64Xx0iIasxwmVjhC6yHBhwp1eaz3VWLEHMTfdZBGMRdPLw8fLfMs/L82fnWsrpxmdzEhKZvDDerW6EBBWjvujCqbwQ4LoTV3eumSsR0RL7rSy7BqjDxFgCqkkiFVF3AZCKY3DNrBxZVw9m1lAbVll95zWyO/QhklHmo17hmCQ9O8X3KJ/PibYajVUAKrvm3XARu56Hhk0OcBlVzykltkDazuaC/eCD73WwxY8cqQ7sM1fwRyYVoTXzaPFkkcjq7CdE0kG6asoMO8NS+XG6j+IWL2k9GKByLU2+6HDvuc3cZpXoNTn+CoqZqzflPUEur3kwdj/1iaNPur5Sw3zbeG2TXFu3xXIPvMDZvyhhNXEx+v/C/6HSUvinfcQQrGOAT7mnlhjsIALptOx4NLxPdGeLRhVJC8MO7HZTAc/mwDZdbZNT/8MGVGz5BwryIm6mIoD7kXQRahGjg5N4lXpSM/iYDybjdPWJ+912wM9uZteMUFWA+c5OP9wfIw4RtuoE+qu2UK6zMCKBJkIHOahRye1C2PPyk3q1KTMIYZ7BYqFxHXMk7Eu3ZaIASleTEkot2Sq7l3JCRDtYpEscoEVrjnWEIAu3OKsGJqAN1BWpVNNyQgd4oKS/vqATq5xFv5Zfle9VWK5/KcGGVKuuyDai3EHXl2IUxwUyFwnf4zTKVcYcs+YQcEGJUS07Rgprmtkz/hhNLT3qt1CZeLNrEjhn5wuz+WZCMq+W69nPUsegc/5oYBaE5C0omfv43T3gMlMiLNOrY5MIe3/mBjL85Rxq2OJGgq6UXQ84vStLdsn/PdvJPb7mSV6ODaMS6h8COPIuaXCSXMS7kbnWPuym5n8h6eQ2dMIq4R3LXVhpnnzSS+RrKAab1GhnE+ZQA6PdVyhMvdxUN+rZhTnS68oENt/WuipAaL3R4HSl0blgab+9OzfaAsR+TTR8U5P5yZ36871LuMDPCmeBjogXla+96D5pAA+xQIXhbKp0IiBaPhuDqVjcbOO0zLqszrDpcmcmj3BaooQzZbLZ/dqEznZQ5Aal9keu1DRVJldDLY/ygFyGeGM6KBH0D+EzrfT7PylhD+n+TYbyy2DYqzwWb69HM+D5FNSyRsv2Ojc5GWvHaNmhy7Lo5uDjq7LXS+U6drVOOwjuPG4QSK6HcKoGk387XxYeTVZr43aItT69zrhs6sIrezzJGQD1teXIbH0Unxy+v2fDNv1gxdaetDFVnv2C27OCTgQwDKbB/Xv3V+kKEVjku7z2ThM4w9Ark1JCrwCA/m+l3+BX8IYjfSkd1PJtM4d1nwQ/Xj16QOBcPXzUZnTx1Kz0UUvuk96bXgITB61Frcvaf/+XlYztDYBX8sY+Zv8Trm38UNs3sLrhMp6fkMnTx81aL2I4nXyhjVK5SQDJdVtg7og7H8hEslLfrt1n4DiQO6+uk+oMrQGrG6QEhdILbVfMMCg6c2uqqEbEFczFLBEBgBl9tzrxjy/WLsnzunfqh3dDchN7g/i/klJa/ljSKkYhdqbuYYVf+JA9BN3zRAHSAEiMaSws7ykEG0w4pUXZNz0sQpX4QTAb2MISq2qMWX62VE9A/1kacaZrdubwlH0DpswdHHAj+Q783wphL2qzl7RgO7u3hvsbhlFGLSnN/69/Uc7/Q3ueN1CuJvuYtnihaR5CdBxulDqicvqbQJoQfyfZ0wL0bE4zLEQYNCUmx2K0Z1DM+c/EuMTS/bJD8CyOv055jbo4fCWAMzFfHOGNyPgUnx4z3SPUEe3BObZ/3/B1P6bO6wJTa3l55oTYST6wuJPVEti5Xdo8kuAxeFsZXSFZFIqvz09ClbCdSLOoYJTHC4Cz2rNolyUFonGOhU/btJf3QLcGTv+vDdB/BC9LqmF/HGMU3uIXBZ3+EQwYSEjPmsosa4Wjk9LMv8iNerQW9jJcYcwL6my7zUiLQXudXLgoBqBoJ69LDqQ1kjXQcduG4Yz+S0seL+KgLIfOKOkXKEqaCezC7N+i6Nz/jTgsuSPqxi8sL2wFqanpKbI96HHdSWUQfx0U42xn+HEZD27W/TK/2rVbU6cTroy3Kkz7qU72WJTRp5AxkFCF7lix7m1a+0seEBnGhGXa+SCqpTDHLintbxNdfDjTvJsS/uuOwGKOw0dZq5yqzIBdpkc1W2jwhcvtuPd67F3Z1qOkqF4dj3IVwJWW0zj98T5NoxpPEALXlJrz4bkHuOpNPYqr1+dSQ9jpwrUpV9TP4s1z91qkIhcwX4sRSpJ11ebDHN8Z9b0HrTSFX7oep/jcRqjD2jBQW3mVqnJMlwZuT4FCL7T5be579odpuxZZhiM5m7dL2h/URgPshwvUlNGHSDjEnR26wOvZ9TxjUmDNmtnsKWY36eGs61RwvKvfWPgEpmrFbI4ws4MrN9aqf2UaeQ/nAOXiTpIH1DQJ/uZs6dBZF8N306RAIwp2aaSpMJ8UJcUw20l2Z0IeCZrfHSw/H1WU9jH5ZQYzoMXZdURj8KVQAfLXidll3BI2r1eDaz1QR2EL0W8WgQU8olDtyKMLo7V666lJ7Dmy7+A0Oeftl6EjNDddVgIPFfQoLFUKt66JPM80taoarVMhk7xnDR+QR1XrR98lmSGZzxotCU5r4A+Un264qr8WvTn+HsSXpwvyxGwdYVOS7nw+A61s924bcu19VT7+5SYhiq9yVo8bQvxQJeQTg6WNoGuBzyEPUEzOvgKLaA2H2UhxiP4dxYegJmeAuBYd0AfJqi+lIsDmW5kPm9WcC4EVf1q9/xI4nRUsiQoxOB1VZ6KzHwfar+Gmx9u2W90Ut2UZ9J0Uiwg3Vcl/SWDhJPZr8gGPIqDQP9FAY6w/q9YJwwHbmv3TZqagpY1MNT6IGGD4AqeiPrXcd0lsmHKHZDGxYKPSiP8qe4FXXsrw38BM24gcGg0qnFj7/cnprHhdQ3PYSUSXq+vm4y9OtmPgzZX8BbxsguNuYGuLUtBbRozTFviyCWeFEYDlMwFYRqWf2M+AT0UHhC847Gy359SdIXZFcvXGs3gkaW/vEQ8OdzhkNdUzF84Dcc6itrN/d0LPougKd4AWvhDp07PSTsacpOm7sKIsOvwqP1pRG/Pba6Eot4Y7LOEIKLiUJ8nsmwcVa/oChT50zptuwl08917FuX782tFFWFieDQ3fAQZCDCIs5s96C8JdVE9hmYefgYG/1tRqVw9CnZBlo2BuQNMxDxen5SAnT4gj+mBdiI0XDbd+7OdctzfPTJMtUQqvcWoYhUaFLnu6C+11o3H3ajq3ZUNl/4jbkHvwOO35RrRM8X2799MKaul3/h3GEgto9i4qagEncvzN7JMv4ymEI8RMSFfkqkn6aBM+90m3o87UWGO9xtQ/0u6cj/nWJ6UAv0t9lNlhUQZuRv07RR0uTzj91rC/xx9VT++W97iDkFMvTa7FlyX01lr3oYAn+Am/qWCMYPxJ/IS7KUstvA0rlBg6l+aUbVM8uYYz+VLNUpCbI2w676up5OTNQWsK5EL5kfzVTPXuIrRQpuWqNclqRgkSZBfpj3eBh1I+9/Ps4ktQsP8PcI8h0PkAH8RWQTNkF7Bdq72CIKjcv5RU3ZpvnGRnxbnHbFvdgVb1fvMRPgVzHWMZH/N8jIhPc7fvnWmhkoRRfGbxMHsnrK9PVrqh8Y9hZsg/kO3Rw/HLx8Y4Fx6hDSbeeyMfYk2ouR6J/joQw7IlFZG3p3P3ILEma4sqVduPM9gLGiEPZBOz1KQGXMvo0ATaB3+gvefXFac+M5YyaXP54g2Bi2058oyHOrls+zypjiPP5QFGCl4cv+0tJb6arbwyGFbQbuFJlCjl8EqWsbMS3T5Tu1R8OUtL5reQD+HyQCr58Ckm4a0+q4FfWXHG16+btUvUhAxjmMFU3AMrc1tuO9pLFIQVH7hUVvv25FUFCVasDuKx3P9HO38j5gKbQZfneUMmP76732x7pBtf1Hjuz7HwNYa9XHlk17gDpAw0XshSLUgGJGJyVfWBRwRAuc8djArxpb1cfZsmBTBp2WSZ7a6V0hfE3BufW5sSeqiopvUNamj1HJbmm8p21UqsHuebYEaWMWhno8q4eVpN3y4LIh4eBAYqrvRHwJDmz+vZbKtdoyo8WYJtZI/OtDnhuW95hUu9K0I259ZleRlL6hWYTmShdcAIpcEpxJaCZwNe3iXg8BM0eqJ9VkaAgBIJQu4flBh4H5qrv+4AW7ToKJ4RF7xMDIpJx8EYDH1Jq/gyTyLyBI+unnB8vCLsb//mchS8lwB9sK1nvY6HjzaCKxFuedkHLOgudwExKQbRSqEzauUigLM3USasiw46qvobwv9dNc4PmSXqhOfUhlU5MmmUTtGN5gehcjluodvkrktqPzgcxG4wnlFvdFN8+g4IJQEWI3ItV1urciDLBytjJVaQuVvdWDzX7SU2U7KKHKXyJYkjO32GWULd0dphv3u5vr4fpOlk/NnUaGHhZagdPgM1jh+83ukIkMG5PFEzF/JSDNRo6TySnrEWHbqAfH/vC4CdxxYlmVnv62CKwPHbSt/VKSnY9ILYtz9JKnwrfnI4A8Mtvgeor5+VXJ2loqCUGzF8YkiGeGSRRg1Ucrsd06MjSuYl221OZMHbX40OMMD6aZ2t+F1gEvuRjlQqk/SCr5+pARECOaksmR5QP/d3kzTpqLrRvEhfCY9oIQM4CbnuwFrFeYXVLX/3iOFIS1McgCzE4V+zEcuSeMROJnsq+nHC1KSSV7JV7ixNXi/busUFhC1VHIg1zmef608oae640uu6Hw0mJtbKPcGz/MR4yGaX+EEZR/M4onQxjLyoYehRaDGVZNvR2vj7uj1UCLSIAV+xSrGss57/vDx7ovFIu4rNRzlGY34P8kjymO1L4Gt0zBn6dCBN6tXJ6350ZPSLGqEqOP8cpzZ3keILunHj62Zm16MSUFH2RXbM505rzz0a034Y5IFHsfhodmSbflqOOxURI00oZywj3NtXNU1fDvEUTziGBKiqV0fecV3E1HSjnGQ==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z2dD7pS103gZfJ6l4USC3jqtWOPR/ue0umjYEY9KlLthURXCUyUuZbmGDPUXB2idlVQc+R1c0j6vNnMaKvr/AghcgjyTjoGcS2U6lyGcWZbvoYqQsrFJ5DN1RdHsB5gZU4BjQJ6xKwDUEsW8X/QQ4uIPkrhyjIfLLN7ZR3puqzBiN1rMnctBA0J594at1EN5QJYMsPufr2eabAYzIDriNpy1GurybA3KWqcTPRKYh436jQqOHiPaCJtAtzpRgB7Igk7tw7BcBhai66Lc0jpyzFEK/4NRoFF+cso+ThI1HNgDMZbpFoCsJQtilLqk9nQPGX6RXGboCTf8hOOcHaKoTUKF81dro10jOa8Xb8mBGZBE+xk1l9MAy6INl4AKPS/xwN6ak4kLFiDV169QOO6Y/fO+KXl8vx7pXWp9cpg1unqCpdnVSQ/mmPBmt/SHXh7aQxajb0GpOHynmyisBAJxG2D3IiOOwedyLFO/dXHuY3FYjYFRoc/i1BJMcNwtaWqFaX0V0sBv2idz57botGrB2oNEsJsh6enxl/nMucW3+7t/RqXRrH/F07YXAadxOuYS3NqyJk+y4MkBVeRpWcqCG9PIr13k8k439YLyNFclwJJHhXlWfoW8GT6fzAnXaeOZIFZo8SWlBJms1QLwhwUDuwDX+4fYOW4kwL70KP76OV+d0f+A06paxByQ7xb0o9bODiv70ehGIn+3p+omqs0hbTVHY9Ai9KNrLKa2IEsAdkp2FzWbm57P395W06URYUANwK6/w1c6UlxTutWHLi/zLkSYudqwG9Q68r2fY1VYY5rpSUgAogzMbmTRQRGCEiyckcV0IKb53iQCndb5EaB3H+NWw/xeb9HU/Aq+jA9kl3OnGL1FYLRGcJ1iiBBQ+VzaeMR6PrakdQkgQmmxdJmNRmJQbWfmRVKCKCFvjWG1Q3es/obUb7KJT41+ouhGskFC21CiTD8cmVmaoOqotRubeaKk1MLi9SPBzVNwI6tmEuSuCQWqi7iXXHg82UOnB1VMUMTsqi5PV74Mw8gsInFIfITrPDav7pYiGNFGH2fv8NLJz395scZ9x7H9F/m9G7m/m/5jV/BUBI02QCr8u/12NFzKfLxwZAwvedDgpJ0e9TFFJouxT7yXPjl91s8lSjHsX5ZCgK30pWuxgXmr8Cx4WH2q9DDN6ligxNflL8Uv9nu5fweKtgRymQ6LnQdJwiW4GSRUIeY3HfM+z389hg1rQvZo/grLsOyVERA4NeeEE3oLNoY3y2RM9eC5RDNaO+yRbM0rV3c5I/HkgqtgZkSLYyMqaEqUPpaWSV65fMIPnFzhh8/p+TVA/DKrOySKl75ZD+Ib2ZzZsme2uFmAVzj/xbd0lF5MFKdkAunlWMcULtPyQfz63mMpkM2U+yQjd572cwjXc7JIQMZpbtfYTpZ4iSTIqri7RF4Mfnd9KPwopecRWOvmCIV0hPsa6vmhYE2Ljr/vkI37Fgg/43Ui+F3unfbY3967wFSEoww5bTm94L4GIbx3Ikpi5HNqdxd0Ci7XqmA6Qs6Wr9XVtqKIzIYscCqEaBWDZjFyBdG9veQtsimLDnD1XJi69xN4le1taiHNEfwVuSmtpCk28rF3godXr3SANzFDMv94rJlbUSO6KADCgG1AMc59g149F1LPiaB2CvShIBjysf3QpkKjqJTXhP+6BUN9a1Po2mrBqQcbDgWYKoavBmER5krBjX4uB49RBC3+LLD2K5qkRm/p6xrqrmMNn6bE1WZRcUdtSym4i40n39u5pzIbWziRXWsw73eEHGKGhq3VRM3ZV7OegfdRdy9DBuanMjAL6ZYJKaHiOVUR/ONT+ZM4z6E0+mQ/U4bTSeesuh5JxcyyNLA1EVLNn/twL3RaQsCA/CGEgoaE22mSC6n+RYVeFmV+iBXIJBXNLaNgW9vCduc/iwCbGxzv9IyW7wIsuGv67XlHXZ+Jo52RCLxJ449awOTQeMpODnBKUd7jrHd8YX2shGt/oElKWiQPUU1+NRMsK5+ciNJmrnYq8XXV4rwECSic9owcI0ZT6AEGTEhMMefAHm6KBg0lUqC6EEcvXQPact4FSPkd/TaOKemT9JHIlUO5+XbBdCebO432qQ7ecL5Yuq+d1OUOr5No2TK+B/AuOIIt6ejXhKwOhPLDUqCVyMSPslPH3stNVD/OcwzwDOZr3gWhOWfjHaFmiCC0wZ/qsOsUR+TQkny9WVZ1u0rNWqJ75EXUKjHoIlcKOhvGFUx5BuxGqVcuqeSec8o+9o5x0K65aXOe2wk+b+Qb6UmWQ833K4JzV1j//sGS7nialF2WX3P/ZBEU8XW8kvLKs+90XX5xf+leqSiarL9PMt9jWufZSlhBu6hlE6SSUwo8nXB0z/IyWsNYPeI1Ca7QsxMCyCcx5I9yBy4STjF2zFmCslV8MWdbxmxW6bYE6IZ2AvOsQztfERSjWT3VJabwkvJxI+ug9B95tqqsGt/yAytwShUlrlUVGgd3aW7AIXbiEGVuPc7edGqDViGI50ivANiAbwSpAR3XyFd1NWagUb3wR7Cq2wljZuz0iUH0jIeI762cHZ6zy1PyXpb4Onty2hHZx96CHseLareCeWGcQHS6UwFtALsEmeSkkpto8X920hyZ9H56+xo3uZgJVUMhiB2WULnMBiU+rPRO66uonXj0gQzuUFMtlomPjvI/Qc3s1IZeD89Cl8JumIyA6n1bju2RARBL0GXVFhCYJM7W86GcGQ1zoSMAUVeD8j1WAIHQGqnhio3lDLaUrY8/jlfrZrU2w7NltZxSXzt/F2DiY16B8A6zJkELAdNpgOilRwjGJqeOBuctP14X6zYhak03GX66tGg0NfQy97nFd58ptfpSjG4YIOlMMbNBdOOitAboJG67FH2OAH5/RyiiVtD7XHecwCOxF9GQPgBIzKn4K+jPz5JmU3cehksy+ok3cGhbjb7spKqvW5LhvgCpLNo5419xkX0Dh9Mk5uawd5fgx6V1hwaNGhOcncL8XF8tdShTdhijfiNRqfyUPI/ANys1R5u4Q+vupfOcoKfK7prtuJykr8rHXW8YSZNPTcv5M6lOMHXX3a9gCGCG6IZD8w7H0ywpajSnuZDSgd8qE8fRX+0iDpbfUXPqDVIW5HbO1YaFRG/m5vUPX9s/4cnSZBsgRT8FnmHFM/l9+Zm9/uRn6k9RjEwXmS7MT2DYeu7OfBA4njlzyUeSz8cVpyH1WOCBVb/QPc1EL5dXqACMGgTOOCYb9GpuyH4S67qX+9q9CwikeDAvBvLzj/+9cD0nSmuRl/QnJJTkMTAgraC0a4QduWkUmdf7F7WED+qDNoLioE/ivthBjI/HXOuL95uQYHQ3vnHtHGuLt2nM6N87EvF8iYLRiKbCfEcvKat6jAiYC1gDmYjdWse91WnxQzJIzOVPUwT0M7fUvfeiTJN3BGxRrA7WUQg64oiq3tKnE+6LdNuV4LcNW3Bdtr+aUvmPQdZ9/V/S/FDHFT4Ap4R+Bz8aJ64dLYrYk5u357taLVhPbLwmIk5jyN8tSlQ2lrHIy0r9yDxr+vN63KYoRC8aSAnRcOjgwG4skDOg6mI4nXcXylHxKZBg69P5Ulh4CEW0bijrDEpiffu4X+HN/acUli4qG/0v8pva2NexlZNHfA2DpxAdhCU3wAa3UGGXYoBoi8UhVcdqe/w1FtzxSm3YmTj/9lnEYVSw0XAnRv750k4ZQfdSBcTzeQyOWY3hMmuBtU4r2wrJ4fLM6Kk43AUwY9cXnUtDu5CaBhfAyI/9MN+BdgYnmv4Xdpg6G2N11rSzaXoAk4VOquhnWySakLHpRmABTqxrs3OJT9o4hdisxG0mev6SYzawDBD76Xw8yqSF/1Qpd9ImcULKBPHEZN/VLUjklFtebaMlkYBSsHPzHXJevA+gQDOh8FwB0JAvStMledRg/J1qhGIQtWu94ylW38Ncnd84sAIxRJAWe4uaYjIGcE4PGSb/n9O7m2a9a43YxOdjydWfqRoijte7rhCwcoe1gUGE9T1ihrbm8wF+SFlv+88KohhpQN0JLoiQ5KzrjIqtrcnu9seZ0/wvZVleWF2NqjVLFAkzVwd25iaklMilIpL24/e7J/aKNiBTFBvda/Ne0+yyrnHAzgC+5svK61NURjl33yd7EA8n9SbkU0+tyNv1vkbHJ1xaNuug0cKxMHBoF33c6MGxQAxbssGLforls4y8k1Bby6EBUVgqTOfHU1jQ2Rtsp5rpRqOyRVvXOMFfCXQkVa2LZeOTWLyx1DTEqJVt3ui+J5lyzVL5nX8ws+nJ8NZ9YwApZC16yvrYstx6PbFv3J2doxll9scqB2scRwHUT4qmQ9wNUHpIc+BBKdhFIiOeZxIsJ06dZPZld1Zc36ZkP3opvjGI8xr/RET4581tWUZ3M1/0fs8LAc55tv2S8hB7U3l4nA2GfkSJCLrc1wt3ElPDuY+uqsuV2jkfFDBWCB0S764h3RInrcCpu+irLoKXcNxfaIaas4yTVMlPjYwa9FthTSVDEAx6xvEjvweDdVbQDbC9dBHwPv8qQhNnHmA2UVKtmEB8vagrJsFENPA2yzBb8MWSwNWur0sJwgYoaPSVREuyCy5jUgLV613UH5jEEyqQ+9V8QRIvyMosvm4iEiRwd5gnRcvabDeZJDv2EOxpHHA1cAIYxEnIcULBO6iUmttyfBXtRGQshenZ+pw/8qFuXOkrJcMQciUqV+4RI+OQHoS2TB29UPK3o66ktpUwaC9xAC6dc4t3Q8TK/VKOOEF812if35jP93ySMJJgbsEIxc/pKqv54GmXZRaq6X6vkZIkNueYIIpWASxJJ9wI/GIPe51c2BG+dU0MAwePGA0SVHhPQFdCSzJhyzjU6hCC7Y4MHqi8Us2GeevIMJeNCNIDzRtFgCrD+iHfn4ncfbTdSxeVL12qsEFDK3Ek+hHEHZzlMCcl9RuZkLDBXRcI0lfVKZ4iaf8HB87hWF+BeIM+VOQhuOiS23qsmUqBLwQrGAHSWx4ftmGmPCnBtXdYYuor7nDlS3bFCjOOGQYdsDuyRYdNOxeBWLBySJt6GqU0pToKJubdnJYZ/2eyroxT18E+2hcqjACH0q6FHseqM6ND8gsGMjusLiLKCGC/DPhKX3MjeI+Oo28oKjaXT7Oe9OEAh0E0JN56Pp9N7yH21mUYHIV+DbrKk7Eh1UpYkP4gi86smXODFpe6SiDfHSdVyHqVEFjowW4t+jzz1RSOeV8AI0Z4zKw/eF2I2U8ObEO8NmjyedlTNrge8mIO33IWy+MWZoeKVrfeDDkXknRBDth9WgDjrK+WAfBUeL9TnSTc1c6oGeDeGLmwy2hJf3IGFmf0q6eyyBXEs9952p5R+sj0K+VZrTQJZ/11fnX1tYCG1qJQh/Tg7KPmv+wYTnxNB01WqACtZOGPRA5Mk+n58mL1zt4q0RpSZgY0Hj1OE91Kjc9paZ/ERyUGeareQisTn+vHKM2NGDgBVa8iUIRp7L9nMPMTZobWn8jgSkXPNlgPx5gEkaYcQBWS/ikxm4XjNEfGgCHqXbo+smYKsucuaYZhN82VwcysJmqfvOBw0rQPw1SIsz+owLnwOovR6JESdFGjHSH8JoJpcANZIMbjmbOQv0b+EI5Jw8/Vr70DExCOEpjKYt+h94YINnPFg2i9GbaIh/KLiliTzHZ9eRnAM8tpjencBbP0sV+ENqgJDmC2xYhUozwWxIC8OAGINE75n6f+4IR2NMtklOPPxjggB4kvIHb/d6INnNzCb7/yd0FpgZIwtxd4PLZofjHmubetkX2YNA3s3YOtdOVLRrr9QhsCuzD4/crqtUWtSWGYkaKPcCK3NJFsY2BASVZAXkJgr+6P0HDCWtkiptFmp5LNSXRBggG7M6na4S1eWd7J1MT6gl5S4bAZCD7k5KYlIL7Ev41AcBOvy7QadTptytwPQzu9mdWS+pkrBxWIZsf7wlNnnE2eLJTmEkaPNYH2A54rOVym92iTqq1S2mcZ7SoLnZPje/dIIbezOqYxkFMxmzuyYUkCyv7uNJS8KeZcNnc4FPHeiauk0ct7jR2AgJb+mvOXgFYW7v3edzKTDslgIKVteiVu4DzGA1R4PeMlprWLfpuNdEJxOTLlhfzURgfHL1D2GUcBCKVrTsf1/66o80xX7mZ5iCmolsrNNRD9BpNLdWt7EBxqFn/02onaUb+mBC+mP4XMjbdb90utoS1+JY7uDCEAZCJstU3jUSIkPuiIj0Gyc64EtpNvdCo+oMY+fZQWzfOFxq7qN4wF0uBTvQjqyMJ4yhO0zWsjWOe3rqBuXcPsrg+fAmCz6HhMlUdkYXzREPAS1ihVbgneCaG1kW4t6a6Xnhug8IvELGCq7ZvgdmcZBFnUpqW5kd/S7DQxAQAZMD2BWubYgUms/oPaZZ22YuWfvH1lb6Jw6zxygeiKEzs4iwp9ufnlf7Y1l40bwwKSvhe+yUmcIrmFMxXM1rEhM2d1yN6ZyInb5D1C4k/zhN05IbCMoyMm5H097Eu7rboJDi1r+CCOgLIOIWP8FPMCOFi6TV5HK0aSrYX3w277NwMazCyI9kSjteLpettdIMmxWCSk8DQdsdDMuKlm3zqPjL/vqM907zdUg5LPtqWei8QMOCihVY7N9FqnOfh31em5T64GvmgDegFF4kIXlDYnbB/RfOmeitag9IY3jd2MFNPFYatD7cT3ASD1DE9+ljGc0GgDuT/inZjcxoFQi5xC4MyyMqjnppvA4jvT7rzrPzai7IsUY5AnomoloGj6ASyM5Pnb/dwXi1C5S9CSSe59I/+G4NkWkR0rsijm59m02GA9R2gfHgW0vedpXauFhfP4kis8c7btGMiHnKg28WuW+9RFCez31i19h0m6N5kf5NxmIkpgzs30dYCMDOnLeVxI4Kr97x9luFwu+ihjHv9l9hFBAXDpLi4CZqf713kmNhYk4pAGwDbmUaE6MIjzyHoYM/UeYxV5AwC7typCqLqXOw+3KqlOTFr2ArN9BCCjoh1ENiIWHgsxnWeGJcSkp2vz9ZHLxk5yZwjhX/VYYqlA9oKp6LV9sRB73AljmohJgX9FPXjH7g7Uw/x3JEV2RqbeimbrPPWF5QsUaRwrW8AeasSgrXdEjKqAikvsLn7CTPsEjB/8yjCfvAVjDM3coKXjRqbtyU7UpJuDKjI0d3JcFEELuPondhkAA2H76DYfaFN/UffI8AdKAZsPNxwFzr/W2FlRhPVli3cdcDZVkJFreLRGVJbGtd8DGcqQSrKyDMz9GObvnWVO3e+ZZKLWVk6ZDwyIm8edQnKQZmHR3fK8I44xVmXngSo/GxuoJPbgdCEaytl4EMhGS1veNud4t5ySnEqcpS/CV18Lm6Sb64YkWHEPeELxpZzrMMc04MQop/kyWyqXkS6w8Mj9Ttw1oyijpky8/+HAM8hjzdFJ74XVkq2VliXrfOQXEAgdesqG+tu4tn41uPTmx0n7V1YrPxMQBXYYJnRNILb2nCHB1HbtPI718fsCvB0B+lpgxERMSbYs8N873lvhvFtZgn/UsxSYbLRRpneRVUc4ajo417Y6Qq3r7yTUnT9Egg9CUSv47CVbXMhlt20qF27bpVstVj4vs30BViDhbQ9d6/HhbU/3fJwQ4MVEc6XvVOkdGEgpyzKFD4nzKyg9COHPo1Lopy7hH6kov+XGDNqKZLMSuErTz7H5WFIeAzdw9XSGo9Nf9wciHkmoudWJ7hbjOlgW3EK6mah1KoVXRH15kG1fZOfMiwDMTjEYMvAHxnLwy8jgfK8SqmRTXHyUeaFiT40i2ZpZfGndWU9d6twmwdi7UtQ7M9L6Ggzmywdwbt+5BhYF4k1rtCdlQdrPyZz0a8WsgVecqL16ff/U6S2hDxBFK6XhhEApG4NYO046H/iAs/vX71LPHKNSjqVbn8v+AEF9G1J2VGETBz3v2uNFQFRZsu6CB8Tm0LX6EY7JvGWxYglYkAYVUbWB3Wv6yTYObBDjrw2OfdyKM33K5eJER3/d4vvcZA6P2VjKorE7KzcaR6pcurkh83+PfmjytT07H6SOpmxOQbbEripVrxXYZgvEgQ3D+GsTlCFnlSeX4eZWgvSBaVBgAnGT//EYm5/AYIRKIwUEhKhS6KvNX/iHogWmvZN9yoKYIFc3JPML5dXNQPdy3fc75QVnAOrP9eHWFoUFSyQhB7RRBTXXImNc8Kfgz+PkXKwO3IjvG2O7U7WqDPAQ3fUWejyH9I2vuTadCi5XCfpMWaCKMgF2tNaMQok0yU8fU7QN+sbvEEiKhvXjMJx8yJf4JWODTBrTg9jYMkVSJcIAmBsdTEDmo6Ko+Og3oNyqeJzXv5MLl0orp44WqEf8kRTZfwpgrvNwhAoHfii6P3hRppGY/Ul4oD9cVtSGUwzJmK2BK1wDsP0b4IFzYgRt8R5QsWJlqK1qR3bzq3k64fOkDJMn8jcwIbZHn3k2dGXmEJwBInGF+NBw5G7VF7FA/bFQ/R4XWDGYF2I31KwJUwIuW7QPtdxmt0r4n6oQzNQU+Kw+kNheS4ElnOFyWfmFs0+IvTTWknY1lPMGUZy1embcBKXHzNNBLbO7bLKqzs8PUZMh3UJrmjyfK/chgDBptOLfRgddVZrCnMe4aXzDM2kBOaGYx4citu6dJ3wQIOBdWPzr12CrhHaNogLEmvzk0q3zyg3ezJ7+AXYh7XTr8EvxcmRcV43uDv2xoNww3pwFYFYDe1DOq305jvkCQ60OzNVMXnw3UP72f374cp9vwJJH9q1bIURJlJnJ3+5BTcOjyUfAt6k8L/ydGzE4I0ucNONOlEScGbTwefQq9MwvvcrNyaL1PoYmkF2n1Q0obbz119Dt+WklmVsfl5LAdjqwU4CVI3OpuVO4Tj3oN/x998IT7xjtBhxGKUgM4sDtZ01f6qw6OhASSerhZTPmgg10oKEMY3B1Gdk/l1Q+uGuDVlYBvbDvHXHdBb0IXHnrV9Ir3NbdO25M1FOgvmR2FjBopM6qzBR/lVicbDBHtS59TKp3+lre23k2w4411sW3VaepjQOZAFtrelBch23mN77ZKWGGvU1nCCK6QMUfn2LwBY5zk0yphSEmkYtf7Z/VZsBGjQvXGi/0OgaTReQUVJ4JJ5F+sN9Kck6KjAL5ikBgfNLin93nvxEjdVuwBP4cl6KqnUGNHDg8g3Xp+ZOqZpsmmUMgkugRxlPiVrXgWiOy9V6g8K2y12912/+E9PeOTowjJfn28o4HVgFuFXDi5+/ACVTxsO5ihalPwDR98bQ8UpL3d9Fl4OQjHHEeSqVTo+YUrOOI9Ac/HBUIx/Wo2/qj9sBpJ3ZRR2Iec3zYzZ9I6D9Rx7LV6R6Og/AZpATZYwnqbMm3vl0MSFkjR5hV531Qa2WE+ehmZaUNuQ3PHSV/Jyl/FV7xgOTBjpT2aeSZYBQZbBBs3PAx+Asvs2qbidaesMgtVJgPc4zEAfzPrDSfXCYLBixOx5EM/V0sV6pFsZyHXiiMv+lyhib6fJlh9EyeE18NZY0EWK0pXwLNeXJYwsDxTIfR/V3561nVGuUaFUzUeGSoBJjZDnSUvelMtg+CrF7x1ofR6Asu9Mq8Thxol4xgqvRr6gMtZUATTnUIvbYh6je1rOAp9I37I8qzWEq32LN/qupxFgkbUXZZUSX7qzVxqGRrVyjSLkknS3kaUoWeWXY0KYuG40R6WFMEMdXjwxh/47VlmB1EBl8Q90fKmsOn4q7QRyCsSDGHKW0ZWWm8+ecVFhAHE+Ugd5+iTm2DNf67FlloViUhFNRUtjviKDIed6SusIXl26sBPLzG+BWss3RRrpdXQTTjEB5OnyVJvRCZUofvwD9iW0tTPai6EPWVdHW/qCHmXDbyh4xMG8h5Wfj3erZsN5vCDXJy1DI26VzxG7TU0ly8RJ2edcGeGME7QkVSYtnL5KE5Q//luzivSooVOTWBLqGhVR5gZJXZ8IwCEIHXvFDhiw9k3eMbEIV7tA/Bi3NQILrJyU6JJhlD6NlP2eZICyzSck3+Q+96Y9adJck8CLiV7sQfi/RM+nP5VDf/+LAbWRZQ8oa8r/ybe2xFDn5aB3BxpV+McJxTYcih5gouQR5x/owANtbexBPfP3O6uRq3ExK6/iucWfiFsZzouMxYBsdDsoKDprU/JRwJon+9p3IDXphhVnI3fGEDYwLT3xfjuQ6tYkm05aWObNYEPFcGQdKMUv5TY0yJ909GLEN9ffNa81yikC/Pcx81ttyHnhqhGNjKMgkZh80d0aJ/vMMDCBDzQVw/rByCPqfGFOJ7vdA2Tubnz4hLWWJ6iHCTfl0ZnY//2LmGqX/tHa4Y+2p90a0z626lNmM3N/IQ26KOxa9NJ1UFvx8C4HEXLmNktklfiACQZFJ3VL+A/0Tws2RtW3En1p25x96ktecJfbKb7oQ9D1W7o+jh4avkA/bmj5UkE5x9NE42yPjTh2UCcIY4D6swjUTkwQCCvC4A+z+uq0F+aUwS/hV4Zv3eb9LXWkJus5lqXcoBnZD1OAi2AH+Qzdrln1o3RBVB8wyFFVO0V+EvjvPkRiNLyYwcJrRIpUgWbuYXCtGofULMMz6Ds0XFI7mzbglylyDSmOrGKOcqgKHcqpEsddpvPqOzPJxLQn5R4ikc2IDUG1g8LyML00LSMx67FQaEKWu6Dfxn7QvHQitc0l84Br+WtCk6dzgU+3m08eKofdbqOgNXJ9pymPBi1xSLtYn+eynxua9iFEbBZnGT1evu8CNJI6oUZ8B/JwsQrerX0iasRK3tgk9a1o30TZENXCdWO4/ERgLGH1yU1dpeOCF9Jy09Mf+Z4zgTdT6jJDkatBlYFKOJ86RWuIGLJ8SdA9TugZrsDsXMCoqBUSoMdRBZRTJXiEgjgBvIRSKwkMtsz6jyM90LT89c8S7IwDp80+0G+A9pnMrASsED/zh0JExFRU2SiTWmZyCVRA7qKq8yghf+0pu6uICk5ZLndlw6SlMJ7wBt7eUSrwksyylo/bIZBET3VwlimyowUNnxGM1eE53jfHwiD/2h5SgBMrwcY3E/IdubgTRTnrFvWzvnfrnqoyIdBWEqvrVoH41jqpDgGyp5JXlp+00okY5rzznE191Rj8TDbMsHgEjrIAR4dicHgjBZ9vtOo9LFDmHcyb9mT2FQOmp4Ag4eWBpFnW9gpZLDKaaEBwgAY/02aLvasigfQ8V5sCdhpiC114tApt+5tHq49nhnZK0m+lDHFEa2XJmneROvuKAPGRzO6D75kUovaV6KyxZqrpDXoFDMvm7CxgEFsed/hIeiqb0FWv4vUAcNybqJ3mMQw6JAmpFywEpB1uoSbh9MgGYvFGqzI51miDLAmBG8Jd+uRS+CrkYFpgcntbNjuAe/DrwahiUPo04WZc1wgpUyiNtq0bKEnologY9crzc2egm49yPejxCs6cO6OTB/hTnO8gwOt34IwuiWE3pNSJAriwdbq+O0P/jJ5CRN3aQZD4c9fP3Sm4NE5DOvzlxmaeDANeN+qJ2MheYvrqeIcd65iSeXGtPAkK48mGE3tYudKBZblCB5U4B48uCH08L5K7aONlByTGZJat/grMsx/aFiaWNPJUM6O4UNXMfHBD/Vtn8ge0i7iePZiY3Ok+RgXdvb4yn/TmiGE6KpIDXNhX7h/POxsYnztsSw0XMjaE9OLJgYEDvEwxqfq62Y2mdOAabdfROjHYVf42BTQyn+lgPdKky6QJNvBsG41azYKPW/mn23X6GbD2kF1cFiBemh/rLi5SWOo58U0oxtWj2BdoI7TMSKqs82TH7NidE0XKJP4U9s96B+M1XO8Acwvytdc+LRxY743Mpp8eDtrJSndoV8lg82xFm1JDvtqc0tX53PfjDu7PAAEKvFy8FY9jxEx/kyc+vvfTBPeFdKlM1Q/VOK2oFQviRpXKMXtmHgao40Afpis7UtuBEH0aykokfQxeRSV0VB+IiaAbMqoLYQkvKoEwiA6nrqYA7nmkJbIAe7b9vsoL0mX+h3IHCEsokBUj6gq3BHGlLacrZXzJb//OyVPVHzd4UrA83r1aICSc40M1aCS+klXdgtlnnPNbBSVAz3H/HDFYHLG6nV2/DMXKl9GrJNYXn1w7kL4wrY107/16ngW61WDmAu5GW/LsJfhs0Y534csP4DJdDLuJFATVzYIOMQLORH7Cv31UVVG8LNYBj5p7kQRhq/HPEbdtosZ+ZOOLnLYlIQA1Bgy810133TYV6RDl0WRyHdTQ5ruOuzfcztaVZDZO5CEC4QWBfrgjx8XBJNa95rKQnb1CX7A1F/HDFjCNAZWDWVPYPxxa6zZsPH5v4hCGG8qJYpi1QKB7y3FsSdNTuVPKDyiG5Bh+Yvw9AFShRarrc3f+faQbDSkU9tEkFSK0w97hfsIck9lxuEmMCeT/SJIvP0r6wIw2RTBY6ASEfUPLYT4qHMhdex9aF4tDZ/owUzl0cr+CpxrHTAw9NdImYAEAaxSqK0qcowavKAHues+CJnsCVTQTcbIXKq6pgXNkrkrjg0+cwa39m8ODgY+T6XjOIMvimbs36wyRePHlKqbRKdHqcyHncTm9JEUnPrIjS7SqtyVwFpQ9Sye7rgLvxUSLmrLAlUIXZMQU0/5hyh++tkTQnCYOw6XjhtpETa0tZK9fd19fKn4BaZxzpdkwWTkftHmoX5+MOGvCttI+CMEHYPQmgQENAW687HY1KmEpsb2lYUO2CKr3nYaF8ASAIrJy1liTn2TGjO9yx6LY/cWDWi/ts/bDpHVCMo75ZESwH/gHvz4CAaPZAmIZ550P+x7Bs03hqjbkJh1o5U3VBFr6mxsYzs/aVv/D9qQ52cT74w6VVEg0Zj8ZDezgk3Oif/vhAq7DqzT+eH2JrmKNyRpmpa/8K/FVxJjFLqzStwrSU83HrFRGlGJyM8sd3cQlZ/8otfTDlPVEoxugQpzjaKq8Q+6eHfGKMJ0D36WxQhVy89Hln2A/TkvM3k7Ly9L5wkwCZ/I9QDBcHZS0vnDZRlqb4sS1eZOYVess8+QHcHOWa/iFCqG+TP70KQNHPkR5/9LoUP325nKP8RmBcFjR4khfKYidQbahOHlirpyrBzDTE8IHGHWQ9P6P/bT/m56vudXdCRwwSp2CvRcRXdtYyoFrQ8NcdTOTBcyOYv14EPpsev0++wt12EXZWVKlBuUWBT7oUvFUiVdWjjzQLfzyN6HHzOBIXPKfx2koafSlgTk4pcl5nwpSF6bWLukNRWRLlnkLIXtr8QpDbQk2b9WAMhPWA+zVpuXB8fr1G8+Tl7yqF9SSkgbkcL4IzYgnAqmg7c1Fn+2Ee03qrH5BYyikRfiQPDChE/iIw1orK1wX8bYctOyJjKh/2JdmY4XfB/qdDL3hwRVhuNxdkJEb71rWkNxsIuRZhl6mwf0Qzh0RrXvARjJgpFyfGOEq4bK1Q3aFQ9L1wciDV8KNxUZH6EHRg+GjQP56q/lWcy236rkQye0WcwB2pZYhFNIcPGkFbxzTAxDS08ZFEXllLQ8MTMLm+crTyZyij8J4NvvcduhslT9ixLPx9k0xudbsiiFjl7VzdimBxeG1ruJsPKdg++A1N4yFbXXgQeUf3+lfhp4dRBu0wWuD0WcffS4Xb3TX0OEG9oRI8RsCRtK9TMDfmjZxPlJKxoYyvtDeT3jvAn/rxYyT0rZ5h6vwEzWExxH+TK/7+dXEWqRgLgz327d/O7fVMdrw0wneyxdnQBEJaaCFTK+VJkZCC0YZDj1Xkj54aTinDdujftayd5UNYASrcXfsJGQ3ple0g36aiNS9f3lVQcc2E4VIR0IUGHFRw4OfdpQqwwU0vSk/jEc1XbUlXlH/2Jyg7XnZriHKHLXVhIuySSAVVfNNWQyY4hI748/Goj1qZuUrNxfHJKsoA11r/7FbxfBDVR85dtjfyAcm67m2p7yod3tfhcuRrgB8gCREI0Wso3Gvfo+WN+jQ1BCTIJGXWmhx74YqnT79PYn/m+CCXNHo+ScoJXZ7vOBVIXGLqRuwUcBy/BuosM50YIxTKoad4LRJVrsg41XBtdmu3SkCFPriWXk0OJ2gISi377rgYORn6KE1Bo3M4fjR2vvbhsO8d1D7GCjvC1FP1QoQUfSH4TwCGpVoK6FvKN8WpDAZAYDrETX5f0wAAQWE6hi0D5MvpAe91+Guz9jxAtZ/iu2pc0AW4L4ma6l8YJGlHTX0DxRtQpAWNHP8QlRNXtwLkL0GHb6uYTXCXCW3QDnvzVI2HUXP3caKBY7km3jNNN2HMWKxwBbJ5Qy1TdtGJ0n6WpwOi3vefD9sFT/ctp2bZ+5eREm0pWSfljFm2D7pM+L6FX8ldkTkODMkdwE0acrTVCofuT7+0IluisEUJ8WErbcwOqLGEsq/34LgaVrBY5nrVT+VhZw3kQkhX6zAZrBru28WSrdH4zcpY1hubbfFPrTD6pXTtPDRSM6OTU5uQAuOEOLVg8BZn/WD6MGG+fbu3Kdpki/lBVBft9vdIi0Y6jsyoOzYXlop0pP6Y5f2vegqQShTb0P+2ACgqSVeJGgQKFc2oOkIYgol/f2g9Y/Akn8DNP84SwCjWbOuq7Yko4yKjvnx9OnVhK3CEEx1oMqq1howIOsMfdu+gFUvHGWs7fpHjq3l2Mn6rRZUSWA/uVPkI+giuwfKKo4WjH3k40L+l4M5Mbq6SgYBKJemn79vrqBolfs9bQfjvtS30+TAn/KULWsjHkU5W1aXx0oKq3m+K7GIXhR8AaGzAAYmcXmz6ytioJYM3yRJKMuvA2/fa+/x8exXvck9P16unLgo9FSYMa2m7ux9/Vk3sRvlqeE99uoG2W0u3Y5BmjyBrnjfaer9GUKwJ4Ap3TqhJbrodJ61igQiB1z0SQEuci9mtPoC30yueZw6/xYPnxmTUo2I4Db46Y5djyluF1XqjGDiNQo5esjTahiZBfLYnT97V87Ln9e1ynJB4d5c9woYRV2yrRK2I2vUgKRylITbWV9IWZ19s2Gqp8uARL9kb+jq6lwMOJv4TGH+b3300cIk19r02d6aCrJhhkxPCACijRdfRyxufNQARwJWILrUzpHm5Q5rgwRkDspmVAyx0BSmbrmZ0Zrw3qlkrNHRPkrBLeRBgJG5zWEML3KZuxlGqO3o++1TIHOsyaFjrZPYlt78ffG7ktSiYHHkuqfbKp4Z8hQObZ56L6ika8OaNV8NKDobHZF78oNrx/rsmXgc4/To8jycl3vbvF/AB+07LhvO6vQby+8gLH/BG5BALd3JepdgFntAnsve1bVNdH+v7w7m6/we4vBn7dP4XZOIXLEkVqwLlV339Y0YNl3Z5YxRj5rn3oewid+GwKEBFUZTjf/g/s6crI+e5Lt65/sBSTebUgqAGPTifRvMb7ylnKtoL91pyRMq384EwPt878v+nNsJIhvrKbPuR9HnSwVmUvbk4fREI4B9aBPMuY05/xAWawo4t7PPSWeTbqlMM2NeBAH8HNumdJadCfkiLYEcpx676aGEmVuMxg/NYjMmlGVA0vpakvm4sWIiGFrXjX9dDFj8GVnC+4dtEAKWsTx395wYpr09iH0N4bUaTi5wzYWA/nLnHZPH9t+K9bQhBEn6ltBAmkCT0lVBWNMoRcWnVxdMIevt7yB3023IGnk9c0NIIALfUBg2v8BMOwrA3cSYObOg3kdC2JJCoZhr8vSrw17/B4B3ZCEvwgHxIy9T9+pjwB4picEtReFTKZmZqAEhzRjUm7xNKPJW6iSydlbGl7yBxWDuQ/YyB70ziTR5Aa2TXeuDXCPAF+R/57GP3xAQpaqZPhDRTrTV6dXxELaPaESu7ZvrB2aat67GNjAzRTMoVh9kQbYpnLl4/m5OSlZvl7qg7G9HEiDbaqyeI7zfcxRMjafKLytONGw5WSprOAEsev8qAI1WYgTqeCgVDyDxaHi9YCKoEdDckE0BmBJMOHDC4zKZI+bQG9MklqzX1U9/n6xj9hQizY3RU/rWVKEbjbw1toaojw7VwobejDlnc6TdNDcx9ZBxvcl8tewxw29JJQ4Tn5jhtw/cBOhI+07E88gHEvRszkSpVlvm/MYoE6xiNXPlCYtdBMhkpZXZe0rOGua+UqytfLrYVm8Mw0FViw66M0G6kfyFT5NzY+OJImN005wRqJGfAuf9yHfUgiLDs1At3QzorITJSQemZI8iFx1ZQtsazEH5KaCKBbLmBU6jl0NrQgwJKh0YO/2nc5buQf5cHie4pn22JGWnWnhzyWXHrWm6N16H2zGNTQXGbdiQwTC/05fnPbxCzOmDIkzqegaal0cIx2ARDb2DZzWki1F44KGzPHEHSpCqYdWPNr+dB1dEL1St+vjnnW3F+97/NvFAZHiXV6rGPMzQB6XmDgGtfwUaQzmZQzHGR1/WmTuVy4tMCFNftslnw2LsjJ+7MvnWCXTyDH/H4t4XnlVvNX0fnC9rRxT8ARGj/262ITSHP0hGqL1ToDJno+0ou/yGpqtra6C0wv2uf3Eap9D6UqenHSJn5azyynNBfY/tGlLs3FxT0poN1xE/GZ03MrQOuovuMf1y6y7Iaj5bP+JiHLoxOlI0sh9mqxMMdu/gkQnxsHHccmELJgHO5GyB6XIUdKWEvPJTMAL0VjbCpNVVGvFB1rvHnYPquW0h7qW55IwNEOvFEDs9vSjt676kgxBCWlTVzpb2r/TfzY5+LIm2BeaktEBeSuhx0JjbmUDz6Y9U2U7bE2WxoWNhTvWKYmJM7EU9FIjbfym6ANEI0iwj02bmMECa1Xth1fMI4Q1vHQ7irraES9x8lLb3KwgdD4Gu48v0sRX8fHdCjo4XosBM6CT+sgMGHF7Qn0d7Fl9mLUIzC49+RQO/A0GeojNAPhi0vg7qhbLpjc9JZoC5Xyv2iaHYqiX8h1ZA5qol7xFkxgZSbyREprwdIX3QrsKgRWz6+k7sHeN7d4yt5a7/XYfDSXgETqHYUO06n8JVcv5VUzVIKmpwR342gbi2UMOXHDO717C8zVPlSaYGIt/J25Mn0Fu0NnwHxhPkdVLoOO1KE6hw3caj5G1BgXGg7C7D6P7tPQbdb94CwAAf34oOcCMw3k3zvyUxCkiC8bj8bedf3asmrqJbnbuRfGCO7eZxTx0ZZsd5G0T+NZgix9/iJEwyPAlYf1KKrEJMfMfCUmQwU3fJheucUZvbM728fj3z3zxlukkK/oWRSuX9ljXCxLY79ATAszU6gPw3oe27NpPfQL5/pY/tmHAIcmBUg+IPxFexx4fSQ2c3P/9vzeSL1qcFhaoi3XBbizh6GheT+4qdhGvPTiu8oVGaOEPJYNvrlHKOnsscERArzZ4Lbk0F0FusxKGPj5+hFt3BIW8Y7lwDff61Ma5XwLBMf7ioYqF3Jl+6t3VU4j5YH+E7yuqG0lRsLtjUvf1LW6dhmFPu0Zx4zEEzPIvv0FfnzetSiznbwhZV5OVXgoGNCf21PBWXc7JxgnL+O9XEdy+97X650EYFAY+BO/rybwtrOnhkmuOxR0gtfnEiINeXbKHyrTmEs4dOmuMp1nykNC8JB2u2vZpD1W1Cltc7LjmmtYhFaCJTOe9PnLYVCnSpLWSydVnfQrLSDP59MMNhc+t4r6FYa7RGEh+f4lEELtc1kzJITcuNZQrS9WAlplyYae47nMNvJ4mUy2k7iERZN4lXUY6jK4GVD5hDutNaG4aRZZW9sHPHAUBYLgBCzNV5Y+bYYTYP8U7EHAHMei5aOk1AEhNVtlb/54hv823bylJe2cpmRbrnQUMQjh6NGGvRaK18GoZ5sAZavUIn4X/yAycQJvWAvF0s/FqzSBcrEhl4EIewnkNdwSGIdoUf2GuqbY4OVPIZKVxiNmYRnNnEpcTm5GCuIqepy9BN0Fzug/E/ifHv2SbDHflRqwi94jvkCGir7T1YmxXecRLN+K66GCr8xkbTQLpmASIBK5DTtigKoTPOnvpnZuoaqjaoFEPeFSUx//ccKU8y2Uol0NZ6aSKuWm1kOvEondftxgXdkEjwZAqBNNRkydKslBye/EaI+CGbNEyXkLcHQwewQlvw9qiEA/86vYfFERn24miCeWkMRhwmxuXA/5xhB2FuV+U5XMhM35EoYrm4tftqLOlt96yOMOR/zQ4UoThk5o9SPolDS4PF/ACzfyv1V0pQMZ8AC/HP/r3domXO2VWyvP7vV7lhUvpU3S0L1v12E9H2yHM2ul5SILWrZIIM6qx+f3oNG+9cM6HjX80q4Uez92s60JWYFTAfsvFAybd0GotKY6J5H52x43jFN83iCqdSn5UOXkLG5QsjI/G5AyUmximLzFoW4wZyCJzQmCius8Ceaz/5rPbENkD+y1MJkZlE4Vyv7KXrrshiGzOdh4E7DXTyCSjFEnnuviA9QKAv6IPNVUypLpYMWUaplYISUxZ7DhYMpjkxJJNVJVLgrzIqRMwehQQhYV7tYvWNAln7m5RLa1BfoZvYPjfqSJYNBrWAozBh8qTTqdeTBR7EjQCgehrdio0RdeYMcB1Ikvn663lLOgMSOkU84tfUlRK4pSxgXfJ5l0sZtW+o2FwvaOCLHT7RkA2g05O5keSuh2RJsGXySC5PQkjDPMNBD+OokS4p71CIDWloEreK+TiHhj2bET92RR7pSn80a/ekYWKTSDb5Ba9FuTJWNEsej1MRYYLCZZnBhP5ZzGgrM2JxYTuwQgugBAhEryXYZlEwG/LiVPFtScQc/Ule/M2nJfIoqZdaXKG5esKUZrO2Tz4qDsAhdphzAN530bVinr2v/hVNqwnBBXD/mGS6VDwwB5r3SkUZa1QCJtzekAdmU5ZUeZfdP4adzz9/dcGrq7j/Jb2NRbNEgKT/9WvOHnm6mwHNtyUsS74BARhuXAlzEQcNjGKo6G5Bc6uh4ULf8y4P9prSsPufVcIak+tFidEHX38N2kNj2EnoAxIGRBdB7y/Ojxx0s8pBtveFPmcSvrWC3b8vYm8s5QZtiF4yTX140EFD6l9W955UqKwaPZM1G9ezft5wwUuvZLQd/HcKA+VsaDtXjL+/eAKvTzBCwz7mk4W1ILm9i6bqIBQbEbh4uFIZNALd27nfJcDcA1Y7aIYxbeRcxsrw/GQVn6477I1TjFA5uDXZSTw5GHa6hi6pC/sdSHcRMpZe7DHIFQl6rIb4pgmIsVTpwhBbTEIfmLVbqakvOh1JBibuSnvsu+0smrHt74yKGdYNsme4tZ3A4awtHuQf/+Z3Atk0wSy3EoaHKtUQBBP5nzEkWtc/T/+jJY++2h0IQo5iQrqnO/qrdL4EIgl0jE2VB0SlyzGAfXuSvpnxMQPiMvig1DMKRkmiLDMkddTwG3Rc7434PsAn//tYhTHIwjQuKtU7lle6v6S0lGnN6WCSuIZacxEolcNIuTdvg8E/M8r5t+JLIJ4hzDc3Hbv0IE+z95glzC7x/C/6EE/jarXT/yvCCelNIYQyAcO57TMv1/cRnug0dDKfZ4Fq2q6snURXnLyVt1eU/wRF4BstAjB26Nw3y82B46fZF/6T5iV25Vuh433Pr/l8LVCCIpUoF76FSeDeaRV5TYKt6V3y1ih/rTVHRvQPKP7wsrmWzeudERm0PYI2gJPLU8w+KGkgYTXFCGTiyruaix5CljLWso04akPzZmVEJrejYeo4ompRFOhwKuJuNWo00l0/BUw/5mnOoffVJ2eOrgQhYJSl5ZjYmd6oVnzVsnvyDPMG83MrXYtk6kCPJYx5oMuyM2+inn2rWn445XVykEWTdnpHIe6nj94CyC/WAwCiysXR6C5709W8izmhjkLHem5wxSsuiqV029BpA7nC+/g70i3ZJISjLTUC873KFW0DFfgLvUNPJhxmWDNLIAgStLW4NbDbFTrVcLMdA7z0q+HYhqAQuWBMoyBT49XYq7Bzi/bgnEQcp+LvJtdh5mKwsY6tv8JbJN+sciZDb8p+Y+qF75RD0q533pmeC7EjLRS6kGb3O1dqUXQ3sYT1uA65FYw262+OPvgPYw6OmSKZmmPH7A/L9ev5rjBqRbLEd4bY/Ff8ZUw4KKtzEpzzSMuBdA+4UWID56cNOfBrk72vuLvecElu16M9qzVP8OoAyS0LUak7Ubio10f4Z6wZYOhvUZEgi5Sax5rxwC0AzGIcOqJGHxA+V1hScCV2tvgNJv7XPta/jKCHRuhYIrf2HjmfyeLmcTTXgWDTKX+wHEmUbvCvXvDlqfppJ0vfVHBPmIm8fNxN8vOo9Vj5aSL+H161UuchAmBVqDK51q0S+Zxa5/VdEgc9EN6hwm5Li1btHtNCBuYxoEDkvaMiVf1F63OByjGZdySn/ITCcdrRotprhqeSe/3I91QAT26GsDB0C+UlDNIOaZfimoWeeVDqI3h8aHC4hQkxpf53ktNvNwjz1tTOsgznMIM7IE+5bpj8hmLhf/42Cc3+MAEfTSLMTAQEndBfnixckDfnYFqRHoXzPirZxzD5V0bPzRJnOicKUpZUTfZPZzUv/iJzW0cCNRKgxPIXut9ssBzKiOdAyFviGxnkAfN2R80wObF2Ii0NkrJH+hF8Hjpio28Lp+P14RhUUxMTSHP+AL+gtC7SO31aOkdfmFeu4WUD5W5OlTpIECXnB5yOB7f/R2NiszPdQ7AkSy+tsL7XfeXC93ofOJ8oT49FpLS7vdS3VrxKvMXa4VxxcfQ1UgjL21cbecz1fLLMQty9PkJcoZSUrMhAa1kEGiIB7ZxhG2rAKutgw5aqjC+trnskrCAHhwCifSAbVcyqIhOGmAg4M3vTFwuXCyBidmJ54WRlqxBnMxix6asYF8G5aJmIaexAS14/BpCrqMThsIN+nP/3aZQAxaVa5FVg8P4xbdimk07PQME4Zg+3Jt7H2ljupWQ1AAOcMQX/1hLYIQ2WHEnCzKkF/J2T4GMfvvwZyU8RAGsk2SH/M+bfZh5GAVHcJrQEwQ9XycNRIMHnEXElyMk/YYgaXXXosq48PpSOGQ5YyCjkDCLhWcaHGL0UUDbjwSH96YKrThjGfOCxSV6IK8HkbUJjGfyvCprrj7F0rss9wGLzjWsAl0mSydaFI48k12bKXKNPzG9hky3bUQhou9Wjui6n5SLKAOVTE567dpdBRpr7TQY7OZ1jeKM/29OstVQbW6lbaKQJCnmuOFcseGV+AGrfaw4JgqV5WZq4uoBXcjSRDy/qtQxTTnZhD528/3WTXAbxju836GSC3q7IJzXo+vx6nlGpOoo6SZN1SBld7TnaAMvsVKczh5c2gzpXs79QiNZvcDxKaOGAkcjxv90Pjhiw8ydTui0Eyg1ZogXGnV/ZJGkkR49GaEOLF0Xf5hU1RHaFoBGThYIg0t6fIjfuV9QGbejotreC5ifYDKdzsqIZjONg3+piq+A9hGit1MH+iyU+8HMKu1eE5PMQPnqUDVdeApJMiOvG7l6OvgWmLeWyGF3huwOLMiGxmWifJI6bJdR2QdfSsj48mVdBrjx7+ANKclclUjVIR1K1kvkw0TSwFf/aRlp7PubCd1OoeFF41ic+PeKF+ZANcNi6z5J9beHRSNbxCy12MEa4nDIwFMhSBmhp3iIL2SeqUoXSKVGjMnvF4RC058kMECWwpzKtG4boGtG3YqLZfTeK1QgX/kQurHx848ltygERqMRuM6b2K+2JEIcrxobArDzK8TfKukmjJuc3MsiY/Sc+4MK+x89x7HXII6sn2A6fdWuIfCUWVWgpsOdFL7k1lMHzURnFD+AuCMiX6ulc7TEgDVmzhJeysE/c5SAdb1oGEmgbX5YuzanYumHek8Mg2Al1USZ+Eo3hGK1mQOJjJhpEy2wQqThjja7T1xJDAR1X2wMb4GKjqW0DNeMtAGSijm2pUC0DxI+LboIoZSFSWiMa8hoHWS+/+qqvlgBpfAv6iabe1gNgj/nvMoGKL+YB+7KoHAYClL9z/Cjbkn6CVsuSuuk7VDN0vWsdZXuQocmo58bzE2moONhvom4VIhz8+eaE6zP7vsT03P+ZjEUHP/6IlmQEJRR+oyreH76adAjvLPtbKtiVzDdTUQY+LUmxAIYZ5NLueHPSAUR4UDsCX3sSEeF02lbnwxup8sKo6h0DhWg/Tt86/Vo+pJejKiIrXNj6c3otAEsZJb7Fa6KW518HkR+okDlSa6XlihKFdRaVe47r06n5VnSRVw0RMnEHZ6gDIlnPmxaTWqgKE3oPJ/VhpqjXYW2bi3hRYgJqHOMuMJOvCnpc66X40Krqul++Mfg3xXObiFi53b/WQd9MqGEgKhAgS8IIZTdaSMfFCF3WmZ2WL8o7X1kKj9LFzNEC/RjxR4LOX3xOVGXiFcuawjO4upNhdBcjtExnvg1LN9K58Y6o9jy1HQiSQRCX4K86PW7iV7dDpZ4qzgKrG+kqMMg6Hb2jefnK7vwsk50NDD86yljAFQ90cPKJOqW7gvaRTrVEl6rP3z7ja+CVxfP0prLF67mbPs1/siPlxsZ3cTO/Ik0zXChcL9rewiksCFGDGVMPtetxslVgdZHtvhMYQvYWjRXGOye731XbB8uW1C7ohnlgV/uaGlueQyI0uBZ9/9q0Ou7Fp5TxfjSdInaJUGhJPQDHS8prGwVT/OvTFKWwJRBZ05suvlI/lksrm6MdIL0bwCqwciHjaDLutU3KhexyHfQ0uRSUlerZMmcl/Z0EvwKL1jIVwcfagXKxTv9DI/SHodM3N4UksIJ4/KMrJw6DwSs3uRLYb/IHg4rOkPsJYFSMyxhXlvzEN6z6ldZoSL1ReEobSz2IJLHGU8AQ7P603tEs6jpsS3/N4bR/PDqSNeA3cHxttlF+yng8HwiinEKSTzsLbaoq9Ztb77rXELmUrOkZCAw4zR0+koJnZEP66Um2vE4ThuOLcDwkAfjFpl4FqSsGcV9qC9ANVYxiufbsymQ8LrpIBPJmD/Mq3gcZ0hMev4IdVJv/nPZ3WGCeu3ZlCm7NoRHD75QjDrH+plRaHuXeSVOJHjzPGdmS3nhXPj78o4H2Pb1GpeRvuYFYqgwikOMcnwPh7qfyTMXQFwYx955EpsHxd6QNUMe8iab2+Dd8YiBRFxe7SBFAxVeEDBCVDXf4h6QS/12mwGJUrXiyJiB6r1hgq97KJMItgDwMWUXfPMAme8INbIqjBHSKX3Svd8jl52TCYcN9n3JtmlJi8e1ZFMazMB4xAmkRhi7B0psRjCsaF/N4TR8MM+pnS0qUg9xxcIYzyoInZ3jzcvhKBthfo1xgiKK6e77cCQYuFpQ8utbKtTfVW15Qjvt2MQ32LX/oejbnp9MgcH5H6MnmSaHYOW8H+V+iY12+sew0iPtscuXPGokGLgSTYp1ulQp2GyqmuHxl7pbyd+vBlLHgz1eQnB1jkRofRKcolYww3gKe+0HOhq2Kkb46HmAuJi4UjGytFMOVlsJ1W5i65dOuwRK0U5traWQyrGQVQtjQXKdUjnyKNKIGcEXMVFvM2d+IhzG6vDXPE/45cZfozmySn+qTfRB3Dt697CoGu0/PLxliAvMbe/lHCRJ63R03NNExHlFXDvQrErDhcLuSrwa+JW3x2WqTWPd0dr0ZAE7LhCKTItX7USFI2qb0AxDvfIGzl7593nl+WQSUX27CJuXp7Jso60mj1wpEDiDIBeVgsNi4oCjInl4+Av9Fxzmrieyx2vygVsSwl5dk+bGFCAFWvF6rCv7Ys0NZ3u37cxn5dHS5jptS/ihBRp88zsolPO5TU5RXbDSm01NlePtOOIVem3/pklOW/KQT+IWw4MHRCbgReACz/3jbj6Lpdm9ytWLrmsPtHqg5hDO5XR1UF3lX39zkD3sIv5B6CvZRDD5+nm7xp2bMk6T4iYY+1WrlvJSX+h3WPSdFi5bhL7JTmpSHzmcP9DvgtDVMu9nzrAinaQSxO3PUoBFCUL9yYjAC3YtWWheqsNxXIJcbiAOMgSiUZFABkvtJNmQ8QenQaiwN6oI81zonUdXGsdjvMq6dU8nM58BuqA3jftZMy/QloGBMqPN583zzouGDB2qUfSaKNRX62DqLVGcbCWA/VxHJKfdxaJYFBz0/B7DmoRQKbcWCjx68jS5NvFW8lPMxVgbtwhubQpbtYomBy10Cq+0QtG3Uv302vFQN/ncIfEnyOQo8dyaKmP0t7LCa6f69UYayMN6oSHyw+He2Qb6RA+dP4ZpBz2uNP61RgVzvrVTY0YVpb9yIB3WFI6F6OkwnDTH2juJcn8B2AHWaqdif1S1kBcWHkfRYsdepSIHCXX+sDsD1mPOYtRc9C68rbLL8a3unGPHtmUDedlJoPKSRbcQ1U71REvXXCQA8D2GBa5FHN/GPjMGflBptiEJgSLYY3ilLggC78rg0rmHjTyru6QOYgY9hmfabGL1qarGx33KdXKC+PspK4Pk6xzBbK1lRN6L3hwGGcLRJ73Q0539jYK6mRwaJP0GPWKq1ZLDDxQNJd0/o4sHJ/qilvLDulBuaAy4/1d1QpyQpEhFlNnR03urUZtKs5vkJ0IIygW6f3JwaDXQ0XU6pEmQhV5GXDuHnKLVwBrsyJ/uIZgrDbSF/Ap+K0gNwN/Gu4fTEEjwpGhTiifRxfHFtU/7x1XrhSsgTcfNY+7n3ZghRExNaVM3fGSeWQgz8sMvWVT5b6fztaFczbxAhAETwwLl3Wl3A6JCAg9kZBtbdCXRh+9G9UWcKqWH6ztCEX4Hp2Fq/jvZ67o/L3JL0LleZBUckt5j+rWPOq2NQ0WdmFZWLgbNFB48YKhSAAS/i60Sc9XzgPTVUbUxr0Tb3+bf3SiRutvKSHxHQ0utO5K+b4DLqoyjBc/YLpJhIS5LYaBFhdPd7Xkse36FByX9cW42Skk1gSaCTEsTtom4g6+T1dbQWb9wgaRvcAsdPnGnvbwLENIrP1cCSz1BijwAQi2FEFG+kEuGzcYFlC4QuYNowpcSarIA4jgfyb9SmuqK0k7i2mz6wzNS4vYgy99ToFDY+DyJvH5RPhn19Hu5xHLlN0EARGRr8Rc5KN+lqJavLjHLrk2oVwvkdAm4pPYWdqL4Bit9NYv90yEUXveYsnHC8BrkAGrje4bXQmgJF0xZZIUtd9fRUw+RJG8SePaaPi9nXdxTHWz1nKfz8r4slZ+UPJgOtpgmt/TqHztPBdIG5vfHUBu/q5Yp4cBSETlzzQA5V+k5v6EN96uqWk7HAYnCPA2gXRl+FFCa/V9QxXzH4mzKPU5ft3KsNPb4p0W5kpXB5FUMWMB8Ekl2QgCW9l96Cxyb/zrvjE7E2XmuSAq2Fmg6zt9+rPuRsU+G9s1fj/9Ra0Z0ST5xwqY/Lmx4ig0PKPXdXLi+uB3eq00cM44S+XVwfHlNYRVemRqwMOpo6tKZV73hJ6/9GTXT+bKj1yvbWYIMh8zvKFKa4yqf34D2dtpj6H77Tmx9yboe3eoHOXgKmAyHpjwYgyYItP9oVhZK7h3uHk66vh3DjgKrAsvjDeVe5G8iOMnNiZLOEE+ohI+by9EdHmyyTklyhDCPeqYBjfMku45uj97m2gvs9+JrkkM9IQSyLUFCsGl59H1FHB+gA8gn+qs93copK4Eoc3w+bjw68q3AQHjXGw3YsjGcp75gE50guWsuEFSgJMWRqeeH+UFRrg/Zy2gP64hkHxbvzchjmCoOFZg+LrPNtf8V4xir1b9N3Npeaxh6IiBJh1+h5N1VqxyB3h1uMxG4A+wuhX6ZpWqrIAdGogRY3wI+XN/L/HzRy7RLwZ3U3zvAjo4iyPFPibpmiXUx/Vc7PyHpTr+1TW67P9GguPN71OQm90TKlmQ8+6Cwz51cqRMTRyNfVQazkFeGo1f04t3j2PERAxm7Y9JULDYf3llBp30sN005zqTDXUQ/MGWL9RAvRgBt3t7/fk90eIZCifD15lyakv0I2e+vuPsYDigzswDHq6A2xreAUbJrcncEv1oDlTuMP5TX26+wLsCH4J99Cz0kUIRdTRfkXA0axZ97XxsvqhochvcFNldZQs48e2L7Nh9c7/eCtnRSFY9psWEN28MNZ2/gleH2SaS4vW9FbUbnfsNXirfINwDWR92J9JPRt6PtMRHl8I9wb0IlQFOSoyeM96DIlQA3YyONdfdqKIJKF1V333KWwy5K3CwRQhX/96AYnwvK5NylsPG6kVBzvAg2frCqCs6IP/2T40A/oyEvUXbgmwfGkNp95FWNYJrJ5HcbpCwwvzcAXEratyFO6ZCKRUMdmlGOXUE/lbvJwG7dLTmRzpXZRJ47kMV7tKcCaZD5AYdKDp/CS3cdhMySP2yCnPKOtXFKrElLdKX6dQz/PVi9IhEjEgLs8Br+BsjOFhAjjr6BEikMlY6Hyqa8nBPaNdefBq0vtjzN938akWrcxm0OuMNOHYDkqTAX9a6Q30R2mMm2/dtCSGCqGhqzMlC9eMcNoV2PN9UNXtQHBtENo37+L/vLlIIFg1Mut4DYdA5xai/50c2+lAMQZ4lSPEFm3lUzW2/P+57fuX4Xi/6zAqwDJ+IyWNN5Ryj9xwWoGXuxrOBfHre6kOONbWfTTNMZe6vD2P3JNHrCz+RnfgI/nZGxoFpp2j0MgFpnmukY6mQmfRX20t56wlxRx4cEQqMLwQpe5FOr4shQ4N9wWFtpxflHzRDqPcyDWz2CU7Coc6e6wi8Rzu9/iJswiRg3yYL6LwHvshaTL+FYrQsq2WNnjLOOLrvgTQSet3sIAXe8bBrGk8LmTJvK6vluNb/YHGeaNk3D/l1L4oKrPy3IF9gWjyUEw6+lEJn9hcQT845nl/2gz59LZ+ZlLdIXXX1pZMExBfwvaevx4XFBWyH7lAzjr9Ytz7RYj2svtMiAjt4MHzrZZb3xdjiEUNefKKR1NjrhGZJqDCUuxBoFfBPi2m0bT04MIiYlped/Ltqcycf/nL2FfmBYuPWW1yngA48bNIDG6/agSX8NuvFcDNUfD8jfpVvKsZ5Wq/HFUF2KzjRPT8lAB5BE1O36E2UIzG+eB9lJry7cSpOuqbywCnHXlto0nd7+1wNyszqiv+AEz2ggWzkNsCsR0CprMccNEuv1VIIKUGpy4nW4cKgThqGnd4QOdmzIYnEfbGskJOgKxjh1myC0BrfVJ541MaU+k1EzSSqqDa30pWCzBsiGZ4R5RYcEYsRfqYCkNnYH5b+7950r/dSisp06HbGdZCWpDvB8LUAkNYqv51kOONHVe4K5NVlktN9zSbuBLOUkrBSuCHmpsa4EVlHLa+1s4R3+IVMqhViDw0qPXwtVzZ4YjQ495UcpDKRfE+q+jOGac+1kMMKi8320kfWr+X2nDHsc5pHAjJqHMduX1elEJA56MDfyqMiD1ko54vCCd7qHNPI0ioWLX5V+Al+hKJPUbUA0fbIm44lW37wqUYR/1hmQaod4s97O/GtBIlpvnbgEge6DXz1Z06fKWS3useRNZe1AxN7uMn4dTBi0m1MAni3UwIswXQRcAvkgiLYs+06UeUG0tinKWnZ2/Pz+j7MuK+Pd/qzR0o2kKmfFxaln74e2glYF5HDILEKlAY/pjZjoBI2Xd415hyx1EcMxS9ywHq7hivmCHpI7gLUP33zjX4u04BI6V/NkKqFZHOl7EEmu1c4edSckt+qXR8EjSTnRkg/jNEK/LJeYnDQkKPNMY9UdPsAn7wc+c90Hfsfj8mMHREmn7H3dJ+3epNhkM5ry4H0ZZF2HOo/QbBl0JHFEWGT0U2Soowe5NQK3Y1vlo4syMtrq5OHjSzLOmOsIvPbENMViSaYt1Ahmu/MdWefECqwt/xDYYhOdQ+kdHlxLBzypZg3HLLkhjTsBI3j1TyRh+6tz4nNGIXfU5QDS3MY4QOELQ5f2Ak8bhH2N2/DrQ+C9gZSRp/5gKei5YBV/oLZowQPFlpmKiA91YC/7la+P9XsYfYYcybA66e9378gdArb7mg6DV5iYhreBL9zWVCTetk+j9o2Rrx+D+jTzrXhAu23eP1XkM2LpNTXqEZ/v0CQB2W8UX24kDJidJN+b5VFjx7lWkoFU99bpzFhCiIP88Jw0Y5o0wYOh08Gb0sqZWbM5v57OIX5BF1k632RuJu7tlj4305597Pd/K44gMmEgTrK/WGYDzMwLuGpViXIDRKVCjDSLlS/8BW3kiSdhNwKsPv7zQsF6DyqMqQ8/LarJCq47fFD6kX6SSK3bui1reF9cnB3S1I9VIUak3olAeYdv5rYrB4Bv73os2qTGKh5iMhFlZwKz9LF1z5izmnq6umJagFf0fghNQL5HdKzr6sXjO4Czh2ZBV6ElAQ7YxoHZxCCM+RKQYYS6QkuXJiQnS9icTcPXtZheYgsQd8RjC8BkKOhwKh+T/I4zCBh+k1mOKYNJj49qy3kA0dPwxFZzU5blZcM/rQcqeXAjMHzSpEk/pgCrVehEVBB5gFkgejZZOBw1B9fC8DTbaz8g84XOaZeXx5Gh/fDLfhykVxKwZaRl28ihCcnFhr6T3or8EaoFTthUeXegQFdZ02O2hXd6ARMMo1EtcGVv78Ybfzqhje9VA+SC58YTC/TfRDAcd7N9/NC+Z0CIs8ohddxOXzHukp9pBCFWjGC+qkEOQat2wkJX+bK6+YrjFUgCaxup834wHhLwB2bJYhYax5gSsbYdQSQ2OpHkwwFF2b1L/5xVkjPhicoswKlYyxQwxymjqREI56UL4d1jv5iX48r9poQPyl2vYDSxcIlXjrtJ4GVqMRUHt4frmIvBt0gNVSwLMcTKtJaadVK8a83vgN6G0igJrjFaWdK39AjKToJho/XBSVx/Y7QvxFlLuM7Qh3yZuGdpq7XSJD2+FTcrP8wstr5D/zAtQdGOObvCoqZHcFfl4foVQS3UbXYO4VaQl1Dfjg3DWijPmgNq8ZprBHRQ5ZT/tiuentNIMza56m8p217AWzg82+hxCecWq+pI1bl5K+wIl3z2o7PyLndDOaPFa7sUUaKAygTJFZ5jnsK6e7ds86/xRT27bYnO/uECN35BNYLP0p1GAyFFQE/flt5EdvFZlI4TLxdqn9cLMrDySGiv3jo+/8JX5bBjPYRa3dDVSSzB/n2sp0vdOq2qdPdORM9LpALS64qr6GpnUtw8bVAi+gcVZGYYnW/AY5PB5ZpHLWzpHEj+LAyxkWPy2X36TD0CrKN+5Ey5raTAp1QfiILN3uNfUPrr23b75k/8qQ5iQfo3w1z9ZqjMh0fNpHFLHMQvEfMZN2jPbQNGeehroEgPORoi2C8KoCttpJ86iPiJm5n5RBolOxbi36S096RbktWyWblg0gj8rVc0SmUku+Z7pO/21qVvwio1BxbCiEIttz1HZqenETkwgPmebrKwCCIUydFDaAeB+M0TAE4d3uxskUb7PlqjyH9YYicM71N+/XRq8iom2FpqGLhwSTtX3FoP9/QTrxOWNCD6Sbd4qLxoIfv0G0BScChab14nU563IGybC2esiqaXVCM/CXrEHkxEub91KCJOaiDwf2i7CGUcf6xd3DdxaqWTqDfc57zhngxinCUCiWma7YvCtYG5J5h7LAvDzFs/19Cb25A23VbJ/OLuelCh+nyAiWyluDBYFZSaFkbaBJnbGLqxtbnKh/cTf1xOXblRyiTeWPKZS1bJcbD0b8Ec2CTy2sHV5ClyN3x/Z5Y8EtAA+9W/DSRk0qJWXFCM3SJGPBO977UoAeythAoUKdh5+rq/021HmTwouQuL6L47Bl+kfuuosFn0NkYWAUKF/I2dBapNAdGuNqxk5dI6A+8pF0OZnjIWLunli5KpNAXMcMXpQraer903h8uDG3fYogKyxYKqHfLmAjMI5ligpzAlaKD9Jw2rxoHDEzlJylgkMTk6SdnsF4E8naGffOSNx+WX8IKcG3+K8b0rCwvWT71iY3E6T5DuwVEmK4fceA8f7zK8XDUzPY+NdYzJzDDN7+q9q3Hy91YtnoZAQieOX9U3s/zsWtpEifm4a2nspRUSrNygzu3XXIoZWsRUNSHmoQZMsOqLH8JT7Bq/4z1pr8v6pIDiQ3LtA/AB4d3TIiwRXgvVPT/14Guhve+cZ/f0Rpdg9iVB/NMiquWqpbrdwyGgRDabkjwNDy9QWWyM9B3RhMRbs2hlSeV6hgp74MGpQodatwiXesDLVXiKucPMivZZ31Qr53FZmNvuX+X67QCXzAERalYM5k5kPwzrqeeFmMn6tJWiK02NXB9A6IJDg78B3p0CNL6cZUT/TlnAX8ntGuJohVkoHdVfEyf9p1CBJV8G8NKPHD59aosO9twpkQzuRgtrB2jb7aLQ8qMno6bRrFhhviYAyDCV4yoNf+WNTHVXnqox6LVC83DggDH7PhxpK1bdo6keMAjRqreLGUoAvWun4AX8N9rpjzIC+555at6omaaC9fuh4V/MdmeigJao0PASBLuR3LC/fh82oyGjKKgxuz3rsDze3D9hdm/ofQq6uUx6Ar4/g4x/F7ui/mi+KBldsIGhogoGPocPfgO/QYuFapfWgKc11MYsBfjPRv2jj/Jy6pfXob1cPy3VZPeB3GPZpOzk76S6OlD1I6n/3Lc2gy/z9gKyjpUUqnP1WFlTzx25YAwhI9OQJx8EdHrcRgZVHx+Xr2vxZXuga82WhV16ZozBUqFUfeN9bSpQqR3ZTVUTfCkSszlhPa2GsyG0I/wldC6A/TX/BSTWC7PcWKhjJAyy2H68NW5tRbOJQ405Yx/8PYWOAbOjKBExlQChuOzZusrxDu2nbcVzXz7d/O/iVLlSFP5s8J947esxJjissHOEMHudCIoSchDO33ZR9XVLokQrERchrZE8yZ5FHUpfm9N08aro7Sl+gRuO85Fs6VzWXwSr5kbftuaAxpqi1566YlrbyRdTDppNabaJtBXq89R9+aMTnLj0ieL2zXzS3rcFLrxiY6pW3rcL/6XyE0q9K2KlOGHGHp9HNlkPjjRKazMWTYEdHKlfhCRn3gwY7zm7VS48Osg4BmFWEpXEyBMFklyrZnJIQluxawlN1OLEngpHnOAK0E0O1Q7+1zpZfpkCRhXTNMpHJRyfG7gaB/2fgOqUJ9aoYlk0DC9uicQHrs2eLugivrDPfB+UBru6RpSfLT7oE7PzsIpG9gqfxihvsLgo95Rpmp0QAgrk7NmvlMfYloGHd/tWQ9+li55mySSQ9X4GynkMLVHxm3cebYYkl60epWOPO1hNYKiapwKUvdPu2Avuc0XNSPBnPtjDXuOWLdgAe5WWpw9rqgX8kPIisYuWPTPMGZeM1wRLz5MjfJKZ1hXJzccbbJmLGlzRptJZmyzWsniibYjqiGTcoSenF+x7QvGSbVPiIoQhfmH4r0HpL+HkVUFfTUU1dJDzEIcFux6Ru/S3E32yOgBlvn+x4vS99nMi1jSaFUFpXzRJcsmW5Z6pKtF72uIohacAanXn/yby+/QH26ftdHwEc8sh5GtmmbDRWj7UWlkaaxH3CbCttoh2kxzp8QVeLAJVK0AHjuYa8fAVZrOn6aM4EZrlc94tLos5aFXCl/Q50l6JHC1Yx9wdtj6VclcdwZ83RBDLXm3zLqU/BTV1PAPjMkVcMwl66y8LoWbAwkpgzUQ4p1NkTzMCOz9yu536YI8B60ZoI3mjHN80s3MxI9WNFYKBqNYbv7tbBUVbnB8e0J7VFkUQCQtURyixZgfltrk+xRPJJuzFe4N63GnAMyCp9cPRzCEkVAj5rkGixd6yl7LZe16ktGhKI2zFreDrJBzXLrQCU4bgyXYTqp8LdFsfOD4Iim9oUBduttmuJbysePhvpUW8AjYFknXk54jYTtJYajN5ZFyJmeXKvYM8BGDhRcKfbCIUJ30Ybyv6Hs5ctYN/AT6KfYi83HWJpn9sUve2nFLLWJ/wq7O1psyznJAXvwTxkm6LpLpgdzwjUDHHMTZtyZmtgrbSt2aoA6nxagldaIL1RNtgk6j2+DYvCKn4ScuSYDeeeRHTbrrr7R0ypXGlp33nhUgXSlEOL37laZvOkEmqMLjZU8oHQvhajV5hyb/pHUZEFa93G53jfcNvbxeZee76JQwPocXDsIUJwCFUf0G2T8bWiP42RRA3SZwiVHToOgxh/UJWTtCtKlv62Oyhuz+m43KiWERXglIdTGGaQUNvCYwZ1dDZD+J3V700tv+tnmakrl4XKRQk7ItQdNI/1xpfITf331U/KQny6f5rxoMu/eDaKdrfwOMjMaldSr1IdRuuafoUdLnDXS4Ky1v9DPrGHmbJ1NohBu80oHKpCjetq22jLEnjLH9qDKBezL94p6YujGfi/5WXUXh2vGRuQCfhg2sGBSV4SfXZuZjx2gVD28BdqWMJVB6U7onbS/ethNuAZ+YIC9vUTjXXWVz8STwHpsZv6+15qNRhLW58Gi1onAeM+zMZWKYIt5XWHPXa3y6D5ou3yLnaDjkvlw9G/+n7y6rFJw7q+RlMINNm9dSWf1kUU7WqsVDxbZq4u+kyZXYlXt+PjgccD9YZaNzPdd9NafqeCtPwLNR7p7uv1o0NJiBKi/arnMooiAqM9yjMhGZw7RizK3w6uCdZaoGtMSKgyPqSupfmVqijQO8nW7l/Pz6HlafuvrjGKfdkMLXuRZIZRy1eTdl4RH5jh00ZZoXUEZYa7dpeFlU+orUsltQf7gX04XUOX8ieqbIJaFBLy9HENvScRClqJIhIAnXnIlsK9kbD0iKzmDTrAOXwHWNlXxs4uuZj/v2UoJowZIT72B3rm2mg3d+4iUvaGtRb/5wSuXyzBafJMY7908NRtsH+Ktqu98VOdtNsU8hwNDpT4opzIDS2QrxN59+d9wFCss2FFk0QXh06om1AXMD7q9nYzH0M5UYu5YU/xIV+/iIR+4BuJRL50M2JDoR0g3AsqKG61C3kv7Lqel8BmLH8pB7FQNjxs1YtIqjcJRsAyx/v5tNNhjxSgyQJj88XTRAyeYBDVck55WCZhbkzLeKD9+neGKT72TWmKkkSE1CbwouZUBNYAVo8hTuwtkCPlG+IEbl71yK4RwNGw7xgW+3RCrX7otfQcg4cZGHQZIcVSdg8TG3kgOX2SpGbncTuuQu4Y5HsQ8n7QL8z6gdZmgwIaIqDi4iOUKtgqw17rmGJmzJXVvSB15WdSwvKtzavmEBru53oY9R0+SgUoUjm3P9tdwXJB3ZkoRfMIaWmzM091IKgx9Ue235zPkrzNOpqEEHZPRCeFJA/pSr2yx1g4KKbEMIH8D1oVSRohL1KCw2xuOoqNYUTNt25kuNV3wh/pIOHM/hclQOuKb56F0p1+xvdwnVbm/nQND+PcZzUnNNgtnc0qAdA7YGgZkg8z5ESZYOnvCSLBQL/NYiIEY3HXL++iKTnejomK519vme8EpyBLLbsC41Cn260SDhx27abbX6q7pbVqbZn8cw7EmejsTYrGpibEJb6R3kWECvVLkO8kBotQnR/pCipjkpoUcdHihpIE5XPE4/s5p2bptq3Vo8Cs3UQmnclAHCfpwaff64AU8HaMoEs20dCqy80YBqQDK6F2gz+VVL1ADS5x5df7enVPjWlZ9FCvp2xXVthk/I0i+mQhMs/K/c4Q5VVGPKvryal0Hd+FbeqpRMiu7YkH+HC6gE3B/xRm98xBaiWNIpEMApBpg7mC3y/uVMSAieiFVG7HUh2zYgGhObJ3uMntLQTENZ8WbsY8b9byGbkwB8G8Rv2M1GCwLuPYYx2XNHFmMLycC8rZR6O7466bSjevZA9iyzLdFVBvw1/4yqUGtFHNCLx7L5R1wSAmuG5fWpmRKSF7e1r0Ko5NkaJZHfNWUGuUqqRcOZllaa5BP9FPJ+tU5uUKgqh8fi/Ay4JEnPyWj50wFWQvzDpZ9dIMQeSWLlcJHVFsbHPtPcTOKEE66wpXS5j35rSZXkWDSkAJhqrcmIDTz17+daIA+/riY1Vt89YLj+obW2moAmsLVKWlKfVa7QndItlPBX3XiISpLCy3gVWnPY64nStT7GbpgpRC89hQGeH3F1Niy4p4+RULlKLfl5KP9t6bs+JWaKbNOIGnNtW6CUyfMmiDUUOoX/hD6vXFIiXi9e68EuBOBj/uPMcejp7cnfTQPt1SQF1LXTdFHCIrJBPYEwpUJtI6uzzgnwnvhEHjRDax8a4DOfMlnKl6BXhp/jij125cO2U73z3v/CISxrd+yKGDV49q5xXUP2QZIvzxrqFQn7J98ubfc0Pm/0hDsNUe2/XMqoE0JKqL0Qb0iqivJ2Ux/92fnB5TKW5taM0MJ63cYWhrpx1HQ92mFufGFzxao6byBghC68B23fU9AW0AQtOHGOi8bdyGbqyVmGxnw/q/e3VVJUISO/EgVN7dBDsaro3bOSxZTM4FPYX6FcLHpE8lRWJN6iEWkRR9fq34RZDBwsyWyo98gFddduHnHKOQ2bdBA+PSFN0ob+fdFArDwlD85UqsQvUarEjiTeHI/MlsTTty4P5C8tbUGn+yvtbsZyKavgxE19mwFcrfqwA9mHQjE2UVVsr53sd17NlCSQ5F3JgSICUPDO/pR9zyS/0ICfAM+SheBST/hFRtiovkeK2h0O+X79D+uPW8Qa9+oYo/I8rm29NZxG7nBSU7SMondA2P+Bjh0PImGHVwU3ByedsKyBpdOUL1L57CS4FwR0AxX1nOkJXWuq6o8wlAbUs7BjXZCqNe7cA+1IH1QeydbriBBTWDROUd4TTRlNJfc7BCJ57fKaDqD8I+HfpiOUlO2SVveua5GLXLiHQBVYQfwpZB0KF0EDnhWoCREpXwqBRZupxV7/viwdTaaxTS9ZkRNx+jLEgqGq7Pn73Sp3R3vdFzALPb9qcNqCGNoqcINx60wlXJVHpT2PwJPaFh+SKCLUg98Fy/TGBdhLkHFLbZNhp5I9cWqwJF6rUd1DcZH4sWkBi7Vloh4AgXslXrrC96DK1cHL4qVDTBm10jNuw4Odn3T2eOxebMbR0+zrNCehoTIsUBPUfU6BA7M+OctbQ1SMghAo1ei1IfHFF4jXDgqxV/4KYu01nwxv0Iq7U3K/7MdBktFtrSWRQBMi12pyCCDWdcqBGBkDNrl8clkFZ2QwA8oBLFfsJn+Rz2qbVSsR0g6hux0KVus2vwRoTUatGYFBSkGa9j1jKMIFxf27Fsjwhils1r98sc/vVot6ZCeHFP/YxUc5VYyT6ajt/Wg6Gmosuhzgd14a7rRvjvzbkVt8IRpK4DBF2IwTJ7mkBbTK2/zs0PDS4iDvxWGIBWM2nIa4eRVdvgGHhzSsaNkkwRMFsf2X1Km0uEBQhRaq4eq1WI9mvyLLTuLqtF1edJ70mtMOkRTnv5cnk9C/tpFKccxxhTsIqx/OFtyRvTGHl9ObwfkbKMk7xKZkFW2gNzsmRo9fK5qNGcep0OvQuSuhGJoUJKceJqc55IUiMA6gGSwyldZUOD4Ephz3ROtDkHfUD6Igxhk3QHElzEBuUD0ZihzNmpI+7vGDY4INFlREaXLpjmgCU/nIh/jwq7USAGdpHTBMp9NJ/HvThvVH6WEdoAzvPspPDcrbWlWsBOhhQsyT58s6mJUMUa7DYIhNjTPZhKXXYMpudN6dYCYSNfUKWIGyBWd4hzUnXB5q2OJvZ68Ad7ve+iBxST+yadGg4yhyXekQQTespBXpch2t7WV+CDxUDITgdXpQWZiUAx2Ad7ijWpIFkTjBxkchg6TDCdKbulUguCzZ2hiGLI/ReMEjF97p2iD2WxhbEARQ6+KY"/>
  <p:tag name="MEKKOXMLTAGS" val="1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z2dD7pS103gZfJ6l4USC3jqtWOPR/ue0umjYEY9KlLthURXCUyUuZbmGDPUXB2idlVQc+R1c0j6vNnMaKvr/AghcgjyTjoGcS2U6lyGcWZbvoYqQsrFJ5DN1RdHsB5gZU4BjQJ6xKwDUEsW8X/QQ4uIPkrhyjIfLLN7ZR3puqzBiN1rMnctBA0J594at1EN5QJYMsPufr2eabAYzIDriNpy1GurybA3KWqcTPRKYh436jQqOHiPaCJtAtzpRgB7Igk7tw7BcBhai66Lc0jpyzFEK/4NRoFF+cso+ThI1HNgDMZbpFoCsJQtilLqk9nQPGX6RXGboCTf8hOOcHaKoTUKF81dro10jOa8Xb8mBGZBE+xk1l9MAy6INl4AKPS/xuqXNadhUCici33HMYRiTNmE1/YD2NzISn55wO9waDTgsu4UuEzFtCUajGTc/0DC2AtR/l5dEGRokp2vX5x3ny/psv2DyHJwjtq4BtCHNNNC+kkGpEVhiib1xyf+d1ztqkk0zSCiQvkfwQRfPKaEZpm+hzrRFXeJtoiEoo5CeQFQzkdxY+elmhsVu43dHLSTUr5pxrALfo1ccKVmAHVegG54+GGgdsdIpaawQhwFtIyLfwYNpkp2rwKZ14bBov7lBE1eixnv/gjXuuqBQbBP8q6O+iaAzfcrtuPFflqbNdQzcllBDh87c/VLXx9sgF2lSmBr11dEaYXCiEu6JShfugi3YBmu8DIsLSdTH2lvmhd+vZWMJIUaSwCEFoYnG5Iv6I7vZGFiPq4JTPRkNgvleqOce+MjauArW0YMC/l52qNOGSvLDUCUhQcvQqq+LzHS1hFsRdk22xbk+FQ0pmz9nlMj6UsjZU7b/H3/nukST4y88I1Svrs694gyfn8ksgm4UW4MhI84x9fWhDRt6sKocTGneN67/FL7YKPPYMXkTk9RVEhIF+EJUbMtIO5A3Yrxw6xuo8Rv4uOXT6mlgkMmfHiubEvxPf/a4p4YbDzdu6zv1C3VKGAoPVmMkih1GKG9y4WykcFtTUp1dMB0RuPToXCjs4YMl0l8s/gPLMtFd9QpygWh5JURtOJV/8STbT84KgxR3mwLoZzROwy3rIcov+IIMcPEjJn2zmzGr9iRVFgnNAZnkksHiGPdppNN6H8YCa6ZvapO/LQxcR62u/ZvNXLYfjWvo7/fEaYvwkk1SW2CCc+L9R6bNDCPCepSaeNLX3dH6RhQFdeo8mb07dKBOKaJJf3Pvh53fB/8/VxkQJ1jKJctP5RbRj6UPE0+XvdJsxpmPPjYp89EmZZxDBOHFe5EvSmL16F33apKLz8q+067QNVVBxm5H9VoaOF/72rGsZ+K7e5EplzbtXWMKsQUDFvjVHQnnKOXVGAmwy5DsPT4jDcUp/T96QJmrhhAK0V4KjRi4943gFiK9IwckQMdJ6NvShm3Aroue6G8eOrffF2OE3p0LnABsA/Si6I7DNaqdRfn8w2ePXmFk7q4uu2k28r3Q/dBsrvZWY03D6vGh8X3oZCVo3UuBzcy5eqmIUODoQYo7ks25Rw7swKuwDlqqJiwlThrliG8lT1JTJ3InFuYwSb5KJ2WrKw7A9PCllF3v45UrUSb8T9PKe3Hp6Y4aRjK2F52zGrQz3kgUZ7lTBQcnad6fqKfpQF1dHI/6vwNuCExpwkOkGjvj+n0QpytsX3Qo4lfxFSyZobe9ypihsjBAH5qjYO8NFoklAUd+flin6S0mnxW5DOl+9JBvu62nuoBl0edxIkjm4wyCPsm2HAmxsbIxnKAcITXHazaoybjyr8+Bx1t0La5/YRUDbWw1VRC9W8bXQKQ0eu8JlU0VkQRXtlhlyYgAl3jng4UuYwU3ucM5mFWVNE7/xsVLSCIcFTTTuX//5HWLOhRf4oYJo42JHFuoStuag4Gya4jvYECQvT3HbwD7+tLdj2Gy6if57Fl+HUdtvg0cRdaFv1K3yfvCSpK/nzF1rqicNVN0SAvJcqBZ3Es35ujzZsriATCEDXHLrOR4Nh9nYxxteEVua1MAXiTLjwLd+4xZeaiHIwznDsBESe8qjownEmYStVgTZWyNXH7kU2EwOMicx2Y3kwwLgzpMWb6qsz7Fi6fUOR2lUlEV0jyiPNr6VgHw4+T4uDJ0ruNeMmMGttDYrm6XzF8kyZSZlUbq4P+i+BSU1ev5+54c8ald0XVU8TDz7yJHOGa5zdDJxUJL3GiIRVW0gZsczhNf2pyBGkKIRfB4ETTsg+Z2hNxwKR7l1jaihWJpmX+jFZdcagi8DjP9zIbc4osruQ3wQoVKj8rAm7SWc4WWGOpMjWb36LZ+E6umAE8kcPRHN2zF2raIY1vDcN/zV3Hw1lV1iw0bDipVJIv1ZxIiGTvv+mR0C+q4WUBZq7uSLft6QL+9VfnWdzh0jV46wvVofCruQHWOWPmga6JJVUQBtMChe6rQl6wMSVTHUFg7dAj/Pxkfn8mln6vUKjwGWY4XdoJjgzBCEOM51+9Fdi2F61qhdrjShnWlzL1ruG0AtQW+QdUAt4bnRaMtsV3CrlpibZE5yxzRCRatWJfkyktYS7/6FCicpp54Jf+ryaOnYI/qn/HUz0sOqVgHXrdWbm3pVDGthHY4vQAgWbfDiOyUXYqDA6JJU7JCR/ifb6pcbt9aRqhmGjNSBz9GfY7Tnq0h3WD5d6MWizGvCQxk1PgHC37kXUBXJl1D/cJXjF/600jtH7OnqFlBiTDrw7oy4hx4NGhqWkShKjfASEt5VcWABDW6ipM6BUq/nn9ihXVImCK7I6YiqY+LxLsxPTYefAB0+WBwOO7DmmB8K5QM7xXsDkw9gftdcByugOCykon5LXwMHgkJveF6j+m4gy1HWbuCum4JJTm8jBtK2HsVdB0/Hfgac4/HgVaqIeY2VBJpxgrunugRVLnfgPnIZWbPHWhgYzY+WrH7w7y89bD0gQ/5/SJYOKBWapafl96eZGQ/rsJt7PR7Jrt8X6eijjQ+m+WrEqlNu2Q9Ns7kTaB7BHbUl2F7tcJQB41EMqq0Tqx+YhL/oOc+ehXF94hLWJe7NTwKiLrk7HD43ISLkxuAj4TRD9hUdW3jc3UwxvxKp/DRtxceC5zZXogsSpsoFY1TcWDzRQh7Cv0JANnbL8no95IVxbqs/dpVUfBpMyL9si2/TCrEtJVgMluXU8fQf8Jg2PdXSgTTY489/QM8fwL067iHzErwYWx0/BOxo4eDWKREvh3Yv7vqTfP11A5VYRNB3S2yGmR/K2PiKSPViwURyp2rfHrlelb/1VNq95x4Pm/gEyrTBcWg/uJfKmMzwS9zkPXSALaKj9qIrC3/CQ/sh+1FshZK45MRE+WtNu2MXyz64rRnbWk1CRJa2rbzlBlJYpMRWpsvHGiEyb2FNQ0JD1KWeWNB5kLvxuoly06g5++w64PS1itKuuiaNBAKOcuh8Sk2W27j+xW+1apsj0lgpJ8sdLkG+bPfX/hh7KOkGDL1luGJzenHbxxAgc+ctsHNcQgmf7W2TrK2qeLvXRNCHTngW5tcJ1f0xYzAh0Km9Mfi0A0bBCwL4cR88PWAJkmqXi6w9dFfuvJbzt5/wvDED5to51EySBMrx8Kp4gMBtBPkiC6RLGVtQxeK6uJqLc+x2ho5IVxXQbfb3Al/IOqGDNplkXyS+iiQ38AxmcC3p2GILuHPB4Z1oNkhz2mahnBiSgzWWx7kOMayIVNAxuC1Hnu7NUUCWbUYkEObuXhR8Gno7RfhUsUdD0YakWSBkrjfcDE8hMGqwXUFPv8HtVJIfkgxNlELsmEpzFtz7z8GXH+SUQx6coVad7vVX3SXSasbGTPFbBlyhJUx05id129nebkCmzeNTWc9b2+aDruPbJ1KueGL1FvMuQvaF6pzN5QuoAcFkERkkjXCzpT4Li9Whgd62kh9jChxv8mL0pAmQvIhb6xqu4CidmeKbdYhA1BVNlHfvVmN1cRN/l9DwOU5iHypeUJVSHkvi5Z2QzF42rWFVdealn4II3GsA8y30AhKAUqDyCpr+ET94mVft++jhoqObsCR4rWmmKvBeO7K7+Kt2ecJwoJ9i28ts7hu3d114p4Gm+IJRfPzCjVc7EanLZOBjl0dM/lWygYqs26ren9vzWUSSP0cFcyH2D8Xi/Suciq+42/F2usZFqc3LB3ISvfmdu590STPUt7YMfDn+Ed0EvArHIpjaeO8d2fKt0PQL1quhzAIxqULuNpW8Xgo73g1TuSBKbrrYnVnozfVCycsLtrtIdLpE3uDd+mWbfm1qWA/pT/M5c46NrB9NPm+tvEPy2howCmsWy3tX7i8VFtW0sGHTpiZ3e8Tw2lTotu77dQ7KKSij8k7Z0RU33eHc4F4aReRXb/mrkGlh9obFHoWPOs5Bsi1QTSoRmoi3gNmww754gChEuJ5kgUtAuSic78SmkMx2WhRZvvbiq6HM7lCcupC7WwPiWCkIkUKYmtGCb47BlGNfWUJesnjgT+WjIhiNdsWJ5cF8Pnr3hOxm2cpveNl+Uwe5030Uek4JzbLS/RpxsRMNefVIo8a4lC2lPTbZ/7FgkthPvxOvIllvacGPaVROAEkrcz6JdVCx+MCILxGIhUeMu5F0KOzVzmgogJB67XDoDJIoDGbSWwDpkGlyaLoCjQ+n798RrDfpl9emhEtrB1/9pUv+AbMni4xn01uhcBnrWUDYUb0ElnlWSo5KN/QSwetBNmkvoZlA/RbCHDWU1k/dBz38gGXC8StCmwoSx60ucshXfEKDKf6lmk8QrnTXqL+LbF1ptoYmRoUCdWK0iH3kmZcoqxtd0NclQSYLQy/KtUdnoWAluJFSkRutZwXLpV9tFB7XF8izDVvoBCI5EfGpCP6xzyiP1q8a35v2kCyriOyn+kDUW7eZdiFbmFoMPJ7QzfGk6rjoSbOBGYwAjSDYPoFySp+4c7uxfoD73/sihE9niKPJcfOifSVQ5Ue+xCsTG+ZFPWM16t2EMnQ2Sf+2kEn+jRQVQOOwqLSU5aeMRjuSLF+lwLM/F0MAZOi/Io16FmU6FdBF5K1RxlvXQ++HO/1Csxg8Qxv6wrAPsIedU1evVRCN365WSviosWt4Mw4y297Nq8u3bkhx/t7q+pWUliLVe+WUXMOzUEPr4OXX/qinQhBjkl/uD4jHoiJwK6B/7hOdN1OCdiv1pVcY7N5n2YfGYcD/fppPDU5Ofcy5LruxzOIFmPy80G9Q9zM/naiNq2aVsMSkVYM6daCv6VXRPIIcT5JxtvLx83wdiuQUSL45vIMA8Y243MLeWiZqr/axZcDWFeXATBxWzPT4VV2zb9S9VAy4DscEaY8I8YlDeJhWVvVAMw82rNUrl7OUSpvw0R9ayttLtvuplt1k2hUj6vlIhanRdRwL6MWXqcZ7H5fkE28Hdlbd+0/ujXQnnxOGJwtHd5olew2XfodiW4wSQDRJltVPnJHNVFPJAz124A6bWi5g0/hN+vIee9F/6R7n4KK39BctlpZCqrHCfhoXh3KZIhLKfKQLxwNL5u8PmxzeUSx1iKj7zQC27rW6zfdQrSsIAZO8v0p0qEocP4yVQuixp7Yoqfhi57UJVFypxK7oBAkrbsVjp3UXPYkNocMAsNIKWl1P/QkSbLvwYpGMvrjgbVB+IPawbv4z0SvM9HqOilIMfKOu7Ue6lVDqvRVISUn6lLc8+AjmlqV73cO59tFxAmJVp0UB3zzBhbaRFU/CDvq1Bw5+0Mh5xZ+R3ToW41guuyGQl6a03dA9L7p+rUxQj3alFjypuq3a9skd4/RLp2IFUc2Ex9GIW6a7kGcF0kjdVSzd3NuSL/q68OrvXFDo3tmn+cZuR/9tyE82gB7KMmVreGyzYB2M6fCgmGpYGpvVt35pMyHQpOTTQWUn2UQVsI4PDRuDl0M5W2jS6kxXTsbhwcjHEQLYuyNn46L4GSIOMAPctuGGzsXikzU7TfnrwA1r+yF4bFBmXl+KWJMTmNQcqxCiirJ5zqvY3BXXLpO39TyaDTmtdz5fnOgpkg5l8IZTgPyDqTCPTaLXr8Ay8DbJjXbCrGJ3zyxNmBMTKeHagj+GCcezSuD0vYgp5r5ZWfrk6vQ6Wjxw/v4kwYWfDvpC9GOP+pzs2PAsLkG0fKm0aGebODX7AzVLc+UEVq2dsCSPKxRgoQWgJIPYzREJQEAIwByZ8Zk0OSWxYdk9uAIEcXykcL74tMQ8a4j2EC7o+zc93Av4pPFWQ7Y9KJTPPIr3C/ruVc4mVa3Srec8XA+FKBDecCSEtdktT3ovO5ntuveIhhTZndNdWG598XGdH5old37J5X/dqjFHPysHMb6M9K28Y+nCmBkp7hCSscYlAGPjj1lngKc6OtCkHXC2PPUVuWOZMdjfskAmkHGOSmLVWJHs8+s5i7DpXxNgbN1FUpu2g9RppvWa5UK/6Zzg/wlwIm1/zGvuc7zvwkiDG6t3vnBc5FGd5SKt/vWuqAayOg+UzRnftVYxZIw7yZL/5OKCL+BT6OEUfL7uvK2peEGoiIKccmOGPb3QHS1Bl+g1tLs4+pQdZKqdTj5uaikk+GODJTGgjAgGkGEXQNIhaQXDHb1692gmLVmDJbXn+xGjromZV2nJUiNPVsxJPkxeWrNQny2oa0pIWpZVOKNwhe+h6JGOSP926QwG7D86t245s2dye3fccsQXTQPfgqY/IHShUBJPNs7JDdyzdVCVuOUbriF6fIicGa+2HNwWWHEhwpd6A2JOW649dF/kRRu1sqHfziDweBbvUT/yk+oEbyk1qE56LAY09FpzdhrlE0256/GrgC866bce+hbZUwb4m7Dj1DkWtpGWOEBusOcbd4tqBLnDl1qLCYeoTgKWdOF5WPmQCLVNzWKnINocls0AM51GnqLLsSdudkiA34qIuim/v7gx2R8l6MQTHrlHdiPXi/0S5/bs1U1YuK8JOV0d3WbNSpGETpjTAERU2uNTJNWUDLKfX8AAfoRPHM4bJ0sh6BNrCC6M3sjNJ3Oix6oSySWvQoxColBrvQJtcnOqwR0SB8TmbhZmFUy3ELHPX0D+RKBmasxmGXGk3LYANZrZXIEF+GJR5SyyZGGVNevuF2a1xEXlyC/L/W1wRhP0xBRI9kZ6ejZM9FoIQ2aoe4p/9Wk8Iwy5pH0O++4xllVgipO87q0Nlp9tCh57Wr8xgN3ONqukunxzvpClcYCN1YrzeFd+3qxorGE1dIxua4X8lh+9WsdcgCz2LV/3AlUmpLeDvLWOgeBmWJSyUtbkmeW3j+XqV8zbLjcdxh0icfVIkTUzqcndTIxRZ45jCA/IiDdsAaTjYJPr63l6CksODSMpDYt/tmUJ7tgAU5eWmnnx2eWyL0cyjeRfpQfBdcrqpgHVvG9bCBanzxrjqunBe3mhGz5Hj3niz6+dJawTzs4CUN5+pK5W/QN+21PFssupOwx9QDLs229Stcq+JCdBIbXW5BP/RIOsTdavsitWTEh655qvKF3Sor9j2NOeqia7A0E0yOafU0pBphVFVW7d3zfuzw/mY89dFc+354P4vuEdDrltqk3KuQTdyeV2r0M+4LS49Oovq6hChZfIdbLUFN+4LpbzpURK515qm83nhG1SaPP3DyArLLHCbXeaVRpEO2x+++233C2+9xqSerpsZefArtKbHlsI8iTTRR7aQiuHAh0DxGhCgzw984towtTm9zN2ABTWqbdFwTBNzQr/zErBVh3PIJymTBKyVnaAbQzd2Fn34c7ELzejVXC/rxs9pbCvoGua/wqxTImj/AqtRqvaZiakj2Y6ZHVoGgCE0IyrDEjoIIpDQMsud4AnRjpV+tskYc030vWWzMHbytxk3Zxe/WsTXeodQJGc11utjlenaZbrV+SHLumQxzrW8xUKI2PyNW3QHTvSHnKMKC+9yiozp4aQJzESnz4ecwEObkQxiiVxzxpRBKscFXIOPuiHEal4f1n8RUDsp4treCpq5qBKaPutzTXwRBhqpbjH1ajAHMLa8/C+bq9mgQGOz85jPrdvPu0vZ2lvYsI8lOW3wZos/vZUiDXwBD5kH4WIUE3f8B2WVcFgKq9RJSpoNFqOOuaOyZ4Iebntj4HsGnW5SoatbXXyu5eT/+iFu5R3WUcqyEVG/roXpuIhV66sx93eOQ5YwsiMNyfwQ3oUiEynOPHL49thRSzWr/hK2cBhQCl32Bks6o4OLw6DgMGnIqGslB5OgMcJnQBypPIIVFvuumXldfJWwjBcUahWgPyQScNPllNqT+hUJ/zrA8tvAs6tERSIrtd8SegZmxWYS7EO+ZkIRZ2Jv6qitR/g4YrnNJk8b3VpF4e102XEwCl0TxT7DKr3NRm+u5PRmt1zR58RN4j4GaQ39X9BVU1yPMNy5Br7B5SyjPJLRznDtowBNqt3w8mzO6KQ8QypGrKTrGAj7hhgJBeWSvSKpHm3++ZL/jo1E9gepBvoem4lJPcMTUb8ycV5TXCs1I055h5eAhbt+se1HT0nSx3AhG0mK0wIfUlO3KkBj9Zt46VYSsgv1KhbiOjvBQ8KEFjIqPBujp6jWx4d5yGy2M+y6Qy6CVsP9R6TUOlYBCANljSQbrQzkTTYnDEEJZQ3QApAkhBcmRfMjMKcu5RbQp3eDrctUeDVVi/M0+fP8oubDboP1xNO/iJvBDBZXCjONpp+EhZ6w32gaDcyczp8JR95IBi3ebwpKl/g0ezRIyVv/5vYca57hXCzstCXah6ajKpS5O5kkBwfT3buD+MezTAXMQOnKdCTZBWue4Yyj8jDnyA70z0WbNnKahvp99kkmEWYjhMUgYQb7duSNPqRnQGRC+/hs++BzNvLqfTgy2f2fHZEJZpOrbLZnWyee1Ye5CaH654lKNYbkpyXK/7ha/s99PO/cvakZXEaInJSeL3tcYg631B8+8S1tWcVsB57HhBJCuBOJC1wqBag8V5y7dgR7MjQiWCIgYsP2I7N3A6kLuzPV0AtowsMAILqyws78ZmqrrTdYrCprPmTghdFsGTMgv1zW7t+wPO5XTF3Mvptv6FGz6tH3+0INeWI4lNsnOzr+Hj+KI2McGGrvgBERgs/lRnQOoPExwuoU+td+G+7/ipEIWc5AYTL5UJrAodUOwAGu7N6F5IXJXhklIwwtycVH0dqe7AFUvRZ6KNq55UIbfjtWYoHONBMsbTMaJitiFxy6b3K8VJrwpdF06Yh1A5DDZnLFAbQfXbOVPXjP7YjTrLaT3bsLrr/0SaBgyiWeqaR9C+M4zhlD+A6SsD/b7Ef1b7saekYWJEfjbC/ZgXIsoM7Qb/gdodggA0PkBuZ8o2kNbu4qoY2Q597XEuG4J4dOa6Du4+Gvrh30J2DNbgLk4cPtS+kVXFhvZuYv8pWr+WNJ43MNjP70xM+GkkncInt2iI5lzJnyZkZas5H9RY/nkxg6SjBg5Q3WkeOhG7YuxsbaxVrrud70rAa+ct/wiDnwKrRWB/0saZ910WfkEETf8uqGGn6fGu3rt0n/o6EU0IpD505ac0kpdQmQAv26CGZQ2zNuIxAB+lDm2KfmkpSc/KnXxgZPq5yOQqRlvs6AxmQbyoKbp7xeBfkKPQw0eNutu4PfAQdPLVQ/vShkB4yutJdO51AIk+D+2JPoF07Ug6K9QTEk1nggtA7hB9ownvN3DFyt3A5wthvRKJ3aaXbBbknAhMn5vBxtKrXK1o2sa5wx9q6+hnuqv/N1Ecos5dz0N4DVZrfaU4U6P2hsYtGYwJQI2NG0i1wm1qPE1zqRiHMJmjtouuJIbhby8IKpEvXDUYv3L6ZQCHZKjzUASgV5zmuvx72YJyQBQP8jm+3K//YERMOqJdGFNHEtkhGJ6Fb0qqVgWGS8P6Mp0la01g8W9LKKPWCkskEbk+hT+8dU4KMUjv1UxCiLWoEmWAJLrrK/MxtzGZGkTm1rs3E5kxhuSq251vn0pDWvE2Dunuqzzh7jUcLkStMIjXdVXxRioCX0Wg15dAYmQO61nMRmJrRMT6Zht+tkbwI0Sm1oZF+fj7nJ2SiagYpiHHYohk3kGcaBokxjR1ghSS1WGScA3ZTW6nzKlcG90Yi+xorTj6vW3OBzlHkIKo+9lOkc8pmZziZb6nJ2HH044c3dsACwfjmMQV9zwfQuXdYJyBv2ZOlcGOS6jvsgDd8Y2QLhnq6oPUIbF3+h/cf0NwS2mk1DKXEu+CACd+rjCC0+rQ0+PvsEAwkn9V9qo5dn2CG9xCNPDfMNl6e8VUfDoGYQfWYQajP1omd2+vt8aXH0M/LWiQHEucgOQFks0mpFpTMtnKon0nl+lEf18H4rthgvYC7n6KTKRmp4p+99Rqfate4cU/DuDTHRJEDJiK5k3xCZxzH55784hqwbclxXCeDY8VmXTq/llyj3iejuWnSpolbYFxK55+uPP3xAh4xwJOrO4a8vZ07wSxNMSge0gfS8kusiQ1K3AohNfWCfNenrCT1OBIAoD3jg9471GmWjcBcJFODQVPfmhgo6sGd7yygX7eOA2SS45bGruWUBQk72WDs0ITCio+6qiGRYLPI4f7QjNRFs00W8U6b8nUatFW4hEmqrvcwQQ8L9RFpxvw6NXbBZ1dJrmTMFfdhF0cuz31CVV18YDg7Sk4H+3MbrrKczjArJ7WYDAJz+EyTm6hHcP8qsNEd1aHiYEIquQqmpe/ty5QY1Y/1ZPFef8IeQMc4tAXg+Zu9gfh9jKu4GvfcKvlTlT6RegqfbyjDa7juP5flkHbsiy1bsy36lP674PHAKkWKcmMVFLif/EOUSl7FKo5m6IMyW/7rUiZt7bTp/sLV5+ncBWrqBD/8zCwxGNQH36CnqVj3YWiFhv6GVFn8OU59TMavc1EQLeawFCFNclfMXIVb8iuJ/acJyaEzQq2uVx1Yos0BPtknikqcIaJdjIl514fUjNlUaQyg/agL3wHe07+O001A7740Tdskss6CDkqtkHEw1YacPDQnkwv8Q+GNhomxcCXD6iP2bKGuGkWcRI97XtT2w+A+gZSotLy146RJtb2EWQTaTXyn1dZLzk8FACr6oR6EU2KVtucG2dwQDp6kPYS9cVgrrCoCL84Z6RfukPmck79kzKztPpHQFitp08Dx5CfCbCLpOmh6OO3gkxlP+I7wJfO55UthSHvepRssGZ5ByTEc1aRX+EPcdCyTp3nn3HBP4LHEy2qI7BYNnMJDQ1Dj4Gayy5AnwUOq/e2doA71+rnFMzBTdKKkWgfv2fQk7VeLq2GLHnugUX6W1AdTbmRdctX2izM8VZNpY+IAzuGaBOThxAfQfId87Dzu0bqKB+JoXWyfswrvb+roSkYCYuC1sTVhuzjg2Q6oubG7IKNGvnq0QdhVxSvf63p2K7Cg1l+6/YcaftqLnc0SLj+C3A13loRB51OLimVODw3pgk9rxpbeQ0VFG8/sfT7B/YGQg3FeSPC6smnav6nM/8UmKvpIxTmhcgosEV88UUXUrQ4olhCA1+oEKKsRmG0LE1EKtsyjOUo/MCl9FyTu4Z8ZRobke45mnGGbzDN0mMZj2bJQHXi1uFlFNPxFrg98SzWDcuxDsRHZEMUp3JKFhLM/9vKaX82m8sxjtZHCX8Gra/Z5aWoxzALVkPH7Wfh6sIUkJia5IMbG0Ql1Sf8jsDIp3etbSPPZeSwm+jkHbJGhnjRQuFvkd75u8OYjWFkKmZhfMOfJZiPr6R83UvAXKdT35qsXSvw+kKAmGR2NWWVXY9TVxHdxHAGkCDFBGQqPPlHAjO4nlM11EfIIMbxzvEREFxCXFvHGzo0xs7HRUMoR7m0z3gpbjQkcdQnajVXGYSUFqXZ4Gvly4yjth2GDyfn32dndOlB5bDlfsIRgbEvK3GRHSQhQ7pOa0orNbS+0MA6k17ruXAcz5oLHMeV6PbecNXzXTozLb1m06puIha3mAwhaJJre94thrfs1gysCwhydbsRQ0zCxFPSuQDLkbX+1Ubtze1Af/4+L0jO5gBoSQjtGtSuXNt59UAZnkVHYTpWjt9Txc0zxexTabzHHU0ZQ+yTNZ8sjqBNlt9Sksw+uZ0egKJxnrPOfpXItEAhgPrNdJfoCxL+EmPBF9DfaU8jsCvrsnNiy9Ml5OqnkdZgca2cOyXfVtcrChca0Gkp/wChfPzzMKQrADxWTSkk5VpyFNoppYnJwFrU3IMJXbol03sNWGU3NbBYHfxKEVWlDcU5/CMjwE8MKFXajwh3Fj68WXOjwTWwhoMrveh77IUdneKluJpZELHch27jW5hwJqYb8gQCwRjF4v4Ex6CYQwlw3+nfVGrqjd2vbHrNFmOsZ/tZnRXQKFZ9heGFcdCoPzN2xQj6Z7jqe9i+xjOLIB+DJLDB+uf672x9Neq9GCOfJ/a+iOZ9VuO2Ite8+Y8gYANXY4MMCr6itxiNnupbd1Vf3j92u1/tza+HEkhP8z+/din/yKoft67E3TD/afIabu0ghmja+uGTgrQoIFa1EpjnoYPPeA8qsa/fT0rFJGAislo2Dtd6pdFWM5UO0+qphIY1Tiekp8DSe0+zb1kzDlAY1nGwKs4M5IMMGgZTfiMRcV4byBZKP+0Zyf+fji0nfkMjmcSUIZc6CRGisn4jSmtMB8j96AQg0qc6CCL4aBMpB8BBDGbjR+mi/PgNV/Q+hYv5sHXdz6iHhBtN44h15Tduoi+WPfIi2JJzyXJIBYQvx9D+89jUwXwGw/NF/DwzP3ou+j/ufo6EzEMPPivAzTJB3PezXtqPKUrv98PJ/28TtjeWa0s3kF8eOhadGaWI4iBgbqR86YpwdoIV/P314FJ90teqQ0SE/MK+wC6vdD7hsz6KABEl5CRKnsHXSZ0Tf/AJlm2dJgDofrpIeansNX+rW0FMFwtHz2I9HidyGE4+YB4a7PLhK3zANYfSZqCxcR9ZHQ834C/vRjlRNsry17m0LxWBjf5aAgc27dvI302p+6JMb9t00ed+F+7QElvo/pgYOhHk7eR7Zv4/rRi29/2zM+046Kyz7Az/26ZBlpeGUu7H3WYwayhFsytS9EJCHUE/tKkqFMG+9m2vO+D4euqu8M8m5/wgDrqmXLvfFquru4pVZBrCPdSmkbUIqCNILWzeU58Z8pbNGcXFVjbqvS9qmhpJRID0ZGvoDe7yb60oHxa+bpofT20mWvIDIZn4bK17OpeUWTrberC73kgNlo60ECKOZAah6VMmQosiK0Ei21lDqg4s1H6z/0YWLKYtVm6kelQETNMadhf1Ub1E7fLVkmEnMRJXwLgOZyPoGoQChOD8RC9dNM9FXTEmxN4By8oEK03x+wys3Dxctb73Ui28fyhGZiRw9El4J6Mnu5r8rpUWv0VQI/hSGzY1JBd3Ys8paRJarlpToCe/o66Rtv1PCOqu79Ps1c85GeEeCbkfliYO0iwMcoaYVGZocf4QjAo/7kx0xSDnQcXD3Hq5bdDspNy1EPIvrY7EecHpim+RWGzJFI4jSj4NqSNU26GQClNKoWXdlzv2nfxobTwQ+4iZndzt1JgOiFHPTCitllDG9hTY3eemopyGzBYNPzT7Z4c4U0QmZIIrXVag4LuCq91noidKouiy0QjMGU9PtWQrcNOpPN0kbwYkWgqNHV/2vljvCojLEa2bYyTvQpQkIazDRSC4tNAfe9AQ2vkrxP5vAooYoEpxZn15hJgZa3t7k7k9g/7S6l7ZhZA0OE2LL47eSAnZtatpqMW7IvxuqUNMHFzNZRec2f08lHSIloMyk0P2fq/vNMLCjlxMojf7oxMKRt0u1WBcJc0z3h93meTZVJMYabIZcwIZeUrucAGWysrTcHDk+IWGSVH+v4jWoL3oPF5akbmA3hz+MbxQ48SDC9PqBEHDzX8kBBmrcr8TABXFkbPv/VEoNEyD3d2bZKlZ2/CcVXB3puIjb9JHFDTtmnL+N1WwwoMaRiSbf+v7UTtJEEeRm6mY4k+vyvlaNeTAC9C8MXzb+ud053sUVr1r/jotgSSKIj9ZVh74IO+xeNcZJsizaQmaVDe8vT2xVSe0okCPwds8aeBTwwqLbvLoIgpwU4C4lxgOiM/gTeOMk6nxKSDzTTOP2xQNE0b00JBQ11ltM+dNVqbDFSBmW0Dm1uNiiHQQTxTUYSQZwMAF+99M4Zehb0LUDkrHoSE3aAnrUvGGgrG0My/RKPevEEsvnGhPQN7GEGtXjcsq13M3WaYeB6ejKHTaAn7rOdblwFeecLSPBlVG+V8wczLlY8pkhMYgzlPeWv/Xz/+755dMglB9DHEAW5HHRsLZOhbD0HWg3RS4zkLb5BKGbEtisaOpbz+xhwcZfv6ZJxCu6uqQrtaTJdgQHv+TTE3dHgRu6KqEXFkwOO9c/74J6F3CqC/RoYifn9tHyZ3p2GtQGDXx8jieR88RCYpv5poE6Pp8yw1j5SY6XLNjpyRJM4OFLMwEpav38NOBi3kPyBnEGAlzv8DJjh4jvivJS1LdmTWYLdaFHtFQlRxSNP7dVbSJQrVCXfASZX7N4E9ZZx70vttWgxL/pNHHFNbXIK86dnviM0/WbcomFZSElLVLUQDpiDM2aJSqyBDe1fqWbAOsCBBpAtPtB2B4TESOugokJ4pL8NCNy3QM0kM7WvBzEA1+pqGfabPv85IfhOp0xOzIQmA5ln0XRBISXabtKHiODkML12caAc4UqAHiPpDJ91AFbi+3l3uKW3zzvNIhkaYhFjQX1YBUgN3SYCkYuUFZ9SJswDqlYHhkweAz5YgDJuTMGa02GW2E81gAZYEqRoIml5j8KAKqCHhAF60QOc+AucOz0HCL6VFkqGJ34Tiakpauuh+zoLHRR7Q9uS40a0RuPylS0gcqdKJzpQsCaD5jk0O57U5MNI+UNr/ccD/4RGxJ9euV11/adBy1mkJE3P0aEzQ4aDAcCVTgRSZQHYBs2jGk/PNpWmCp5XL2Fj7WW9zHHROQO33Y67Qz/8JuRWa3wHEuZlEOpwdxLlFoXeH/WRo7uiRmW8o6sfwJ7DUd+v1e7LCygsnqx8xygzrpnCQMkJAcigiLzisXRhZ4IQq9ACT5O6AdkgC+ytldCAtmVrvBS5+8h6aD0IpMquGeWQTnSc+tGSMEsYA3ZcMD414+yQAXEZZeKMiPatbzhB0KPOrKMOAQoa9Q5Jh7w+fQ1fNl84cFCzPjcsT+DOhBZjczyHJyiCIOnAzP7AM+p/B2JkaUBqKkI2brcb9K2mGKrLNbxk3SHIwh9DQxTG9Wfj6NGbmG4tAwBPD3o+dW5j+OnVXunmTDb1Ri13eAoF3RQuCE6xn0Id9bFUe4IIid1IYCmBd8+fd52g0lmDPA+zWKsqcdo86O20M4+elAYQCfzRcF5m5hhWz169mLdOH2Vd7zxG7x17A8yKWPpdyvQk8BadQmlvzgED0DfOkXBywD1D+I7NGfeIZN5aJDcUDghswBHvcMDf0ablbucFU2Wj8RuUTcZ8CdUUHRYziAHNKr8F5lFBp7i2IiH/FKJvDtqaBJV9Y2b+ePCngYc65hMXFAaXfVrRebIAReyVnULuc3UKsAYhSvZe9yF1jkSPN/p9jYsF9LdjCGVyAIz+lFNJgjsJyAJ7Znkj2393IHtBE4hEZb99JRTM8JgQ6d/B6eP9nDkOUhSX962L3Ob3azxiMNP6SUlySWdSPH/4qM9cMzD3PkzmYSb3OHm8Mr90CoKbIQ7wlbrh7KDKUkWmpiYjew8L/0AkGZtLHioVkyKQMv3rRSvHqPBzkmKpNSM00uz70BhgPxQqvbjC7FS6Tj/N463CK5g4Q1oJWQYuoabTPBiNtlCbH1VqSL/fCzlAdNEpZztkfS7ETRggl0diS/vCZYgdeDC6nSPloGgomNWmMETeAoBkpO+WcKVg3beCe3MbDWbQ7Q2TdwjXjqpMi21ZoPukWO7KMqHvAv6fzsAYl9mGsgPIp9aFseR+fP1R2XR628vlKb8KtCqUPdzBgJFb52wsgoLeIHWGEsg2TtF+L10PVZj/BBfmNzwisHzk+qVeKeOIJTfwgQee8KeHhlZzddr0HgCiDt36rfHLkXsMtXK/TaF9CzY6tjCpoG+4o8BnIb944Dwx4XOI1RanmDrGy5VdctjlMkxG+TJDApAGjlybdADRP+Xt939iIZ0wmp/97WU10VoW/Xaq1KqntnfAIuAXykG5TDNabasa3vC+Yb4WU6/9Tipq1et/5TRCAW4bjFfke2txxFnsfUgHJc3mxVwUxh3nt2CAWEryMluF//w+fwhY5Y6+C7srQpx5+TSDOInGn87EdMtmMth/fo96+1cHta0i18m7CDx+ZKjdpfeRNVCQOOswGBfjA4zOSuil1UK8NgdcUoaDvFAIcU/9bbGk25U7EgkV/QG/3OGuFe+K5ZN8HdrtShtcRc10qXqtWXcXu8pQppGr8nPExq3LL24az53zoUCko/Ieg5GPRLd4Pw86IImGdY2wvcY/fbtg3LBazxhOed0cVSPxy81emtJZPU9elGwuzxzZ0uakzaiogHZ8tzB2yTEN79v/fs9mCnI4Yqw006jlkFBx4Dwp6XwfGG1ppoJQDD9nKwkJ6QAeOoYQdPIcF2w/MNIGB8ACIXQ0VYMrcxrdLtRWeNmxTRmhbCVEGH1eIY+kbwrFKjQ64xUi4nZFcynJ0xysDUX8f6IAa2Mx5HCJq7x3qrFhjQiUxUox6SyBIn6pkVnTuPSetVrmS5npmleSe/7h+zjBVqCYYomutN8uShB2E6sh5yE2oG+DydRyueR/vK8h9tOdqtF/O3qxhOeClNF5l7CyfvxMgeTa3PJqWw6R1+rAxyhNIw8movdr7RCBVDDm1Z2cwwzeWMNLlee9lvfYtwbnT9LT2DQbr5gbasstKbVbRIqvzfg4sf8Epg+jkcM3Ru2LfaXEEeyb9mw+24CFfwHK//EzAm07PBGQZ3gMP4oJHykFlqZk1extGeP2fVMVZUf70KIEFOcXXfIgHi87cyUwNCiOM5RiEvAnPG+SeoJJ2rcQGEnjtDzBdsK1ocv7gnz1kEVhHiH+BZbF6AiBrP3snd3LYp3lDAhIi2gNw7n55n7GzFzVlI5Tu4yoZz9azU8HerwyKaHS/GRX3EVmzkN7V9FrhJhQmKTn2AnnFy/mT+GH+6GRAEjJZ7fzxMGcuoOOqhc9zEcjbk1fO+BrbmZ5w6faHBe7lAvnmlzkOTPs3Fb6Py7ePYopBcpCfoDQVq+ZRFJQX8pbjszaYvEA1Y9tu5ebLl2IR+58L5hs/oGBc9KUkYLNfzcA/FTye3QuHa4KSZNZmiTOYQvl0TFMJOffqyMCkW+xALka76Tg7vBYzwNFmAWMuUjWUxUVdcWaPWlkwIYQJ2GwAVbHcY27U5Xom8sAXyYlP/EZtLQYaGC/1N5k609UHMZr4ce5rWfNyx9611zlp3p+RuJjZO8W7GwOks48hU8d6kYOiDVSmRQ9dJX8u51PGHLNAklRvIhM7alZjCgTjgKh8aLIxLm0+0TIT8uDqTy1vvlZ+Q1eDIlvw6EeUX/usZGD+kEPlFBU57nBzw4aQZT1KwGXv1Gahv6ZR974svrwOq1XHCzP9T50PK5DafaCfxtT2ABkQusqC3Ab6tclvMcieEo8xHvZSk6wPcXKoTMDcD5Emp8XYtrvucdW2Jz/K41Z5L4HYRCUwprvZ5jeNQg4hsBhCybci+t+iNMbi7w87eL8oo+ayQimjoAZkO0/uUvOz5DaTLOEVUlXOwxDUaBokD4RtHYKpheXZQpOR4nVPtrdudo8gdLZt0ejhRk3tJibCjLRK6d+1Rd3Wt3RwYadbbmib98NFx9tC+ce9ClFOWouwrUp2/l3n2OsWyxa3+7/3D1qCBPA9tpBPYA+guba5e/p75asGTvgZIIqhvqlvhGgHdRnTFpz2vr9XvzxWaGcQVY2QGiqTqe9aJlp1ZiJ3oHLqFSOti3okB9pjd6d/AttBobwp07wjk/VMfPnBpTOPW2UX6GLH7TZwBM22TdX5KR42mPg6evnxLXyt6lfsWxklUZV/lA1wnGfgCl1iKeuA1r+ZUBVAu4NWdVJmqMz4qY4PVJLcS4NRkLCtiDldma2Mz0VXK55FpBaJhl1xVfk0ni1tTi3gbhx5OBdoGhe8G4U0kgUY6xqgz2BSsge7X3CKpUhsTJcT4g5JbSa4IJnIKI527yd+Vj3u32OOxKs9UGe9gO5XmVLTifEsFZAOM/kdjIMDOiOcAH7Xn4XoUm1KVxnWPVGlub/zcoPprgzXD6VJXgPgLQr4IbMZXyr2dLyZ2FP6esCY5lLa6Kh4u4JiU6F0nmmixToTS2ZTJtHAeQHRd2EoVW0Y8rdO/iv21Aa6VaNQBmxQ/hLKUzjkwYw8y90TVnvBvfrD77GjGhUTrvA9bHjaBdgpAduV6QuGxopMNm78ilXMruoOZjjcRSs4vEr9kpeiZEERan/2NDk+WkXZvYIZFrK/Xi/Ucw6S1tzqZAMD2BBT+ii0qWM0ixQ3ONH7wfqUU33yVWH2Gnrn5iFLnHKKdLQXYdADouj0BJiNDbYzBhOUDMudp/vb3GRfkj/FPNgY2eIVkQP8exNsF5BlIVMwFT8vZ5NoO3X5I5bR9XlnJ24VZxdG6Rf23xgKkJU+zeoHPYCp8Ab9RimsVrTD45fxPDZWFhsjaOxofw8PmWcf6Go7r2iTGlICFLWko8eNplsH3zU0ioZGumWQmZXeBWK1HUXYoj247PlBon6vrTvTiL2L4lvXODoHW7ES/vQHj76cCZwYRcr4YkW33mqVTq3bkr3ndyJol6xgC4VVMwa7Z3eot64xXx8PMdoWsrrmc8zHE/2GBDUm9LElVghfd0cqfFHFuemumE3irT3iyiJeCfiwAJkZvr6otx4C1YinBlhuUGsOfHAynR3xHC+1cRkY+xoUVl0WBdFMbl+Q1Kc020vOd4Ersthe3idM4SsPGu4cNYHySiu2RlXlOiH8vvteY+J4+61T4By4qxjUDrlvwIrOeqew2ycB/t7FCbFyjaqZzDM7YHEyVbnmybftmJJF3Yy+iFY4zMnIojrl1dsNerIn1p3EHPKESMcbHHOdy5rxiIjRJMYaiJ6rbUC3gesg1gtrJDAVwcqvuwz4RbB7AVB9cvaJvko4cs0527zTnbbCOwQb9nOGiW+eWZK772Fo+ZQ87GhJi6WM3/OwEDquXdy2x+wdlAn8Qbgvu9wo89AiPgH8tvCukPJtMXQO23eOdmRCPa4RI5MyVfCoHZ1uZwKqE3n1gDBUsoE20hCEU4fqpzqwyTvxRfwb4LA/2KON88lac4CYBUE2em7PtyS+ehfJphzmLuM5kDy49p7bHdJbarUcP0ObuywN72Ajd+75PuH+ldaSVJi23HdyGTw11RhXEmekX/pQ1/KxtO87Y4V2IivEOnW3j7PzWyJ0OEm4C8aNswGeGP8ZwVnZCf6Pq3ZKk1lRGrAvxLjzEyIF4jQAitQ1bmCBzCSzjY42+2H3eb/XL8lThNCdjZl3nMSCYxxGHR0ku6Nn1QmT/ibTYyp2H8XnabfVT8dB4kCf0NwNgg/EkmQyJ7fVKhR5oohMhppL3pQ69XXVON7bRWSMrA6Cs9XFvz/XTt9Rx+HQLn9BZnd4Viy8pxwlCH78oaEaLzpzDMQMzP3GjYFaFHQOYtvia6hPrjZOaiT/THUOztT0nIy71Hbb5B3jt8WGwnWPCP4O4r0hIDdFVhI1A3X0pcGMM+24IDUBFbRVFZY4dtqRmfwgar8/7ODo/5BRTfOW02coK4nqlWAZEbqVGOHLd0J9XOWuhFvRRrQoYQzZj1D5vEG7uEfdXuNYCSyYOyWOcCDtzcevZw9d8E1HNrgRSr3eQ6DgByzd5PzIKR77mD9KBicu/n7eDZrH57EhmpfWbLLwc3Bx8GcIXADld4PvbHuNcK8iapekRjLw7XS8/fp/2T1KAB5PSBf+nw9Hv3Z2JMdQhLekl7a0Xt6ElivWrOj8ORHStt/cXGUhLPUso3itEnw3TH9DuvLAdkruvPz51YHCEm5mEBka8JuRDlCWHAcUFE4G5jT27Ogvj4Rh8LjEZcxarcKuYjuinHzxwU7Q8gf+WLSH25iBd9nSLZoSHg240XJ062v7+MQZG38zl/AYtdvWxivr8Rq9s/9Bz5ksSh/3XFq+MdC8rGRd811jqKb5yhU9XtN0c6LGH50iD6K3PipuibFxFmjnHGl72/vSahwkmJRrV7NBKhjGQaw9Cg5bOga812vjIeEaNoulPmM2NbkDFXdpIaBQgS54aZ2+ArJt933yK02eyTRpirOf+yxE7HQPiyVEkKlmQPYtUtXfVwrhPKK1rBqDj3pSJ2eGHRyi4Nb3gPZIWtktd8cxH//gW9NRBYOi39opdiuQro/rAZ2QlxOY3L5bT9/gScBWLRBntwJlmiqLtE1oL5QYOzHJHMQYib4PimvJWC4huyUs4IdW1rNOhlVv9XOagPcIWbg9ilutApmHF5dPOmlf96zAQlSrPbj4jWT/XTuzd2TuHS1ZO5FC4+BTaDqKVECglm8XjFMH2hXSFI6+ilyiclv4lO5MLI5LeUavbkbX1ynukKoFsHWETiABTgsESbtoGBpdkoLAwQz3N+BB4bdOSV/uRJhGVCHHC0gzgSbZvTCmVtIuH6H9bvZsswBSNR49hfkb8FyIm/KF5xKlWMUXnoYZyabo9RL108c0cCVXqPISGIfq6G/msIkloED815uxFOhE8d0i+i04N/00E+vZsFJrkBPXSsxleo6g7UwAEJyiit2T9jPL/Cbktp6mODYqYUf6Lti1k+1hyiuPi3QIcR8WS5NnKQTuPZyZz1AWL8a+OTbsQ+tJbI/RL1sLfIEgwMSYUHCzq0ySu0zPTJX9buGnNX97TTYG1/F4S1NnsPQ6WIAMuYMuxmk60LZt5NVlfoigFZv9R3wU0QZEv7/y9gOD51mffG3i8Fibeis/7m+6oS9HlR20yJG5+djeR+SQmxlliGr9YY9TncKiyI8pYaQIW81Fr47EDuStUNTGv57tB0GalemXzq9e/KIMD4E4lic63Owog1RDyb4Zhjyr7bNUkipL6GOW+Mk2PG52hYShQ1hyIhtZ1Plm9pSBjOP4tisXTF6l5QAjDIaOuf5RT5CwNtI8g9ol2+ePZPapygMmGtWHvHoL3cQnapsa19cCBd2+xQUx9J5JwtQzmGujAUUB9yw1xl1B88Wh3+kpFVn2uEw6hIVL/c43ZPcSGTupMdm/FbYIL/X+dcjGor0v0ddeSwBsaKV8vfax5lsygMAsjZXHpLzU7kBRce2Jv4lfddemC62Jxh/ULf/KkRcftEOMB7MBpc0tAF+r8AW0QPXYQupvsoYZAHUh0JZQNxQB58tZ9i0ed3XO3H0JB9SuxqmMrrfTKONpNyqIVf3drS0rkg8w+QByIgbMKnRQ9pzexxB/qnKXhRE1ToYExqcahGP6tLWWG80WYqriBOm77Ib81lvwen3d3rhO3o1TrVGiO/IF8EfuxPkUANW0D2RXR6/sNuvPv9oxs/qWEvP5QwMkAzLYQiA5WOYvZESLHrpX6rufSHIqM1GDP1bnIWn5deaj+k1SsNtNg7HbfCi+kf/d1Nsas/AtomG4F1X+/x6CeALvIvwcwXg/Kd7iOyZeGG1wVcgPX7qVsCfIelMrS8JfpSBUkCeiW1H4iLlIobB1FhTKiXZuBbCi2Yoe+C9ExD6QWOxoBaUk5ifqu5N1Pqz79PZhY7Rs+qZo2XlXJgz7OAP4fPhjZH/TcJ4c4L99rf8ETvsz3dyQnQcj4q9RVGchJVogJRe3aVnbaksKP6NXXIi1NhxO7jZ02/oh4+WylwiaGAEYOYqZ8VanKHZ5DxBiavEknJQrfYrFVHIxZMlYc75WskVzJ5/wlajuwQhglde0mIkEftnsy7kQkLJKFI21PyNxxKTIRMV370+81d5yD0c52r/w+W1K/J1scDc0zGncX93X2f0TSUgVz5zNj8vNjRq1WP+P1dq/KTgtO1mzCQNWXukFleOu6KEN6zhkZevazMHmE1ghaOTZBBXqQv41dPw9vjnS9rwg7aVA5+H2CekqLVgpdpYaJsG979Vvmf9RwFV8TnM2sz1KdBcoZacZHGCUQ+RQ//4pToBSnTWvOmQmyNAF1YhWZ2mwBbv7oqpdTalMUVTNncngm/ldI7HhnwcYm6PDufLWcswmkJ/AtTY5dPbGIWsccI3OKMwNg/ki4Awqt0YVjy3OM0hjzP5EhLK+Nj7kDGgh0a9zjRPzXt7mDLU8FQqeYhS+R0VRZCofdiFXQfceWGAQXzbYDmHB4dQyd72K/fm76CNyRavfNpzVwUUCj8n7x+loYg9dI0/jZnlXqNLugCPBJX2glLcz6XwA3JYuMWiCXT4aCvBNgCDjoIzI8VxV8V6X+zsYxxD/+7Zf7zEjV5xgEYemUgLqixv8wviglU0NBu9mV4fQkwx0VTBxyeCJPayrAOOLqW3tVvH2o4OXmmCs0Dzv4IbHlzMIdn7eT3RdpZZxPUHJWJxbqzoGABiHrdq21EgDI93qSp01sK6cXHWtcfoNGY+o1xSG3QZ6x5iU6C+quq0JH1pnbQuRmeqgT/pTS3g9YKBSEQn0lkcYUVaMk2JRx9hawW3xZMGq+YYEyauTPqfpyvfgyY488VICtD4OgdC2ZvckcU4NCke0R3qs5A8P0gIrvp7lNcx/KhtAApVahJ9wUljPAMWImsPZB68u4N07Py1w+nJpKel/DlqYXZWa0QyWYysQxh/yHe/mQ59IP0M2r0K8PYnit6pghnLl9hS/2bbCBQ1xXBRyf32De2peOKAPGN9JZnocdHpNadYX9NjVTpqX6SsqjrwzmWdE/ohXEDBvy5+a+6cF4Gdt03VwyBQWy+IkS4HefHj4BsGvxroIwjSCp6V4DbQDWR4koOblbke9VYb5o9HZJhEeG9B0vXFq9+iYEei5HUIb2cDX63Xt3R9Sux1tYD2kSt02FyDqBMaCMeTml48hrn/ygnroEgpTXJDKpW6MPo8NhPVBC3VW1oiUfmucd0LEhZaHfZ2TgWzwJWjfZ7iw16lv2ZPYPE1fQNSHiOigFg96JRMT+hAa3DUVZ++PfuE6HrN+7bVbwRd4AGHR8l7VK19n2BfGXTHW5vpUlky/zzGgkHYyU68B/ddfJrfujWn2cwSku4IwWbRrmJh9R5YLsRE2QDVPxHxE30VQLKvBa3P5sRXcv+C5VRA8IfCKE2H/ya2bgLTah4Lfh5Gc2C1kH60AYSwjWbFzdnzZD5IMXCRQMiNK6sdlBV9R8IFWkqxXb4jaNHkpLZZ9x6zD9Na+TJ/qfhTWMo3GsgqUoyjiLu+zlPijR7I4a5UNZ/3w2pzmHnWevaGyGX22y2dbPpcpJz2s+zk7smSuljd3fduADSfnSHNOuTkwPm/ViV1uDVu+t1rXj5MiWHElRhwa0aBIK7kflBrSB+YZW+Ja5NRHFRW/7RTnckrFiuUHDS4hIE6W4B0wzjCA6BNu34LhA/SwKWWhyMqBZmUpKiSUJy5h9mpnTnYFr1exP9KUroybIw1krhdQGLPN1S2bIrrL0oLWoTV41g8Z1pDGqF07t3m17Q6PGu1YQEOJLfPh438ILDr4xb01hTwVjkzLvyt59gYMUHk/sdFqEBVPQCj+Kbr1wHghLow0qjxd8k110xQPpjwXXah+CL0JntX16Xo/Pyf0ClgTy8+PynCUxo71iZWR7DX5MtETMLsrAw3HgzS48oSKRABtObZcCQnh0o8P9obFgGp+XuG8ATt42yYCBLxBd28Yuyo08hy0cuSMan0dMR/eYP6kmj+qM+r2ChUBDlYNon14feIWxartTXYzH8Mi2he9vDfKGdHMuxQNnRMuBO2wS17sgFbuMqy4EEjSIQURKEuxvvDm4dVhM3/Eu+6ozZOoaLomkZU2fXi8ihybLpkD9rS6kJ0kDkr98vt0VPdoCehfpuSTRxkk/qF0ut+jHZYEt2ivO3/HIklyyqvYUICW6b/74676jH70YUtFpL32ELJmtfgXMUa/DI+v9AeH+syFt4+vP4olwrWcETQovMek3/+XqVjNxv2Hm/MKDOo9HBODQTkp5qWd/3HjsuFLm4QlqQ6mE4BvZPLR/ck9dNQAzcD9gJW2yjGNB9Z6WTAhOSvSzpzwOS599RBBYEg8jakTYeqDpluh/GyS3oP91wa1h0F1Iwg2EVCUY8P+bgRq6971oOGeQNXn0jMMJHf2CaFaWmlntD0OmmzW3U5+LLHcSvrpUffu5L1V4WMd6qCVUj0yHXU0iauoHknOy5/J0Z9Y5DujX7LS6Ug0TD5DF6I75bXbimZnNYMVhul/Ci2cnfsTO3lodon+K3j/dq4Gyv+RbILDJ1XDGy2ozD65jEsSIQQNTcU+z+Qn/yM6l8oEGD5yA8fgPnb8XUFUPcdmNdBPgmLCvHvDSiLmAb4wSovm0zO5891p0UXxZ8sHl8nr5TzSQoNLotv8jGo4BQSRqeUWrqdtVnmLxSZYfd6Z8ixD8WeilsChes2K7itsk5amryXmuEv6IZj6iDWEC+rni15Gxc6rODj4UTiM5ROEWBg/ZM651Fn25pl6ssmUqg59YvOdtiK5hhV0uoSpic2UDl6oVp+Xw1NA5W4b5xJvePfMntqZaVvVkES+uVl88v41etth4TywgDYUS+Ut9qWTi24SrfsVMOjySqxXCaKuJ2G2Hs7DJ3sMUUwzzdbt0upFEmQg19pmQ1p1YLe2pvrBuf1+nmM6Ot7rEwOPGSx2bkCW/Gpxs1lim0lo7Re7lsv0j/BDr2qTfyO9lCEmoyPgPV7usyd+quCcegGYZoWBYFzLrvMZ//qKSQl9LDPywHgwoS81M/1o/0aJFexBDS3GT+SJp5Z2+l6CBgVI69J5gRedNiwXNbsczl4DjCdIrSLxpwVdRIrvcClIO/JFs8tBn5ASh2nTpeijkJnwH008X9Z7a66AUJNx3V8bLPJSdfN+zN7Y67Lp+LUseaiMai9r9k3Wb421aWz8VXmN1cMLsrvBpGKvePf45b+bfXYnQ3sdK2GOFqGB/GBqHcSub6HC6tMaX8Qu5vfZKtynId5ic3wMD286JkCav/OODqVrNB8l4ORrCvrmYaOIG6+BONsEsA10NJh6nyKH+rctUqYgk8MdgRgSf90kUluSfub0h/4kTpVLmFjSvdk+npfAZ111PClk6Zpj1XvsFHjRgImgjEULlanj+8Goia47REkDj9XMfdI2ZIs7JkwpsMqdbLYbwDRUHnscCF1sU1zn2cPuR5jSVIxEbHRZtS9MJ5Tsb/wSOfxsCAdUZULaqTJ6YJgkEUJP/gxTdbOX6BdSDe5sfHLuGoMXooMvlj/tfeEBPJaio75OMFuIBBRxippjK35TstG/Mr9txcSTTJomsEtfkrY3YDoc+2tcZ1PDAUoEdu2Zm4qfPQW5mhYYPurhVrfYKqIVroktregk7Dd9c6tfIQjvfGB0NPJ7hNOs3pw9UCH5tObUW3KBnc2i2iWj2WE7BZwx2paiinVvoiqyCckQZ3FXCQ6UwajHZLC+e3IyRiGZ4EpYGP1Qz9VrFvSkYdyPqGp7uB7w3KtOo/1ufATG+3ooyhBk8MguL+Z28T9XAS3MBUTusoNIcGD1Re1IAzaaU3qGjuLjh2d1XyeG1kXEzae/pTQfU0Ka2QOsOT7pAcnwG1a6AYm/buvX7BUv22y8q7r7LABu5Wjfm3sPrQaUVRmXE4fSEH3etRu3EbOGkvSBlPd9pmmOmh9VY5GRXtWaQU+WAm5PwQ/LqmB2316qE0cY4wpJLCyfL5PA0Pd/nBFrx2rqFKqJOOc8fhXaSjTfE9uxfpaXres0R3MNSQZfuVD97W0yKsSmT1rHS63jcHyRorzE8hmLU9ftFYLZS0td5VuhRqKRNmVIWKcBVGYDrVgzKQdyxBzoWP+1EQmYhyUGNuzk6BGLfE77i7e/tzJ55XFKZQH1M9Pmx4vO8x2El1gByFzwgNqrF5Fijg0/bT2TWcbXg5FvP87sn1p5a2VyzMvfp44K4eRbibGtJFZ2h4P1WkgULeUN/tLtURl9EXJgnyzm7ZJa00TK7NiIXGUAlkUcr/6Xgxfih+QMoholTCA7MjdfttJGyo/56ktlotb2b7M8jybr3pYDNRX4uGkqq3L0RjhVGsRMMJi4sfKPL3W+mhDRaPlpLJ6HRsXxlzcpNxToq7+i+zRfutnkosefVmFh+VXAij5hr2+oeLL7x/LYNaK+KrAsSGvbO+0ZLBY3B5IR0+xTtnJFd1WhjYztLS+XeyHsNjpf+GE72tUd9ouu7D/PEtNaYmlDfUSBxDC6LELdC9uoLPQry6ao/gKCQPNdsiR7eliDD36879YQpzsnKsCmGZZIHo+LhKFgqbZGGT3WaC7ULfBgv5L5/W46HR1xC1/xmgWv2kG7VrJS53xT6xpVabqiYiZURPd1wWN3KCKJKhjVOpWIOrTXPne16tEVRRvmYjaDl0urMJWoWPoLCHwbxgyPLnydbD2cR8MmO7rbZLxeyBZVfPcBgMbL1qj+qJ+ohDAhtIGNcAkv1ZP4subOr/cBrdQtcah2OmgJldCdpTCWswsPnbQhKRrw9FoHlivcoA92yP3wxvG5N3HvUQZYS30jvm3VCzQ6ai34f95/sl8yqYCW9bD/C86zShB90I4qfELP1ClOzB1cgzWRCCH7nUH0WTaxkB/YYB7skl5R78aS1k23bfrTOrgF3FPTADDMqCz/aFoQZX7bdWyd4C2GD+6jcLLbZVp/bCrSJCc8Fvw5QcsN26397EURNy5vKCdNcB9URagvuJSLQDEYzOptf8oGNFz0REMXmJlva1L0Wyw8d16TykabrIit8/t5AQ5Oe8775k0QF62mYtEUqIoQKsUK4SUffOTtBtihpij92svaoY75v0njqRlNLQinVV9mWQFwDwzhTsDsCxJykTvDbUIyZ4fFPcFUL3ZdhEUVojY9CJOUUQiEaxw6DggxujEeTvQpSAjUUGoBOt5fD+J61SJ6mjaOrHuXnXB4sfeOXF06P1l+wIVhRGn98gQIFr2faRn9e8DX3P82Z64Zi3HxyMznfF6CQd6R+kuTYrAT8gC1tjO2mRr6tpKEr+CM744OEis9WAlxhZ+iUoHl/L0b5bWIQICl19rodffW5Mlc+mLQc9ZNq0UZx/43lr5QlISsgq8c+f7eyGrLiHR4MYO/75g9uHPYokfC5ROspqU2TfEimxMWqW4ng2o31eeAbo+49Q0LFS9yKiItx1DxDQVUcnT04i09ptYINCnQiHk5cb5aO0tTAvAK5WQ8GbFH9SjndxRMXlTarOTfCrBUUzRUehRs5hKvHr7GE6Ri1QpP5PKUlk0GQhpqcuCroYNUn8QJc9rgl7IERt3CoFnZ63rZXomAd17UukGPskR88oKJsFyJ8nfgtE56uHVLZNd0SgnFMIn7HK3q8lw95HI0ZkFsBwDoqB2n+T5ZUgxMM54sfnCTMe5+p4blxwT9SPwm8U0Ls2bu02EBK95qaF3Tn1NTlcrTifLNxdRucprpvKqzc5Ie9PlnAt6s+lfX6DTULkN1N0QR34jc2yj9DkjuC941QA2cKJLuuEivoBLSz0r+aKFXXPKiM84LII34bVG2KJ4UxPDhIDPwIWbZALu7W0NwMz5nPwq2Oy4GTd7Uimv0pNVCQoJmVveh5RcE31TXVwlMhnWHlFDaPxfKbAjiZLh8QZi98Fs6bRShmFlvdh3R6sk75iiJ0NdHRfgS8ds43+UMComs4/RwfW8HroK6jO60tuFRWMAusQiEniUIg6FX6gggcLWWiApsc7oQMSNTSUWR1v5HI5ZBb+Uzyw38rbuVGEBWPJw7zo84C1PgGCA48QGMjCf9HX5YQBjcnGiCOcsLJdUlsvfK4HHC/LfrsEayVHWqmjS4ukHogzv1lkUCPI/YFElLNLbgUU/VOxJIFxxaRJ9xe6Z2V7QnmCeVyOeZ7YCvOWoeNWZ6SYVlTDJa30EzWT0oFR/Z+7mfry/qqrp05MEO4I92FagcmR7k+1BxL8/Zr/55JqrEzqxPYGCDGigUeUp9DEfxFfTg9plSOz5RnCAuAJYhp6LulvEIQGUkJourMjp3GKmNo+Yb//CkGgRBKPN4wG/aqPykOrHGalvGowjF0UE5BJ/BVrO6xRGXriwcZqEWtqvPtMiya+RVTG0ci1akriZ5L/0d6wyHCtV2YkMZate9oDL1SvV/h38BdLiyYGZ5TTPhEtYc5YJvZgn/r/bZ9/4T2girW6HgjtxpcgoR5q29FJ9GcQoT0CRkw21MQBkOsupfYchCKMFnBjiDV8rxj0favt13cBua+3HgNJPvfE8MHVfJ7O2e+P5AF2lkFniIALVbpR76XS4CAJjv9x0uqBxgVgCAvx5q6k9v3I9fk5dVqNPlyOp3bKj+7un5kfV7tBsPA1HmLA9r0m1ex89F0/eTbXU35B2TYNGRLiOhtWJBgi2PyVzstmDhSzDoOS0MNQHiGFqnaWIC1tE18g3cChhbEHhYyTGV93DYIEEE19d36hMl6X+Hu9dmbA/zPIRzFiMudljyha4bfFoU6ghdIx+DlgL5/9jv2wMMGgRtjHrF1EzrJzFSBWEqI6YzVyf7zRgAW8+RbP69L/wS1R2H7ovyiqAXODV4b0jA/KpUXhpKIYlSv2oJf+Yp5BYb+UiTwbT5PIYwFC8rMLV7O38dSBvQ074SPMmEEinUDquG0Pwv238sxEONke3fkjFDb4yCmoh3msWkHnCldY6NYeOrDTDZwYNRfO0bWBcXhdPHWBC1g5OTa8Tz8uM48aSbjvpqmMSm9MzGGgnOvOMUlnrJoeb102aRUr5AkhFzNBB2BtIsNc8Y0M1svDhpR03U8GByXgTce3qCXIJmNLQG3F32A9C0Sztbt/vo/I86aQtkgO1icllsYd8chfhgZmHRb0B5h+PL5KVHgcFbFxPokqbxqlCf5KlKKgjxQN2AvlQScDPtKm9G9QzDFWsB/WK6cbjPNTwzQQvFkNxJ/5ouJcBlxJmHfPnatTiANyUT1mUqy0uTE6xsSqBD70dAVJ9Yra6IThbxGOnrgcjFCA2xeTkP3yA0xNqzs4Yz+iHjzXyJezaIIb5yI22hEmPoXK2fG+YiBdFp8KyNjZ6M5hd+jDA0wRh8p+JHR1E7T4Tqg33rXeAa4N3DWwh8RAt1/v6KPmaQb6zM8OjeeNIQawZvQN/CmViZA6kdSTO0QRiYnk5XeyM51m+AC1Z40ZQTo2HtP+MGAR8kr+xEPrn22JROVsaUhu0wnEYgO4eK7TPvev7sk41oUrQkpY1gpixiNRX+As3EPjKYkyU57YWxh9ACwpzxmt3NJRJ+9FQI/2VkE67Rbs+Z7RuBCk+Why9sQ8D1Ks2FDbbgZw/DwFz0j4vJZmat6kpDaMNV9B9eU4LY7PEnyBL51ZIDLSCV09w3mpslSE4eF+Psbxj/5ZqYrJrPJtwunGS0NXURhS8qS96WQ9Qn78JpVkozIbNeJlm4v2TJieUm0mZTmWbopBQf23puQL3IKEmYSid2yR1rhf/KN2/fp3Ra+qmE+pyEjqJst534giBqfu8uQPmyno+Dk97tYDa8YNtlQt4XF4Fa3OOKs2pcNtbWi/z5n6hEXQDtOumUFTeXbVfoSiug4qyV6qeD1dkHtQeGLfG7UYXey6s2HN+vm8OUB1hFSZ8oGUm3wO3HzD86RfJkgNwUjg414ea+dSKLYb1XPTYvuuCY2/NjEhsxNq3H715uGY/qPKwooOhmyTVN7aNUna4pGm0dnsXMuA/Riigt5JWcEsQ7VsRvnNTcPcUsCL+j4o7cv2zWC/bmRKbQ//VwZTcA/CuMV6FvjerbBovk10ybzryjNhml3JCo8PWDHPRcHGevqgM1KxVSdUSrfNuShMsgwxbKQlo7x6aQcEKGQG4Junr/8Uk8p0/BVNyEiEekCoEGHfn4kSuto8EI+j71ZnlcwWJd0CDTVgL2nC+5Zb+xvo02Sy+4EB3jCHQMmfdVPHd9xL6Fob+w9ZDmqotT+u+KlS0Jc2TLgh5UrEn7TZbIgCv8oVmm8+yXHP4TAxmDovku+9/8NaPo6pUAgIpbyQK43DNti6KeS8wJsAKX/8d2NK5UPvbMZtbonmwfmemJVAUVasWZ+QKYgNn/dU4RvS77TT1U4qEjtLN1GrVlFn3032HCx2Sni97hUSJjz8cf1AImFEM+ArLF0gkXf0D8MTsMTkP7BJymX03uGoNnYYFIwjJO89sfjxPakZ9EIZUNJswWRAWb2KwYeScyImp3OVWNPw4rA455POvm6h9qaf8NrejHe032AKJ8fNgnTfxZ+T+er6QvXzkE9QJjr6JOnbvAaOfWNJEaUoODbZs0BGmNz5nG2onyGqNZCothz1WAQ0/J5OqSviqpRGvJ9RP4f0pBOB1z7gQ5fgUz6hKxeT61Og9dAO3aVwQG4N4OGUjU4ZCvKlc2du+9ND3EZed4+OeC/LM4xq/dmn0VCX8uxzol1BZeiiaNEgqSVM9bKWf0MceaMBTAq5s+ufcqeL+C3q9ITGJjq871XQeGViXQHDlcLzrav2Z7lq9Btti8jjMdn4jCA3fmpiRMTsu17naXRtub+VkmaG51pCaY6p5Oj/pwLKRJjtBGDZVFeGgBbKw5DX30aZ8Zcr31IgDt5Qzx8yji/+5BWhAzLPemWYDqkWhCHVWhIumtb1rBNpPi9bskMlSyA2lbEozD4zZ8Hrs/1yhCIp01US6LaDW3DONsw/6264uA2/5kqGtrUPI9I6ViDQfMU5jg9nULJKMEMWgtpfV/YY0qscNW7jN1LR1cb1kDccduExACMzjVhemtzYvR3jN4GQZm3KcAdlkMhiGKtUWVAgMMsYuILiFmIQmMAQD1q0vC93ufSGzskqDWHaNNHwDC2xSDJbsZEG/mz4ZWvVNQDpo2ugHlW7W3ZsP6SKwa9dCZIGFbYU26I99fmi81vQlD2n16FOS3jBzNyEjVvT5BOTFW9EsVVi3OHAQSBVSGWpvo1AkJ3VVLxVqUiGndr/OcocI9VVtjzGi445OeSZhcTlpaq6DSA7IbUM0Wp95jUD78DxSkEShBiFhNCoIY7uojRetWpeXyzJ4US/cFuhKj4rBvImAqfdu/7qWyXk8Xjj/1jq/bKJwbsmC8s14u1umktCjjzfYcOUv76Ii/HMk6nObUWyPSjhwB+1NNs3uwdUbIsHBbF3W5tDhZjQqcOBxFE57FshQuPOM8Jol1g6ZEp6+Fud86GYTx3OOQPOG6vLpWQ5jbhzydu5dAz4f2PIRPvDqV/L9dJGDV5h8/uffQfNI4Tnw1ko7nl03dyg7A15rbGRXp7hQM1BdjUSOtuuzywsptZLvMiD2OOrbrmOGndPQ/pSMq6o2QYFh9vPLWzMX1jHn/sEpxmyGdbRSjE6wgPhmYf3FBCiflGo8NhF7YkMmje/zWitf4Bh0LniYZrj4evIMXyyoRD0qa1gtVjw3k4A+4T09D8cR+XTa5IF7IInKhpACCeSsB9oq0SFT7DRirSdtEzGcZhPaNaIdgEXDGQvsV52SB5IfX09Bp+7shi0Z/TrjTAH4k+vmt/lmEMFsp+A/QUL617gn2wnEGnLzxVq72qcFWT3CGLCF3QnBHfnYgOa104QfBuTEBelWiDB2ab2HIjOe7RZQDCJ7tD5aKlqAYq8DnEAVxNhTzM1ak7msALzcut2KzcuPc3t3HYFrtPdfJ0ADbjqbcMIRn3NddMs+2tZhDetR1q9XCSCeLIaukEFMT9qE9fjuaL3fJhRmW7N8zcNrxCm1m9f3oEAHqe1BlmPhM4eEtpAwPylOJIhSKmREKlkeYwKCahMyJNMDqMa62IpAoOEU1aE5yF9HSf8QXRoFwMqHdK5BTHAzltqU8Kp8VebKD12w/K36vxTKnBkGoyzxkq7fpVYZaCKyMte4BquGYuKTZT8ji2ZSl06a4aYIbBuDl5vduppS+nRAktVdBqK31dtkNH43UJXYXQXYxXe9B+eCgOHfd7koG9YkllGF+6SJ1eMppdyWaYlh+sMHmmJ4IC7l+pkUZ4HpCibUuFbY6BdXbtih6PGInLtEl3xqUcC4uh5sBAUaGGMS6kZW7eRDaOxb6nnelN7xT6jHMRPB5+nv6fSbmJoF3b9BP/bgcrfzxiHltNEjeTXNg3CfYDM2btQ51Z3wCRuKW0r4Dx9j71/y+lVszb9IuEXPPUwDAWMTA47BGCWarPjKzCLDTguAZntliMywDPGJz492dDRjduq0eg/p0iJ88oOhuhLjMTm3B/VbJuzOzllvniqAf9t/GFpBBHEBwZv3WvfYFMIjEQ0RUt54r1YAu2oOHbzojWmHLcwgCmcBG2viyyB76h+Cr3V5jYStkkBytHSxASLknQ11QNiLvJwbMX1F1/2sW+Ux1DosyOIYiqZ2cWxLmXWsY0KogxFiCTW44rc0x/II40VH13jqIm9bQ86p2StTdlgQlYCnVgk7+5cCtyvxOxQW/Rne2c7Ecd5aEF77iErb4pPBAY09ND+gRs7ocXF/VQL9hRoqn7KJa15J/SdXsb3pND+jDCPkxf/qP79OhM6H5OC1OEFJlC8IJxDu9LYPy4iioCkdKQnbtB9j7HJJseZ3VUkwulfC7U1REwxpFzFPgzXiuPDf2cAB+dF5hxLAFLwBppyeP7CLWW4FTQCLM48jPftSXOIT/s2s+PrJvDTwlE4sxHxLbzWhpmly/DhYMglJOgjJBOOv9ztMpOayFgIAawN6QrjuvJ5lSAPX66wB+ckxQ04lGCRuzDG9YrWaQkv4MN6mAgGG1N8KGvFerjuxWhTt3IayAZIczMbUhfNLn35iJB5+Uf3SrM5/3rLfptaZ9toQ+xhAx7Amyd+5Hws6MHBWWMhyX0vbtIvHvH3eNM2AFctlkOd74c8fE/Lgo4J6nAQBjrmXiuCvmq4RrMpgI5uhvG6qu4KRtLVM5cJZSw2MGG0Zk5+0po7Hm9Cldl71v6dh9zqfOibl8CWeN7ssuMataRF26E0qdVOAf8vv8d7UNm9o1X9Ydd2ouSLXjGGRzKO5yxOxfUGspVzkKUq3AVrgIbAmWmpOIR1cdOyxOMbjUwKhzT7D3NVD6xiygY2/Fd/Y3LHM7D6ztTe90tOR6WvTfcQKi4XnEr6yXOA5giIgtLUIguCvpqpCD/Z0UnDaC341saz7HqZP5Wjh5p+W4+3OHGfVoxPsiig5LiUgT07iFmJyTChEiwZ6zVZ0iEQXCkcr7iyHYKB2gk0d46MchAr5/qjNiRRvrCn1aUPXuIWBDJ+F5onddrxXVG+hZ0zvqLmqUnl0pQYgjsD/ol2/tHgQWWi7D19f+ZXa6Un679c/Okyn3HmhVp7O/oyV70EOWk/Nfmm1RqMuzZDZyshCIE96l3ttmSq1qRiAuj/Sfab6R/JD58iLdFqibe2jGSBVHiclH5uU3VMctW2+x/j0vu6hN3emvsLvT4FpLX01C705AlmwTSb119tT1mgsHqu6BiBN/88jQQckGLLqNY9ywqilbzf/LLi9fhrVFb77n/uWC1y+hyYtJCHckliN8f5YhXuL6WtQ/DHuMr74gU0wZHpQ=="/>
  <p:tag name="MEKKOXMLTAGS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False"/>
  <p:tag name="BTFPLAYOUTANCHORETOP" val="True"/>
  <p:tag name="BTFPLAYOUTANCHOREBOTTOM" val="False"/>
  <p:tag name="BTFPLAYOUTENABLED" val="0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False"/>
  <p:tag name="BTFPLAYOUTANCHORETOP" val="True"/>
  <p:tag name="BTFPLAYOUTANCHOREBOTTOM" val="False"/>
  <p:tag name="BTFPLAYOUTENABLED" val="0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False"/>
  <p:tag name="BTFPLAYOUTANCHORETOP" val="True"/>
  <p:tag name="BTFPLAYOUTANCHOREBOTTOM" val="False"/>
  <p:tag name="BTFPLAYOUTENABLED" val="0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2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dJY2OMwf8mgoXWrd8S3Dpr8K8e5QDX9l/GOurOelpINCJLA3EC4Lci7vMC6fiShJ1UHdlzzodfzXVhfa9I7ytnjk8UxGhLoYCoYswL6v0jmUqyjtlYKGO7KNrwdR3Jtqv+irS/Sfzu5qGHNY/GWRzcMCJB9+nhml2tFI3rlve3tOSrKeIxWD9P70wEfe8SJ6/MJPLqB+9+ChibGUJZcZ79MSo2j5u3APi7IPvBbU5vnnU3oHNXYDU1pQpsZPwllRfSorraV1v/13W5stHj9VkwYm3cencw98ByET5gQ2DWVEgqSQZ/W+iegWBwc5uL0khqyxbvZmzhy+TW1I+hoIly2Srcjlg6MINbVVTjlASA9tDfjsFtpO5zohwDAqdS5+/q6MQa9djskrR8BPu1EB/81/MTXlP2HIinWR7mpFT5amBKZBJ+rI4NYSg1gi1epoUj568WLp+DiZ/FPfj+Bei/++5PFDDqDvL/wv/6/n3GkoQ5FU/H+QQ4Z6uj2a5DQ7PFOMR01wGHPsL5KIbBl8kdjlhmJBB6EjIfuANgnC9jhnyK8UCNvwBRpN84Q5vUkELJNIpmTqutadRqLilWYVjjE1SMsxHc8h7sDjsz5S9CVuXyyu9l+BbWsnEpVYXJZ+2TvACfjD0D80vyTCqBUsi79NdCz0tHwAMSaOlewGgxZeSBjprxiflDbkvt/eLBYBfExaoQb2cwjKk/f7wUQSRurzI0/Vi9LFsaRi7SXUPKMg5BxbSm71NgfKtYMtDzLOfP2EWWW66ZpA2ykeLqnVmXWvYdPyFvJMMQQQDdhZ/PQFmfgMEYnaS23A4LyYbYbhh4p9zRjOqS5dvSK+9HsImXb1QQBthl7I+lhNYLYisvbRo93UHP8WhLlkqjLGqLeLRN1t+wXrRTNKMeUBoMZlWyfhmSeRwjsrfZHfOgn6VkMtdrXXJlimHzRQxYkrtPVDtpXku9EMg1ZAyeyRuaBXTks29P1JU8goDt8Aw1yIWTuS3o6sGURfcNCc0IIIYBGU61i7vGkwtOQqfgFyjUl1YhO12dY63h7XYa+zJpgb2LLwF5QeQVFeoVcKLPHbPzMWdDG5RA9cpJnDzTRQ6RC1dYtz0/8Gd3ihdCPT25/jQz1mB1GP7eEn9tiBrcp6A1L+B+uneQ7CICo1lztJaitFcba+aYW1Lpmzn9rvi241WpMKQtvVAQKPUyY8usnN7EyoWtsudwlV+XKHBKtwCyYUmo9s1WcuiqwtkGlrBuo3X8fpN/L6fNP+C8YKDXIBs+EUSPHTo6EVNe963LyyvsljZUVqGU1m7jCNxCkLBvjnBEUcHhlgUnmjbQyR4vY4pbzFOWRx55i0EMDJlJGZPfEPmaNb7NoSmV+IqiY+9SRjSyTVgMJ1JzJ+I/M7eLepvriLAUMvcuKbu8pERl7p55T4WJ7H0sMVn1KprUrkCZb7qRLm9oaxRoOKV9QD/Pcf9aBHC1IXqcrmh0kUkEAkNJwReoN3x5WMDIoasbUNYO71AWvk8E0UTdl8Y91s7MOwTg+vECpCVxXOcgRIFxT3Zlv8ruc//1k/mU+tF3FAFinaor7mxeFqSmt0PR2MsVkEfUOD3Sk3S5AbeECwEAw2fOrKeBFtJYSMJcBH0GwjusX4HPnveDX1loiUl+7JB23Q0sLLsZdQ3TXx/v/GXgvY3tlOcYH/mgoMt0JDr87thtZXNb+fzFr3UK3UST2hgF+XAu4UwAtf1AzNbNhHUsNVx0OHeNMcUKKIUIeVZJyvHxx1N7DiercsfkZxnpM/kyspIvw/Kxz9o8hgUpITWB9Q4JQpNPunx5gOWiL91JoIdff+bVjmYfT6mQT+UAaC6BdIV0//336wI/m1s/VQwQvPg3jXUSPfaYgu0xkMXRuOsQWv4C9VPl8swkReC936GQLcTM8eSPrDnawihDWvoCeke0rBLj95jRPL6ee7GfI2kWJqHyzs9B0kk0BSkS4kreJQmMLgB2tkGEAxdrELQ41R9N83umqLr3ZjLBJdDqhKeGpnrvDoc7aGI2Nm2TahNUnJmC3L6Bdby1do1QL2WUXZe3pUoBJK65kwCmu+H8zE5SbPVn7/FW1LGXpr9k+y+4Fc3UiXIHkBWh0DvuMr6fP6qf639mbISVx+qhP5xEg+ZP6SQW0h7sIrBKOJ2RC08iFUabY/wn0m68lVqb81zwte9jy/gZlFXEnhE0yBUj1cJ/q4Jed3Dn0yw/GRWjmz9Q/IVdVaBJZuEvATLi2myEws+aChQ8lgC2oHjC3xkUyteyxf19OhOVsDB2LnLOmIeYHh/NKQYoR2u9I3PoVk9us5Avm/4a+cUS1ip87F+aXTymVJFAdzD1FFOsqTBQDMB7D4kiPO1GPbWDK3KUy8q6ElF30tVOeMqaHQz1FaP5vN9MESlZw2Q0E/3AshODPnXljOhERwievlEnyjB/Hhbi4uxDs9JS2/smJPuskIoyeeBZySuDmUfDWm67JLE0CDrEOgY9a6dntnn7VTlm1bYK+bgHvQ9QfwHRXof4RF7yTHDWIWGu8agacHPe/K7hgRdq9hwH//Sh6Mr6A9s7OYsgbr69SCmY+vl4AXfI5xgS3Ml1b+nR33rYcEfMRLD3U4/MQKB8DRXaqb9l0jNgymG0uvLcDDYLe8TG20N8AbyApCydwtOc0nzjfJ30kcDZt2f0lspQDUJf0jC+Kddxn8kpALaYecwMePd8gDGpUzd//BwAp10ZOE79kRaOJHQkFthxkejNS0XOCPZLJovSUQZO6z+uB/rypvKCVh6KEktONp7SqG7sl9aMRwTWqopyDhx8NEsNkBThmG06HqQ2ZFl4krQi8+KZQOArym3E/gOQPY+iS8R+4Mt6KqR35sdG4ozkglrDU1Jm7mKeE2OG66ZN4rUDj+ATYVcCbgKdlvQtHh9VdgKXKZ2yq4d4FN8kANHnGfVZA5i4nE6Fpl0ls+WV484vkKjZwmvwBL8D1EhgebPEqAWMiJr10ThSJskyB/IDUGoExpM/GjqyYE1d6eEXg0lgoQnJAmpCh0ys+9TBIe/rmC9tbCiKY3lEFQGkp7iMdq9BQiKgLSsNVyuUMO2CgNQbZOekOGkhYyYYN/0Lvn+bBc7AuDryZ+DmAHU7cPVK0maDw9uLlL+ilSU6N9aLoof/vAzi+YkkOwdLaPXyZ4CelbzCw282yHQILBVG2/yqpAoU+h2/wdPaICIo4fHWtMicYkSoNzcjo4RUbyfdrGtqRUKifNexEmruT3PT2sGXc+vDNj/i3gFUjnwcZNinloGrCZa9w8/cGbFAH5UV76a3fmpQ6JiSso8AJQi3zwg9xyZKC6sC1dQP8bqWTEKUZO8lixHteUXw2AeYRbc/44AwEsh+qC6jzAY8lpgijPTAvMZ18cyl30Z9QiAztSEhoLf+WTxzr1CQWf47WUBXUrR/07ZHx8s4FdxvkxV6MSoPSCAkI9GwGZRPr6IKPYLcPZ/TuFA2/x5AMgY6wM651+HzFw3rvEfadZnzFc7/qP2vIw29js26Ud4xYrQAksrZDphf0eH1BL0WJgcSQijAyKGUTskr4WAuIlzwqRvlvXS7JfwTZJ/L7iYr4hsszNuIlmOhrcY1XdTNxx/ee6888Qk5ZTALrSyfWWL5WpTQDeS2ws+8nB+UA0v24JkmlBMCj1/RB6RJw0EwemEPe9AEWXSfgmIuHWZzjYhKJbLCTFJDMzNgfxyQL9K8rbqm2U8wdOODiSYU3sqfnVfNiYM8FolR1pBpE+Harq6WOfNFJ5fA9LF4b4c2H2WEamN87PVljcE44qv6kIIvGf1S8BUx6os90K79skgaRBz4PKdexwShWatC+BLPc2ZhmPouhjj/GvMJh73BeV1c+7woNbdUV8ZNnol8Zp0tBUjjCHnOs4cHH9eDmjxcuQBHPxmUCcvlBf1/ZncFuNBB9z9waq56VgU+8O3mtDih9YRqtxqiEFadxukR++IPDeTfwYVHNOTdiRmcYS5Ot3csjA7hKf6wxG5pszYqiXWqQNyl9oSlB5GYM621i9Pwq9OatxdKnYKZZN5zKONBkCEek5ETnLmv679uAD8BryfH6EOM3Tz9z6nHEfMY3Vyi0KfzMd4lcIA/9GG6gNaW5YvLRRejeRnfwSAZLvETz5sLuHClphZ4uAiQRPi04QuvdzzePNJOu0KYZHDWjF0TCRxmv/LDSa+TAylM59sfOV04QtpqQgsP1POQ6il9L5lA2w3wjQsy5gmaKhxGHMYyDGDtNC5MEbHO9kLqAhKlmHbq4USMYSFsfC4YFMXOVEVl9WEvoAfhXwKc53iRkG+5oIBeQha3LqsbVRZdyaPqhFnQ/MsfSRYYOUKlrrmnwTBN6e4HXvV8E49MAfB8LXsr7UEy3fRWYhXBAzmOPzzt/9ZvSPdxbQfxktGXGNY3LoySTY0mn6tNXPjrP47q3LOqItloMgeAH8cXmCl5idBQeB/lFk85G2Z9ZaP4TNV/X0XTMcFD7KlJJ/eYt6dXQMNtrhF16+wrPg3GMIZjPORcTFGP7Y0bH9oPS9wMEEIh2q7PCohGWRRb+VXAJ/Dr4M5MMJMN0QfD/63075iyalLxEt5qGGfzJo5N/InfcO3kD4bnvlgTwIwArDu50LBhls/MHtKdUIwLEy2DmIYr0P5eViBP+GSux7qcFgSz9LLyCRzV1TjpjdfWU4pRGuX1fI0m/30c/k2oiA5PV+kHcAq3AdRLV5MTVtITiWXoJCXdFTGfdGQX3TswNzmYxnDmGrH4n2yyQpLGUfNf+nFdFp07d/pfT2TiQoEeqedcLh4Xlw1eRZqkX9IOy5sgKxPkWiwASQ3lACydYbvFv2uu7NIQH2ReGWVfsweEqLBULRZ4tbWdYIBBBfUE7lnowwogiMd26PJFJSkWuUXLkANv9FBKCb9AtQ9JRh+BC+vPMWgdEl8UbPGbJ7LDiO0xz2n+Kwg0Cz7Pruw5APBA15oLA6mDBeQQY1A6GYRDHhuUAvgtn+Rl7XTd+18kGO4Uu5MIrZoooHJtp5khtnYOf8ujAMRmdBt0ld1qkeWmIIPPoh4veWdQk/UFwPHR/S+x61vgwFb/T439IySxYOXo/Eh79vPNvH9Flg7D6OEg+QFIJodun3rfZe675AwJwcbY31r/087i/rfbvgl6uZvxF9oK+lQdAXxahQ62IPlkbAfNb7cPlBhOR0B8xhZtDQeYcDlcBG3SlD23Mb7W2quWSLJaxWNnysHtQ6pr9kzQsaqH+7rvtYytBHa0hdL6KVwm5ZnbhGcPqSA9WAHqDl4bh4eW0Zlm/TZWXIV5P62TQAjDLr9h9UKYAJ96sLjJardrxQg+xQ+DdSe22GTAe51dEXLpex5uv54S9/spU7hA+TozVpkAUCq58Xf2c+AYj73nexAq24+jqXdK3cjsvvuhSTDMGp20dOKsgyr17OIKnxspERU1o+veGnAJRDQ+7WyG9YH7gi9tLT0GmDeJ97wQJUzdFyV6EK4Dhb3h5EkA+ru4d9qpv1E3zSY9ZrcKo4m+EjC836WD9/l2mUpxl9PK4nEXHbwLwvYj3zsIpR+J+zuhptWbV4kSyoshsZcLDYr1BXqCRi9CSgV09tc0qsYKabvOeAP1u8PvbpE3kNX/c2dKMs+iM0sXXM8205ZTLe2o8Sm5uKf1gFg7n15asJW2IwO3uR5+R/zWSIfmeN3vQ4qrQQJY+84SL++XP3LGy9Va8CIpF4obRF2s7XnCQ9OcJbRS+uDZop3etPJugBrJPx/dF+OiY5Y+o9BsDB7yX0t0biHCB2SvxdEuvapSf/ExT8PSIzGsR8qlY54E39hS8t6fd3W3N4BxvprLahSJ4nJArior5DLB1trrBcmKvGb6L23f8jv++YwFcUZ4PEHmgbyDa54CFxtcw03yNyDc1dtjFGnr0famx7ht6G3Rp/ITCM35iQYm3B/LDbs5xL/Dj98OKvcJmxLeHblOPL7kOJUykU0L3tJxavfF9qKCuuTjeOQE8nFK+qgeLf1L4CbTr08MGKcHo4dQi4+s1T4SEru/gP5vsubmkf7fBgTp+R2gJ3DYKjSN4PjbtauiqW/xdP/CigK3dowTUV3IeUcWg7O0IlR1/OCbur9htcuIufobIGQ5LaEg/LrXIUX+pO7NcZlQa547V7xJHmkEPjSavatP/aB6jM1lTNNg7RTkc0YxOU63jrTZ3dJKVXJSBZvfkSXTlWoqLloTPSuWM1fv7VkU2/hJnLAFY62vAdrU5rBWO/P7xkdFDk6f+th7Yu031f/b4r0tGW/lSMJmIeLLJI91g8tGCZWqedAono6VSXLd/f696E4jCeJJ3bW/oclvWFfe9J2pHu8GoKNeBS/3BDhzDOnje5SXPbJSReULn9YJ0aguxhwUvqVyuXH2+6SxFhzwjy7wjMtO0k4t0Ye033Mt7Qz83wr2co4DfVPuX5uAL9k+FY+KYL89gr07JVQT26Cbh7a0AaZXbqslpW//mcNcoLrCtbhbKHorsVPn0MUDbxXfZpjFKX0M+Pmi7UvryRzsvuS41k/+Mka0KP7/F3Xiyp38zRPIIgEyB+k97n3nKrz/Te6bYfGXEA/C/PnLX6hAbQ8tHjaLycNk5j//P6doxvM1lcu9x2lAO2DCDOmLCcJhc5U4TxbGbrt8p19SpWJR23eBMHc9dkY4M+5j7wSunMvL7HeBEe2aMJqhGORbIKUcU+1ARa4U1+AIjvNx7/inCGZmq0GmlxzAao5540+NCbTHmOOqQxkKzfSdesMNl+tNXSMJo/Gutr6qhBVnvIE2A7zC/LKUiW3GNCmKkaI0q2IIYBPzU4kkpK1xSrmTxKz9o7AHULYoUnOqdrNLkiOqkKn8UT+mKMJk/zvRtsY8WaUo9mJGFu96KKvo7HWdI4Jh6AXL86eRS1kLL6IeUdRIS0YxxVL56JqMy4jVbvp5NQ9FkLLNW2Wbp29UdFSpmdjRceEZWx5on1BkHM4JGb9ieRumqJiZ0zjrFkpjGo8OPdr/C+/XzGZYitillXD7sB/+tPfbu6V8NTKnQJQnJOcwZjAIzZ9IfmWqcJBWSUJZh4VTEB6XtUwNfKUtML1mBwLrse16Zcoyujl/sXkFW/UmN40YqHPnSsfQ+JZz3yDTcagNXw3sUgR/c+QzK0ZSEi3kZGi50p84g3jiZxTZp/XTSF3MGl+MaNhHQHaevQZbRCxASgRyfRzugXDbHXRI3HuJnTGrW50jpDCLqCVmxuEEOqgAuZjHHYLpxlxmLrcx7lMbK1PZ/9L0DbzzKyibbfbRhsqOnFmPRWpp56QR7vGs0resNGDgxdZi0PZh/VQIQmqi2aE3eDa3vJ0SLs7cdnjPiXLusrB9s8Uvu+0wwNeXSwZbiAdfgJ2DbbnPyGIrUr+sjToNTfoJlhmXUPEhPb+wRriR+h20J+qxXiZroph4lLVfrvk0RWz9TIgdCHwj/6e3pV8ZVtK/3STeqkqgsi+xsqJr6ZcxSVQvAYWJxLTNk5JUDDZXIGv4GMxfBr/wxHKkUUtwtGjKh1ZR2smFzKd3JXteoAvEVND+QDjy3Gx9bY5W34CXQ/s8QUyWjaOt1et+GSlmP2a4mj2OYnxnhnOLoAQSlyDUbIllJ8aZzVsiPnJs8pKBLEKAQDR7J8vN4T0mceKNNpIndp5sFlZmlk2vIhOEM0wmmPtEaGLPLkGU7a4astg/wumKL3sdEQSoLdseUudiwXe45KGWXgqiEMTktjDy99JPtuy8a7bcdW3T3G+7/vn6Ep+ZsVi0rnJLJB2oLj7mBS4kPs2bxnElyNjk1fWQgkUg8bNF7Xn5Io72EoCx0wgxKL6Mjt+HFHLEwDtRK6t6Q/2aDzyOjoS5jHLcv6O3bDMQIoVpiigBtaqC2iNmP1jrfqsTrrqL5EB0GPHE10S7XGXk5t8CTEJiWtxTURnZ5HVuwW7PGnCFjgImI/YCmmyZenOULSuKCAq24etpgampD69ENYi4y62RNyh5Eqri5F+7ObeaZYvERaERNszAcfye9diJ1CZo8rapgWmfs6nXAYN+2wKBUoBAp+VYYa4fIt0A6ukNE4Uv9yahiKllEbKJhfT41bO7+XcldqFC5qDzD4oxXQG8J/KFekpQKgRaq+JALaeoTxpNfBAZzfBERt1OoJozlSi35g+Zk/wpy58C5hjOQrwSEGG5NKWcH1KYQ8SpI/NOy6Q/Wp6Lo7XyHGOd4Dn49ONQO0Ys/AjnY0wdbCI1zXCVB0DKUNvamEKp5PuuTSN+igorooTfbpzczIqfXdBqpL8we2v+GrVjPbEv9qOtblCTcOUJs8VR6CJY3MBy4NWdPRMMlR0yuf/eCu3TkcONJISg+zLwr32Wqs4pstXv39ZmaMrFz0il5tTGvXOnWJwk9pWPXlZDKBk9xnVZlSc9KsdYz5zuWdbaoUzElT8IsM7Hx33pAT5NGFHP1nOgSYRIwDl0g/pRsrFh1f8lmtxvrBAdb2/waVVabbMLDS4fDoyvNDbkIjl5laSou01qatKNDYG4Q3sf4XY6NEjqHXXABnjqCdyBrwGTg/AR8b+39dJLAGlEeG8wFazbQaKHhjY0q6Mu5mbPzjn+SRGlrrDdpL+OFlhqAFjhSmmBdjkTolcK94AEys5/ul/81/b9J4AZpzWkJXALwz0Z7R2HVBMTckPRqRm1qvBhQSzpMi6wy+UZ0UAbsdGBHS+Lc9yzmkri2fBZ5cvYhU5oGsjAiBDJc3DyrhqELC+WQL9hTSYs3O98eLgLRwuIK+Qh7NFhWlONj/ECbkAeYmC7voJnpO/k8l3oYKIhWhU2kO3wNAgXwrzJb8a7jlfcI7JvXHu6/AwQd532GbKeGSQgKaU1OPRjxkGXbTaeMEVMFI0pLLQkBSZ6wQmaT/7Z5FV87Gd4gkStcrmNoLlIZ2K1IIZKjl6zuamSe6S+B8gZ/1rbWLCyyxMEIOCQCvOZm2kkmdw6CPvPLoLOlQZ0GpwiivpL4gJIzJSci3qM/d/3Ze+z0jr4rwyJcCSxDe5LazIuJyqU2LqAsYS6LxRDO3UYEhEPELSXnsCxfIkmuYFTnEUdZYLRvzNEwkONdUN2qK3pMxbiiz5fUhZZZOrH7DiH7/3FzkqDG+GB3wPyMcnFexTUR+c4KFXOgQrSz3OQE0LAiDib5O8apa+NRY4PwdyHDqX05T7sKbLkBseTg763IAqAdDTHT2Gxt38txzSx4aCQcYQNB0oU/vbDdzND83W0MSQDsRGHMMmatlXbT05kh2ugq1L5Sq8bD3AXlMNkhs0js8dBgoG/+qgiZ2HI82JFucLsDe26R6u+5cZkloZOyrFuPXZJykSLOQj/WABiLpZAH9LMtph0BnQPPI+ZGhCqJfBZ2yJ5ZoASEj3f1ko8kZfrhh6YMMxCc07Msn2AehMwuALJIYGrn2By9IODBPsl2HVAwaYV9g2Ikn7AGVWOBeNT5tgGCK2Ce7aELdWdyiu2PCllk37+YgKW1lEKthZFtMm9OVX2eSF3g/eipjaaAamIprd73epeY20pMTGKt0bOiIr8Vp7+9bUhb/hcasgxKj3+++6+AuGN4AXENFq9vRoHeaKWmfBM9cK3UTxKEE0Of9MzKa2VToUmNZ3Vp9XbrHdR+dkS+DNbuhlnra78u9LnJc1J0NmAIybfYY6Pga8uik62IYEDdirhRtc0d2loYlEGMOZ7l2406aySwC+Uto//Oy8GVMQM80MWanMp0Gnu+wgmF5L5SeG8zpDnxh44Sm0rLpKmVNg5EhuuUW/D6dZMXzv+y0ovAJEWKOZ08craOq9Msx9gHHzFh1ATyRybrM69r3SESPvSVxbtkjJnDOdX/5jH1+NFrXn5mcddAVxJXB0CWvRx5brLu6ho3qJ5GhWGAsxSmt4VdKKnk2VVuCT1cHRsvhOkHFZwCKpFsWL+4kVrytB5hfqvPjpLGmc8ofrGciISJ94jgDn8hIKySosyWCikLqhEtcw2GoRBXJC4UulIUq6TGJyGebqP4TuK+iprVH1HHD5T2gjdvepQWWqXmyzFL6z9R1gADAFBbvq9rGCEBLuWC+AUlXtaBL8jZNXpoAtZDOx7UyhKM6O00Rtnf46+Wyuw1hI70dxFnjl4PFiHn+Q8cBVQMob2bj2mUdgt849qEdzKs0rWkeWthRrnMrky2AcRWkcBjPPieSrDMRCERZWHma/HXQzHQeC2fR1gY3uWuLhhdl43fa2lZsgyrk9CQew8SRvxv6syhywswiXaWYFhkPnOQu9WNJrDsxf5aupBSfNmNfChJkV1PZfLEjoU1sLfPE/IuA/1p2mGAFx7rIlkaonMdWjnEPhUWovh6M0ET9vXHjJuj2Z9aC7cnS4QkTn0scyJN1Xt0elMGhWkGJxP9Uzo3LwtcvCFPVd75qdGzhsgpJsXjSev0Tzzv3JL2ljMtkWpUgdxwx2vAjNaXJCJSukuCKOAxboEHXCv/j5JEaBfTRvpv4hS7pDdeyPfKUq+MxoiM9D/J/iEMIhDOwaZ8MR19BxmlJ+8GiHd55dT6GPffVztipXtnHyM6AcrYsikDKGcbSwsAfw0sEI52+M/y22MMu33TgFR6oDBasj7v+PkRtZPFviPxWYLNSywe2R9N5w9t3REnBngQvV75ST1k0j1uXsHqmg9mmNWF6X7QZW4llJVtMLP6SreDeR6WO8NgItH6YSJqxMV68ccuB8WSCnLbYcuTJfjTqwgkOL+B1ruISeoRF+i/UqIrwUUGfCmRK+VertGNpjzK5SO6ZOK7t+GE8sOQgvJhk3v65v71Gn2kp/oa6O7OxUiklKDvqYs8p9jVOfdRioI06qokWUIycdAvfmw1vrvP8B1e1hNP+s/iVNopNMxWWJCpF97QzwcDBq3sb/nL7PQGa7569aZckiyFTS2BOvbQlf4RgC6iCfC1U7vUqhsSE9uR4X1YwA+3EhSGUIzgLO4iKZfU3UzlHJOsfavHnm0y7LwPQDS72meQghB7Y3akAuvhn0mCpxU16A1pIS/He1dd0QqBx9+NTU3Aa34iR23ktNaCXI5IZAF/J99TyEApdDWjekX4G/tAJ+lUglJbgpFlnFmmyxuV0d7T2XdS066r3MtnmPQQh3B/2k/y734zQXxQEPdPrngz0rkoPX44/2HK82QiLl15wj+iGUkZ+euGyK3pec5id4rJ9xOEh4f4kRfifMZXAehqC0dPH1Yb00UedNldL9pen+WY+TKDS0XuxZb0O1G7Iy9n87wIV6lVi1xuhT1+uG6iiGJ+6iKrftm1U3472RpELsQh20NK+TzK0w5HHCRs5W6vsiohCKkREOF8U7iBlURlC3JxCwkH37d83/KdZHRUPZ6K1Ca6P7IjJsw9rzqmFK99tea4MWamzZFe8O/dF0fBMmv33859fclV1L4xWj1y0Tmmd51VitahC7ZEMLo25mkZG3ToFxlTfOUkrM2+MUwdKJatwJhbjCSq5Gz8duN+aw/zRo3CbzE20s/wgG7OhLSoLSyxx11vQjJyopvYj6iZTTNx0AqrF8hbaxxFqgBT68Zjuwf9VLdmlbwicISfygXiP0n6mUBzBahAYU8yURKpic2caluHspPU13/VH1Ss0IatHXIQvow3K3JcYh1FI/UvDnxJ3gaXU6UTmEbySrGgeSI6dRt/AdnRET4xO5HyUkDw6gDFQbDmgjH1RiR/KQ3zL9ldZJqBjkBup+UZZGRO7thjk9u2EWXKOLVCT7NUxd91edDE/ASeMnU+zP/pkJSrTNs/jeeFWtDUNxQHnqi4pwpp260XFqkHzw3WbpKDZMTmtxkpEYT/wYg5qxprcmun418/0Yk1TKxPZW2zA1Ew/9jSA3qiP2Afzs2yF4ri9v9AJkLuUK2pcq58j9F3XCrHTEuFap7pvXNN8rIVTjPxb/IBSnlZspHqugzizyDqVY1Y0fJW0f80yUv+Zpiry1cU4J/r1O2LZ9CuPKRjmlkLd57oz/GMdEa+yCn7EYZgf3wdKr5IyHID0z4DleGJEQuGSTDAd3y5Qbnmhd3wq/T/3inAx8vb7bzy6LbTakEv12aMcllw98KT5PjLMgQtUMqAMJszoatHJ1iOsa17XWcZ78Yncylgg/s+CDnaO15EDIfjXR2winum2szLtWFiiavN575361PGmeCbWFOzUwmXd84bcGXZ7WFaprJBFVcIzl9kBypBPesuOeRbAeTdamgj5C1SnuqbDdThM5zj5Tepp9o3caXNvI04S8YZOJ2QS9pkwQiadm9ongpszeL8g9kA/FpHMFhic4r8nPTXaF8IOhXYGGyirBvxLMsAKdQEHhIl52TlNkbP13iABtk5knDZA8qgHlmL1UIEPenDLrQ8NzpaPazSjqSsCrfbHdwS3e5NCJnaPGYL+wWyJxD4DFvtQkwk4pI3QY1jMEkXCO2J8hWFLkisacOlpYsbFXd2CjshhV9leTVtVstSECfQL0ia3rGF789rLRHIZjP+r6KDCmq633IF3gouZFPGRBrvrqanrgVYNwK6Ag0ewo0bd931vP5PtikRlFCyqcNP2Bv26yLthrurWzm+qsdT756IbNtyCqqh/CHRu8oMnbaJEG2Iayr46wyP3oyA2tQzg30nliwLsPCNi3ouJDi2bsdyvJF0Y+2wFkgtu3KNGxzD/pVyPrt6+a2z9yuENq+BxbBhaNnGUE4LbATHuH+3xhn37wCgGU8nEIgRU7gb6gVJiK+HeYZiL1cxOirjumAszKc8f1vB8pfybBmcQJb93gKUQDyxZPqyhXYhhb4wmF56WYXMfhDgRY3di+VFdRjq0ft5bLiGVROBrW52Uk7v9g+MPZDlSESuUSslHn+h5r+Y63frhKIxuzkDu2m8byyq2ksWft1KU9zUQ/psSiXog+bzE4MnGkTHttk3kUG6ajrnN2UXQt054+Cy3wUe/nOkaeqB+kWIZdKDwNnAamIw/rjRSXb1Sx0j3cWp9gUXcudcWtcrPZCq9DwVKErd7LDexLT/TplUzMygLoKiw22Pi0XH79vxIXiY0uG1rtL4NlhIxzR38/qhoqryS+o+BohOQ6vOUJoPvqf/9b2zsXEmGD2vUEhD3UtZMBrkmuElMyGyWyLCJcK4jizwnEs7cc/Yz/Tcpqr1W02nopkl+fLYvvQ70LSflfP2/bgwEcy16J9FAm+oQhZuTRP53wwi3p1rhnfTosYkAT25dA4uRNmwgYcxYiXNpW8nM/9Mdzrom28CrHPqJTjQTH6p046IfFgX6K5qDwm5LZGrVOLIOXfjVrFkR/bsQ4H6AS4JxS/Hx4IcLLCblszrvZJ+NREkrLxTIC5eIcw6c0ER8WLzF3Wgot3fqx9U0aWgaHjrFHaQz/5M2jHvgf3uawPPbRQ9DnD2nosGNQskeBA887Ruo8Juq+jon6kpDmAfTSJsR3YVqGOXTaqyCMO771SVSIlkR/DKX5yuZQ6BE12QEm8VfkC/3ptqWVHHivGArgngeM41u3YnfbGNVbbcd+kjQVWTl6P86mDCw6GCyTmFTjBNhn4twTXgyeWIqnVlCMBf8Tjx19byTjaNIFUoXyjMF6AETqAVU8APe/DgXLZPqLbPBsnoCCb5zZFDoImM/G/SikjfMLyLDhMxyCaE8pM5ucXbc6fhMLUZTDFEUStz8ZSK1Hg4Yqg7oarq3PDeQtUQlJG00gxO1ywOQUHTUfCGpcOYqYxrFs9Pm5KGpFTI3W5V2hvaDTha1wkq6wOd52KOKmV4dR9iTrD4HZtqRh9vGeGK7aoKH8LXVrytkk2BFDL5S9XI2CfIgrjsv9hm4o8Cbadg+xZvRklLpMH3QyXbBxx+YF4Yd5WsMrzzyTN8HKFmjNtznhgmvSpOkUj7coBfEbCDHYqd5w24R8etMzZEh/TsMdow3KJe3e/uiGJ23IIjYnLK2PbsgNun/FF/5xaJl0iOnOumGWwWPElv3U0sU3/QY9ibYe0Y+arDemsGxGQBh3MqLx29hsTfSCGzP+uIK+eV8MA/km4dimtnITig4oeP0z7kgBHO0I4+lTGAZRVLutg6i2gvZ0jSu0eHTRm+LZTxel1d6RH+TY7YxGFT9XwULMtPJaCmYH/QO0bbKoGFpHNHhNEZhqa/n7EMq+T8JncjL5rBuS0mBomXmeWts629Gd0e4hlo8P30E7u07w+XbIgg8ptekBMggS74Dc6KM1v7bzZ2NHJhMMjjRKOVhxliAo5NYSyZpW1elKIRJhutxlP9h36OOVTvM0+T0eK7DhORYC2P+YRzaodPly+e36y5EkXzjNlNst4HaPMRq3QII75WLm5QUjnZDpH2EOAb1Eo4+mdyW0Hs3tI2s5E/7KDtoKposJrpAPt9wSW1W8v4AtKXRVa+rq92zOwlmGTMuXTAAbDE4SVrAV+d2IFz2+O+l46lz5aHhEnshiuuidY9HfQf1Zgsr0lUoUFMFqEbgkuOclGeycYKWOBIdetGDtNuuoLFmXFP81Z+r3IIGuYuouLjvKOX8V1MyJqEmnQjEKDZ7TEFpW7dl9C0Kjj5e3N0HQsCg2kfxLSsCn6xtRKXyfmO2y6KclMvWuF3/3CXO3q1DZ8j5cFKBoAg6+s1E0PnP+WD/5G9gWlfgd0N0EVzQ8C0LtGA1/VYBY+NxMtGAHXowlil3Mai8igrkJcSSaRHt7kVv+8PzQF+lPyogCzip9m+fkIZihCnNkD8xFGSq5tZvT135a2lfHXzmf1ozElrZketwESyb+NY6+yH1qn/W7Ry0gdZSveeG5HDLanbsg9CTI2Z7ZDucafnV6X6JyLGD0Ia7RGsvcNulru5aGrBNK36L/Yihl+U3szzLeDWW1EaJymlm4RRhzp+FpZvTbBQvIz3TWTMakzcWZadUb8fs9iwhRb9e8wAPFPoYyrW5X3v4g3ckfMgnjDijciGaqMhWkxdZsRZWSAGkEzsxE2WIiN86o0f/5WLJ7GFD70LCzK5hBSkUAE7xBuROqRj2B6ZOnfMYCENZIUuOgrGj9OwqDt7PBqzYlaKijojThojFAKGQkb1RpIgv4G/u1vCjQWjMDp3U/lQShxH/h7dVWglQcQHOtODU7oPt0E4mTeyaLmhPgB87edLvTVa0Y+WtWEeLNi1jPTeM8gUmJQ/Exzyt5OdJ6rTlH065peE9QrW6uJTFSEE52DJVsZQLPnCbMmiucSCaX2n5/eP3pQ02RBmZRWpJidJJmftdtTso5MiC9oTZQoT2Y9a+7VVSLZLZSxIetraVwJWPpsn3SdA07pbycqDQNT+ydgrB5xWvvlBv4gpqU4IycF8abhw/MI3h4PupBk104ny2j29AaLojfaFnSJP5og/VcHGMnTaUDNPZ0CVnTAdY/8mMLKgSWNCTeX5nIYvoaVEfQXZYg8ZrgD1cNBN3h8Sy7va138OAY2J4/BTj6rY6lf90N3IJVIZ4b+S0jwbq+TIAFeuq+jP9Zs8tzy4cSTf4XoD1lfKt9HJr40Mu7x/G7FW40vOnvAIV8CWJWXSaCE7pvh8akmUoEMW/zQuzCZny8y9roEmauLzOpUhZj8GGnLdy/HHnyoLYGbV8yWmvtylQ3rlYlf/omlEQztSB17jKLIAhoVqf9SW6yURw3tExeFhhOdlrEq3b73cvDxn5n1L+MbT6OFzC2ZbQi+D0GzdVZ8ThuOx439Ou0x0hBERX3+tmSSWPmiCRwv18/vVWOfwJeWrnL/80b2/Vke3I2SKY3qMoKRTb5P+YpJOx+D3y0bv4A8veJvcKCqibQUBCedYo+41zBeBGKmzUbF1Ll6TbsTZx5fEIN4lFH5yMGIDuezL+GwuPLPOgpqFd/9DtBpR4i2jOSZ918BDTiL+naAlpIuDXgMYHbBcJbZuZa85VGn7bd8YPM0iItOlh7kNlDpkJNYlERsZHRgeRPGGvnxQm8lkeefD2z6ZVwxfNAwtCVbWYd7VawbZ7kjX+NacAaTqZ7/u+Y8u7wBNzeX6N1if7UnMDCA49WRAVDLp8GwC6M26IVi+dsuIFYLm/erKjTeM0SmPP6SIamgeY2DunJPQkAIjyVqUWc2rRthU91QQSPhrd0Z0xcF9qvkzX0J0NBld1x7Nbaq81qoAARnn0mM5dkFZl9gJmeYdoW464Ee+hfcXfyFAXBUGb+wlqstrPUkNW6WQs2RWJDuwVMFq3Np1g19lRlYSNyzTCMyNIdR5saEDMA/qKpV28Sf96oPpCeSTvkQZ8Voxc9NXcxPw/WK8W5u0uLhAd/m5g0XzrJA+Hb3lrJOowWivUB0ykLL1G9O2pienqo7w9EvABZurekjRQnRsI2TRHYdvcWCmMGcJhzV1KW82+LRnBLwPYJCQ3CSKF1ZdAKsO43wlkADfaWxY0H9SmQ/oEz4leBaCp2XERqAl6+d4++tPHr9BTqDUn75Dh3qm2mBpqrRVfUZKwF2He5ReIV+QoBtbU1HJC20rOy5A9yjA8DWyNU4UMZTmN/hCD1P95eVssvpch381aDDRoxjlGXYCgHJP/jeOrhXDmyHOaCNzqveOVgEy/ulVRYUPlKWZ2gcm0dJu8qGgLko1PGg9A+vWQt2NPvZRw6bnIQePg/kcJGqiNcDPJS6OyLGLqczpOeMQW47ur+ggETK23nx5ENlhq7Xt9vafoi4V+HahNJ5GMLiiC06EoH/k5hn1jJXU3MGM+9wU6qi2Y8UAx9cG1E0I279tCepJG1A048kjZron7uCXu7r7MzA9kWA/yq8ioGv6fXq5RFir8rBr3wO2rUmS9nJDw+Qm96XMR5h0IdKQ05AkFwSYeyT8jzsfADiFfw85tPQa02w0H+b1eVru7F9PJP9X5RM+V1vw/PwYcV5NHx/ZSzvJ8/zOT6Hi50SSgiLH2eZS3qctYmaUr98zDrYmY7JaRHN3XjkaYIimBnQs7tFzidvdniADPe4KEpD+ShTAB7zVTZqf87vXAh4dfSEGC99oc0066QwWx2OrqBugU3aDczAGtnBoOu0NoH9ljin7VsbUN31wEZvo7Uf+U0bX3V/7JbRmQ4uhIT6Q37GI4x4n+CtzwOWzNySEtzbJm5vKeZAa8Nugnov2jsxzvPJcymoyNoZwBbT0j76AWSKYE1VqgW5s16oYd4qABVK6IoRm5YLIY6RyK3zAb3x5K5vCa+OA1PIL1PmucTLqX6n3L3RclpMj0sNOUPsmVMf/2KZh0s3zmJr/pOADDl6obybNqT83pysxQuxAvmxDeQ9QU/od+lInq5a4rG1+A10otHBghhOuRQR3D888svYCo+Jj5A4m3IQHPlHtPIwfvSFXgiuYnDThjikUsU9ECQUtd1ZozafE1XeR7O9Pzj4yOk4PbNX/vUONtlSi3PXjjYlSD6guq0a14MRNhvXwt6+BmueYcniLqVbJGoxcmruGh1DGzs/zgMQCp7nd1Q+ACORvS7HNWZfE0EuC4oHb6BKst5c8wFrkG0/tMREpPn4o7SWf6APQAF/VGUpOvJ0BDql6o1rWiYXD5q6sM1JtmKgxqGzF6z1/Ssx+v85HF8tQU8ky7zs/RPn2CO7D4pmB44o1dTrdj0NGLc6LWtGVRetkTLPNamDlih13W3muY+M6mc3HcGlKMwL0hSnbhMnVQi/yU9QxCttwbGBini8vtQVi7jYVMJw0BAashN7vBtVB+I9N0Rb40pl6SLxfymaFWfMfZkVKYpBdaJElIM7NSy3CCqZFnC95yjTIQ57/oLCrSPAAg7u7K84gD5E0xcDeL/8v1U7AFem1+B3UcON5RrIxm7paDMvI5e4qks7DMkOKc6hgRQxVilc6G/ZUKggt945BD2o9VXq5ThKKWV+TPXe057bM6hJ8YNdRjbtIJVeQxUVFYZHL7oksgWALoxeVJrEJLykHtBJDBBcv9CyaklmcYNi1u5oUxDkN96XIWtqnVpEj3euJhJdKIdozdLEusadGH8poO77ATjx78onfjLf7R0zQR9lldoo/h9xwDIJF8M0N86FpdVppz8B6r72MLNnv9mi+BkGB7qbyGDNp+IISBkULPa9XxoOMLjHS7yRwm+ka5QqyqFIxxyQJhXvHEOWeHaKy73EFDJFR6uAhxbqR5rQ8GqHJ4W7tcT2pd7uo8ZcJV4+iJaTH46CpEbJVy4ylT79LMXuAMiRFo4uFJ/nCwhusk7Yq9zvuMC+ZeWwFttxYhU234pVp5czj/LTp6MquzpT5F/mLYbH64xDk+PDSj3ifiD5iFvwDX93obOsHCW83An1RRJW1pA1iJ439P0iy02fot51/6Yoz+HC7Qu7dMaswDYM53vM1Lq8lG7l9ZXWvTlFueIrO+8IVckfWsg0ybmFNLIZCy0q1d7vrkUg7Pa6FS8vHLxAcahNp3Lm1ajXlJjdKni4nhUfn1zErqdPz/YGdypN+l86+O2F5fSLDJOsQz6tHxgB7vl0ZY7e6PBN2t7DpqPDtG6y8+wwugJyr6HgQt2uT5ECtNOqx5cLt7EsZ4Mnq390Go1cBO3D0K9VxKcWP6lS0R1buSvcsbAPLH2OIO9voPIOEe6tVeridtaW6ZoaBJVdJHYqncpRVIfW9AKh2KpAXxQ9PjPcUX/D+FM2C1f5FDIZwWcGe5QxSroY7w1rLEW71NxCGy7J6XpZKD9OUYS37ta9/elTeQBj6egJyVw8wTMvGWcB7dP3qrIpF5JcyjkkWKT4N2FvG+E3NxF8YoHuNrU+cUyPmcqDFmA0Z4SKx47GBkldUAxNTauH++BGGrrky6zHM3aACI6yvJWpbGDxl3JbfRC7+nx7koSkJjb6q/jopvqA+KM+VzGdssupR5jLyrzvqZVjXwnqHO8bP8aIQ5V8bM6q5dYiM+v7nmtPMqcvZ/CLwygzgsE/z4mhNk+33AvhsjzWl5Y6m4hBxcYnTqRdjZDME9mjEe6OP96YYjc0LPImp5Zq7T7Hi58cQqkUTU8ZN9zw3+rQkkuLWQauyovtjcCMe3XKDVqcpV7Z5UInW0dnt19INCLbzEK3QTM+ZV6nd1BlsvUtZEOFWxw/fY49cJCd9eQeC2vooEXn1P7iBFv8hGEN2dzvlF4d2hIS8HThetG8zi2hNd0W9vZ78xeLJ1a82Wuav+GHzPJn5bUirhJlzw2eJbZDCDAoAtAq21RlMnCoZMxZEULJ1jU+tSlTBPP92XHWatgDngGz9xbV73LfsQIohF4hBE115rBIhIUSLbcNYSZwB5WWhYa3ytHkR4mGf7RNkDtVQhianz7TEXVfRCVqMR6rrpcHwXv2zkdXQAq8jsNrr5AJ0fB9X8cFnsWlMvGwrnxOp76P5OytbojuYI1YK1lhSvjESUb8sdQjYDyLKbR87zW8ahi0mkXk2CMOEc4p/luz4uHjIgrEfC9uxXLN70sh+GDeQ6Zo274pnqhPUGpysZv7QimsBM8rn9eG8T/OBifRgKweak0ERSibNMMAlHCpEUrDXIekkqImMdqI2dy10h2ojYsaXjL//1zGuUI6vXy5MdCYSImuPRu50eZA8kRc1lYoblhW8w6j7SkOWi3GRLIvmH2RGWF4W0Wz+hkfOG5sRkTqR05qtfC4wi4tItx4fioFlGrjg9FG7OYsQdATMWdNmd7PRqRSYAR6DLWJqbmoAVzFW/yLUAiFncIpxWvO7yjLlXXpYhSCMTTEvW8pfCeihSLQjrVDc/cnXpcIhx/2eVq6NJJNtYU7+a1xI/K86SjOkUSyfqe6d+b3JYBtSfpt7pB9YSTsQMKO5HnITA7kp87KHH3jUTkPdG9hWbfBJe4n6Cij19sQzP3sg6kF5Tkq6b0on5uNdtZH150PDqpl/E6aeNPqncI5lppZYBcoMdLZnN1tP5YrXNYpFGsbJfeiI3CKeC5m1LRxJ965Vd095xcwkoa5/oIrsIZVGS5H+d6WzlEXto1TCnWxNmXR0am4oBWfo/XGK/S5hoomdJBuk5S7PyIhyaeguVyLmsKdp/JHZv+6zrtmOiMpBRCZuP7ZIFKxlbOhBYBb8ufbyx4rNXEOLZs0Zk21OIhUjQKfDGOiIRGbe7oHqm28h6ZXgULYVtEp4HFk32mpb3U1bVwmQZO+tryyJOwwgrsj0yJvxFZBQJT4hJXHlznEjmwqy5sbmPYAOw0scmEmYxWOvqAwbHWDfMLKn7xOXunQUH8cA0iIBK2r+19orF9geXG3K6r7ey1HsxP1/kMset+/6QKGnV9o3NeJNT4fox5Okj+fXeCDmsgBcB2R6tMjS2L7CHdEOV3Fy3FobWXhSy/iAIAOkPTJPCyET/Eum0wMCGzi9HCfdBiELOzHpvEYafgWD3LUSwkbzvXsM6bhp/88uhs8tD5chNs9hhJ+7VXWxxWBXzVQ2JYtE0NVsybt2cbkBQXGmS8XVC4KeicppF2AeTRmgybIECrxvSEWSzhGRvF7pMcWlXpWuOLZLLz/lN89Z5iVaT+nLJozX0WM0bbbw9Qh3g8mURZKyL/h9cahiOSNI/9t5n9DSnpGsQgpMmGfmr8DkS700ijAid+KNSDTVUmvh9LQz9xvh58H5rUTQsiZ57P+ad19J3RTWSIc3U1XeAhAqoIupoaj50BsSb9mjN2zoFf/wP/IOJizzCxz9whPPiaxjtsjWb/414SW4uh3Anf9OwV4hF7KQu5YPWhbA88idI44VWnysDZIvdSWj6bgIqEz0ixiRKnMTnAxOz88x38d2l0dRlYEBWbzwjJWqq9Bu2CYAQIwNPdeRCRMj7n6ggnmyE8QMY1Njr7bvL36dmFBhhyxiMEBqIUxpALWncWTt5eXDBjT4zUUw1eQlJYpd/wjB0ef5Lq8WqMwPkZB3m9XpeVg+yehozcx2S6TH0xro+WnRrYRc98a+onEhTRwKD+WiRYnfa9pK9uy+Be496NAWZ6mZLBjPbGqSK2X01RQp4KEp6aL3dBiuoxQiTIZGPapyLhBdTPDuSycY2yyxDaYbarClO7RbyaFxcpu4LujkuhhtUwS4G1zjhTYyvCsgM/FVs8Fk90xORLHTJeVm5E4uRkIFxvoVN3U0qjNbBzkKK2+czZ+yUbYNYBTztZHzew/Qj6gjBcMX4tSMoZk/OsAzw3tbBh+hFKQga8AKRjgO1SjX+POBEbalq9TTuhtCN1JLzmp70Wt7qmFXp7YTXyoCqAWcfewwQ1Zi+sM6hzMKD/wLrEG2ieFBM5hbEtRqAgTlDTZ7n2PSlYdBtk0JZ+STVZIavezgt2vSMsyyHfhvWTn5cVbHzJDlElY8aMWiYxs9LyJuiyuI+kyN6oVJxeMA8rkx2i6mM+Wj7EocFC6RfldVwz1/Ch6eV4MViVCKXo1Ub6ynIFbneENgNnSCYS40/Pb88VRv7qu7IYeiv6JeBmogZBdJ7I2L5aZDDXPIjJupCmwtPmQ7RUtvhaW5hoqU0DVJRPyDSStWgeA8Xcl1syiyrEH6ufwfv5ENoC/Nx5sdbgSTlzXLJu4tyzl7Q4l1wlz2L7x1qaqVdbsXIH2Zhr8jU7e28E9RuQ4M0dqUwXxuAhDW0XlORsgf/GX8WpaQ+heQyyqWWem1lyUd1CEGg6BIbI7e4AojAJVFDYgCHtUFIv0U/vkt3qz2A8oEfoHOoYl0eGLot4LbrcXTCUP72ZEHQB/+r4yVNl0mCW35J1HmoQQ52zy7Sp+y8xpkQgTR+biiLz5PnCRM93FUmY/6qppYbi+FRM+o5xvZpBomTNZ6TjoqLcDO81GWoKRkN5I+yGmLAQ4Newc31kHXqaGXM51n0OyPEUf6NVxcDdjMtEo+BBE3AWWa4vSNnZ4Wz+I7/Cq7F7Ovfvib/AXy0pdzuI9oYBU1FsIWzrvkH31wpA9wq9Vk/JNQSatytMe9SnHXt9BQ6EwcjcfiFFSN4BW1EyzFncO11UdIxEhlAfCsTSH4m862gi6Q8CWGdfWe3KP7TlgBKfAO5IIq2WovpHSV0fWdDbq/qLvUk8cYzP3byXfBZzlTD6gUxSNYGh4ZdA7azJmUZQeA0JUJPqy3ot5S5LFPtcL6f0N4Fi3q6mfzmG18ZkXsn4iVZwSm/C+fKTvh/Rk5Bi5pHSqJBaz0r4X38bw4ysdoRVS8zS+cS6m0druDwLuoyb8n530OIHz3AzZblZVbLGmD04XnEagHYUGs+LoehbMQsz68Y61E8Ha966KQIjIUwnxXY/6aPHZTztz0I6o2TpBj/wYAg936cAbwbJW4SEuLwz/o/RI8JvDfwcDU8tMHDRsoy8Btb9X/eHDHZt5GDsX8bDD+DsHqxwGbE6LGPdPm+0oarUDKLeVtU7NGr/mjKSKk8yDNqLyZzNv3uhr4p/Zq8BpUNCUc/KvbtkR5WS3u0DhGsHXgr/P97pAgiDQuIz5SIXpxMKbV4xGaQAZpNhd6HpBpPk26UCyWaXsbHydBLsEmGccKpYlib6nr0rdB1OgnP4Bo7l0MEOmAMJ/CFIern1qcLz+YmmmMBHaRr8ZjeeIoXq+Yp4w7pLi/bgegu50o9qitE2Phem1lBgYC1uG5Ghy3sLuwPjEUs5GUW9TqsLpfHr+VL1YoL9Dh7mZJLxMfeLskzoUQU6kdqQDM7OStJ5lvUJ4KAcJQvTpHG7ImpSbB/d9ea5Je5k0EKuzstuUo7rXSuu6NqLsI6ZFFmWHLpNotUYatWGvbSRKWtPCKcUj8/IrgNEBtF56E5z9m2o554+1EtjMW72Uf2/S37IDVMV24ThWr04Rju2XOZHBt9tIqirwdiPzjJkugDxmYMz+7bG2WpunFE+JI7Nrqy0z/mYF7sKFC5JY+vXm9Ucpy9VylWkC2sXx9xE566QjmdkzZhmFHM+OJyZz3C/L96+g9lPSmGf9uE8rBgzPDNpdevIXUJvSrTF9QWchUDyEj2tQ2DJPjkmGyzFoOBND2OELUFpudJ7DzwLmxjrvSZuBbTcZ+3/6uiQ6RBJ5qhcYb1mrI1rwOjaLJukuMOjRctwKDZfnMTldsTHi4L2OiHFkftcSZ2t4d6aJM/+SaA7mEDq9Y7VlZX3g1zc/TCmM2WgqU7rztT6x1YxsT1M6xwd7p3N9ZguTMKlFuQ/ZXUUiZRAQYJTO0mwpyyiqQJ+s6YiCjw2X3W9ZuJ3nx7Q23Qdeqi5NVGUIP6Jedum49enVptTnjO7WIc2IMQWhjsEpazVgNbYIBxGa+e1G6YJ1vIXeOXF+LQv8e7jSXAozHT3gBOU8UNO5EtSmDIDaZyL3o3MeRBCvSg8b2V5V7ZyhVIIkw+7aN+Gr6upseIYLaipqF88hIe4m6URBjR55Nue4eEJO6EmtSXsQmmBmUfj4i3/d0NgUBfuK7YgcSIBEtaLODDNu9DrNHnfjEGMENbzy8oCYlb6r5TI2bPB4fWbCe2zcVA8v2I+DDdG/X9I1JX3V4GwW7xzcM4/Z8nZ5asQdxTKFupJeFNYGNLg+Aec5AFkKiM+wHci72N+T+oO2eEa2yni1IyuCd0z7TJrjLcHAZbHAkH659m8YAj1Qvo4FlLRwZ0b0zBLLNSrsCd+2GGsgyEdw0YTGa/c6zNdm2P7rfoG0v/pdUbIxRVJ60db3CgDfvSQVUrojovHoGFJmHiplYLFWXy9LuH9QCLJJs66VgG2QfaU8s+Uq/yQs/FDBIOmmyyfmhXwNli0eM52RlMzgoAcSBlaItXiw7TRYjtVXLcN8XdSN7tGZPkzG8NaR421OheW5VUFObbsZsauvFIbZejwQP68iwxGxVoITv77W0GTI7Ys1WOmyNgoLh4jvlUMkjGZKBcOlzF/3U9zRLqCvj5MxBLH8MogGTm1MB9uGiO9cvwtuLG+fbEejecp3ZtdyiGStEl3YtA3hA74N9tahW0KmoxAcHSGOWHAqXpmUf9eRig402SXotqjXYeXWwiZ5f31QPosFk1lN2z/IbkVWoSrqLb5EBXeuHj4USgcoAzfQtn/m7I8cYo4aU17wNm2ZUiPo8siIzgGO1WZuKMzF8Jdv/A9W8zfr47keXdoLJPUJfIj8g8lyhxSdp8AbqqS7iAnmDGeVPra+XAqx/UaknVqUiu1mX14FHFd9n5nhma2eRs5f/I2B0JlVABEapA4YwBJymVynom761YWX0F3ffYDEhGGk/H8KD6AH1cSWaT6c5hJrbQEF0bffeSnJHiUcN0R+yAJwVGsHuDg7X/8KwlpOS77UIbpg7E25fDJcJHtsUzg4I8xdtvpNu0ahboA8kF53g1HhDvzHd3XESiX+HP1hgCwqajeyULnGuh1e9cnDPlEXGqtZms2xNstmJPrOlF5YX9NMZlEjoVvDGCvuMOukUKGY8EKR5vBQxJbvRmuYd2+ZqmnsXtdPpWJqepY8W0efoJmcIEWOxA0mXwq7XcSDTMC7ThzZ5WyfFEBqTbocIKxB1+cabBiYdvoshym/VUe2P3fdZcI57GdvK9uRB0TfB0G+ETxlMoNGQo6Ma2YLHrvsIAh2rK+WqSbaHDdtwVpI6fXlFjywXkvlObBxUin5GWbkvroaPx2NDjJqnKw2wACCj7kvXzqFzDihCo0mYXawyb/FAgDpa4JyEZhS+pd3OJY9UNy1qQkUwN1PkTtL3wtlUB2HIBA9ItMkWB5aWc1SXmUve6HPQNNvS4qYKoSAaBej08eglBldK/k0kisDt6zcEiKx7148tFxDv5Uj13/rVr6dFD8h8Qa+PMtKwYIF+QNcHaXj+FDLKkthKoHZZM7hTaTLtRGVK5v2jZUShQylmnZCw5L6HQ20+QKgdL4RgCShwmq0gL8BNqDIkQlWicrh00UbRb9UfgU12eRBMClfeYM5G5u09RpT/DFK4w/4gZ77u4aoB+ea9bc+1CUY/iK54G+lJ/XD1k/ad4q8nJkHbrs5qMlLBPdtZkPHkxBpd1OjgikPk/yjHnTUu9bARKoQ6OBD43o9Lyaegz2iWlbalj0suDY+2ghngvRfpRhezAc+ARc+L+hXpCGC+VlPIiYyEuYwYuKQ3jARJ1eJ9FRt9z27AxkVsqVmvWtMyhPG+Gz+nq9xOhqJO1IMD685FFUN+8gl02RjdJl+wWeNO793zDZMbCJuytV+xd2mzMBthAH3xQFQlBgOJuNT2XchwmkX3qmSONp5jU3KjmU4u43GbCjQcmQuYH8dnwbXliEQ2Syv31Gk1egrddu3smvNfbkO5FVjjJxU1YA9jPyGPx5CbChbGV8IAP4PU5WOy4hYMm2adL5SToUv1r+9Xo/lytUwXY75tiTeFdP26xYJFRMF4fCW3+v9b5E7KWr4fUmcwrq356PiAKjBCp/SK6EtQKmPyb8aynY4btHmpq9e4onc7eqShewpHhfSK5hW7OLCYunikK3Gf0ktJJ1/AWkEUKyoIck7Bwjogww9/2/XTjVaJX1XxsAcw/jBMxN5H96GKxg/2gM5zPK3Qfkzoq7CTlkb1BxR/2FRJdb6M+qxGLdiRMjy5mJA4N32udIMbt962rhB0HyHFybfoIkGoWhkeWIv60BrbECGgLUPEZgMnPYq9TXOcv+KTYqyaD0cxMM5sYV3V2I2J3yo3L9G/cDSom3hj3whJ3NYn8/e/nCwiqZ1KifL9ySZk49xAi3hckbgampB2ONkDwy8/1iJbV4bGU3XO9agwQxsOh9Vd71iSvPSDA8b9hig5iBAz91AXSRpVjkSWb2+d2G+7GvJLsICxx6BMKl4TLw0sol7BQhkPkL1jVyt+h5fQmoiubXXs6IONGVUIGpVtcVPbBXtITdd5kSE9OLZb2mRNGmkWrLDWjkGqdrGqXB+GMHYzsXC7urzDbkRBhv8paNhViNVK7juu1AT1xSCGCidZgAlA+xu7o/aEkTxQ6XteUHra8TPaEfzgGHi840riSw86yaYb+CbTtfNwVElWgooJMpMv3xFoo3jo99OFAAVtyIAw9R40pnTTAMb59AIUIRBonPf++30p4DJSsuj9rvzj1Rty8JUlG566V1iCzJmq4xP6tou5M0eKq9XDwJjnG38DCtsUemJDfEyHdhNcqvR0e0TD8SgCCHHSBG+a+8L+DxRh+0/Tu9rpj5OXN0TFEKqVx3TsqTsxaecY31502vDzfPhDVCMJrUzTEBXD7ovX4JtGWEtnRMMlAnzvOfy0amy8YBAtrLTZIAI1RwoVjN/RVrR8m3QY5ses7lACo4UYo7IADq/uTmpmrX9dE1DdjFfzuOy4P+Xlu11ww07fCsEYQWeXTE+wAobrWcq5CBEBnC39tQ5uv2Xf34UL0jcgJGyKmnRo+0iDW4nlmfm6UxMzy7nR9BrDd3GWLI/clJjbnSDrG9bDi3yEvv1/mn1u7wjK2Sf8Eg2CxShAuKNuhQ3Xt38SNbB1LqMM4/1WgYYm2M9lstq4+wnhRbUPpczE5EQ29nPHc8HiTW2u2sQzPhAgUHz/LZ31Hw/jW7vE7iiRkctQ6H6xEvIBhX3WEaiirVvzenoRSHAj8/Y4jCoSUvh/KhC6RozTeTW0g2XU7q99O6sXAj/a8hJpetJgOrBc1x5tV7OyAsndOwKRBqSHnVuzheBYaxIejHpQx0aAP9PtIDmowKMBmqq3AjiiaX+JZvZX4sJKNpKHy2lvGJ67NrxcefLf6E1+KiZMRtVXYcL4YvsFkCFH2N/hZxS08Ot5JSh0IB+65OO22ABzbfuu0DgIRApK2K8nfLpwOKLcvUOUOeDZRtqK2jJV66PaFzVtwA0gCr5nKLnXQXAml3nJ3lwYVIT7aUylNgDXcWsrGE0PZ11dOhWYf1HpMH3HbX6F1GEt/czzImZJEWweddfUBNuETWLJnHq89LAa669Ztnp50JGvJ77K/kbxHceOWQDcBH83s1wNAK9HSm1pXvwzC0vMa6tH5sV8KFulwHcFXhwmF0fsNWVsfEPW4yx38leZHRpRuMTcqvduA2w2akG0pjy8IMN20x9Kpu0aOmN8rkAMPwjI2iaGDBl9ya9zuWdkJiyhPi7PKRpH3md/ySh8IqkpPdIcZvgpIsxyr0IIGRnzLnTG09YGgJhA0J2HEDNl6riFmk+sz+9FQ+u+uA5FEfnCobRfsi/r4mlici392jtIMEd0UmHU8XCWOFIP/51H6wPA5nB1iHUK0GLlT5djrS1xB+RJl9tTpbFbx5hnSn+A4RLd3Fsc4kc4Nnmt3T9cGSGh9OK614vm9Sjo3RF+Ukssm0OYVT4C0Pg6i+jLMi5tyU2Rau5cwv90UhT2HPo1GuAbl6RRQiCWTKnOJjVomh8ZTg96QuZXGDnxhMe4VTQSS3N2dLiQ+gxt9rO3hisC0iHnP3Ju+fujCV0IK7JJKrp7Dk+AD2ilkWHvSbQfVupFOCkjagKqjPFUc9wzHqYEMCDyVzebAjHOXKpVclNOSpJ4Y6UhJw49ssR6IydXZ4jMOFWEvswJMWKkSjeAtMKo9csTxCCiBEm0H+UoC/K1gtewXNzDCvyV6+h97n0LIq0S4U+jZ2jRZC6nvyfERey0GzrEKS03yHtdOP8BoyU2LU2ONyDbBIHcT0Cs+yhs9kSraADbRed4aC9BxBL0eE8JpYMPT0AEBYhCFcJwMzm17n/Syl7eiCCKFv9bmW0VMFq60LgMySjp+7N4VuI2UXWKEBQMBIv2rQl27scXR36mK/JMPkNSBZCErLPUzPu20pQH3f+xQTdc1RD/5t/q6AqmS8M3Ty843MEfezudAOS0hBKiINvJ93beGEbaUNOFdxIhtDn32SH8D1yo2+ixIKw7Y+Lu4TYpigDN/9sU5eFbRUCkeOY4pDmrCV/VZwvsbKj5zXy/jlv6anvjoNWfsb5c6Grl09IRp6EpYcMF4jCCFVxhvYstBvPC2An97bWKGB+XTx6+KHlfIuERqNzyJdL/226Vxcbr/4158/FnxT5A0bkXNFeiI9srP2rxvnU+cT8ahEEpStzSLeQdpw3oEGSPvRJxQWJERODcoCd8WDinM5utTMtz6h5zYF9xKrOtvGsLlF5bIQMTPnveh/rEMJ2tmrKelJo1xo5tYjVtiVcR1TU8b7YAIwpnheeaWKALyo5ghYDYPx4rI8Y4wcp1GaoWgjUjQyWsjLh2Z1hhRnD+9KfW4sgdViLNLZJKz/18hStiCPdQVUVWsN6qft6w0n6YaUIw7cJEgviAbQ0yL+Cx4M+DVOvl3FpvT/MuediS3GVG1/EwdnPJrn1MHvKr24T83VZH+FTyqy253W57j1Avf44uwS2nmeiO28WefypOdwEmd68DXzYQSu+5vkOF+KF1HghnDkY6y0DsQWt0Xyeu474mApWoxGrInT7kbEd/QSDxht7ICLytsh8TNL3Xhhb0Cb1JEQjz/jhEH/O/hAn6SPc7TY+sYnX2vDpZMT3dY94RFrJLeA8baVNevKqqa2+f78wlbY4XG2Wmsl1M+3kK4nzeLXy036ieDigeoaO5CujSWHqYo3Is+q+HL5YtmM9wvZgs6Fld/nG5cUzmc6K4JS9+uGUKgDgYDpqwKIrZtITVvt5abudlK8linDYJxagkrSoLS+ahmVoyzxy4DhY/sOVj+DJWJ729U5UxBXcwyQisYPDnSJOtLB338O4wOjy1zSpWVg6gCwwAnAxOBslnWNRtQlkkPIhX8X7psNf/wtJbKd6jlT3teAEAYuELe5SOuESrssNX6rqFO0XcL7xxLSyL6QiWFjOx8cFADgdrwcllvxvXk1dRiDDk3yHaGhkpQ0I2sCAiwoXEc+komTeJ7uCs965TuxS9TuFZ92b9d6LyvlyP6cU8obd1MxNvtx9ndoztnpp9J1k9llFppgcCOi7T98V4LoxE/Vn/Yft2eauRaA4Yo+XkqLgVRQNQCOit4uLPc9orBDFnDcR5ytHfwlX52y7KAoAuuYy/FVhAUzkM67syGs9Q73xhXZ26tr3BNl4UQcjvkq1x6zgefDpSLEe2pxgL/xoWslJlpz3byiXxntRikL19PTaJi0/XSQY3HNiC1sY4k1BusfvN6LLD72xCh6XH4JU4ByyNtJpsNIdU0QR4IR7PY31UYyiG0DYr/PaGztM+gXrbRyM3KMR1K/ZQuLje91pBkgUdOh8/5h5S5OYJ1i0y5+UNh8MBUxyzDqWka4s4DK0DXYvVdufgSwDStEb8RGWGgtFFHIkCswCtNLZSaSvQ+upMSI5nJAF3YOG0zhPP1kjt6TJ3ThDailajYtL5xA5tsHbgxXLVxhB+TmBifJ0HuBjmu24XGOscwvuttscUnn5ro4C73iz/YyCsROUZVAfKocRsZhvNmaRyyAdBhVYBjO30U/NdhmSNESQ6Y9yvM+HouamVfZODN57nva2qSVKZ1IOVTR5/SI4N2VrbcEXXRPpPd7g5uo7JpTcvI3lR64oMUWtJP+2v88wswuHm2CKzICBdX80qFklYGmdYmNDyhIpItndErgfzoC5QawyNXafx21vtxWD8GZNFai0l+NZs8k+EjTFTDiLKPPiI1dgcxL0LxhgcRI9+BUJekpo2RMBLX9CpYGCqIuESHV0wuIB8XT5hpwdmCaLwuoGXvL4CqUa7c82KQXWoWeWFiQUvRpDwJeuqDgL5cYmEZox8Fo8GhmXYAEnFO1VSmn7IJTC3lOeQUVFzhJEW2ErPNDqQ12D5Iq4uOOwErXNceqvg9qnWJzvZoM1CVeQ9JIKeMJtfGY7B4lOXn5DHh1ILEzxwPmEhh0dBVaMIPyUHuFQtWEFZ/NjfkQ81iIRkocTF+VGbAs3XYaCDq0ZvOGwG9EkK7kVfx27JIZ1rBaz4RBQeOryX+6VCxAIANVdsxAca0n7RaGYJVB2nkNza8FvsPcmuduRspivguoLhMLDbtHJM3RJplF3cDrQXDJvISCATHsotkra5+qQUswG1R75qepHyxhW2WmfB1ZWI28DzrkruFYWAQcxdH1+aae2mgl3WaPNPcBt+Hicac3EeFnnIyQocGGBQCatr21FCJUnsq0enWqomytJWy+sM7fcJbeBIu/5hNY9rLvxmEeb9EcAf2LVSFiPWNf4UybRYxFjCAbRgo3Zg/D5Yh11+kXfBxCwQb1VJZd4PpDX87x/PrEg9MwXJ+iGNyCG24BBGY8dTMt1aTRdIB2FDS5luwhDjfXJyb3ciQ5TsNElOff4FKGqcUDjGHpdKfVDZ57M7AzjZxmm2oDtsIKCb18DkZ/JZiZLyMU4gO1wkiMb3UqsxDPP1LYqOFRK64afXTkKKG35bS0o/Hmf1+3R9sv5UIbT+WlmVATP9QXlIy/OpHbUXGB80SqQpactZGEaWasYE2iODrtWFiyMogbB8rlrMni5GY1esYjm8kFkMyaHeEUUvEZNUPIZzEYLErNptzXhFjLG9z4ShlGfxhqTzouSLllA51Ujmm7YYvCFqPQO6FTmxBH6XzgMrN9HfPa0h8n1AnRQ+qKtCRd1bgAIJIktg81tk19v4/3BpcEHOE2PmyYao1Dpl0GMBhRYuqDH4rsGw99JBwqYzec5eb09APSnC6dre1JTb6mp1DKfLVQq2jJkLgodGc1WR5G2cuIFg+opsdv0LMn0ZWJOVDmpCfzIMsouxUNY5D5ZZK/mg+GBOYFiw9E+PhSf5VaA0dWG80EWl9pDRQZ6p33SqUoWUHTp7TVE5lYRFJabcDQbVGbOsxkATshNR3/DufBp1YkNpYgtSg+o7OjOHXULJ2gKGR+mlN+bR9Ew+nRTy7LmchvIVd15rkUjDMw08rQT69z+HMnSjWKEM7A5oucqxeGoKIdRbjfccn+DHDncRUse6gRPHf9VsdbxldAIlbAKqNTVc1C/PD5FL4LqHU/MlYwrfNZ3G8Y0/jjsoUFaJR0bGflE0ZUVKuIJerYQuTl1sUvG31aiWyQaf3sw6CDUSJHae9hhKNRsVCn+QXa57cNLDw1jvHylhPH1QgDzUTIYPFw1Oj8Kcinw0fWKoc0sbMonvUTQwtRay49LnIfdrtLygMH67nM8MNxFwvPcmmxpnjdNKQE1G/HYG/1a4jDIktKfMWDB899UlbErpZexJ9Qrb3CzH4cxeGxM/4Ubyvs6aRVQErQipNl8nT2j8nbFu4MjMcYI6TwrUDj8SgE8UtPiLQutV5onzFHOXQp32X2LIVFM1kVm6h1wmstHqpcQd2xPtHn0qnyuJBIqqrg+xc/q0d4nnGgvXq4RPOZzS6cnlDShURLQpCLN22wYD3FwLQM+vOufJPDdqj1tsaCeSRDv4ABeYkOHRsdbk0Jcgk85+Kidu6JS1J4sYFpOfykIF0fHB0msp8jr5Dc5/cZOIph5O0xsuBFqXYxxShe1WTp13Ray3pAQzk0qpckjOsO6OelckeL7yMNvtJRhdc389SaD98adFishdWIJ9uvT8U2ptH1JoP/VVMZyulPEZHM6Ph4DaJmrNE5vBKdpkl+PrAqo9TOIfzx01p0XJQ8xk2+F1gjfpX8ngzH4JGapxuCxQF7vdZPPT79gv0nmSIEmTOt3hn/+a6aSbAo9cfxUxI7FOW+ATMCNQL8NaHzc4N+JAOC+ZTK8ubrdpi8pATj27xtNB5rjR4x8t/9wz29t2Juo9jIkwZhmHCQSxgzaBU0aVOHgKOomDbKRjo8gIE4efLuvVPrhNfMm2GCKGYC6nYj9DTNbWSH+MEZzymN2QRkuuxaSYpq757G58Q2sJy+0ZZeFGIlMAVS4wpJ6QEplhJ1Zamqm5AWHA7vROFhAVyn7PcRUmnaVA+aAnxQma5uwCByEH7X9D0Pzaa0tiqjGnzr4Uogh+vAEAlaIbOuI6tE0PEmEREZMvIrefhKi2ztDu8gU0eanf3jpdfElr+jG0ol0698X44pzN5zcqDmvpOOZtrPy6uW8cNdpXDKKIKLJy8zPJ3jf4l3lE1DmpKU1M8pRCKusX68kaWgdMh1DhGezSmQ0oYUuwWpwEKXyxqdfo+NayhbIuzJoQ1xM8tp4apGL9CEgkKK7lKsATCtjmxI24mE7TwTKZMflv/bNI62MWJjLaqELlzFyibhNVs9fvzf5a/Bkw4yOl0ckcs1QFhybvDdOHKx/2N3P2/NgJOksKj5IBEk1XUb4UgnrYWPtJs57TFyjBrLxzD48u/xnp1YNP3TL/mbpUmPN95fPk7ClUnJBWBhb7cX0RkOIl7/Di9reK7UGMncKQkpVKifieXXROJlPPkXODvvDqD5bqdyi1ilntk7pEk4/dvEhY0SkWHJFpTJp+eAW61RMzR9aIdaGPbg+UWwhWgvkIKVI5FCIDk4Rwc6Uj+AOqK9GsTg9lzO4IuheXFIOPteSMp7OVvpNOoG8Kd7p063FdDlMqlSabUXKFwHnS682t3C8kIBp4azVlrQ7qIUSG9SR6gFSs0aAqMgetYP1Ruj8aJ5iHiZbsLk6u5lUub6BXB/5d6J98S0ipGyHXoLLYaPlxvC7MvHrUumyfWuIRWL6uuP0ILZYV3fq9qDbk5zCwPSnLmu0awtilreFttGK74wsShi9hf37aYnNDPsLmrhmraVDaXM82ingwfIVlEovJ1tsScUT214sT9Q9+46LoJgGuirVYarzLKA4uHO+K/mX3CPtKLOK+GJdigm274PoJERx5IuJ2rlhfFCudWKMDhHixnZ5HTcbKisvmJQsd62vhLzc5/lbFz6j8g6/kokROPEqWWXnhJGbQke/+vFRzFe22ZIIb1rqJB1cRzdzTIxoFLiG9DKWUWY+iWLQnq4qZSpuAnA8tto2hqRtpxgxO3rizpHte2TDKCNLlx6KMVWcx5oDT9d8ZA5Cp/iCxLAp1NNt4tW3RQHFBwDCswXVUMSR9mZGmlLvkUXqhsl2aBIXm4/PqxbWfqXYAyI/aQj3ZVnkyE/YNHMBOjnoWQu+az3uZl3empqWnDuCT3WS2ImN3Vs2bBwwIrORXdOXINMQaa7joKN9l724ygdRF+hg3h7D9o6mJLokTXdT5b/F/8wEgD0IrZZeqo1/ywY6lOReH3tBDkpggjbl8U0asK6CHUGyM20o+kmGbz3KYG5fsew2OOwLSRZCA08mH5aFfBmWBxHgSgi/7GXd/GG9nWMydb1qswMG6J4BYxa++w7qp2DtBpE7JQ4B+pUdhBNyyxjRV8o1jQ01lWAii3Ay+stThHfkpdk7bq9XXGC3AkBYxP+03LeR9l7sKs5MNjboGQUWQsZIKQod7zyG8TAKNa+d3NSzYXziLROh+PfPgxFD9xT7CchfAefxFRcb9qnxQ+6a8fv1F6R2+uM2t/dqJ7YMMWJmKmx9TE2gtu0neyftuAUfTd6nLbJPzZzkFrCML3KMCynbaHCz4rbweRDsXhcJBQd/TAnUiEpFYEDoP6Talsnr7aQsQPJGcoNq+vTS8sVoA9Ox0+66Ok3hnvwrPpNwKRz+7WQgsB5txjaoAcnGSgwGZulq+R1w/0DkOEc9R04C2Tu8SxOFqPBBtiLbZD7Qa8m3THw6KJRvqeTTznh+lA014u6Y8ugt7MEuyNTkFB9tVsvMeT6/df4AR7LF3yqKkdpSAT9BCzz7kTmnujrNAkXSi9ijBjSRKq8f5Iq+NJk40Fh/to8qUMqxot8L1XEjvzOEL0ud/TrDP84CGqq701PUIOd6BZ3gIf6IlXXUohBM9YgZqOjpxsvO70TUahMLugvTDiRQADg6gkEHcdbjWZIzowvcaTEj4YL6hxcMBWTYtQyjuXd0oi997ZnYiI8vw/nDVJFJwCMv60LiLhUzBvrWCYikaF6kIe25VPJlozPN1dFoCE0LnoU+EwRl6lGMyLYvgjb/Hpi6ODy0tqHd4HWL48dheRbhBJho9D6kUbtQIVjeMHQp1v8sCwLhiqLvpfOdxkDQKfs3OeLuEiwnnYbAWQZ0uU0OZPJqf5mrdU8MHN9nE/0nSDDv29pEnLsoKI1Lawj/rTUiVbIkaxlquU1G70VQ/4n2eh3+P7V2QMvf1ouu3YxIMtsGHTakyzeZ3NB17bhx7e9LfqjsalczZ52nxp/o6ycGBULov3Ex9JOYQyRYNDENJRM5EljkWL4Qyx1klzMqjZXIM/G9xpvvIaYzFQAZo4TEqw5DjG88VvNFH03yPggXGdDcsgO8X49QRaTQ+xiDycT7fdY1t75UA6y8o/2LBu68izR9Ev1NgePIy6zMViiCOqwa4DDWyQRF/A4lePgVgN8JgSLx9/G3NrMpKVuxsRQbJOMHgQCyxOB28RE3MvWFfNj7dXNOIizL5HZtEfBztvHJK735FQc6K7R04vQf3JK1c0ZdR0xJ11KwfND0aekfI/Tec6J8CO0ekmy3c11fZSSJ5crzL4FOYx4habzLpBaKSqNBzhTI3aensPKrwU2DlsO3o4aWHoK5keDb5VHB/noy3TXcvFA8gry0ywmGkKJpwQTWNXxKBuQSLVFn9sFJNQ/Tzx2HjdYc7kTKEYVa7NvkBQ08JeQLBaHgpINDW1aBTx5YEA9FhabnBTGcHYjwbjW3SoYxX1YEw4AmQ51Y8j+OP/grhU2cyo/4HqBZ4bdAeSxZxI7Whrw27+3P6AvrlCquJzlk+xa7W4k5KpuJU1vaMee1YfnOVf/zRcdOMfVtK97+EVHL0LxoFKE6+7WiFB5P8jI4E4Uoiz6J2G/OupBnQPDu6ACMDGIYnEo8fqXZVjwy//fZnMu9dvKB5escRQK3gmQk/brNOjwhNEXgoxQbQXjnRi0yYwCUYJ+XrTixRMeS4dS61ZKpy+iw/y3eI0/QmESO2wZRF7WTcS06K5BLoxJnMzNkQoYm5i95GdwGBKc1zZHvj4D9PQ5gf8bHll3elwW/k8vRENYULhbfazBju57yAPw52crXVRLOSLXZSQFzutc8pFk/98p6GYF21VwyUnfXP5KDbDuklkn5RWVeVwKPPBAc28yDgADCcK8MB2IekojWMaMS2tujpVP7BDA1bWmMcetkAVsa+RMhersH18nyjuNDky+wRupuU7lOm8zQ2cC/E+mwj9CnzgFycfHSy0Zlr0Ip7Gy9tcmSsYmHMEfznK3zBGAKMfmuMYAadULi55eKVDZ7nXaTr8Zuj8By6bWpFBIuDP4vm2jOeEXcLWVNQ3kznz0tsAy/mstfsn1OvW8UCrpuBWz9+QTkrc9koLUl7omXWN3FQST6h9fTVvu+Mfej8DsCUB50Skp1EFWGkDTJPuJyl+HBn0lnIfzndaZqqfiakAyfhEYUSaowJ1YBNvlajlIsVl0vSZIIhHog+absmcRkSOkzDro1DjtJL+Imw0ysckuvJfQLOHnsthilNgJ7be+rmtN9Mz7VQ655nDzDUauxgx733RITmZbF5CzNDH1Nfa0OIxDhSC+opjWpdLcl+DCvHUuNVux/N1PqTo0qthlFQR4nfbalYoQF8gpEpOU+jx4VNAS9X1P+xkfL9lNuc6DoyeoZL1Odd4EEmk7COlzNcsqQeyED7c3fvXYL2wpHWQQ9mZSdQcstfe467TnvbEuq8m+U3TRf4EJWff6pvUGHqg+QMU7d+eaOQNXBkpihCDPiUrtF0smuv/nqrlH0UKFNIENBNjKbEWu8HEevXzYbkEG7KZmQVd29xgdbo9CMyHQ6r4xcno3E3DeDJxwFQ91yr85FafgCI9N/+8dRVhgZFa98x4OcuhcLM0X8jmvZbbDl63OtqJwWHgkleJi1mAS9GKw8MWqRHM1EaUFR1s/U0S+VmugUzXrs4xmqoDbyiKPoYTqfls+oc0xfsyIUuLpsGpNzdo8TdBh0C/ekFRHlSMSiYEPANcpRbVj7L6zDmTX9ZKUsatFMGAszLZ6ADw0NHGzUbp80CKqkfhUSuFkcanPSB9BByl5W/M4NIHKvCWAsMtZN9RnSr4oeGI+SL3J4Q0ZfNGRv8ALxWuwxah87KBfP4xind1UML36P71sn6Gys4VNgF1rqUYT1oA+OqZkoVDnhF6MgUzF5pl3x2Ry76ayy/uiTs+G8VAMPWu63pY9LYClz1Ajv64AVcsZ6X0WR3xcV7zNNSFWebHhlnwPSQL90g85EFm6sPvCRRVjBDiv3NrAZz4IZltEHqEh8ipiUrbfosTs5I/zBkSYjXx8ma441GHD84Zrydk9i6IOT6J9SBMG/l26ys4HI0f1OS26cyjRTpcEfRktsaNkilBs4hQBQkL6dV+4e504tcxSNkCbN7DIz4cDzLAp9v96uB9w3BXbAhn2skl7n5qYkLMtbcwvdpvlhnA72io6uSK6xlJI/elOKr6HqpRI6Du9jdlzCAH6E6f+Emg2/me+KAmAMMcxo9QksjRJhlIUSpu+Zuz6ahmTQ2fdFm3XPQP8FZAa4F2Xa03e7XUC55EInapfsCEOr7Uqa4a8vxEgS+nIyuiHO3+6CnrzeNSg1h13pB3rvBy9JmHyPD5jLblkAdMmtDeZ2ExlPwIALtINJSwCy3x1K940ceC7dqzQCib2AZrcjPlQP1t1lxfZ9TCmNEVM0/+HkleGbOOww/eHPLX6NpqRzbDQFnyX0JvuwvOFUEEcyS5qg9yJWOZrx8D0iCqstJDC0TvXhbpVCc6UZr7FHHRuCxZ8fPZiSA8wqg8fe50rYNBFD42rtIJOF6ZYMF0RhT2FcIJ6hmzXzt6/HxrVcNbNI+yWQ63pJnSTx/2uFEjzaCgeYIUod7t5d8AHP8OVf5g+4F8cypRVtyBhfRStgrzyeb7yYxT1/b4l2pPrG7KcvZ7ffbL+wdvebFqA0OJ2DIkPSe9HMSnk+G2D50wuKqO3yxFu/fkB7HjNDwy0J+Bas9MUaB17jBHKkyyIszYEsaDo0r6S8HO4x7szBkxJ2mbrnXr957b9N9Pe6D3xlQ6kpQEw2eX8MTX63RZYj9IaBNS29sOUK7katuyu4dCwvYCDZtyF+cMdNNT3CQpJVaQk/KJKZGqLfaXy+YMou8ipjo1gJhv2ltjfFTFqUCZA+7kpmmD00VP2EGEe7Hh9NiGkfH5i/UQ9OGzKZ0Wx8CksDhrgT7JuUzNY5EkUVpUcKiLrPqt2R2fg0vx19WEndo9EN6A9qbY6SmcVmpmO/BqpjCXEPeMHFR6qZlHWoX2u7u6OpnmEKOSibe9J9mqY7hk92u+IY65lC8yF+d5BHptMuT09DnT3IPz6POMkNLn8y419qcABUIRvyZ1lHGkSLehJtlSr5eVNek1aPQlssnSeIOqsKxMw6+08CQwVS81pIX8RkaPqYD+ONeQRxRck9ECN6wy0VO0qi9yrP5zD+PR+0UDVHkQGxYjM+WdKEYJvvrfVyxbGpGAwoqZ7vvKax0VfCyo7du6dDUmQwDYRMwYbTAp+ygaNYgYRaccsZNXynIe+137Ub/sVk0ataUu+mRf9RS4aWcT7rxFPtWRkQI4hKi7hnXplwsegnLokOxhKpqHORx9EsYskmityKBqqPq8FP5gDfHmvLQv6P14ArGhY+TaiI43MPIIi9AeGiHuwOLyOozEikoWYgnrj698KeodyqpbyKr+je8XuHanLViYw2sdT7To42npPI9vKn33jIlAmBdCj3pN6lw10ndlvmp3QLpRhuYBpVnoqssxIbBUnZeGf+4YHsFVKmm8IFzXOm35Ae8zl17jP2mttQk65aOz++IAATCMKduSS1SeGeKJliWLRPG7ntwM0A8swgQLnxZd4feirRTVz7Vc2a9lr7oqNK2fIneauyS/23dPfumCy+Ip7UIeii3YqxSG/e/xZlVM5h7z3wfY0IeJYtGXA+V+QDmtGggDX/SjCFh65t4YdHYndzYDiK4v1t/Q5NtioY48hq8Fr5/FZN8lpBOV68sM5oAltkWwpJeoKqfYDnu4kffNeBXFR/NKiLK6L3EBPmElsWJczraCyuI14bgjUsGu9bRqiIWTERDeu6BlIyGxaHG1SFmzUuYpstDJOlN+OuiW/ersbT0WKDKtKbKtfQIRs1dUQhiGJaMwqbqhtktd3GWkmoYPGlmAvdmaj09TLAPjx865IwAUg6yZX3I6Z5fZpjvDHb6fySai08yCRtu39KehuMKkx3yqZ5OyQcve0RfsLlBViwEjyl8DsJ5jtihWLmQ1glSohDue20qgAFjDO69ovwIks9wMBnvRgtROy0QibChyKwY4YWAQUYEPkp6K6/YemCeGY6NHNNAYfm5M792JWUjU77Kkxs7qfj8Ea9P0vz3Kq0yEq0zvhWSJnl8Ns/1ZvETFttcCD0dkZ+SpoHSyWUrgg+WkUVuG4pIdZTByQ8mH82VcAEAKPVPauyich5nH5a4kteM/22cG1DhTa1KjN7qX9WUUsSYS/G5w5sW0r/DpM45v1TCPgYiTu8DCbVzTLdde7nk9DkhnPuTE6wRQ9XJYvB+b5pp3xuar2As447H9QAq/dD2EMLjr9Em4/R3AdayjLArrQ0GHlZ4BujZPPVe89tWM8/2MzuslCc+p4R4h31wYADZBgs0xy7rkbt0TZlCaViPmf9gDh4BHK1SRAUipJZoUkuYHsbRU60xUna6kwAPQjNwO2zE0yNfnnmEGl9RrLoDMXeyc1F52rYmBowtDWR3AKG1//4SE2E4fPwfpVYY9Mc8Fra8H9SxR09kDIZVQ0Z1Qrha/7F2O2Ds3hUmb0z+dMpH7Lsi3peC+oa+yrrhkZlZgLug/HBGau8EmZaGQqurhtS+Wqf2w4KZ4Q/1fLvM0DLOdBqIyEi6WI9CimyVlNbTuSFh92mRcQy7/WbtY+43/J/7jK1sM7Hs+n0cOQtP6Nc0sHlFaMkFpIMRFBpWRsQ5sdCAWp1Wx+JazNZeyOevj9AEJ9Kaxd7aH2vT6LCEvbiknBx6JcMQEr728AyM34H+YQxa6knYpTYj5gk+F8aN2/rNCliKrCezBRfpfbEucEK5D6opWdsEV17sa+Tkm5jxjqwQroPRRcmkjaDlNj189tC+YzDJDgh11zFlMSDbjswZbr/bn4ss9CQiy6C3nexJxtvmmcWmaziEw5PYwJ8ZIXBJ96sNfQAnOjj+17mnMGMi5NjJEIJY/cLzFt8Z2zyD1OSfDhrx2t58Z3hU9cSA2G3/RwFqKoWWNpu/s8WSaybj3sP5T0/CwCffFp96S3wmfFRTX5nwpWozDq9yh9SZcNV6W8YGCSYKADjTtodBR46cpMFiCrZ8npCY6tuLCyFYcxN6kN0tIf5iVMOqPYguRSaYnPi4R9k69sv5UlI/bHNwk6tiY+KQu4txwxDiNzhtdhL8xrMa3V5K2hXSVRS1x9Mch2Fq3h67aXgER/O8gzKZk3Vi0SerLL0Dex0nK5Fbiff6fnJwR7OiK9IbJpTpS8wQENnalgr7cpjhzI3efMhmDlBi96gda5mjxh4PXLMtrqTQiPEhmxxTGniWJCxCSn8y+brdZgULtNmd1ln8wQfSr44gJ2XiM621vR+aL6Vy6B0N7CMtAZhNVNUhuC3eKfKNuzUOcrLcvQSBqkV/LuXrIPR2NHu8YnvrqaRloDhhCxb0Bt4Hky3rHrtkIGSo8w4qtgRV7urP2QvvPe8SXdtDoMl4B0fF/KUQeWwBsxAeu4ppkmsmM3apsUoldLD2jm4EAvfoLgz+Ql0BjKGTIJhZfgHeT9Ms02W/zh9mzntdh6XyYmUZHrBeXcMpTyr1pp22WcGwbwOGrpg/3ssZGp14Iwi6Sj5ZNCTXH38VfKYJqJyDQ28k/eWt1tv/rA/LoMjMhZQODwCUO9Gfl6d72hDa6jM7l0NvN41mqbnaaKYhWFp1yaaEhMquwaakVR9iEx/ICaWCN/owvLzmgp99F/7df1VCWJUQjTWUmTvrCCtT3iZMy8r1vnEUPmYKW9YbKnRaudW7JEyaV5kNdjQ4gcYEbMyfh6YzJ/ALX3EPPc81+QnwjG3JHUwf4UnsFQWKRfl+BjlKjpEVVqzv5okV9RYnxGevxLS7wJq/nN9pbtPSp9dHtLwylMuEtHBjqLUV3wsVWjYGP7kRL5cRidloAUIwTFsNb8WTq/vDjga+uFkF/M5AE6P+XAiCssq2uNHJytt50H2VCc72JpRtkdt/6RuQzGOXIXf/7BhduIimBLOzaJco0+kPw2P2KpItkGAjHiRxE0sAR6SuW66mTMvbdXaYJi+e6kdPKhefgHDcYNY1dTzZx3jj+HmoFa9eiFMmXZaTkSRxNm3HorocXyiPszvqTThBCcpEB72JY8V6H/3PViRQ2TXcVyTFATgn5EupBxrEKzOsP4ROusXyet39Rza1qLwDhXGCXfu82gm6YzLQhySUIXxeuDElY3d1TDl08H8Edkuw4O7OQbmgTUCP7+ojjtO/oQv/E/x7+8R6oyQqOKvmaVpcXEmnv2+aa+3OVeJ6hBUKkzwLwaeNZXHw7nT7g58sxNod3ax7XtvM1uLdM+wvzX5soLnSVtVBg1UvqqS0KP4J1lkoYXHLmE4vb1IeQuprScl09PQoqR/gaRkQb/PH+9P2QSiDYPlex2u8OTRas//2QooUnZkz9sQRKHUQ2+p0XnlI4M2d37O/bNLfVkZaanzFPIpsttnK8XN0V21lLVqzKQcWG/gyVvG5gOjpvVMYITFv2icL2OMnv8nj+XJnWF4e5je2rrOyenIj2JtGhXQJkp1HstNEOuN2XjplmkmwOj0sdmfDDjAY3NFHsPuphN9aX1RbRogPAFFc1T4AsdsMyIYdxZ1doZ13J1A34fc/a76Muky/2rP2/10woXyY5cxZGcC5GB3ERYewLcy3Vp2x/AX0J5zxxLKK1R7cjYRv2GmDhiGksKC0Z2eiNpnzXKQv93llx1zDVm3dQ37VLaOlOMQHFCNq8lpFNptylk3SFuKKMAy4BCMjjaAYBRB5gJlQuj/ICsB4KgOswwosTJhx9j/tyGDHkrZTSpqoKfw0KKEGQU6qAuPZb+M/pbNvJyT8VZ9JNIs1iLyZdW+b0aZ9/bs61hsjQf3+kPy6Os5tfpOZr/l4aFeGZzM5PNBWhduhpb6dy14HnxAZavYFqWTsBUGgZtd4xoaLV/87K4N3UoZ1EVmQSrhEEZH7TUUcOOUqoMSAEfPtW2EmnGiQYQP2kapVZ7QuYu/v8Dm8hXZcbYNANXV9QKVnogkujmr/I18FnB+YOL7GN/tFw+w7xTbEMtQlPbxoBK+GHx5Hc0/juTuw32EgRffbuF0RqfNfRTzTn6vxJWPXe0Bt5/nHGXY/PywIY2222XZOIsvcFs+pa3UF9LSbAB5fnWuBHOJvvLc0sDG/UZPMHRHtAqYMrSbFIFz5ANHwVYKiw5zcuFT/dt3Ji1fcXrMGEWBZDStvQmbDl4x2kHkRQgU3KCy+5kG15jZ2aqDxVIDILfHui89xioeuZvvwQ965C/qdTXcKh+Nqs1uxyHsiIfR655Ld3u/g4PQofQUbPeqxnGyppsZXgLZrk26+BGo1mnm20mbWFd3MVOCWMd/9tYYWlsl8hVSRkt7nwQgQXT2Dn020HXcpVlYLVseFquPs1xYVPFdvEpLxdU2ar78Wk9tE97iikArB6Fd2YiEpy1N+p2t78mV5vQAgUqgePyx7NSOhhmhLf2vSfoI2CTkHIHtVXBfc35DN4e9WFQao4uhyiaT9rO5yBNXs136VQFSO+OR4df+7cSls9jJ1CK6kARCyH7M4DzQEgZP9X6P9xCZpNCGxomOtTtWpaGgody7SNGVeNqyJP5ZuH8Fo3r89LHD0cOxzT9/+MEhOAm6GRaCNLupYmiEhB7Z1SFm1E+f2vGt1jUer5uot8cltm9KUAu42qPYpqSZ9xU2Fk/+U1RkE4NRG1Zsk0KP04lsRLgeklp8X+m7lT6MjsqVVjWi39tj1XtjgUes98BqhbTYcVEQyJrz4oP8r/4iB5b2xcxcLzlKlY95ZoO1G322Oq6198i48EfVVqiF7Orj6LUG+tqC/UHLCvNiGecCyaPqYyoH4ObF/QH5DMBeVRORnANMYUh4HOkJwYAjYk1wCFj+Zrcp33WVytG4NLJ5/NxtpmHuaYih8iNP+sudZzyuTdpevV5yyHr8emIZum6P1q76sURr8G3DBADXiv+2ZLLzdczunaxElJrHW8UP9upk/B7RImkowtqoF4pCJ293L85KvHSmO4uoK/3CFsCHQ6AOz8MlSLYXtMTVinjYg8THwX45r0BpqF170gZi/nWlGQCB1NnoVYjT1ZqaciFZaikFeugPrCxvA2aY0n20Y8R6z0MqWjNeQgYQPQTdVNiL8NLG5yDtCP7EEGo1Z3xDcQp9dLENWHx8ld7ZrEqgLva4I8HfcM2mptd6sQxHtZWfvsWMcMLnX89n+gSuEIPBTa4edcjUzCKOL21YjMJtO3qKWsYwFbAJp349zVDc8qChJVa1x+Qh8gGAF8i12jtt2ESlTG7k7MqYeZkAcn9UxvVtKktYwRycyxbsZrOetJSfRpZPM5xHjxu2ydIwAMyIxIPJJoLskGfSyv67RPxsfkXgEJ4i6iXthmD3++NM5gAgKcGBLECP5poJuVF5xf15EF3Yn9dxLZRZm8vF0MErh3RF5uNV9UdSOAQxhv1T5Q2s7x7LPly7XNesxzpQ6s2eAmDLTsgczaPl6M8cQIk6HPvwSxqgppPCgEErLCDh8JaLXdb4MjrNLH9iVp7UItDyU0gIABHG+yntBbd9LICTxZocs7g4w8N2SQOYG4JF5LVHHybMPiizlQg/4bu/AILdEXP9jYuZ9zj5dSSJPvrtXiJ2Csx6/EKwPU/BeKsQRrnOLZX+RDPbr4sJFZQQ/Zq2V9J1QTMTZE+WRpuAl6ZxCYw9nAxSHXY/EcUGC84vNdYxW1LUuafuuSPwMEoKB911BtdJftvVCUXujUFuRe8HxRSj/35czfI7j2c2Sdh46DI/r9csQz9bSZXPlKcflPv8y/5Y2MEYszRckY5eKw5fPtLep/1lRjGFB8iMzALIHPxtRShfV/0MwV/+QpU9LS8dbhM6irpM2g8SsR/emKh4+wH26cwQ6T95jZjnOpFwhlVKgIruRTU5bAh445yp152EX3uoNm3oX4qDc8GwolpYe/+BmYIylXhWHbXLjS6mKNlS5jE4ML0tg9UIBbajO6ERFahe2ubnLH4WvYQ+c2r/sxmvnz4yYLJnjVyoyAct97K01olAxLFIE0cmo/Eql4M5jH166cXmoJKobwsf9GZAdmdFYNRGUTpoLNE76CzMX81aosVDpqEbzKEwpmb88P+hBG2isVmhO2erBuMFPt02I9EPalvbBGFPhhK3g7zRpy5ZC8ii7sskdpS86XoNNMmbJjqASA/cMWrMfyxGeQi0pWI1kOIedrmWaE/Q6Uq06HLQ7bQsKL4VYjFarmUxQIXjNQNqtGHEhz7HOWleHGDW17Ux4rhe1wADxpcjOXwgjFtlMbloRtgAHH0yf8shqXat3vC1rO+CAo2fABIHOzmpbRKn8WrrKeRpcoY7Wo2DRb17L6pUGTeAUxfVcAmq7zl34nNcQqUpjYCJXi10TR8L5NyTBhlgDbJrhObCS4QgxFHE2cD2ynMoPgOVb2B14Gyj2jk5RGg9mPdwYnYH6zktYSkOP1S93YrfKFy2oRZP16gb37Q0+wC+A/Pg/cZh4HcfagSn07W4EK8aUwThuLuX4OSaLjYgF+TPhg/o8St3NPLxgp3lXnFIwfRLTcCPm2wcjcQIGxvzBOOt0anosL6/Ix/t0jcSQ8c+QdBTQvMdII99HZCFTOBW7lWBhAU/iHN0coV2KrUkepPmHryiyAqSBdU8aOC1KjeEGYUT5k9icMt92gP5nKHc36sI93fhawSJ+enAOj6cqbXNV7Sb7Bi3HQdIapyCf9qj++3eLO70XRud0JDbUG0KQoTq8M614tsvTawBCLE7SpmXwQ/IZHUMPMYV+e5KEaT+W/oiOmrlSnQBW06ttTNVCocXOmACqXvJUT7FoASOkSYez5YARLKXSj7VMd/AbqYLvQazjW0VGPmDAWHMufJvOQbM9Y0sDj3XgHHKPCxcoU6eHKzVjFJuYgVShHjJAPX9kmFWqkwqtF9dQUHfvGN07lfCxw/3wr+ChDQkIBIg/2xeSKqdlK4uF76etydkDSZb41s4W1ulb36g3G1yE31TrWA1UQSGVfTkOspOKEkER+gue6FWjcJ1bvVqC9n6QeWeP8QNqID8ykfj+paPKmX1D0N3dSQ8JG5MflcJidLVGBCelU4mNUoE7D0aorUrGESwmgRYMGmRhDBJ31amtsya2nK0p234zsZ02qRSAJDfv3QiqQ9puAcAfINxoRtuLUJYWc6ug+W3IfSJDU5Hmln1c9VoC/ALBCLLQ8Cb6053z0+tDdKtEqLJoYYdc0BEY8GLY4KFNV56uXX4lG+qkixYFYsWuxup3h2ePmBqXQgd0txQmEjIA/fxdOlF/KCNs7JDxiDMFKD5DqDDZ1fjpoSeDz/Ru1Oppv0xDp/9HB+pZQvDdnmW0kuOEOiLIb2I2L0EppkKtjrqd5YhnE5htwVW0MwMk69mSkp6l4IFMGwdH0QUTTc3duou70p1hbdYeqsMLPPsbG8Hm6JGHD8LJ2Uj59NlohxGiF9IjqJR9iE/Eur0jIOBw9gPKcIvt4k4UyucF8blwwi8hma4ROQ4xWD1QyxYDlGpdT34/M7zs3Qq80cCnBc6k+qi9HirlFof4dcKJ6cjOe1b194e0eQ4lv6MXrCZ0dbep372FDcDE3q1Fb0m7R6fxGDyJBayR/UowbmxanNEhG54YZb6t9cXVm/9q80kFbDefbUMLxlmKrec85souw/gkWRrXUnVSsX1sv6yYzLTVFcXXlL5ZFjun+P5Nz8wkwfHRwQhuVXvd86DnS+fQrw2i2kcdmrdHnfmk4jN/Y0xaiZUfIPfLMvBjOLhK2K9lDzIzCZMoraI3w374A/Cw6J/kF/D9Vbs+JdyspgalVKvAD+5vwky7OkKMkvdvtvhMNtPoCjAo3N6TM+jgUa2V16yMV0p0M20/0rcbS0GhDf2KCNl5CCNdks5695t2i9S/bfs4DfbyI252a5jOoH1evozgSjgjsEMoQDg9qTbcZxVR0OysOQsgqS19MTkKVxBp4L5DN6u37qELtnVjV9d38/t4YttIPzwUsmzVUVE0ZbYayY1WSpqVxwVpwTWz48PFc1kJ3tSF2yMCGzgkA81W9Kj1e+0BexFkqydoMHAs+b2rVT4r3xaCENm5q7umUnXXeZt42hu2asfpFhnq0fwBiQCUOqwiumsdv77ZuqIOLeIaa2algI2WbNMZpQ34IZLOR+dQuQEpTudeLNX6dasqTj4W0BuG7r8RzDTT5zIePA62U9oIdFM/D+wc2UZDd463HLkvjYgG21dOq41WjqCsfA7YWzL0XOVhb+U/dlp6cPpz71auRq9sVCBpOyZu015hj9+HX4LDWnMdxcmePKRue7w7HvUOO41/7u9fB/Xfjwk6U3XL7XORO7iUGNJq5k0zQNM5UWdpqAkv6ibjIJjp3qd53Smn0Rc40fxdpmZFo1ray1F/QR0w4wL99hEtAf3CuCLG2Jrshnl1jNDh9E973l0y/n6/Q6iQ0no/ltwmmb7lRLDHOpQXlijZ6Qzu3lx5YyKBR5v5fTFd97vT7oeCMNqV4EoYczQhP4N39WwPQWM4v+nI70yXrNst5neU1WuJCojoiX7HzQ0B4CMk3q0F3o2bJY55sKVPztDUTzgDb6lVhGuLXFfVBhnh2PvrqTmM+6d+7yCdbHYG/+VDtImzGK9ntTl6ySgcsFFv7dY2BaCVAdjl3jX3/T0+WRm+2X+idshXWqJ8lZJOAWUOvoe5ukQI7pPl212Z8KP3Fdo4hJKcAGAznTOO6rO89IurrdpgUjflTZVi9wlF6Gy76fcpfQd1D8xwgkNfdKNdnh4IkFTCvc7H3WGmbIhD+CJLQks+2MiDfLi/2zVRk8HsChY9xwX+sfeNQAH77hXFi55NKR37h3RgT8GK0iPi9nApbNJWOw9tK+5hM9KRIdnHDaYuWl1/JwkczNfIFLRNsSpbJRn7/XwMLlEX4FUeKeuT5j6s7Z/GmQPb5Q75ExnCFGXWD50G1IsBNWI4vDYlTU9wa6MrpjfP1RcUEkCLMo164csb3JauIJaX5Van8B0lNGNQ19iQ9Y+ofBQybfEKY1iDI3j29xzuBlGITemzO+P+zbfwmCnGsdMq6+Ijiv4piVpx3AgRuYmULymQL1czxWTV2uRFFFeYHD3yUzNp1XO4zS5GRJSXqSyRwpI4DriwRbryhRV81nVIQ6ddZ/7kvk1jgbjMfsGi5Of0rj67Are1JBjA3f8/xzpgywjIGljLvp5iWxkPKdahj2fs/vQYCY/5EMsgLxJYdk2qvivHBXQ2l7HqWbHSCTM1O3sN8FotHhijwixG2dWG5S3xOo+W7YmUqNRToS6QC3Vf3XP/zfT3levURo2n7XGt3st6ojFq1CbWNZjvwOuWkKMdybskNJrefzVt5EJcw7IaktbNLU+2rKFxmERCVI8Jyz17OfaYu8k70xNyjGrtrmHv6QK25aKcFhn/0SSlghFxFTQwfx9bon+Wr5BhOW6JWDQdNgul9SXm4VlLKEOtUvlmx3erfeQN876mFcAgAd2BLWoorezjcEk/fBkByPWhPunJJ1RCT8xbVYPc+BkEA9pD4Ba9ob2J9kzdkifV0YVEfWWZLXA98Ax5oVHWnvyrLg5/Cn0rxT3J7Njb0nGSSeDyMdxSjNwcSPxthUCrlUrKdpUguacE64Jkv9Bs7lRaDWk9mnwQCcjgorBwUycLnTRe6nPByy+0x4QTtiUy+XrmpoPnL/pJ8n5/R33qnmqKkdTZr/3wOn1NMg0X3hPsvvq6K1S8ncD60laYulgipiYeZwEUcRYgy+HhJ9PTwPSA/KFRwhLZ4uEWi/aoa43UjgAT2/bMvWzaepYx7qMvCjPD8Xa61gMAhegClvCuTUzqwcE4bDXqyXIYQw+m1rH6FjwN6Rtcxm6G9QChOobb0D1hf1X8NZz3Jdsss6PqBP3TbYMvUMr48Ar+sUTSOu5oTSmFx+o+URDvjTvk7dl6bZwpWwdk6puQzd073PoaCjsT4r68nK2ZJcO4ML9lMqtH8jUKENPD33CAVLyMPfo0BUZmm3MOx6MSSRD3hY+GQE5khggmWA/F5XDYIj4YwI9hg0haG0kFWLrwnrBz01y4v6a+DACya401ileUJVm/sLGohhEdxlR5UxRlHxTCcO48KuSNmpCCkD+nwBCqvadC4Za3YaJHAv9WNusR3BT+TLtT96NQ4S9BcnLKO1dmf44s8ellIHl3K7GloNejQDHxubKGeFChv+b3UGxhG4NJC+IOkdFVX2T9uHx52Kf+l4Qxs9ei3ulxO+Cwk56MyyFtSCYjRdgyLQggaG6YlubRhGQBuvRZYmzCMWS/UrbvtkZtP9qjLdBQUYQOfgKEqGPRsDNnbyqAjbnMh9dVsm9eEVoaXBSB0qXoaXzFsCGirUDRqL68q6iIEUWKYq0XFowSfsqfCs6tUCJAkgYXJBMlZ95GpRt9zKBWdy02/XlPEwFNxgSDZoduLJ0zj7ZTmV5Tt5lKFSaxWC+95PLlt/BcjTuUy4EtLNSF4yHmzV6K03d8sY4gocz2TnMSPl3FURleWQpUG1QOuJKitmaGrtZiLhq65YXad5fdnv3QnrLm/FRAfPaXBnWKeDKFodZ60kmDe9upjy7Y2f5UmLL3cL4axud+NNvrgrY+dwWbAsY9Cx5n1528wzjfoURe+2wb4m3dmqXf7S03KcYp7eAKD9BdmEPek2GouExjCvON6MaH3871E6nCWx4eTexzvMxSTl3zVCEY0iBTaB5U6n29v+wnxzmEQ0+Fc+xAzRoPPaqcncQ/07t1W2jgKJbVGwd8pPCHf/3W+NX+CJPJo9n1/HDisrdzsqk68dzjrASbi21pYHnw5Tay00JZLEGxzBLmJoyLfGFtA164f7096rIRBSFF30rdFL/sJE/49ykh1lVZE5xgHo5Gb6UdNH/8RbWafz1YGEPFyeYg9zIXvwdUGJNWs/k5UcLVAM3Pwp5zK4hc9LLYFm/rHnaMGGvuc7kIQqWwqA6ClIgy7CyFZjUS1Hys/kfiPo1t513A2utHhEEFNy+DnccmpjGOY0pDFgdXXRW6FcdxxQZXDU0iIIiLYv0x6z+EUy2PGF/NRr5nQTOreChiJxV2kBR7nS5dq+s5F+bztJFntn9OkA2wKiUOEwYZ257gBOOQPKvQ5SQ0tgkoBX3hNbgVSu1bTy9OJfwdvwskxFrfYCMnUHZPajtRPyIw81G4r7CWuSIXjm60U6s10wknm42P39ITCT1hsYF1SPdiEnTiXZ74ApovfexqSWiYxRaha6ad6C23OJW19m/+AV/bU/Ps19YLCQZXATbEtOHinoG93yE0YI/oMta5Xvp/Mt0MWJlxbVsSmuliuZ0LqbKPPWOnLLMqChMlBlqIA8MGwdM0Cqh4uVb6dXtt2fqGIAMYBy9bJpBRt5ptUJrjGG+4tVU/jMhgZU3br71GfotckGhIKe7/szAbYkO11DZVYK7b3A1OeKaV1V1rHNLMXe7/MHZmjWY1RnlRr9SQ9pMn210yoDmszoTI6dVHXEfPzi2ZPUHly/weT1DEJXZBf9zQ1OK5/KxvWE65hmN6V0pZxG3f3LECUrYIL1RfMSw1Cu5QXyclrXxkNDvghMEB43FyzdnsxT00MC8AT7lexHRZ8BmxAVmgzQ4VynHbzwdl6MpTbv0NxrISfnjwBY7ba7UgYNwLgfLBej9G4cA6Wo+lmRI7sfV9xpVh0BbXCnsIYebD27mCfD4apK2octzXRHSAXku3LU8Ht1WtnsIIwzyAavFTxlTQY+yfXU5Omkn6Qw3W9KU46uxriXx1Qyv6dQ8tbx02Z4r4ecPGRqIg9atqXrrmwmr6LWu8YpjFDDEx58aZ53E/IcGQl+cbGhJRlF3/QKXz4/e+wtarr0nHHnXYF4JdfSk0mIHB1wk7XaDOPmW+buzLMBQ8hSk7vjAqe0zouuUqsWBCZ9xWx15BqFt/eOXzRBMia60TZHdZceRbAqGIArUmsnfuQqo29qu7wSdo04ScnrBCGorD8gW9bU/cntScooRCjBQaZ5d6GZgqcp5ezw6VIBpLFoY/IjZeAxZDer/QtHbMj0WroW0IrJKyJ7Hl4ibKCk10eODr8kUXzCQ6aYThsgjRMSaJGsBxGyZYaVs4KNH33dEsv7wWAFCpCHTfdFTMiZatrxEKyel6b9DF1Ki4CaT1GTTBdUzrOE6n0lgCn3euuvLlmt8mkhTyqF5QCtvJ3VWViPwK0/b+z6UEQGP+5JzaALgfzRXwRs3JpyvoTmD4zx+KO+N1gbZwDq1FaEag3AGPv9Jn65ZCFIDano3Lpor6oKj9JVG09pJyETFix7uY9NZ+D8DZJAW6ST6L8eEdaY32KeP/Sm5OiDN2FRf3N2rHf2BDiQZZwxV1JiYhO1g1Kv1/7vwIEroZwLEbI2zGSi1MFhyyMLDe7RYZD8rWbD+9IRofMM9ZHooSa3dSXqeAcsyMyodMAeTK3KVxRKfzWVoJKJWlEcO0ugDzZiUP6Yn1gJhaPfomYY/utP0wfFYQrSKIuQE43agua7ZjBqNAItGbJ/Lg5gzTRLuZNACQr1wUKt7sIIm0seBHQpfZTrGd6YaSAp+LS4Oceig/yVH8Wjd94CxXtE2Ik2+61DGkR9HDm9jL+NWekqtmFdEKxVCX19hvn9JPkObmpjAq16mg8+LO4EAS+19lFn6a5xL4vj3AurCa3HpbGb4Ro1BSaASnfqpZjCSRB5wdg6xI30D5dQsizFazPp5CingLTfZ/JkEV+lxkKuL037WRbOY00+70Sox6yM4hb+8rRIvxrBT8/rJVZJrW3mHDiVyVHY4vYLUwc+gWJvpD4lTuSFv+/H1FnEDcMb0kVn6cGidCw+z3wsc3QZspvwZjdBOuLWAcz1zL92XXGXplRP3W9jfHOSg2uYKtBw16PVQhL7VunDyub+lJ9y+dKHSmSn+DpBTmaVwGQbDMBuMy3ljC1pYENCQddQSm7qUa4N7afZoMIDjAYz7UBzMXGb9QZvpTzTNAVbS3OUIf5l81WQEAkzPAEDloT4VxNYWeCIxVMlIcQESrSAVuywd/INebHCYzHOTFxJo6LuwWoH10T36D3bynXXZq9Nk41NnJgOb5lAiZ+a13Qra92vdiY/GNZt0XxMKlJAIzb3Ra3SJ+ZGGJYxE5hwXDskBF1vJMpz+7q1kZzUSS6CmTKL9YbWQd+MfL1tCJdD12E48EGbzbPBFbDU6D24Bs/6GPKQ97szzAgn0O5s4UhuDGbl8j6u5/mKMT+QUBmu3QYTyX4jR6LpcbgcjHPt4cG0LscHcaFdxizr5AePw/sfNt+DKA+eydJYkfJ7Ay0fz7cMfeBnxiEzDq3ZeHreJtmj0BRKcycqu3gM9FSxVoejw8D3XRtXOubBZ9MJzv4XbgOcuufoWuDxXQBRYQvfwKeA9Q3Zeryk1jaGJG2CHA2GOOeogowMouUQwqUY598QR9hrR4Of7OYgUx79iiTRfvCQ7v9O0RTkWfgfppIDlNJ/3SjLj0/yZ0V5qn9/F/Y9yOFZeJTF2pP+Ls/dF037NfoaUMqUPqSKaRuzePfhmYA7M5fZP0FDRYQu3hM14qPchMegM1z6KsCr+tp3vZ9+wGMYwYXNWKwGlUOYaFNTNiCvmnkUGgOWFi8XPzmTJGS0yZK55aXs+cxZz/cBcfYzgsryFBQLvIrszTeJ05jDVORCl972HL4Oc5cC0iDnsjtGyhAHX8asOVKOn8c5p9hS1j3c2ljy2vp643eRY4D/h8XcYSlkDWNSx7N3vWbzLZdOaYl5TQfex81xB3CxIuDfRl3pmE2odRn2MkAQ5doJcbjjc1CgMUKzmK0fWGZcTytI0Qb7zUJ10a4m/3x6NqhTiN6RDE8fO2Br7pE+N0c9F71CXton+wqaWDJlN684j8PGvPiPuOI30CSHAqBB2QWmlAnPuTbY+yZTOMwqoWzZAgP2aPasroi7UmsydSaK8k9NQQH+cUOWLz+tUY7doUfmuGVlA9P/6UAqkOExW5U9Ms3QNo+7h0OX5k5ZkqA14KPy509v5zVJ+mIfELk9shvXipH56B2zGx+IfCvb8FINNAfgcOhwqdlQRVQRoSphbOHCoI0EbhcseNkPWP3Dgh1/Ccml6baRFEOzwtG4z0oklyq0dPjDu8eFy/zJC1y+IJ0phw7PiKxbjFMbWkmxk5CqcmhbVoaJZw6nFw9dSnOyXr3l0VZ92TZ0rt+YukN/4VcWd78vVqC4cxt8n8tdSqENTE5KEemHND2NoeQhTiwPBh1bVpK3IQroURrmQka51hxoxrv1osf6sL7Z/VgPi/XpCO7BIa9cxrZmfroyd5XyQUm77i5WJFWIw4nFwaUBo0ZJTOSpIQ7+8DZgI5sRPC8AO5uirMTuVYvrTDK0pirMYNRmIF/jVh+BEyHBzVnPhjCDLIVwcI0kHHU2Ik7mhASMyl+mvFcN8Ptjy+gGkZJfaPzFQ+RoHDdA2TAbLDpwLmpgWjgA8IB5Qj+2Z57nfHZVRP71F5DbOFA91jEQM1UhRLTVUMJFENoAsSiIDUQQ+X0jjVMS59MDPdacrwzl7Xv9l22jBeUAPoIASS4SNgMAZBMNa3Imfl3QkzaKmGhoUKHYom1tOMKiX6IHlIyhSsSh53ajqq83rV6jYeTOH4l5zns6b12C1XNEnB73Xq26kzoIDLfBXSijbiq5jRQ72UFrh7MeLIz6EcHRvRZBhjf4o30lJ4v0Mfxx1Kv0goKXqqxQVnv05CqsGh1uUQVPU5e1CkbVHWe7g65VL93H8RGZBE76991FYe89r1P7xV2Zk517G5GqclBNl4Wt8c6pB4xLjRTc6Di0R4uBcDPi926cFLn7XdVRO/vEKlAHLRhQzKQIWocGy9zSLMSJC/C6/XmrOsQCyZQ1LNASXeG00J/fidGiuXc7050f3nB/iY7mNkMy0VmhOX1VZX3yOeZQMIqnHJltVTkdBPM/tFCV353P7y0EdM0R4rRjxpGx2TDS8Cgos5UeI578xqQgCNXK1mjXOLPYW2ebUoT9i+y7/5rLUgAxYsdQhRch8/g8pcYFicnHpbIPl6D6350jPHs9JuoGbQdOK1ea707nxJ3yiVRGogiZuA1wxhWKAiakF65XtVLnIUmKAKAObMAqguXMB7kDOEJYkms2XKbrPjJkiroofrutTZ1Xp+SdPNdeJvU0R18+VX/0BR0+JEH2cGbfguOtXitbUyJaOeQjt2CfMnzBR+9SfAkOiwl3UoUGPff3zdnrGNn57xGmGO+qYc0kukX8fEH/yriUTZpUC9J/ri6qraNn1N+sfQC9LFInF3dWQMsbTayHC8KHwttzhm3JOTgCyTsRFdZSAQ57HcOus1i51prwlqOeTKnqIZnWffpAl+y8rehboxoyHvpJ1arG/kAqZeo1f81mt+mhVmYuNVoozlVf4vR+glDDDXd+rmAM6fZHD5y92spg+IjEqJS8pYiagNN7xlpucmIf5mX+7W0eMEATlK1+CI6IU9DgV81C/auAFuRN5jvcVSDF0f709iDoimn3o3NvRXEJnkmmPfNMWVxDak0/jtSTKYVZq9N0L7AJFvojCap3jum2pihuGMO1Bwtc6o6kHv2qepYl4adtPZ/D3oWc2GrPeRpeWVLRk1M8DjWnqdEjKFTRvhQcsjFiDqWR+EKfyhueWV+9VryBQptEQpf26v2ldRu+edplHs2HiUsWNwodP2TW/R6W3Xj+DeXreVuC0+9m5hzbOfBL1Wae2BSgn/9xjPbQWa3qPbRAEzRQFXLFnluf2wk4aeSFXeQc7LeOTHLh6VuJC0BqtU9iNXYS5V2iBgML9BtnApkLWe6knbObeU9Kh4hISOFep1bwOxx6Y5V47o/kUup1L+9kQ0/AN79ndamKsx3g57t0a7mgP5XZ3UKc5khXIs8XD1y4nos29Hxmb4ffU1KZCX5eF/2TxIGxyzTmGXkitjlB5fb1VIGwCioa50pRTZ2Eo/XZEomznXgp9PqprH1PGbECCxDonLUy5OmauHyj4KOer/ONZ/65XXoLfwiSZFXbdUcaf2KgGRmDaMkPAc8c34cAHnm8s1++BjpQBL+1zfDhm5xfBdlTscPiXWgjhq1jlaR7oFT9sxjtdWCzPmmOMXaPDAmKBUXwJpJliDLLfxxUHIKwlxA1UkHq9+r1xiksu86L+/AFxJ26sv4PGEsFwEgktfKGB0UKWZhE4i4csUVUHlN4pQzViPe6Y5d8B/A8U6OgwRgrPIjLSaebiHu2Qqm+QdEZ+9vgkTmCLLCyDP7EEEzdUan9Ml0M8BC5lF3mX3hhQBLLULDdChsqKTcWsghWB08xG2XVSmtNboG9BG40pNSSXayhEwIoO7d7ZjjDP23Pkaf4wAVhJsuey9cmqb4mJEEwLUX2sW8GfwLHiMr6cyg5bcWnmBzTOGgIWlZOvWmFPAxZQtTVXS3mpaCfT09jCnRFemVyOPMjCAkdqJ8gammGV4ztR7HDFotJE+Ax+72ckUA4yesZQqljV+mY5afqf1QJApSCahlxswAoyQWWc0fSk5rfkCLTv7Z6x5jDJ9EkqTUHytz1hboFf5AOtXQS52VPT0KSvoF2c1dQZJYz5TPW/z2Tyq/FXqYKursjXVBaMx+t/OKRtWYu4vHenad6QIrlz9MLTsaym+nrSxGL3mviYFTzo5xA78ELzJ7xO2vxt9F2nszzYwBVGHXwq1jIE7XDFCACqqF66rVpUyg4xZxGUYB1Ckb5762CbdaVXQIFkfIjAFEfx2j5C2EF/0cdU2cAL6uThSY8lSMj6GyRB3hf589BavwpNGwtyP6ybTx0d6Uk4gxB8NfqaLYBQ9MZDgyhzX644qN4U6OnbizSi3TisEzwnIgX8FG6aEoBdjylyW6P0txey1cxcQGqLqKDAlw1GgvmAWUwlN5g4ChIl0yLAT9kUn4wLJ1ciyr44N9LdP6NWubml9jHXBRueEtRxt4jELd/YJM5NvmoefOb882xlxtCmyzmnZJQHNXkKxqpXISNYnIUrHa8TWeJ4IzE21LHUbEwKjMcfaFhtDRdwBQDJsJNhGjTxULNZbD2Lwq3K+IV35HBjHsGQZOEcgDNB6QBoORLeArmp221VT5ipEg1wefczY16OmCpBMRoQXDD740TtDjtbxcNQEvceImDcR9mDeYAAjuvvNcI4cPhstHiJgB6RDNETCdeJbXAqTcAutyYZaanJf4L3J0evT0wvE1b8zB8ML9Unoty1/HqsTtBME91AzrtyCHee4uivsFYfgc22h1KCeALld55+RwrPsHkd8cga0/Qc9LcA4jWoR6s1jBrNkvotw6cogfC9iAgUJ04iCba243n0Hvv/EQwUBsbmgk2/ua0EpmynN5CJh0n7opS3/UNKk6ChBbyoR4Zt7EdG8H6T94gVaOy77nhMzRihWETLr9qkrH4EP1abecFZCVZeUhD90d62duXw4aAZIs61w+f+5HEtoPbmRmyD/5PAQFBE92uCaWj80QP9cC7Z8OUXpPIn7+jA0l5J9/sStleHtWEqcM9uqgAItDrjmMpGcn0AMMmI+ZlIl3jZhQH/p7+IINIh/SyiRsqJX1Yt0g2Pva2tzusE7gTSoB3r90zmH13kffvnVOM9vY91uU0L8XpFs8hL2z56y9RHVMV0/mO8/so+lprzty4Lk6dKHblj7ZFJnp2A1hftuhwynWRJnAOZFvsNlaA8S2bEFZrBKK3/8YquKWh+L1EKnb76lxvZw/RHcxOXYlxg8twvAsKkjRyIQ7aY92bfHuh4w5qOYLQU6+7E2txR9bqDiZypFRETYa3VszAfBI0nauaDNy2lWeREFa9vwK3BvAQavVguFGKtcbQyoCXrMq1aErLPO8PkAneCrUU+YTiu8UcyPYiX0yBFWdeu0g3J3iEgExbpIsqIXjXKCqZokQ9Zs+t316tAubRZdL84WAqACM2IGLWTbgQsTZ/Jx3klEjxPn/R2XEILFJEbhgHv+QhVjSfME5AQZ+qU/hNgmxXCW6Q1BqDNCkrxPvc7wfvSN/TmsZ+TBlW4AphQstJkXEWLZbPK+mHnqVg/7w7QC+jQPjzI+jmZcpzX4LFST8khXkAON/6vpdnWZHxPRKLtvo2pwukevPvEv/MxgZFoRmW82lBe/CWFnPPARXwLOZ7lJLIVBZ4yfjQ1fhdoswkozbmi+ME0gMQj5VSExIx2Ep8FBm506SPsMtV7ppK76nMGHq62t03B+Ouf1WbdJ1DvSPpOa3yWGxAs1E00aYZJMSRqi832kA7iIbMtbbhWtXcFFXhp/DSlwdem1kTwTxh5pzZs/L0dpxpB3RQZoJPIJrOC9eJJnCCWVyDmfzr7khN9fn+b3cTWa/DxzZKtr48e10luGrTilxUaECC0CqSdvVicgCtkLA6tXXSoTSLnJefMQSmiF15ZRcyNIA81KZnryotVD/d9ToA2vL5rjkVot88zXvsWJainYFT0gPyC/m41bWa5jTUl0ZLiNSKeKTEh3rxkXsjEpK9SLXVGuo9QkCxDeMnzcj9BciGiyqXU5noiKZAkPJcq/etVnCblcZ6Ak3y9GOY5yQZTZZlrdd01C9PVipW4/SNjRvSrjRBz+LVVUPNNJ1lzksngug9YLC/XK1zUMgMcPO7c1FmuI9O0E5elLiHiJo09NITLHFtiKuxSH85CSj11+kAnJA20yd1Yn66QJWdZ3OyvY/tcsJsRJnqYqEoLmoY0WzNYIOzJC8qy7nKiU3ky/xLDk1kan6tpURV3jQU7NNpDM6Nnd2NUdpPcorsTdQmXoc8YGLKTJBf4P5yHQAjzkNpx9XpX4JE0swRPhP2JKFdhjCP2P7HUjiN42/Y8J0DUcq+qVxNZKHyn6tLLcvm4brLqVyAqKA+B5Wfbu6ZptF/iP5grA0WBfOgjeffC+AsnIGXflLqonpuXvh+eFG+hwfbnTyH7GNGkeUiU2ynZEJnJFoViQptRQL1/dDx2gQiYdW6GWxTykjDhWObl+M70RFJ0UwOhaHVLGDLznAwpCkFP1GOwS00sk32yl9+vv4gSNLHywEJiyUo8W5xCEZYrx3GTFkV7qIRgHAZDp+7Vd7NaFfrMm0z3nGQEX+TgqACsSOOe9ozP5x/J2GrBmq66XpCSecdoAsLAQJFyiBgQQBhKrWrJacTgx20XufhJgW4evfKt/qym+xuNi8MkIQoVRrU+4AgGmkA8I8lSzPtAnI1fvN7SZyW0QWdTnLqyaE0SryMhdxRMOX4mylZYQNhVKHhz7i1GVTw0EpVs3dqfkUowsL8/Hur+Gv0wbizIO7R7yGUWgWaaE6OnjdeqWYeP8AKdtQgYcSXqCix4MIf2LNXjhEWEKiH/NH6G8Kpq/WFaSaSeAlbEAUN8Po5bTTYjdynSc7cQYFTNXEMnQ7mRplt1WfgindRRsQuipil6Jm8pGqM3y47mbBKEWboBGUgwX7vlyfF+/W+/Tt65SBFYdhOj+OIJrcXDlU4D048qNB98SOkhg6eI3EXHYEBLJ4ePBhAqedBiSHW7J2c6EoE5u+J1A65cyGFqiWnBiIU8UFC8sMOBu20SOJu+fteheCis1gpYowbYNVT3SQmmz19qm4Tj9TDVtyuLCUJqxfoApdbIdDAab+55U2c9b5Mf9LTg1iXMNZ76AdL+PSjSR1xRy5aet51YhatTbLszK352i1yFFmbr5ZWI3qZNgJp9yfdjT9kf/W2p78ZEybqkxpslkkBNQXcf0TTV0Q+RFFzqCU6WbUgX6CLVf0+ZZtKAY/lSglHuIXx19wrING4Z8KXvooQhQuweoDBx23FC3Mgks+Cokwd39siLqi2X9+3whN+ymN5Axd1qfNbhA2aS/ai/VPeR5tcFEIWmXnfuCjV4xr1Ts5jhFz7j8Au/g2gtIdIXAd1Ys9Zwjk9lURpA5uBMqSsTStbu45CKs4VxamVthQiFArzpCEw+es/8KewgvsYvyQW7ghsx4Zpi9k3yAjHcQA2m5kUb6Pi5cuUzrS4s4XNtJNVjR4Pt7RiG+B4b0Rk6TB5FQ+qJ3Crd2JWRGpF+W8+Ra4/uP9WQ/mjeHyGkPUrWOM5DgrBj4RSqnPhcwzXxPn/07w6Bnc8+tD73LaDsTeIz/NMRecarYQV38Fko9P/0txvMmxiJ4owaEWUycfziVbmYkheqsDJ9X8WBj7Kj3moBrRZSGRZJo35XmFQZkoTg93JoL5lgx/YncKXr/fPdFDvsO4gJ0bG8YKctm6VFtDm/OXQ3X4l9AKgHibVpldwq5QAFEtZwM8XAVNM2Hn93Qbj+G5Itg43jR7FIP/qJKLqFY5XnOJ/AFwS1LtDcO9bkJymMywcoM19gCMIn/Yl4A6D3z1MqXx15zExlGTvtYHXko4QYVNMBAZXLQrgrz9afylDCxZJvAAI7EnnAp3zDQyf8Eu/m0/trNK5Hw4Hvc50R8PR0z8ClonTExOEMCr7oYT4OYoyqpESVQKZPz+rjzoa0lbTZIXI78opwsW9d1sEBBy6TmnpFlo5cRriuHbohKm/gfpp+57L5JnrlpsKXhBd6+576ouTg93w7J+Y7d8uR+kHMJw6psP/i+0OoEPvq2gKq6Mbv1PKIyzBtOuVg/JiiuCdYcH8d/7WXGsgSR8DB5jRvKYWjtlsFs4WfPybDUJdGUuQwjsWXzCgufJrNhvE6mSHcmlezdfatYr8uAfIbDgQQNsMZcxk09IdFVo/6X70ktszCQYG3Fz5CkUmE9mMRdW24Jgs6W5omsNiwsS8vU2vhaXthINg3JBfivSQz4JnH5d1mfHr622yiRCfGgIeibF4XF/IWTaTK4fVbZPn4JMCzm9Dyr8SZ1yTuc2sRVZ865w//ncVNnD5AOiiaLCXj5OCKv0oEyZWOcwaVzCL6S+WTGhHPo7YdE6NTSpN3Klzcp6mjuy8fvYrK+Za2PX3rQqS+75yrP3gV1pdZFX+3hS3wIv3FucF/LmEfLHGXTrFAAPSlxvfsM7OvyI3rjMElteLUI8G70WMiq8owVDNLrgJP+9Jymk3dXzyR8Hqp2Jg5DCgk2yeUAxMf0JM0fw1hy4Qwvn6zrimRvvwBGS+PuUNbsC5Nynn110NmzzG6UUgNdv185tpnO4RwjPpBNMvPTsn4+g6q4pu6X/3d1QuvOMskDDF4tComz1sGwZEhRTuy5xSxxgMZtS/HDMdXv5VNO6XhvAEBgoanIsG3ZophfQzQqH73yVbDshTSVfMq+6uEYhis6hHrwSTZBUknkQ/DyeaGY2MrssVrg4U4G3+AQj+IUSKDyejbjt4GsvSGYstAOS2xPyA43bxOTF2eoZCg2u37uIwF0Uj1zUHdeSiokt0UwmrpoyzOXnqjKNZZjbW+Ta+uZptb4Pdslj2Ekv4rcaSs68MITF+OPbC/O/VDEW5VEJM6/U+fmDDZtfUh0a+pIj8I50G/gXdG+gl7kC8pUyRUgpMa+herRyspMMJcgczNf2SJ3hixNlKZsG7DQ67u3DQ+eWqEhcvwUziVK+glQMAa6nQpoQq7+trC4FDQcUkZZT4Z/NX7P1mo3zswtBN65xRIqNQWOakWL/RG5RclHzuM8deYwNjWeWsHH5YJmvj60Bw13L2C5D+sHTuEjV4o9hsagJVm+qH/fMQBCK+zGZzYNiC7wG59ejGg4qvztKACgRpgTbq9S/bnBFLXyW3WrWnb37qxRI27uqYB9zinN3V0AOw0Ljt93HzUYQPvmCRsBI5XLp3AmSJ1b+Pl19kIT8r+FLdqGsPPTHtVwnSmRqJBPziQH/UMj/tK/OjdDf75t/s+gVIwpWBu3Ahho+b1w3vYrC0AXDUz4C8rS8cHY9cUsGamupm2pJ8Z6TZC97khrqtFCPO5tpelkCVHMMt/ELfMWwgRdIVe2O5C+2LB8xniGyiwZDi6pONx//Pmv4RR1qL3i0Fv1Or7Ton8JEVK+SnC+CSf9+YIcTnoA9Fo0zFWj4AvixZpKcEC4NxDdLHyW17hi0TNDer98Xh2amjdoj/TbYZWia0lTL4EA250p3d31BjVE4LRNz7I7f0dEz/UARQUxGC4Sq7op3hDwqU8c6MtfCSQ2Y/TAMk6WKlrxNjNzp4wttH2L1kXTQ5XYW8Gpj6wQcApS16ewVMDJ5lvOY2m3MMgOb/VLystXzY41EzY1b4+GsW9ZoB9myNUWcH7e0ZxqEFOpI2Vsp+33LQat1nNvVYMrOEIxS+PyIkCuy9pMLN8123MwMssog3KJdX7s61FjaF5eoiOLXnxRMe/Fy4lcFW9hJvpreGbRwFp9QWE1g6xXQQizeYLl/C2s3oqgrdt5qs0pyvDY6FrssSD8q3eeAuJOb0HoSiANG6twShMPHecuqqSBSicDxbAmfLJSQfwQD3lUxUd/rg+g9Hn/rhQlJX1dIWeqyMZFlepGlFtGGPBxUK9detB8CqlUcqrHYA/rUKMCs2emPG1Blcr62lOgz/iqd9Q0AueLT+rCd0vK3jqVyGYwZYSb2BgY73OYsg5b7WzC2E/rwQfyw3dvzXHcFSL2z/799Wy2wQm/tesByqWTQlhlALWEl7YNPWqJnmunqFnyHtvrQRBqVAH0nfjexT6XjxiTGcYp/0qWJuHHX+R0k8n74WuJJ5PvOE5Yv6XAtR+mk5q6XZ2wyKs50gVJPGRrJ/y3aU1RxGJiQBZXx3Th0NDq+TuzOcoWY/TvuRCPTXuRmXKOmekF4JpvAwsjWmGpNzRcrlVmV9fDUVJQfba7z2+wDfLcW0sJnb9wl4JAuOpwGrhqpZ5yKxKokWna5xmmdNCCk+BIh3f35AG0eIUimGZ1wiKHHr+p4pyngZFZaAN6th+i/nAEv4Dakd41ddxbohfNZx1XCoObRA8AjPCeNoZR2q1UwYJ0aDR0ePzm8FNrKPiQubzMuXZGNXaMc5vl2DZZIEgheP62Ny0b6JFLGdXI+vHRtLMZ90kboShu3QQs/HhGcrk2PwcD7uDCwXkVVI3UDYKVA4OmhD5uYXGIkHueSY9Il9JgzAXL2YIjZOoAAYBFPYdkIbqqYx0w+qHWP06nr1MFQQlL2obLGVcsUUHtl7r0BhgL32mMvXCHPQc/42WNHVkCypr3mk6NUkplXMUKQ8b3OFsp2EAUUug+52yRMCrf1qlTjT5aYLgDAUZHlXLvXSP+NNs0rf0DLx+mlfQ1sfGa2GasHpJwBCAQGrtDKM+osLDp/B/rnJ3oc+iAw7t4OKW/RKT5JBBTSWq3M6VSSOLLL3aK0zrihscNL22SDoLOphGltsJAGZqNmsPVAnVRgBTQ8uj89DRKQGPe3tRBKGz9obXvpftwBR5bcB575jRozzEdienRyAecj48SSDeiRGpVUA0L5JhNGUDuc0SCf8OOpmffanLhMVTTvHeHfq/0/VJkhf9wN6DoKInesRvnOxdt2ox+eZWJnshuBB9k0/ALdJzcs6QadHIkHeIcEGQt7eMkzLaJ7NUfRxhYd8ii7o9Z0Xg5++dw/xvggStgWl1p3prCjoMkFV3gNtp2SxMUjIczDpC8cnJa1/gpLAOL2f9Qj/VfZhP4K2OmVYIcSjcUsJL83RD1tYjyYr1T8juFV6/fr0DDghCIiH+Q2mcvXqwpkGYi+7SDvByyMQPLE6xGCzOZ43URgEwZUpbW3uljzbVvwm7Nrzn5mBRRMIuA16Ljgnl1s9eRDm3TaErmfGVtwfAy/NLwYVLQY85H9Cz6MeKm2cJ7r+xGCgwaf2yLbo0nHesNhBwZtq79LjQXQr/hDm2guldVYicKWbpSAERNTOTImcyKLzbV0aHAASV/Or1osyaNPB/hjkxJZSySMRkYmIjIiWI+vn5Woq9+sR06IDAk/mhnnWKnHU8aGhFM/zZ+BOGhkT3eOTwKU3+e0cB6V+INnkLdnLTbvZmX1xBP3ccVdM1mya1ZMK53VDoUuO8ijUuvQsEORoqHXPHiI+jDifJ7YK4Sn9ZmXA1nNr5b8sDKE9tELciYJSW3fJJuUv+c2/CrhAjfv8p+3e+GQcbfk5Ih53lCTqX8AToKF86QscIF6C6RfT2F3z0b3UY4luYQAvLEaEc5DYuvtICfY0MK4z1LNMZUF+/mHwoPyvQe9CkbkHds9wq27TFyEh/7kDNk3P8dsiXBt2m3ETolb7nrgW83Adtpe9ia9oSaXRpW6tH2LqEyAAXxwiI/nGkJPjtHcUEgbw+laADsauHoRL51496U0sWM+wKthU7VzYZH0aEsSirTfDv+j2Q2RI4Da2ly0J61xEYwl9TE1mdneoVjEZvaOzS5utKu0OfeL6x5DS5Y5P2gH7C6DrWhbhyMBCoMCbD/lB0VgDHsPXrI69xEUoQosPSE/gFgQkapL5BARgbC0hN1osQ/0q5wX8YYRKN1U9OUulxtwnxU2lL6ZddHRzDgNmAg8yCHXkaFu6tv9UjuKVtMZWZuHHrxNuM+4ronRBLZ1/+bSMS4HkyZ7OnMk67VweiaOI2eJDyFQRfIaxa6dU28kGir69J7spmvI6FGXLnlaF2iUyJHaVKWAKCAiiCrR7jP4TZIGGnyRPLXAN4jnUKvvhkrCJPrK9evLvWtABuIjtAmAPsajgfjSpUDeNyniQDmIOEe00PqD6KDczz1332KesxQPqUY4NrHo9TjZZYttyF55yLaUNQjQGRpgpK6yKE2cCm/2YPlF46Qt5BY5K2d7Wb1CJzznc80MFFN5+xbmVMjVXqywiTdOUl+joWHQzLWCfn3tq9V2uk8Ni6yCa4S970uL/rSdtFqxaXMig6ykfzXR9VVLUCy1V3Cv6q9OBU8JnJtbwjMryRFfUFMMmYNdQW4bZ3vZoXtda45z19Zh0EB3EtsfVQ71rSZ0lyKTwaS42IPoWQxxI6sHemkiC2+EvMDHvBA8Yl6mmygv9BMwC25yIAj95AzwOoYyw+uSnHEcF/kZ7/1fxRUPY4Md2V2SoCMnIrWBJGlAQb5EfB+vURQlZKOsgiKLDTwPoOkW/Eg/imPn9BhhzPAFfH3PxW1zY2Y67aLrXYrZMcz5wTZZx97RyinHJ591h4usIDc/QCEpBlPR9e2ouruKbZ1fjygREZ40s7bS9GfLYnVc4o3qui6qi5/+0v/CLSKpmASFVsEX6DrvWElvQ6qHHn2W7WhoHyGOk2V6sPw06UDQFuvnaupuSDonGmzrfY4weSSyJ6wiNQA0ndoZaNxKng9+Am7lm1z1tdg4kMPQ7F0gqXzrX2lWVTgsL3Ce+mmk9lKCIBOJyY7o3n37AoIZ42nETaJ1Oy4g80GMeCfk3k9WoNjTLQLvvfiSh63qggAQD6AXj+01Dw1rOCzu/qCEkIxJHGzmJFgZYdk8lGrnNEzwqMlN36ZLQA8fxPfng1qhMBnS27lJ72vV7ze5jCwQwzoit4AdxRfevbQ42KiH2UR0fhJz8FjzSVmz39Lw56JZmv7ilL191lWQfBkPEVMkKFG9svQYtPxp9beMO0AfgOztkb6pFhinpxSfU62Dok9FI0bYGPF800httqgt3W5BRpdxlDcjXgQHthpNZ1Wf9TR96PFEGWcCOWC+Ne2uqsWKtfU3uU7dDTFhP7u5cNONg3rRqYe2wYvmKHlZbKx+KMdCMxncWw0CjK2CcFlF/RAtV4adSCo2snqg0nVMfMLKbhr7nQHji1vZrrpmgVfKImkNiZgAaHc4EDp6LedBomVHejyMidFDivxCG2kC2aBjatjpGEHvNvIgYClxiQDGvFUJPBI1qeW3GRnZqPQ9N0k41maCSJsFPi/BVYSZYgMxwgcSfEtevn5yIDkhZT5i6ilgMb292FOufubzbBeQHfKHtCecZod9OE+/omxq+IzO6f41Y/pzoHmcQNaFo74gu3za8w5f6s+SiNt4O4BYLKGHhOFuYYhTW418lmT+u8ZT3+hZcfA4U9rzb41WIAiXM3uDWNsRs08RNuq87rCky6i+LlYwGrerXUg5CqL1hfoEudeUOHkGw936Miuwqfo/UJoYvubZF6ErF4caNJPa/1HlsDb77tWL+XsO5Jr1KiaaLwkfnZLKI7wCgvbClzO1R/Eh8GAoOMbVLgh9PWJT/uuTLwY9Hy5R4h1psHRf0ekxnf6aAeJnHo3D4BU1mIRuPW8W0sKTEuEO5ZfnG56kW573uvd3nyAp6z8bmzqWih03+ty35vs5HFyPrkpvCkBTBjTter2nwOxBpK38J1f4bqiTbTZQ0jqq7eU8A3kHHclVP22DO8kzXUfj2Br9ThKNQ4O0IwxXW5fCjszPdUDESvvuD9KxKmPQ+fZorp6qxvkcEL7oRkiiAIFl3dWuO5KRd5SLKJ8bvn4czL7EgQReYRGdOetAR1cIfTpYk9Tyit7kL99swI1jCMvFp4RT75tpdvalxF7mhhD/KlfTUykhRQw6fWgDp2YowHRaqiNDHHBAcyRq2vG0REtPrFUefR/86X1kwvyLgAze6CqSUCk177hS7chtCJyrwWfYqqMYWaOcxxvtAex6Ie4QzeB7D2IIm3TY8ljx+h3+O//S47tuj6jecjMi02QwXdE1P+T1DvNHu23y43jfBAQM9/qLcZhfBlyzZJWKO4Ydo7XVeFnHsaio7fUP9swVwqd2RQxx+oMj9cqRO4wq1pifcv7oZqNKkiIj1Bho1WnjJqFxztZ/3l8+leA6+0sUSZhYk++KK2YgWBfKK+TqerdZouhNLk0oWRBMcicvSBt2JOzea3CYm4P5h43LSrhELAPqLyh2hMvWbazFSthBY4Gy+DTT3hR9Khuc68aVq0ce6CUKyci0qGNjVeDqp46QUh2sFKSr1FRPC5V2YY3FGphCF5JOY0peHKEKG07oZ5aSJEG5+o1xeyE6yjZdSp5+RFprExAZqE5wX8I0lMCFwXb2aS7OXOB4T2vzaovfckwNwbRJore5Vi7WakwfwCu8kENByDffeTBSQYdGMBMEgGGInk1R2tzdS+4VtTREUOO9Y7mzm2EkrB2V9ZAoJOZuMA8oDj9wEl7IidwAigxhY4iYeJ7nTaWztJdU5XH0ViQUGogu4YfSNi/pw2YcHieymRmehqj4EZtiUENmyyPEYrgWCEkSRvjA6g6ogGrzHww0q7KKo7h9XJWeDdx6WAXe2Q0OLzJCSeWPayu7Z7GkYvLKpLApY1zhGYG5vEvUZLvmGO9pehzny44Es9zYD2qwaCWg0ouf1Wjvdye+ukjKEtN5i2ChMSMd4XtLi+WPbZMxNT1SkCjwRuZ1pwquO8eiJmTMYmdfNHfjHFgSnrCMYnLQG6sjHw3UZi1M3CBosDvlo60xLzjQMon7RFp8TVtGB9trqUWOJR76JbA4ZAOqY39dcb/rzFSvsUs880wtuNr8Sm/1mul6G5eVDlEq4kzmRnf9l1TzoqludQLuDjJ36Gn1jag8vAJo5JLhHYD4gBYBqQKvz8apQZ5azBfQtkgtEbzW81j3vPnQqyEmhC426AYpWh41FOwNRdracwTj9QYzqz9M/gSTzQRc/bjBcfE4X0zQwLMRWKfFC14dZzJfLEiQ6V+Y1aeg79l+O8Zea/ocQaDad2I1iSJMYa64ikY7r/Qohz5GdyI/Enu+TkkEr9mX6qijaGTZMGbeskOlRUrDNoEQVoRJZIkXDXY5JbZZ0V5U+9jgYO9vbrMiLkQOZPXO4UKChuKBts/gb9IO8kwVNTPu5Qrt/VT0t90R4sGZJASlBOE7xtRTwx1qvHWFIAQ+Qh76kytjsb57RoRQwjm20JlrzDmTaCPwsJl7sQQre0I6NgW+tHm5Ucsj8Vsu5Vz+1zLS4sUy7R0QkMYPXOuKvz46i4B+vyVK70tj+BH8RcY8D4WGVb9j/T8Z7WKCV9ur8J6Mxk0DmEygchcC0dtX6Ju5HMkY11id+7ya1fm3koLFDsgGRPU+wx8cXP50usKVKwAyPVPxEttvz0jQoLpSrWJtRv1RwWNneoPsjH4V1qHWzNc4GlcQtDicgstgMnzIak2jI2LOH1FurnqqXcSxcArXyYRY4/E+InHaQqHT1t7at2ilYNShgLFAzv3O/7A+SJr+GnFX/cejkDNXDvPRKdGAffFpUT07MDJQY25FNFtL2W5ijuoWUm2DwlWSnoPZcGX6laqeccRhgz/klR6GEHYYQpl50eQYhdAiquCebECsVJaI4J1mfAmBVmHk+frBxBcD1iKsGWWTHWHzbX3wmKzQaQpJq+W1Azqj76u3dY8BBNGVSV3fSdE1fU1ujKXSkyGi0rMKhuwWKmu3+Aal4D8WG8Z7uJaO0Fow2CUvvPmJT431Ukl5d2unILNaZ0d/oqN5hsXSIW+QZclcha3okRhT4i0FMy5nmd/WPWHgeA/CGKXF3u8hJBb027SzcA6xW+M8XQXRRUQSeqHm3362Wy7DS8dhk8AaqfAhHoKjQzyt4RcTBXeQJjzTWUaWOyk+sMO9pSvN+5Exorx4SnRp/FoEOYVrm6nQhumYsU+V7ZJhzxtcYst1cOgjyX3uuGAC2yYphZlmEyA3rFUrISCiAcC8ifgNgjReU4Y5V/HVOzC5EmkHmc042FHanhwUyvNzOQm+vPyc69enc7zezSCKun4JPIdemr0wKEBWZDwSVyrIiw0fI6GVSNP71RkNSUtBHPFSZ/RqIVS04SJptgZZLex6fKqQeyQiZ+pktG38mQy7fJS25xYnERuSuVAbKXPU14h2PS59iT5rRFBXlm40kOTK1ste7HIANcrFsK+VewJ1auBS1/CJeA27s43qL1YbUhD+e9IM+YJUfOCCST13hjaWi1CjMc5ZUP/z/u4UXCdGdcUWAhbH4wpW7WN0eSDO3iAcSBxRi+3PO4/SIGOBTNTCMjP3WYxC/eoKLF5vjTRPtyIx7yenxJm+BjmLhQUVcrlobfl4Jl2AWtY9yuRRKXR7psuCLWErpu7Jtup1XhX7e1asQuzxsRsoDGkgs/im6alraEqEJmPU1tD28aYaY67qLjIBcl0GQo9FBNAaj1VA901KXtVQHP0z4cXJXW6EoUcLaZq9Hzprd778Kl4eREC6gXAG34stpIMyL1cTK/bm1J+kGm67QqCydPNziZJ/bFIESkCh5LlusoMwvUpyZY8an6WFJ7l0YC+yas+GkyUbLD15cVHxXyqiCtJl5CRfZbWRciLmEs8oVxQHcHzzD0d/rrwQ1ELWJ9zlos2DXSBhyDc2witdi3JfszraS7L+OyK8vRqJaGFYGPYHJaqhGB1Myu5E+F8fBRFa26hGNjbA86nVy+DMCJ5Xj6Oq1sybdIq4IP5mokbVtXaZZfZeh/NF480WtZ40eWtI94dSeltgd/lmsP0eAFhPHCH3D6lhdYFg6F8ub5Obzh3dpXZGz4RtuqqUV84oHPGvzWRSyNH1rDHZ/pm3b3Agk4GVFIu2P4g26iwSmAZ8xiJvTa5Z8bXAX3TIa8nrPWGxE0Ee30yqOPnvDvqOhI14AKbCXo3u2MwyEwtuB7Mc3BCf4dfq18qzkmj2uqi11FFOuSVvA7sMkzHaOGtUovx7RKet148c1gQUf+wxKCV/8IDdTrOYE3h8T1qvIytSSRf4uyFr8uBoygPkJgYvGqaPZ9uiB0cw3UkpwSykEAlTCMsYkDIp41HAmxAUwdJ5IK7dI49yJHJXMLIIERneY8kSD0vpOHTukvvxybxv7u92rRj6K5oDwBmVEknhAjBitsKWoRJeR0eTTS4oIA7smi7COmngCTPkoEUSMG718R9uIxh6ELTVIWTWdD0LFUNCv8pKt6kgFJ3iaHE15Hxlp7z8ZV5S69AcrUXz0G6IcszIm0+meTyJfESoqLcDYMOphPS06RQ2t0+5dgI6QLSGyhcQmLP0LfYWMMGU0/oLiU86/sHFtjMA2/9qCCyF+k9wC8Y+hm3ZqULfpbk+dCnnlvs/Gow9I/k+rYDHJInCC5Y4VWFz+Iwee1IImTiaufbg9BWhoPUOFj+f2IMmaTury/kf2Xawg4JKI3X8qpNGjTMBjQmOsmffcx6QCCP2YATSlCCr/QA6sZ5Islf3PcbIgCLXGs6Opo2rBUEaPDOalKVlYARofUPMqxHtE8z7L6E3oFs+p2loMVp+OY1yL8SkG+wPK1j+r9YeL7feYKBPP/psVvo9nyd+6gYCYjMn/ji46xz5gXwMiZSle+r1AmTqXjCrgpsHM4UHgloBP6ntwpTGgc3QpwMWEylGBL+CX050jBo2R8pLkZrv7GfXit1/eHiyjIXOQmhXbvVIykrQxwhuTJUcs6XQIG/9W+X9kfmT5rxc00IZ2y2TksVKjWv4Q4C60nfw92IewPbpUE4z9h4BDdhNGvZJ/ktKDszJCAbO38NIr63HK0XS/HJRW1NirTHGsHbyenCVfsjr4JJ6/Jm/Zm8hRh1k8Ndc7LprVisamKMW36BLyqJCnUunSf+ndL3ZN8eDDh18t8flPUUYqOMU4GU9J5Ov+OzTisGO7YdEghlAWbgSuehKTHGhdLetyi4pG6Z1tO2p2UqaWmaROzXpIz8oe9R+SIUFtnT4zrU6kkIzAh3iwuvgUvUraclu0Hoy2X2X1mE15+LoXKeFn5IAA+tzaL5Av66Xa26V7whEjGIT4m6N6mPhrHE16ESCxRVQ7tTP6QnDneqI7zr/e0xUWdZRAAUtaMrzT1cMA7CsYRXN18pv5lNxWJO4wLiZ+gCtTGFKQ/ZD6iiR1Ca299IfWdmJoXSK6SvInm6kJn75Ae2HABHYlOzTYuGWDE4X3qVjO/Hy4Hx+7uyQa/jPHrGZzNANCBXj6IYc8aG6t8seQGjeKY2xDhyXYMerIY4Eilytbw464YUkhwFSvSCuX/LD97c9nlqaY4zbGBv9A8Xb5uAb2H+X9wiIGqVkgOQlQGCjMTsumEx7k+3PN+3z+EbMZz2OUZsVHtIlC5/9/BEiWDp0THKv3yAv3ScHnligtU9V9LRDlRYu+ekBt98CgFk/uHccstqUroRqDN1EsnOqYPwdYow8x4K2zl1jIWalymP6GUEidTXIgGJWuWQBt/AiMx9HWpV59eG1uEg25eLK8VoCvuKBxFh0syeg7E4vE3exis+ucgp54c6NgnrMvJt2MQvm3hXIuRdmsmXfjK9oKbI5ZSZD+/DDEguIFjeSIfCw2ZoiscLidaSdfjDw6r1n7+Y3iXf6Xi/7TKrWTlFhw4ApjiZn92BrqAZBZzx0kiAJEKx2LJbgfmFkBHnfg7vgGo3xcytmkcaF6GLvVfZ7A9ZhcHniwGT8Zdx1O5QIlri/ZjUYONFbXpNsoB7sVGnMQ7FQmkE+pFGgKnggkB2dnpfmUkDtm0y53gsCUxZN3bJYRGdDUZfxDPSWUzPhTTPEZMOKG/SVOHLqjaHPkATS7jYhgQsM9pjHEds5IfGbZ0wRdZNKjbgL7pfwcy68v4A7t1kP8cpCmM87ZfvsJHPmoI3qMylzJMtDef2XthUjeSEtaiV2eoBkdWlTLL5Yp82QytVwHK0LwgDt09QLWn1YFFogomYuIVp98EB7uNgJ1Uk4e+qFlMpvvC6yK0DuWuJ0u1kOihsvfdPsNvmT2nRmyUoRyK9GT9YvVDtVIbwFN5zmTwGmUmmvaWlg6JLNNjXsD6fY3OfpC2yaw0WLxS1mY0K1LGt4vUUaX0KGpSHLpGvYFKL+7uIz/Fy99NQ7YvaZU+zF/m+PaAB7MyJ4NbiAF9TuIo8/noRUmbR6eaSzoJAKDWoSvrZBay4BGn5I2iwZ7KEhj8DwJSBps7wynq5HwKIOesl5ALk4/TDQZ5oAZh3Da0TrhDbcGccul7o/eGdyDrwXq6JMrQRJ0hcRLFH04JxIk994kMAqamv1kdpSrSMmhOd0bxRQ+qzLJYh9zqCGHz61pMrveB67/X85Vf83r4Ck7RuQNJwj+tmFTUcODnQmuTvby1AHbUjvplwCLdNxU/BLFvflBx3r58Hz7bleOtXe/QVRxL0eVIOSGm2PaVfkZ4a8wkGaB9datOax+KWOnDgGuU7YrTP5J8mnFtH2q0iAkj0Jy1ANWoS1b2n2xn93BTX5Kj6rOxEql0Lpmyw+ajuAQ03ErruUA5sjmmv2RJGSbw1I78KkxU72HS+GrfHWaXIA61GuK6AXr0PRbeZnvk6Y+hswO6d2ruvVzbGeYT4Al8cOo5SpTUSLO1cCDW9cYGfUESWnvrHDQgKHXjcJiosthlYbpY6NGpIa7gVxYgRsvCti8JE6dVL27SUcvdNi7dGsPg7c/mUyCHdo2nUdVtQnfvviYBlgDmJuROv94ruiHAX9le8QkUmRIg3JKk6HYyg2tRRsNpeo0M4lof/0GKx/HxW3DdyppkI2Z6QHFB3m/DUNQlI45vcp6ihn6LsOzpFQKU2IcZvY7iDPY9tRqoKs2va7lYJrs73IE8484yEoFyC7OUdH15S5qVhDw2mHDlC8/hVmY4XoywlvpEI7Ms6QzxCm83xhXCL4L4lE0UGLQjofPp0w4AiM2RGkRk7VJn0DCHapoSulS4Sk+gBCY3uDIVCevhuzOv5PZVsIDgXvDCFeksWVTo4+xtPbSxTE18IdOAbXIH5jQNgm4luuVDUj1hIqi523+BM5+pwj5J7TSz6PAuK32M/0klsMOY4Ps4+YWwbsUh1LRCLjzVJGeTTM7WtCDV3bRro5PoWJUHfh/vSzxKYo++oet1Pxwyr8bVZNYm6tEJEsppVjYhvlqEAs3uwKQcyaUWHCeiU7zuQGyIjUKgwNzv3TUKc0hGRsPrTbA68asSYl8oNji//lb+M6KQHqSVNjOxvxtWCn0q9BDpioxK6SXbK2gSynCFALYpculsC9dDlzUCBxiHq4AoZOckAWGk0fYROeW7qkAcCWlTShO9voEeT45pn0fHBMb7SeUB3VXqRHF4JYszuiHx4AEx9uQArmZzaHusNHLfvc5XZEfB6O1qyGkY9UfMzbpO/Uwt49ZPi+Gaff/xn0UEAETh9sIW7+35PKG4j4xFIqooVtXxgDGYcNa+Dib+yXX54bHh4KpH7H9fC24wxpCkzaO5NDyv9umgACjeqWSBEC+hnpC7EYWPXGE11kiR12MYpWDcyAE9F1CaNbmdv5wj23Ri1soBOszERUKjTuxsZzLCd2yJGUISrvad2TufqmRu73OfSOaKO6gFYOlU43OVchoOtLYfHgQUmmCm77hDuoASIHTLcHHNvCWn1aI7W1d1p5CdEJsraQhkyPj6iWs5fn6uDJ1+vINQKbOTH/z961Z5wuV11IKO32U4yz9Tqg4so9rmQTy7J8ngpNQxFoNO3fJRxdXKaqHtApk29KNk3iKPDftfn+R0WegaWttZxdlIDXCAvi/2WzDrA8SnCmlgAOdgXLXUUTUuVtocaAioXqlUeQ4qoOdCs0Dhv+2gRkwVYzlmM+1l3NHDv4fWq9jLiil8AoKVLqIEhdveoM1kwQIcuLE/aG74nOMpgO42dZ/q+/Xm61EVPGJylI0QppT7PPgqTVmseN62AOfcyGzq8/O0pA+tcEV6WPTjMsmtmUNT6sfBG3GCCacFPGhot5c0I9rDbPxIW7ji9A0bJHMmITgYeoBim2D3KYLQbJIC0vds14eIeKOTIUhjedQvLrmilj13R53EBaPZ6WLyIahkbsJmTO4rgz7yocuQ987gWYrbMWmmFRT/0mKDXXCQ+LanJj4BXAoCrgw1zT6Xw7lcxLVc/VKMry6uXoUpHqutyuIZ3TApXspMYTgarBJ+Z+R+kDm51js9zcM3r3ug6f7PUT0RbqLbi4gM/zx90Zpamc2ah1SUpDkN441RjIU9f3IW/hBug9O6+l3FoyAF3vi4yj6H99TC3TOkAikk1py1nY2YZU8yH9mvwVlxbubGenlw+SsADc8npAhhXFEMhZCiLtUaDMvclavz7/6w0mEokMZ9RPM1Gbwh43d/12bVqIsSDVppN1p8Dr0Fyk4H635+VCP7ZPd7C/0OtMkGKC5v1EFTkACKlBZwuJN6jN90gnqc0BCI7OkTjukRV2GIHd7BUADKmGaBLi9tYxfES9hpqtyVL2FviQtkdtHSd+BuYXYyQ7XWmVtFFYC3wg4FUJks0BQacqW5+xxNvWuOv9nyao2gIt5a4rhRgNfx5hr+p7yBnICz+IHDPbeNM5kDojGDX2mozp8Z8YdWzCw8u/RhsxdUfxuFQ5SP2LnyZjFG9X+6LFZ/XCUClYVNuR4NkBfDRPG5LEhVIMFhHIZDt8Kc7WnKA0xMRrxeme+S0XQBXZYVNwa08bYtjEBZs6+/fLYAZhEobEM3RpQCDTxQ1QfFYZCZJO8p58Rn2fGcGE3qBRwO57fYzqcXo0Z6NNxXULkj8Zb30pqhJKanvVfz8pZP1iURHDX9S8jXbZgRthbo0xXnZQQNaYbDNECrhItL9RV/x+edMwySWG5Vv9su7hs6bdnjX/qMXyNDmErzASsdb2gg4rnPzb6zZebiw5LJzc1LZmVmLv0sD3Khr/t4kdytug+jg8i8fjAjxsM7gTShzPobTZjag1kQSaXDdJ/NPI6GBA3dbGZ4smkV3ZToMXqDIlm1vdOUhfMJJbl3jTlg84Xupppjxk9W7iFLsDmYt+JQZFHNbQedzLlc17roaEhskHtae+5ukEdfaJdN49vr3cxwBII2j7tN9QETN0LrWxR1ZTlxfBcvVzA6VR76pfBkz3kAhWNuECZblB6MK016oejmZ6POSiyY5S/LpEZ+ErTdga0SpCqFFAVGkr9vJL0nHtK/tkcZ9vRG82XoVO9hkHwt6esjjxakL/mKAKWihdn2Kxt7gpZNKlkVJSPYNOYRYdlLaiehiece3+3Z4CbOPZcPn6V03MAvjAf1v8A4bfu9O0zOXbxGooPIoZshnswoWxokr1+n1bDQ53XSSSbkT5xh/7Ne459L8I27m24q7hgmh6PYPa80cLpbyu+9q1Fsygz81qj4SVyGSuKdTNTRb0Upl2ERMdW3kREoyUHLfa1ieM6q7o4sZ5eQxg4eZvADv0+GpH8Zv2LpmU5K+Gi7j1WmQVeJyd877uJ6gYdymBrKc0p0ZMACrHpBsBPyiDlW6O9WXw7kuxuQqfqGGNt3+C+hfVdDt6WjmD8jXeEOU8UqdVe7L61e2sCoKWIAB0PWgnZxZs27dfdgchEAt9XMkF3jCufKAVqdQN01OsFwlkKGznQAX53F3xMZO8GXGiCfLzbAqyClGQKYLNhkbirJ0Jcoc211nVk4GvwW/mLBFcZk+kqMQOeho12D5CZBoWAmc68Q2pRN+WVSRL4IcG59vj1qZwlXT+jn7/GL448i/dEvbUaKdO9pk1hXBjpKyg9uB3fR74cF1GYfLRsQUbx0yNe0mcmXedDsfQyPwqp1M4KUC0eI/R109axJruTOttdR9++Q9LHbDnyMHk0zD7lTfjC4jyHXvwfNw8yBpJLhoqokQiJS/TikgeBh7Osabc6/4Cps7RTdWfbrT/sdeGtJUVreByO0qP3And1OVz4LdXHpCMvOhonPcC8REtQ8/oYjMUdf58FWF/48iZ4HatZDwTIhp0tvo4qO7h3zTNAWQlVPCLuhWfrFMz1IG0v2xJykU4TDfVkh6IQVp74X6x/L6GMPl5Tc8SurOikE/7zxf9gfjDhH9ZcnnBp1gTZgHWrx6X2eV3LKG5bGC/guj+eBnDbdk2jxFtcpr2/3Lt3YK5Bb7LhEfhu2TKDO59u6FCFsl20uzlSWhmsiN5MixLJzkBQgzoq9vlBFIMkG2Ng+jcDVl5uR/Wzmla7gfbPRuvMEfuK2m02X7enRaMQCDwbcqlwqmzJqZ8rAQU9yMTgWbzwQsxoX0nUcsy8xIx2MpGrepIuOZ6IxxKjFaSRH5rU5ly23qohORGBETlv4zC5mGOQdYi+NlLCzh0H2MxF2xXQrHlM36xT9NmZ5PB2D1KMkKdLNxLl1P2DBQBqwiUutXFOqayibUvYNkrsMOvo5gNnw/FkcXaahC40tumJ4yPUiAlAXJ62SRs5KWKFlYSdeIcY9DmDLyfhkCh1MyCNJLpmT73vx5RH1hEhiFDP/XMS5dhpp73HtfkNGnMAYndvXcL+lW+AvVEyu90c/o5dUYZc0UIKRDhP0lGtfNgtWi/jED9AieOw+6S7HAv8y5vdnqKd8W18grl7BQltHI1pJy2TFxH+GQ4m9augofSW9fU51uRi/TTYl0x98APZc0FSFn/jwVrvlKCZdJnYC1S0DpiOI2UUyOM5YQSGxN4b7Y65ncPa60IcS/R17RcnvQCgWfU0vScEjAtQwIw9qvPOLTFGJqyOThqCNfPY1q7ob17b4hXQ0Wu8Ll/tnR4unuFIBHRKWKXLjRD5pfqHXQK5cSciRRn0JDI6tUX0li3cfACcD4Fw79QUdDR1fvAjzVCIzdGBPwK4jCEqK1D4VqAEQS53dBaLWoqbHg8gRVHDgTatPWQHNgPLAY3+NIjXaFmml5v0DvTh6ua4HEY5QbizukKNByzWdurLiCG5bmeki2YSLU0zgpHAno6kUEIuKqrG0p4n9il9Vkm5SNALpsANBmr+f1LnDE14ti1FqJ19eHyrLD/p7PwRV8RRjnVnoZHieD128mJbsDkptucOw+DLq9GAkPML5YTT4lqq9GGu/lLTkE5PtjnsxGFdwuNTtOW/oBuVraW6MnR8gB6MrNZMqRWYBEQvkO+ICCLUuKSyYtzCANOH8+dzjs+xWnLzXq2zKr0mWxpNcn+rguuOF6rMzJlDaOn3nmr942FOUJJthJBCTbc2rkPvJE+2d88f9Xel9gIKyabKfv1r5FJGpcLeFShwrStqET1qkVLbhFGRKvCU8bx8CB2F3kJ6WYwyG0uupksRmY0sTAJPeDiTfDPcPPPm4ZqwALZAUzzIElg+gyBNc6jb1xpp12CpZmUbtUIDqBFnEtJeX3UdhnPQrALwAe9MWeqYQkNgAWxpj/5tay9N7SKClj36dt+NE037fSW2nnd4rD+w/UsNB1kBILJ6F19UbwHKKsR6KDFjY0i17CUrqUyqPv71cq98Y2lXChoS4vQg1/lanAKLtDS+7PHnV1ApNZnLa2SsZksZJiNPliHU6wEepLOLe7fJ7+r6DVGBJm0EvVjJ4oeHnCR0D2bdpVOlpgYPxDtCHPQ6w25YRPlGqrYalQhoYll5UPn/JiTJXLkahLWfYPPZKjytHjfm0Wztuvg/JTBXxGCM4sTd0BvlK9If+LeNWESthmzJT9KO6FKuIRKNw6fTAmyQXx8GMLjddhzlpdZzypJCilxFj/5tqXi451IuSv52PZ4xMPCxe49G0QH36t3FNGyubJ9wZM+Un1rAt4tGQlBI7VXtjrjyu3DxQR5o+EYJAAqeL/JJD5o96zJYulMOVcUE2BpskWApzQ49+1VGhfyo5eAAYSM5DuViR+OzNV8N4cii/hv971nOzY30IwapWzSSLT0VDNfskWMobzt183Eu2qhC32EZO0fDP5uOlYPicLoC1eT6YhPMNFnoCtF2+cMMXkR3LIa96DQ+aHUclaeOAOuOQvKFlCsSDvjg9RwrOlm8fsricQO8rXafjsXTitEF+NQOeJdw68+QMRcKpHGg2TxzZ6w6DGylon0QmYqfjp0w6BVvJwuLcFxWqcyJ8BIxyw8iQ9Cc0ZhLmiPBRtQ8/+v5vmMyUlq4ug8/Xv3dJHJtBQArgUEmMVHBPhDLM23o7FQaDS+CSydgoQb1EylkSHZl0+k/Zcb6iqudh8VlHICq6XFvcmRRXtXebiqCDM3+/CKd0BhaJHlEJdB5YM8ede7PditFy+n7IDGyT3VYRwDBvS1xdblWDOXIpcZrAW512am6GpW7OIIRnJKrS4Nn4v7YnVvunF+n86wHpMfyVE33z0ryq9yp+K05H/xBT2gsefVgp6DqcUdZAJKEnkdoZImpeJ4jZ+nH4DYwOlvVE1+hCZGiPGxomRVP35cHL9VeoPbTARtrMHX6FiJAJpdjUKNG9imNgGRZtCJRCdZc/rvCzuyC6fuuZQUjOrMq65HZRIhn60NYdt+uZfNdzIRtmNm4832NAF/6Jud2ttg6jCbe6uip9VWwVZuHjkZL6OfwJhvSYQw4aBQe9uerdxnDL7yS7rFpaU0EN2Sv6Yny3+TahmTMRuhGiCOPYxDi96uAO6MaKLPH/BSNtwIl2y9yVNX9kzQDNThR1z39ySx6mjFby54GvaWgEeUu1Ej2SFkF+pNsgZRx7H2FYNlstL1zmVlAh9N2tYe2vcsvthhc5CZ2myUJQ3j45ouiJ5fl+dhzd4xmnZ0EAR2gQDEJaSLNwPXy+0ATdnuNFEFYrYsdJom7MaJpaNwt2sVBmCslXYgnRPRoRsnxirXk7PJXnf8sRCYsE1HXvIYAPyI4mVeJQrIiRwXNAPB2YHGppePeLcDme3a2yCUX2CP5s7vmuv55EoTVKLA0aV6rNZTscrY62Ext2XwdQN/yu+VJio63ZAc2/8+0dh4olEawOqODt4Df15wa5kjjqD0YYOiYlh6XFkLMrqZFFyxfPP3BqdGOpqeTo5jzFzr1vvA5dbmd/RApYs3iCmFvxWoMeSiwgQdsB3czRQApuXjsniuFWGtml6MNdatP5mbq33vJDOj4xzCwz//SkoBmtUpu1orX+uXKEKc/nnX0QISY86o5G+GmWZE4mFYzU9LH92d48L9U67FXlmcNrgff/V8pSZWjbb114SCo+JqPDIwuSwOE/aWP0hzYbXnB8sb8cvOV3VmFXbV+JxH8k5Xb585MQQvNLnrSt4/gdhcRmjdDXoKuDRIxQLUY7OYSjogiyA8StJYwb/MP+X9MLxtxgMHArILqUV8XYifYNnuQVCxkPc5SlAR6T9FnkWDjhNIGdAxX3n09HsKwKwLZUkCCJoEul/MXsz6RkHFS7cnjSy/yr6z7rnAxtIcEhtWjYKzXZVwJuTdOUtPwnf0whi+COfWCdtqZl7xQhgnKzcz9H3iyRiVnJL2klWHOUR1Qc6qhbrqYvkcF7RqotR77Q09IjzecO72BkAfsPvp5gNCXx8m0r4ao0s2FQsPXjF5lqR9o98QjfUe3B+zF8ZvlRVEn8quks7rW6mrT7n51ocPZGN4bkNzx3LRT473H7XiS6ucPa7UmssENnkhFJ1HA/Pb/wKKWZxDdFebIgI8zFD5Gr+8ffj9m1A1f78wBvMIYYPiqLO87IGZgx0r+qdIzY1B2ycIRyh8Xo4qNLktR8I3+sXGb7m5VPAeOrP7aNPf5ZxnkYdMbHtOImlziqwEotHWT9Dzys/Vn4Jrurq66X5D2BjVVpgAPLqQG+1Mo7NeNn/f4Ij/t8uqt+FFpUjWstmAcf7kLFJ8DdUcWgXSbnqNZ6gUP07FyVacFzryDXcRb+YKwZbEG8gD7lDszUZiCQHbPF0MtCEQBULvLF98zdKX4WN6rofzkeDEy5lT6H5NYNY87QCBCxp5ggdvE7zqMgxG/gU0IFDJsxDGAZWKRM/lxif8SRvatxJZ9WIC64AQa0F5cslBAIKzYLc9T5HRx2uJrsEq7N35X8IqIBz3ANzVtp7+SXwLOS8slnSkRYb/wupy9IQoGOIrhjWMA35wbtZJXlJ46d9IZd2KhitGMkgDNOi6oyc5ld3ao3sVo4woSla4SfAO3zB2AKE1muNCH5FqyrbOapcL/qx+zuarpjpWM9OhRMIFM4kjc13f0l1GmLCmrroykgpbggAv2UDm65G3noqRP7SdubvydGnRcUFonNyaX8lHPm+sJaTXfjPInNfQmM52eKs0Rqp/TUDweGCPCs6fpMsEen1m0DQWi3tKmwQeogNSrAXgKr+X671oRZNg6B9R+r0oLg1qfafztDdXylk/tVemYp5sB9EhbXrVVLCXKvqDm2HMEB9FpiG0uSsPZXvtoy4uEU1/LcVjHiALmBFaL/pNJjC36+Nt0FKyWIyjC46s5t8o0HRXSagvvSusDdNqiTOX+FA+WATTcpkdhstown2lOit5wtWucqCusAatM+NAXDsEsS9hmSUAC7FXhlcnNggtWhZINVl2RY/8U8mAXb5OkY6fy403AHCQpIQKaQ+f1n9ehcwYWflAxguKIuvTReh3za0jUVlSSux7rmgha0Mrt7EJLO3Zhh8jd64UJvJte8TA+rs2QHVJXoXyFoueamHdYD7Tc4dOL9UG3UAHrm4zrAwiquomyCeDUiQOafGpEhy7nks3nvuzyTOd2UmOydOIRZD9I6+ndYfrzw2xQ9NnZyY7IRNTWlqS3rljpJxRtNHq5XruAfj0cLId1UlWHPE61UUlxHxaXdVOjlzQSURVaV+PxvWndQ6fzsBW6V0Z0AsafEFhKp46vOCj20jXaBoPZZsFcrGcvV5sbHmG0hRmX/yw51E7f/Bn2nJ7tRbI+G9mUKg5ZaphsN3oik99uLWPNgNG+BU/T5EqT3X4Z0Ta3c9nAq+ZET+4jsMuUfl47sdFkm0a4X8t9QEn6D66DJoTZF1C/DLoPlY0eLe/74z9xPzK5CuRy27+BJayudAquEdCenEwP3Y+rUYFQ9ddhcp+Tm5n4at6AzgiTC9IHexdTfSql2zyjNRYtDQkSeBzBIqjZrlNiYFlsAiJv4VgufSaX0PXSs3xqDteox+YOZo723mdul0IZxWFW/r24jBZAI1wSJInLyN+R02C4oUWIn9CF3etv9f3Ai0vMJxKnHBkPRHOHQO0U5pvh15Nywt6mUDQrOAqkllXmoiXg0GsMpcY/CNWH0b5sNdmFQlAEuCj7r4vIqwmKjEJrz4KzVMrCkU+p7WrLFu6urX2+emO4yKNE5sRMCsPbeigJtFSGWQaOuSHQOCAaYxQkNxqR4AtjKXd/oD9058vWjcIUu96iuAdZn+DVDv/C7MSjgFYWxrp+8C54nfVXiufu1EvkumRbV7pYKU8/GLip7XW0xiYNTEAJUKECE0lhifnMA6wNh5efDHPYS6aN67tCMh/1LvWkmIM6JjQWxu8SEmJ16zFYDhEJfCYF+8CQaW52KAhRk+CxVPMev16qiEEXoFEYXKFslNkqb95SWy9dVsw6zcf+tfxuhZzGdfrYEwuX5o/lTLpL+RHOKB1lRHurBAUjXwwU1SlqDPwilh4uZwUz1tKQVuq7zPLbO1YTFOQ+mbtstau3fuTfT78eS56ht7wyCDtjlqypKWdErj7oaSx31mN0ZPwddI89fDMVoqQJGeDAOxaIpRQCb1mhtlM7jHtMlx1MxQZfq/+BExc48j8kBpVE4ITyvkEl3NnNB48QhY0jH743AWpea0QBiBEn4jANKclGu28gyV3XPcFuEpj+oalwrvS+KIzJ/zvSgQpSWl921EcKj1jxTtKHVu9xT6bdxhXJnvR4R9uDYMxnqMaQAW66Wp8UNS/QDET7O/vU4Woxu69Zely2aVosl4Sgawkpm07Lp/qWesuXMT6HjLShPdPMKGmVvJ0M4HBqsJDv1EvmrGiRJ5ibtAFcJmlSi0lHMqH3w25+Ey1ruirsGeewUAuW0lsHx4mK8WSKRlqHHjZZo+NFS9hFISZs5e++0zMNsiWorAVJM4ML7Sj0CPMJnrJyRBwqBlUhQWw1e2nQqpsr5S6JdI2SK65zHvHi0CREalAbOSt+jdwl61jbnm5OZ0xSL2hLw5jausprtZopL/JIyGtwYvGBSioesIQV1lLu5xrnoHho05ZtR3jqpSvnWyQf3LHak8M4gqTzEb+vY9u7GJfnn9rXZGJuXR6be+pd7vhyvM04uyO0MDC1Zqf+Wdnzg0zQ9fLcQao3EwO/7NFVixtvdUfJJG2sdqpaVOl72ioMFm2EqoEbzHARuCfceigUZbMPYu3W6hNlmha8egt2sokUN7cE6+7wADvaQZEWENrYQXOKyjoWVbA8uwx3pVSgtcfqLra19smsDDDwP7cohn+bznN48XEH56O4/ZRHgMmxgbNtvZKTfLyC9ExNV7p5wuC/gcAOOL9oMmT6OVVmqoxgSxwYlgIh7jmDMt8CGZUPJ2ApLjISQjasmCwz4UldVOZgwc178q8CcJoT6TYdry8UmyBtKn7hsV2h3whc+epJy+dDnQ5CRLNBT0r3eLJ7TXpmBA2YB9Ocjs6PfkNx+Un4PYYV6//GjZ+ik9gysKnRxYy/FCvpGPuKOF4nuZkEUbW8SWbV5vChqOh2pirk91mweKj8Mg/PNJkKhVydBT2k+0VQ6Pn7DFdmIJGxj09VmDaoEMXanZYv51oUKTH929Vt39oiXHz5Z5jk5RYGFBOf+7CAEqZtLq9m7NOU3Xvzo9Xf9UQ5jOncyvv+r8FEB3kzfUkTowOv2fGY+UYbI2e9bVPbUBs5qN9l2JjyKf/w4QUCkUSYg2Se1NvzS9j6vNgDryNtHgmjTMdZsDR/AuqobOANNUddmz9Vn1YO29HpyPEtE0GAO5egcsM+FzuYpBAP4I6BYW/SrSvr3GbE/0C7hmv/NeWjMDsvsHYvOUQRu7Flo1A0tHkfGffVrE70pSl/eqItsp6h24H6lNALdUIOUl+AvwzuWqvUU7Rc3AsuWGLSrlgYYWg62YmFNi5S/oxXAYwrK5NZ3ZenEZpQmz4yG57ADzXcjCuekq43bd1C99aP2Q0+P34qKhaw/o4u48sFjBhMaByNpIKU4E1fvhvmVUKTZz2wmIXSKD7nTpKF1k8klZP7Fj72s0jlZVR4w9HQ1Qos1MjkmCkFafJNBGU4thX95q5Tyt6DeoWCZp15OaTW9aDQPnUucln+UH1u/7GRbjRl0Xd1VPVz09dXhRIH584W2yBuimhEnwgEWfH9c4geR3cDQD0mnrqoVGbnGaNKnmKeQASuEzg2hZ+gjW5xlJipYSAJA9Z+kd+hvTvG9F5a/A6s/ITEE/hPQTCGKb/tUgR42wq0Ii1TAR23lzTEra3FBJ+NqfJZzXAS6z9hAEHu+76vqtfZKmKgz+FPgDdZhKdYBWshHlc1z1he4esSVoh/yCIMywZWAC1m0hidLHa4SoPJko6bdM9JWMG6wIFO7zNrUPUWJorGNcWjZhta3D1SqAYhWakM2KEEmliUPnYxrvQ4lQ1yfQcfZLqjtRzSwdFPBhbayqV+taeCpA3ob1GCxUXIgd+wbSA0UmcIQS8+0B1V0DaK7pX6bK2O7ANB+TxkXrDEhadLujNpH/Qn7jurTu3+TZD9ZpuHQF7mn6DL6o/u2wlWg29NgtsZlEhRWXrYDVNqCgiWAFbQ03YiePIgBYj4va70+fZky1GuGthA46Ef78EkeojUlJBH20TuVb61RspQ+QGwFLE/+ZTtNBgOOidVW1oZwBGbvrS9lnw6fsx8/xYFgK9uAW+0luaU3QX0s3TQR6jfcDEEN1S4cv3Gh0tKZ0E6xWhdUebgs3g3URJEkY1jXXpEpP6Tzeqau4/fj5JSRuR4Dq+TkcguQkxUxNiP1DK7zthYRG5VkyWLSKtuvDWo3BYQc7F5dnxjj4uZzZcmhabPO5NvfG5yBKNxbKDp1c2WHOjxNMULZXaJvhsekKERdf3vKolKSMwoxPbaN9cjvhj1F6Vw8ErR/SDLed2NVJ6TFmGfrGuY2oU+4F1lbT9kVciLFZBFR6ACMWWW6mPrJgbGSCL3v5VjCFsVNq+QpTnqt6jnmoOm1CIomlny0FOK4Pa3FQIdsM/GBet050jZakKU2Ktgg/JLi4+780X55m60fTdsVWPiUYtATAtrKvzcvN6V3kDaub3yfhdo4O6fcjsF/VgWiURndGFsestEl+zanLWeFi7xcwk+YgfgaNQYmysKiZyJtpCHL8d74qsVLK1XRN6cE8FHbRLHW8xRIGpkHZPTV1rLOqj87Hqwho7EdJUFM0dn743YqjwG77Q71EGcS1RSJJFwxEAxnQltdkRkwWa4uGLHThf2yXcXlL7yBd5whnD0N3Kr2m41trkgJTCC8XJjdky8nADek6Y1FmXM6wTHVxBw4eUub2dUf/vrx91/mkbHC7eARm4zZ/98A/VKqdx47ToieeCaxsbh/BSTTWM3dI8OeyZtnhYZWtqfZmbtrxp5wBkC5yVQvKLsLXIYAbgu1oGjJDvZ4gO4miH39bf9WhRa9aj0qOtZ1AaEe1pVBDJa/RTkGvKfhhDFWZUBmMpUfVvneX2oQSu5F6p76pk6YFlvuKWayoyujVioW/gy0ZTc154bi0mLDfQYsT+XuPQApFz1bbFRgQT5sg5pmp+FHFgdJ96dIbdrNt0sgIFoCQx9XeShtmiIv9jrWjMukukjNK4dP3go/rE9ckE6DoefxCsBv3bQxs25jZOerQgFK9rVqrD/L9hhaoqbw4rsD0N4Qy74z0ZBF5fS1ywp/RBX+fxp3j+z1jGppYdx34PpqjAwg5wTRx9XQ7yltyc7BKCahvLY/ITozAI2HmMf0nvyadiqZf7RBV5GXGPgZnSXl6DROpyZgvBf+d32UAbcDdSMWboThHJ4Jdimz3OgFh4QSgIvUM/CXltgXy2lIIdWHIbbzOkdFyt/YqkO4eZzd6uKu1olHChdq8wgkVnwo75jr6JJCG/Z5+GXBJzVDciXgx/I/ahe7zgqVk2Sms9UDjPJLUH94MITFHKtW1RshA7goYwF1deieRX7kPEN1rtvu7cb51idQRBT4F3/1rCmuvC+FqXvdMt9xEYw+EspMUD38fmZaIOSS9NbF6ocJgeGGxK4ydCR5v9GOlUWvMhNatYJQLQ7zDcsU410GhzYAnLao7WlLo8zYEAg2C1pN4y61thALWkd5gJPiCfShRmNAa6bDDgSB2NHRvhFsRPCv++bxPkoccIP0slv/zm7zEx9/BORBlDlrEYqFHsVkeBy8hsHKOrTsMf4z6EvutfrNHVDJHlaKAHmg2vkvxnGYURuQoQVuI+acQZeMp7P/dhLQpPrc/fvh22br7p7CyOqINfhJbToHSItVOqEHhyZRUKOjh3jp4A73rseJIv4oJE3AtyZgIb0RLBx0WKoK8W3+60rkI3r+OV4LCR8RAyxdYTYv8oLDT1BiVR+6EMuRmJs6nl1OZAAnR0eYLj7/kT2MxQ/QjtXEZSx9drHcAVcbHl3yXBUkr7h8fJTTElPcR1ExCo4MJE3wCNI7LCgrSlVCdw9RBruHZ/ko5zUU4e/kl9/+tdu1vziy9s6n0pjH6lcRtkLCpR/6ETl39rEH4yiEU8/9/zZzczckw/6UQ7FJLC/taxmf2jEmaCwdFuiQjEloq85MRVuoVlkG/9VkaatfhybTdmaMYFrWdJgIvHKbR3n4SZf2nwuBUg1lri2slZud5fF8RgseXHWLxYJQAkcJtQHq+Z5kPvAephM+napeIOUnBHNWot0vlGkFtuZw8FbFq3I+Ry83om5JmV4H4H8KS+8v5KEd8Zan9i5havmugwHNDy+GLAkbBkDviSkClTn5jSkdnVGgQC/XJrjySyQIBtDgo6AQZWcE4FxJDXiIEvqFpHPUWuteBZfJBG+tw9x6H42iIPwLI5c+Xbe9XNxGcKja+/CrT6FjNaj8D7pJUOnwxHjy9I3cAvZkW/bdSjGjDHjRFkGKzl+CuYSsSgYGWHPUTTEUHfxRbwtBnjDGVlswBm+tbNZH2Advrx5SNOFL+RozrnoBoAZ5f6DW1v94/K+Y9LpsPvZ14tzgY3zoW4+/pcnbvwRiq+1u3pUsO5zDovX4pbAeW5Wnk9DiPmCq6r285St8c1XOSOtA3+HaofhSc61c7ZT5cHi6evS3gfeZwxNfEU8mhfpFkGL3Qqh8rX9ByNruZ49lzMehjeEd0P9j2T9RbgucRqi7Z0lOBv0O7DdibNDfKUrkNuqEdc7lob4Vp/+G2bJbYF/tDr+bm0wLXufJl+hVP82M4EbKAjz/sgFdG9UBXnXOSJBnk5Jta6ugdbeh0ycpcjYVq09YEgODcUR/3OkSB0waEgUpbHFzUTOcT1I8e9OKqSEBW7UAqL4sPdm+pZera5n4tJWDEWFfdsC7VGQ1bRpk9ML0JMy0DA5+uasq4DlNfw9SY4qRLNtHbxxpwn/rDeWbZ1UFxtKyKqX9XE9MNXgdnIrk2alYbjsf7I+u7FKBVmJoNLS5iB0TjrBH/xLZ7ukNIrHixYrRnCQvq3i4JiVSI+cctGnQPbF/1emQsyljKSDSOoOFZJknjKl1KJH/FFaZwu8AQkV3MmHqHtMe7spM1kpl0tlssjyqc0zu5fWZz3s/AJ7GDAI85xqoq/qwIHhQUXV7Cn5iZFdNslvwTP+FbHgRGo4fxiHvc0UZk+eue7Qlj+rPfyI9AkGPT6sNAJVGUsOlXpRBwQ1rQv1Tz1YvGWi/cq5pDfxsJ04mxXvtVMDrlDTujpMTvv1ZPAT2ZyWILFE3coor8tiKCT8ZfBhCRzWPfdRpROYmVYzRynr6qe1ZEKJLtcHDss9V8pu9TqYH7tkY6XjEkR23Ww009gINtBwtVKfCM+5Oq3PnRvL0ZbbMB6GjDO0jQv73EPzbzMrOO93OthBV9PH/IKqrDKS1QcO4TU6j3EhU2HngSQDX3XVKsy29qNSb5xEaouAilRDqv0JAcOXkkdUslGDTzxGmiQMjoBhz6Q76nLCegd5F0bdpZbkSJbF6elER/jzBy+j8OWj/JGFXsecpsmUAppaJ2nGdVYpMYdBy0OxPI0Q2scILF7GREBv51wFja+F/tqAD7zVNcJGq/aAmXF83+fPr/sHSp+WIontNFTrk6Cvb+dZJEtE5dKZvhy0NKjx5VOWfK6rNChjnIkSzVKQOwxTEGyQKl0iHibjM35LV/QgK1C+pJPQP/iow0vqjvKTBj1tzrC9fg+6a17H89x9EjRq33d7bhT2sh8r2OuNX8g5tYYyN1qxOqq/8Y3lvcelxX6pbQmETxZp4JvGGefP2R/2F3gWqmAfkx7YYN1x0lpuoVIMOxK1EY91YzOpp867y+3VqY0jU87HcMsaobWjdQtOkvutdtkOhQgFmtkyWaE4gr4l/W/shxHYV6zidszpuL95PCSC5KKlRfFCuOWkbQbBlwiI1FXMzwLeqRrfsE2AUS3b71GgGp+goBHIQ8kzMZTKco3YD7G/mvayx8OPdF6ExMrWCn8m2U6CGLDBWsJ/mPutgE3vJ2SiHYCCckbDObKtY6eClxMq/N/ea9EJwhs/9nXJp7ucfXXynNazwgm8CnLauswvrx7P/0SPiBz+1gR+d1ZtY6WtJlyh76PoWW5uwdi5Zx6CQEWUVwClON4WGpw4OOgsXeLzIdUNjpPTfFQkwY2SBdIJjxlOQxGPY1l63XkkHOUZMkzge62z29a8zTHw3e8v7ceXdUhONRsCPEDB1qyNwCndxMFAeyAubbDU2a5y++Lj3B5fSUw7kErs0iWlqcD40i29TvY9hg0yVLNjLwkxbr7xTz7SE6J65wyZkrkaKzGeOCRrtKP/t8pkXaNJzHl5l9y9m93syBFxb6je8HSmPPYHPxpUHeVrMcI/61bu6E6dHMdqsleAFVQIjY0jOw3mLHy0/B47z7dM2/QHQ/nFkTV3C5hLDmOEcyOSa6CYTQy8z4hcqwM2Dd/Sm7E++7Vi6KgYfwn8gvlWOXo7rD56lyWbG/fslP2cugcgdoA5XHk72Z/XMeGvL1/vM1QhXK1bCBOSvRXg6aFs3VUqbqUI2JgOIBPUPpIUd11f1JW64UEmiKH4+VDXHyJfd2FcXL+LxcFp1SOaZHDLNMrvJwU88J9GWxirBXRFVmdXCqGpU8tFtR3zFQUrSU0GWJjG/nrcseYz3TsPvPpIsynKWgr7cTltQeOJLBnSza2N74ejaDWk+NMEC4jNWBG5Yb66fCxu3dDApTiI2X1ZmX/+JmI34EiejEmKHvp7cUlo9ZAle0gHq00sVP7swZ7QAVzJzECl9JSb8hgHpgEeBu3/jCsmeA0YA202X8EBTJE/03P5tqqiBSm0elZewqR/FhasylSqJ+OpQa2VfWKGOEBU9KwM13nkYLYyOhTZHr6My0W1A2HPnw5tRk+Qb8Fj09t1nX7QWE9fKhKVlbPnMW2oDYxHs++enKJtA4tdW/+fjsDKxiN7SCarGhgkzSXwmMB/CNagV8R8f4R/HrThJgFPbtNZznlHzryj01hCuImHq2SY7FqV7q9REZsEAFkIDNZCUZK1xHsaU0pT4L7ML0odzr9UDPhsCmQm+iWIL+Wx6hDIYwrs3SVRVgkbxwGgLu8w/XfrVUoyjDEStf9SBp5o7wFMLJSzVXxAmd1lq5lH8gc6rAowpSFKmGSehcqAFbaeESf0vOkZKWnACAXLoWO38vTPdTaYWTOs4Gwdkt9wffRvCFvPfXMRq7gkHtV0rWyEn5JDeSkzbTTbIU93W+MDJrf9r1wLXd4tqRAzlQ96eRAHpBM6j2aDo7YAQ3Im72ExT0FqI10Oii6w+3E11jSEyGjAcbnMUtmwD+bCcsKhGjt979yDfuTWxu5DxWxghDCLqzzRzqW9NsPGIqbVz9epMZvWczO2T1+ukp24W7DqZi8nBYAKXsh3GH9YspRiwV7FdwqqqaFwHMytqbhcJ/44kvlr+YoGBKw0Ui7pu2x4RVAYcwsM/9utqsDyEbodzjIg24zXyIaCIFkcllYU+wU31ZyZVO8hjGqOsFr03fJvN7YL6ZaXQll7t5nMt9q8Flhpu+sQboJzGMO/HhqE7ImDsxKBkEL9D3/gCzONOl49+C/UCK8YtofsuapnZZDF31uhaHSN3VcWY+Nu8P9897V6OJx4WbACYlNrDK1bCsHUrAuIRUVOZGJfw2sqfG/dv/73VepCybtQVlr2y8wHgYEppZ5UULhoqgCb4VktFUT1FYbTKl3ZQyVUTIQtK4JEnnaT01lXmPHaWSYMRhA7LbOYPSy41uA+ArhRwMTMvAvpA8cDAOxHa92wO5nAmEX/X/D34OR9L1A8nIok6wXOj42dzk5Ci/JTx1HUce9K4ZMh+IkdP+d8De9FGwuY21v4H9WNgc3LC5nLCKg9c1703DrGPphinaZ5YX7qGtxS075iBn9pwKBi2zxE6/vhsJKnNxMnyE6tvyOg8YruVBFB6eK7eBIPm495e+sh3JDsfgtA22NhxprOsyKeG95ExXfehDgZxbDjOkcc7XiOo4jMTOz7ZKobC1jSHOOGldeAtWxO9feIQtNo7aXY7IW9azM60xefv/oz9fLG9YJ+kDgKeXk5D3I2uY5p7rSsMwJ/Z2LKUrdBLELGlLfhlr5vnapEqn9fBDvlb2DnznMvFG0I8xU2+TFoaeDil3W+rIlrFm20GZFin5RvPN8Jsz7ehNPaGSxDz5KR+Jx2U65yjCHWtBJOSJiA7uUXbXvFBHZgSUgfw8/Mo5Oz3edWUDpIreDrVsjPyHSij7O1anEcsWSISC9h0sXhVUltYBDpMGZCQ9ALWtCrp6vqSWtYX+2tX+uhpbcVBo/d204WW0G/WCuIriMVpxaLRIRwpEkp0CxVR70zg5Py6mt+LVAAZU6CFtfwh7kfmumF2X2SBitppYJE8huCOVtvbzn7Sj2BxF1Q0/RDbdaPc0JDCQ6yFeK+ofeq3e6Pg2+NKYjtb5GkGElGJcpFT+xbHJN+uDOZUWveXh0TN9qlH2uAJUSIswOcXlsvLdyahe0AAh1h/HihH+kXEVsH7b+v+hm4iN14Axqf28mwO580ndqA1sYQk167rel5dLR6+zpSnEaSy1O35UJEx/cByZEo7LcEkiEfl4kINv7YXBmS0Pq26R/9C1iUv7KJyxOKlzuzQI47QPiZ3H/zdJwrBFKoQEQSBcKmHdyTc5ondeKVSxrkPHJmxTJMLbpkx3FfNO0XzpPXX3+iLb8YJS0rwuSXpDUCFN7wjsXH/5RIPc+izj08QmrkzB75ng2QneIz/Ily5D83+vTdii4q/CPJ3mQ44KmICyougS3O+tMSBSjNL0KbY87lqvM+abfy+WZ8Q7zOm4qP1x7l2T/NaA5afd1ql2HBZVUQ3CbckRXU5d8XjL05m+Ye0E/Y7lD4c7QqJBUaJqHgoBNXnihyEA4m+fGHAmEs483zV2HZgFDdaTYiJtLt+0R/Ozgm5W5upqhVUAOY3fMVmQudn6x3+puKlOo03w4MtsAieByQhL8q6AoZ0Jfv8lzpZCLe6n6s0M2c0TQcMMiwwMbckdoPyqg+btoboteYZj829allSTrWO9Pj5o1dkLInAn8P7JKWbN8wRZhb9VtnLgVVSh+qy2Fa7TLePTZBiQiwve7n1C4ysifPU2fDaTfjGkXNdyUMZNoNZ10H6AuBpE07iDSdAZQbuE1+JIkLNtgzrs8ejCk3h9f/k5JmHCSzSzWI66ioNain5p3VAcEC3sQpK0yXCgzm/aCcM5PMlEGNmzE+5j7rw/YcueyE1pnbcAEmg/S3yDSqX4ama7zMCYn5kOxrAqpxwFn8J4qOnFcIgIcSYxRbs3cdQfEfZ6afhuC/RP3S1Zqckqo/Y2ZK2yrx+NgtH/KFKsCsr/Yml6sLO5qk5y/pfuNcnXz3eu6/7chbQrbz6hUbV7IZ6R68RsBAtnWoGJ80UC3p3QMZ4zbVZNLZvWAEnY2WyRh0rX4165ZXHgRda5U6aS3PDwFTi0ah0tQpNfhg8r8u2krzebG7ZZ2QNL3umqYhXRQsXl/I7y6YZMOuL3W26wsDR5jHm3OQeC/pcJURk/XxH6Tb+6u+ZLhk1MbRO40yoBu4Jd1JaLjIRvZfP9OQ3+A5UDv0ChKkPNn0SkgaONtEiNFsNjRKZyB6i+VBDcE2DsJdH2CB/gi9KzO10uv9VLzU7hMgdR9m8r8ser80bjBO8ziHQg+BhpMlyyk0vjE2GrSCoJJ3SKGb2cwmCZFyD5fQbQGQMpQ4a237Z/SpSPm/J0Xt1s+2R7gQbvvmMgsGtMGz77xMrGNTQwoVrMjnrre8Ex6m+rLeTpJFyCD3fT3tjHHd3aHTPF2CEcvlxhMX+6lLU28MSihZSt3O23Rh9RFpEOuw05sqjilNHFx25oelV53gdQ4LbMM7rvLLYm9mD/1bUBlbkHnKNqu70eMOQV+XC+ZVr/976DsNZgXbH6BNq1OKyp31w/HawIycmyqF84/OIH2acYRzK6UUoNZ41LNB84SBfMA5GNd8FQBfKKFSB/45A5cIPsKtUOZd6iJSuQTasMEDo4zn27S9jWrTeKHr2i8p4PiMcDEZwsCyVmgQCCUHbb2nYBAcrOoMNLFpc1eKEEIE15f21xLPz3Kr1C1+5exKF/GZ61SAOq5o3mN+ANKHlHanv8Jt25/bbUGYOKeOsbqPsL+70iDCepPUJF659DDzyoXBYikzTpVWM93EdLCMPfuzfQ6AxdGYRiB+oqGQ2z6DBDA1yxoi6SOBvHa9in7mrwyF44mrXdXNOqXgBudgQsN2r32zGa8YHfYInaMsbHInod9NLOJe6lR5tU/ofzJVDXFv6jG4bbOIWIaWVlyZmbHYHGgWgEdd6yg2J7nvfQq9KOpEvWo5u5rktCQdD4gGlHjtRbXFAMvfUpxKzpl3/htcwmZQF9c9uCXjA02TvRKJmNOeahZhCJ4bcvu2j3u9BorsfGsJRheKzQ7pQIPudkqBIag3cXvB9rZLMExdC0k/S5sLGwxsVjJPgt3sKb0NmS472TgqHh9VSteLbm+MtsSYvmo1EQoMO+mF6/uUhHcRuQDbv3ChEZDGtQ2QZ43EpDDo0XWRMSAqOrKyuTS2Z9mhtksjmG10QS9NhAc1Ksyit1TxVRQfEb5/OeCOYAtv2OQAQsFSIBfSgouLhFwMbLTHoskmXNmcMkNvJCX9pdcWMS1tFoqc2KChDDY4EKUo7I61A3FLG9J0/PayV+R84mJODBAWPK/OizTSOu6qbiEkmhEGVLeeF4RFgdNBtVsHaArl7dm5jIVQhGdzWA+fl/ur5agvwqdJWpFj3faeLiPbpijC0U8bCdG0hsRlxmiW34JEd47udFIJQnfCEtoLXIFR7bA95c0onYpVhHWgxysxxiWtnzKogdjajSMloOO4Gre0aPE1IaFYO8HNy718QoBdOQ5g+VYBYXUj91Cc1Dl/uGZrF9yxRWfBSR0GUPjT53fmjQVq0VUXtQSqy/QBMCQI+VWl9TgMSjXaEy0ZTso5+qnUEoKMt6MuylE7FHUijLYCu3dk2gOW9TPMVgGMo4DDyDpnowCgtDB6RYvdKBtYKKjIeX2lPGTlAc3F6QzGxrgrhtUCy3DgUTjb1xt+tf5lWqJdHTNY0sOznxUbYU3UU/8YOgtL3J8+99LYkd+e6jHzm4F7pSNOoBQDyQy3OOmsnspRNfWMYPkFdo4AJAqc4fOMNZg9CwQtv+MtxIDlphi+7eiiEUKjBRrv6AEMYwDJfE3cA7hVNTF9siL0eXWroxOLRavYvL8B3d/R1NAOs/LTFny2AncKa8FyISyioPHhZ0L1RZeyCv/YDfjBoowGn6APYZPPphBV/rP59HglfST/7G3lFomEzDl7BGS42PuKdC9juKBiGYQZAc7HNXykI4wNn2c6xOGIQ1POkRBG+pEKkpqsTdjWPqHO/0yD+O0eCRB2bTuWq2qblSsIhs1M/j9iv27E0CD6DD7z6fL8ImUX0KqmMWz8TBGTUqQ2FeURPqlstPJCLRHilgXrBaY/rqmtqgjuCA2nlwoAQbQtI7BmjV/rS0fYhhb6peXH+3eEsHC28qXEHwYabcQgDxdz1IJuu9HPOa+F5W3OjNiCc1TiPhEJyXwtiverdbxk9V8kJykY+oUgpRN67S3JSWrLEABg0Uc2mcyVxtsAWiC5Cv+NMGF8lBwuoZlre95KcpdMxk9mzL4egR04N4ymIoABivGFZZ3O7we+leAMi/dauRKP0VjnxvsZSsvQM9RNT+DDZN7Ohku2y44qH4y/Co9HS6iXHfXm1NXGasWnNA33rA5UfKTfZBBfueG3nTbzAIEWVF5M6QX78iQsapob/00eWn8DaTapqxCFMnXgyyzQ6F5H1T8k1thQ226uX4JrnfUFFrwUwfsf9LfeT6xyMzqfZhSdZxocsLP7PWNAxA/dMvjxph1wWmAid6PJrqIKM5QK+WVnigvv6+udWmFlY7UaNSoecNumK0zb6eA9r81jtorJYqIAiWJwZjezERcxe9uS0HOdd8M/B1NDj5MK2Y+Y3/7WmZ7a7Pzbcw6916t10ucjmEoNyv1nsXWAfJhO3Q87o0IjSfSb4zF5NHMYfvD7dnW5vGVuyYzzYinON5HLY9WI+5Z5ILqb3WOJqYu3b1+JM1EyYJ0OFm2XEKV3Y5uPF4vCotF2zihMsc+vjOh1YR7bDAq/laMyPCaCG83kd5QZ6YSO85pZEPdijO6OaVife9IwNn5hQe06O09GLXuszX2KLqERkqXXOm8tN6fcrj5QIKxW5mEdI7Cqe9GJoV//090xKVVhF8G4uoDueRhSxkrnERoIAcq5XB9+KbWQiog6vhgUBMaJ42DscLi2OHmLo2jhXYXFZVBGN4y/jlBvBZ9AUyyebUIXabjTCcyLkynegugC5PTRGjWW5hPH3CUlf9Gm5NTCDG92DbCn9jH1t1i9zt80E4ctHCDPkWeLjJHmgTagTdzfCGrcHj+C3nDQJALvZgaqLYrCpMJqr047Gwz490V+HmV70+KekhPzQj8FD+voaOoFXa5d8WT0MfoJWwm7TASQqPBYK5rV3M0vTZmn2q3izvBOVsjC82y7Y05678aEyfxQGVWVxt9HI/nLduDPK4jz9VueiNmXh92YNvNqvztBVy/DNbaGbOeeTyIXpkuiGTeikeOpMiO2VGZaEwHJSFXBIgZe4y4bjrSoLYE+nSL8BIx95eOPEnxcRyrc5S4dTAI+wGkPa3GJ70uNUoJwGoSgjC+6kY2BS9GaSMQxKz+kNmCrNUD5Iy5FbYWyvl4kLfnbzM3zEWmpkKOfUqFZ1fy90RxZqKwqcEj3qFOtNRRKgLcTuD3ojblaWlcnKTfKobIyuJyRKwuYyDNrY3Af39Ekc+ShIwf7EVGbAdqUkx3LMYJCoMOVEv7XbSZFcJnz6UektdfLOKFcmA5ZhsDxPQ4jqCViyLsKDB8CgUB69S6Wos4n0nDxOMsOFYKfOFVNrkbbgNPBl9zYIEKEgI7m3ngB/6/bFVgCY2kNBcqsxBLWTmidWGmL1qQjPlIP+/p8/IwQu1bjDjeTbb6PxHiUbQ7pnNNrVNU8nDIMB55Q6URVT88McJvF1PEnUDQLeZEcBVaW1KFqyxLZAM3DsRAQ9KcWwq2pW+Yt9uykhq9062WwkeWKgByAF83WCV1kK84L2ETsjfkwSpx1WIV4jX8uvFrjvApQrR3jIP6PReOUGlA1ye3cmm2eETj4Owvi6xgHlgm3RJ0K0EgQ+cCl029WoQK9rlrwRhWhoBpzN5VEVN2517CW+/oASw1XpzQBqWJRIItxlOF3WaOADV3BESUPsKkbds3eVqzDOpPGUaUsfRUTykEoqtEZ1PFuR9SM7ExYZZr/VYFqezmtvIemxHrZoAiGgAuelOk4cXdFthzPdRZIQfRln/XbQcxfVzaxOyClXnsnYUm3HcNgk3Vy1i8ezfqKQbtH8bZjXw1Dxtb0ZXR4eCFtCCTa3OPuP4ZJtXISb6g+garuI2IG0E3TyWToUOAIocFzRFCGx8g1YE0LxQBmVbbv4pMqeYB3Dp5TcL3XI5AqbeQBFy7kwBqwxoxqF3jAvCVEP3HTs8iQBweitWL1IEBAf6ybU6Xm8zI3wV6j+F9aIcg8YM38Xq0wXzCYvfPOXSZiakQxBQLb0zYkQ04rz4PQdgsrFz1axIICh85fjmjHtXokhRGhNP5d/3yQwArKuZ60tW8Yq4CEx6T5njyS46le26iVO8O7wvPPO9BkBvOhV1H4HT0Xt8S6GVS+ORRPeBXnGiNc7X/2WOks1KKqMUWBZdRmdYzvLb5XxC1vAwvALhhX3MaTyaDZVU73REEHCo6hltaTPVsbj9Klvi+tDHIAM/vmvzGSw+oXMSIFRBXLc5ob+pIal8lj2TPcD14brMz7PgjsNJEZ9mqKe8xK/cQZzhLaGxwlN1V3LXWEoqo193oAJhCceci57nhAIXVFBt20j3Og7z1elyqbLGqmiYFnOEa/4Efj1T42nyzneDX3Hxxg88T9eTBvRo7Kbjv+qF2T4itcVtxRApjNKjW17vEeXUhbDoLtnXgSxV4r/dksYqJs6haA6POm746caHDNJAZ+QZ+MAAV3s7g1AwRWw2vg1VF/RDAj7FTXUR7iE4RuWqXtK7p1rXplR8Cj5BNN3xhkGGuHkWPksJluDsBecnN8u4BCvfuR9aj4MouAo8FRxcYND5PeqU+wiYqyEfS0CeO0+z5NKJS25e5tKP2ukO2PnTOpmgmrb6Hfe6W2yE+zC3XSrKW0auAIDjr9x4qi0pYEcoLd7p1yZR9kFexUsGp4dLaw+8bYcxCXSOYi2Q8wHSsmGv+DyZFObdbDbafd5TicHcJcXvjBKq4yENoVzK0xCbmKJzzvQEgvdjTWbAn9d4M17yKK3IkPoSDafcKtWyOUO6Z2/buTQsXBX1Rl/dFRqN4Ifa87CN/RlLfvfmvlDlZ8i/R/O7IxbQvs3oCdZxK7TTfM9ifWXsxFs/KCk3yqMU2ixviF+2261R8ft2BOPnCY4DykeDvQ69LeeLR11binPjoTth/GSrlA0hipqWU3TiVin1Uemloc2VTcqlmqzBQefxFbLpb3qMe/HJvDHjpUbUcFAjfJnnTu7hyICYUe2FU2FDZQsblDwARXg0pf8r/WaRTJ4lffm+BU3exb3ujEWOoMkxP9StoeL5l0n2bdRJTS9i1/PoAlzyuiHJ+X95CZq+17/RZXaPwa80qm2DdRnPU08Fa4w2JlTaV6FiUqUxfmr9yKNiGuf20d7St5Cnri/6YpNl+xVOHg0DcTYwoNhkTg1qqc+SX44xiQtdh4U22w1ydjzEDzgQyLXmLAQJx5WZAD5nvHisAVRNTqa8p8eNOo6fKJel3H49NE3tk4W7wk5vG285eCr+qlORKgItP3VaEJjUYNsZHiKwMa+DEtJ86ri0yA2W0KtbZ80WfLYGpYuwTJxND9dZOPElU1tVskG1I98lVXInEqBStrwCxfv1mKm5BOxZuuOCS+VGIo14QRwsSSz/5X3/oD54zDfKlTfnuk2MpNjLY5+KuZ7Fmsb2d6RqD6uU/MJHd2MZNQdiXIR3pwujX5zSsuCmSA1DPj2sDc0DWlmXZj+wjXcY9MEUP1ROm1EloSxJBev/aQYX3QOFxg6Pk4lGwcvaT/6Eei08RslTWxxGyvNn50BVtoUeGSUU2HbaW/SD+1OveRuesjUb49VMFN6/1gW4lmv9lDeGVhuWr1OUjUUwKLCRlTBgJj8rRR5kpIr7MfLL55EfgTQ+q5z6WoEAkgxOY4hi6AE8DvfvEW4D5YburSXww9oF0dKPawuAftYSP9Oo7zxZwTS4CODUSKFbPG2EQT02rT2mOAMfpFvIfNKD6Ozt4bE2G7wEzcqA2M4GM7WLJffpVYbYCWwg2H+LpvGDhxxBdOIwnTxazm8t+CDcqccjxkipxN4PyxzC7w3cb18NTvREO/qCRogMptbp8pHs6QnykEqZsRZpDhelCT3QjDRQ9o8oJ9npzJDw2sSZGDz7bvjYRq470Bt2bpfzu4SAraUmtO/FAklpc0ktlntGVhSTgAvJhzLmO5WTZOeGiaU5LseKSO3pyQZJxr9H4AKMU6AE82tr0NAInLt7h/WbWz9QQIqWDTSRQ/6hv6JNkXttG5d1DnKs3jMR4nQuQvV8WcV1/tAR56ZjdYRluwSCQlNvE+5IGXyuMW3z65QqO14rCT0AVdg008XdRL2kYP4nrod24lt6cK+aF6wObN7dQFPSvTS/cI2OogXxJafmWBU0dYsCTHLge77ChfmqUMgONM7AUj+rEvOLUVXANoVZ6Rioecc7hbU09j7xeYP3ZDugo4h7i4c/x92Nr+z0OpKfDKorSQjKK74+/JPFf4GaBRenSoaAZMW8NrLHSk5ejzMFCfzTvhXScYM007NSM/G3kIKFgOQqlhQQXydXE4Pruvraq93V9pbMjG9bFLLOBtS4+VAquq/Rbrtml2bs9RWSn2WgAF0tiYsiP8Sy1FCE4UIlnsMAo7ZQYpCZ2gO93LSXHjwtpb8xMuZ6DuEmNakDwpvpSRdNn/ECH8M4rEbZy/jgoNEZlLmQS5Cen/Vi6B/yF1q2Vnajt0m+9NenD3GUuViBl5JK4jbtgTLxUDSv83CkBkPqyD9dq4xIuJqrd2binNNDp7nqG4riY24tayO7D8fEAi6ZjPhPYRDvK+cE7aTkq4Lhv9fCPUvLpeKm8XYzv5RwmTaXyNJUveTGsS/zAVUNmUk+Rg/+Iu/M4jDcIj4AJnTQifXFBGOsRy7DOPaFs/JKq9U5/xvWUHAs5jTb543fkmBXkguinv9oA1cUSIBJ0Xjy5ZEQTqwkas1alvxWLCeqrfn1SwsNUMIO0eCMZEQTB6/PxHvbfXNI2gYHocYZSewULlsPnSYqxND2baSGBL9+YVkX99+ySHeMWRV9tZhvZaAN86P38Kj0g6Y5ym1idHvnDUSxPE18pdZ2PXEWycmbmYIB9X2rzH4hJkZg1SrePq7AqgTho8tIbTdhRCLQjKkDkbq/sap6F5qolhM208bcrgb9l1jeTLVvzSI2IOVrnlWl/XX1BjSuWxyOSgFd014v5K98QwCptBq4iidYN96NHaHgCFhJoLPbiyqo3yOOZL+9kbk4cXmV2XQtn7bMt+stRDAo8/5Bztuy74L64pC2f9XdowY0c28ZqmM+AqCHDyp20Qdz/ELQu2vYefL2j3dwQLR8RorRMnwwSUU00tVx92gb6anGJmn3MoavbZvzpMhDfcms3wbE4miCLccdGwkwA7wjjfomhFVYmZpqzoxsFAI/mEweEIAXyGZfSDvjTr3biWCBmrkddAzf/zcyfUjTJV0oSiTS2TDQW/l4kyHLdJOfuc0b/gjj8ocDbpRJB5+fa0R2h8tNUUxXwguI8A91+C60nRGgZoCHiIg7LH0zEX6sNSto8ew0xqQcU8pGXw2Xr99541xHQCLdgJOz94Y8D/uYOb7VnkDO7KDI+L1lFEx224nrUtesTo5t7MaHxirdHoyXjfho4tlPZnvYd/UIbULf/FyEPVnkQmWtkApif1R6NWb6F+7ZughK2nDcgmNwowOTmK6H2nFt+u7K/KoAgb9CKM7yc84ZcGZYrFVxAdcMMgIoyrJGiP5PqsbyTqcRa9n1T54GnsEfCjV2eUNanvSyp3yGaq8MR7EgS2GftOVnRJNcZIBqvQX/b1OdGo9UPL4IRhCevYXA0ZxEWrn+GQic/bVnkc2PzYkAZoxN1dz//mJn7Ic9OwAHbgfw9RWtXkSjC16Rf3S5hCV+7RNQHfSlQkmWbcK6m0Y4ptKHErcCfaIej9RjBFoVL1iaGC3yoz+XKCk7DL/xBkV6OcdQnE/4f7Gv9Wl7ycQdbv/psFjFQc13tifGt5YA/jHSuxmjiljL/MmhBO8r8PgZfLiwzbrmOp/b1aPtYpFFh48hMDiQ9eoqlYbyTgvWQx7Gv5S6IwwR06ktHL5pA1u4jenA3r2lrF0k+XOpnXpmspQdkcR8Fy9pT9XHRBWL0pi56lEDsGoLwOpQLstcgjcVdl7vFdt33d5mXB4+FxDJQHZFGusl1lZ4qmRRBo9r2M7V3D4H0+AQ0p97KMkUEpSAsqBghDiDNMNCxpNT3Ds8oo0FDHPWOTaqG5orywcalxp/U/KDYiCkTwIHY5xTmIJx7SFnM7HskFxvri4s9wycbhNSwdrlk5L5GK9TTtgtZZYpDQAdTQ7T/OyN2cxReUxZGD9Z+IU+DES1Nb2Qn+uIoLCGVTqZIhdhpKevs0NSjfr7MlwI2mNP7qjb4SHac/c08iiJI08yIgfX8PBt7SjclxHvdQaiIT608DDHDzafC1cyBFKly0su7xdVYpHYi342nM+EKp5emm0YvjAA8LxESCd0f6MgRk8jYuWtcFcSEwODAQOtvqEHN1s+yFd5lrX5DJbfpfISe7+UBvnN2W9ASikmuVjnHTMDLBX06+RFmiV9lxxz0fxh64yqcvY50LHHbY/+X5wpuVDOprGdG4XAdCItGt1tCvp/7mMw5Mpa5dUjkqHhP5WCQD1+AsmOwwLcquBfkCp4DdgTM4g9eVqUnkdfwsQVugIZE77PfyPCR46Gr7HuJM1DJww45UAjw5ppHS5bhFgT6A6cPMtuiXDhaQd8by2sSxGOrXxdr1f0FHlEtUF0HWuYjWBiTZV6gUJX6j3jLsxKc7gQJU+idckrm1OQowTrnsqdh91YZ5VLnh5cXXkcoNXIHz3u2kuNBqZ+dIa1PUXcRapxTkZiPrcsMAceu3mcBcPXZ4qwZDFk3UlRiW19ALu9TxjA21OrCdboYpRnr7spqe4iX7hzpFyjPc84vPbsC0cBiVI/StQQ2m3h5VLqwcqXqYMsPwBb+HXkvFRYb1y4rrUSbvgP1jnRNopgAmaJUMoxr60LxLGmSfTdWSar0DPvDFHpdada3Fd6gw1tKNoiM7LnQHOk7IZAtTNpKriWbFkvIpX1IeKqCrq4lqlDmkpgegvbQlkQHhZEW3+eHhKDMLpmzjZJLzRYLH8e8BZKEdPl5/kbeYYo31CbXL5jP6BqZZyuLChN5k2wBK1JxUc1WRUXtjAVWp6ZMl9SgKRgj4Yf25Ss2mJ/a8XimFWfLURCGAILSGbfB0nckO5zc2PhrrPpnEXWWTroWLSfQcae/ufghjfQbMBbwlKppp2ye4u9ChOLYoIuTDToAMXBlLalx1blwlBM6KX4ttFFzm+RnincI+gIRDz904vhoH4YboCtT8eeopm7Bax0Ff83KT4JbKwVd5dKD+IsAs39w5GzofszM0fN+lyfD+lJc2zby7s150V16g4+jNYe9KeyC9DjOn5DhmcR7EEkqFr10UfypFWOCfJMwtuZf89w+wt5N12ASMyC2n/Nh4J3O33Vlm09axhBM6mSEOxIVBfocflyC4bY79bImueLwKVC6XsVy4hwMBv8Ln34lAZvB/VVIAigXSXguTjV2TM7/Y20wJp8v9J8QCAeyFhv6b3mnrxzp1dy4hpAH/phYd7C+Imo7J5HixCVwcWEm+ASichjB8+NR0zG9QwJjvfYFP7yYAKvpj8qtj9B4jSFDPyYPWuXeb+x+IJSWjrYGVoNfWh79P4qp/Uro6QlcRv1YOH7qnQI/VJ6oC3K4oc0pXzbsKzbmUKWyQUCuSeJzYqjIkZrmY7sMe5a2c3WVXMDmPTk0xcumKe3GsilshXUwWE+O5NrFWYpF0/e5RhkhDtgy9tXik/ldal7src51f/VKcHAvzV1S+ehQl8TUvVW1kIQrPkTLCXmAMuVY1zCPAhkJc/aoJi8LCn6vt78kKRWOu/sfEZbLXG1RxrGRjIDs0FeudxF8fJXZTM+CgzRG8oRXk0tcbQtMlTbaZrZWrL4oiLbICL3L5Sr/PsdsuYea++W7YAzRGhIBnGFv/HGKs4aQ1jf9cWuh5hW5rtH1J5KEM3cBMFCd3jw3bgC11GHw6cAPPzuxFkZr4MhN7mJA1gc/j0J08Pg5Vrc45TwJA7Z1JSynW/tfd7y/pcSPyoDJliJ/zS7/sX5+g2bdvjtIu5zpuouQ7xxiHVohMFfuPrxdbzAjHR8iTlQWY22jPTf5CXru2+PzvPn0d7gyzL5FypXZf8mySjgK4vIPxENxumRyB2bdbpow1UHdUfUST3lRy4MoAibUxiGFQzxuI4TKKPn54Q5QVAYoXacpmxbb8hVQy2FWAeZNV4/zPks4uFF9JKonVYM/pT20w89LAGnV/8I6gL1uueDMpqLyxAnpcLfV9kfauPo4kpFcjV86QZzkt1DcWqWq5M6mxM5SkGk2FEhCXWarM00vRYVhoZEVeQSpdQ1RRTgjKb6UBXG3lL7xe1IQcYlHO/sv6f48ITk463Nc9uAI62PrG1P08FDT7exPvarwTi7Vmzq2jBhUBaMI7vncuBIYSnNsBbmui066D0CGOQ4i4MmHF8QRHGzltl9GySFj/c5vEJdMP7/H0T3Edk5ITljljuqRHxq1EOP55+fLyUvE2QX7bzuX1WJVJDMZNFolDH0D2OfvWS8u9QnBhQ2ZRa5V7ra9RYhzANX9KivyIR9CSsqQupkAhYSiMScLIOECU8sVNG5YORBr+0HmXUDKaOwaOovtgGLbI5xKeldqOCz5JRcunadrH6Kd4kq4Y6eVgSlSEgWmd2keYJdgl86z/Txstx8VAam59mA9iBhCquhhaJcOFbz7yHBw3PtYQyld82GV0ezIB/thtTnXZenPdPVkeGd6v4gqaNvoups/i1qeHylnpmhdqmU7TOV/g1OqXMcsrCnd3ubpNX8utcZvusoxlUMjia2M56SJfuhJm5fQkdpngicNrRkuUfNLO+CtZwGRU3AbPpjaAUj5QM9du9XsaomiFu+t+T89dw6n6EXQh9tRlVz5i75V0oSkVmfGBU+xKKn2jOhk8VqBHNN/mBoD7ScNM2O22bxN16MABHCISFp8t1hZ1vx77c7zZWYHo7iV1T26EFQUPSMkYeRyUzi3daoYTFs+rYnUh0LJm3vkVtNbjKQLRSPQBpEBxJeDVTfgCwD+OvSCe94U6dJ5uGPBRpAz9yy5X9IFnANA9a8CXGdD5o8uuGqhEHxpOL77BFdP9KbKRJz73HUHsIz8TR875OXrs8zOh0G4owNJeYXw28enoKe1eU8Ep9rjlp1jTvidQRxxaeeVpj+69khTn+qFALdTuPRwRpI6hXUDXrSNT+VdqYpDi0Aea+u+E8AUMNwFp/3Zn5NHoak7N3mGEf9PYAV0z5jdJmsUbrsB5nCCN1mDJoef7rNWhINylhnlWVvY78eNfAslsFJ435N1Kuzkna2UrHBwRFcYwPmywqlDOYelq1dWlAeVpM6IoIwZllU5eT9JqKVY4MufEmGyLuGVQGTo48Cg7QO60RCjnybJAvOkwqafAbrZDxMc3zAX9614cbvW9pLXnSLEMwvsMc6n3ZuHAd8Gs3ObXADx7luC4puobboZ9L8dL9F58mWLqbe2XaMb3zu/B7YwymU/M+7MvW6cf6r/IfBXFjgIuHnHTnYfh1J1bjc5ZXjm9Y68N8IYm5PVZ4uqSv3YOSB/avF5iKaiNRD29+H38dtoUOHYSnUx9sqx/JHFMR2EeS1Jx0u+IpLLRrP9HGP/wCRp0GYR2/JzaHuEwifz9xGn3fmWuSTu+CwOZ5wUsUN0N8/tLr26pY16QQ7fsz+syqt4Iza0j3TYePNlX+xXASiZztw361MXnbmMgMVDlkOvm0u0VGG7wZ8b8BkZCDXECMsJssO0f3fXKiQGbAG23pEdmUwq60HzIsPQkfO8OG6fpdPfcnvpWwQDaex/BdHkDcwNU8bxM9KFjT38Auq7+xNRxcf1ZwIPQ8ifWGhpEvEJ+hMn7gPNVkE5Kb2J3Y+OHzUS5H/yTXWjeazxmC9M+rfhodXPYEJKu52SoRBoF8Ix68e+cPeQA0JdyHX63jTYSxRCvUCd+LMU4i0avfLTAhDoB8PFD+kJOHrqOcLPB9mIls2aIo6lk/waM7jxs0jdW3ra2Namq/L7E0n6UZRY0mxRVnNsOBA2EP8cyq8TYZZlqm2u4vuCemWOqnSi6iEr/uOLHNY5vrXxn10DvR7xcgbT053oNLwAAThb4DP0Me+IfvN5p6TCnY1RlQ7TMCsmhnRcj/63tXwKW9MUHTjnilGfRSQZDGDmUzFiIyJY96VgV7vFdPnSmB+D85dGBj/E9XRqbI3VmJSGYWOZa+JfEjeR1yiQ/DT8rsLtQmvo+Wt3NjQbuP6sDhWO1nI9Buq6rJj6kAMCD1xtNM3IX3wb4W09aOGD7/+nLeTpgN65/XFwQy+pwpMx+RW3wtbJ9J3hjR10WhbocdmNQLuyPTO836+/+exqyZs6VFKAhLdokre1m5mvQB3P7tncDJY4lZ8gCHoKFoxHYM0fWiLbOvzN0FbneI6E0JVjQ0Rz6gPZ/90j5R4IHFsLwgaqAut4bkFvp6B0xc7kE656JAECXUilphjytY37HIXJco2KEIkSjOEaRSBzqONQD52dawGzd7MLX3KWhVpTdtDHIh3psyCRd+67z7I+24omy2RQKkdjTMDtI0h/Eed4YNnMXjS23RmIo82Up7UeT4sscp+g16QyVq6JGywU2NVO1OSJs8KIDWdRRX5CqfU4Eqv0vdaKI/of0wN6Cjag+cjvLuTRgst1zx0rU2F7gzsnIMaPaB26j5+ZHCUcL/nxlBo/ecc77wmZEFURSLyEVPkDEX9I5TggS5ZbKAQGpkwDejT1RdC2qUFQzDafTcK53bLCzPVI719pABLnRI0sg1WsQ19QJ4F/aKZcIi+xbxYqFoLgZsoitDVaUCnFUCIdXiwKdUdWXVy48/DrVZhCMPpfPFIAFkKcAh4StuUVZoqc7R/ycrOb0zX/tQXT2IIR92i1pLmxZLbr/9jS07fmTHeXrlSyoc8w3OTMgb8sg1RJH0BIkJxbB1EZY8U3RLlRN+wQtcLWURIlTm+QplVDn0Gad6w3/5Vhf4rI/FYpNNI9oeuDcF+veRBrgN2ZCHYeY9Xi2En8P9TbJeMSY8fjFwvEKdEMPtw3Y1FvQv9Y9LkeSeQKv2EDmaGh8fCPHSUBTfI0LgFhpSJG13VO/WCYvv832AgTmUqNm4u/e9slWgYCzUJaJinKK+FoW3WFb0E4bhgAwXQcjC0wh5yBXm7E933lMOidWiOUa7PXfXiFUePitPwlkE39RCZh9Harq0ejkbvqVvWuiscGcDEiCN5O44E/dyk8DfVNT99lJeDpRlIcgV5/SodqQ6xJV7YI4HsBhR0rtTKVcmj/41nbUtuCNUPX9KqWdP1gVBv5w0Bs+OEk3nHAaBum9rke2Kb0fJqTxPBAu0LPl4nVO79YH/MWchB8n9YGJEuHXEw2d1U1rM6ukAsge/kHQ7Y35+T0ZDD+mjdfhlBEjAt0j74ZCHAF7rtL0vFYi0lXQr17qKqwxX432mYVi7jPw56/yypkH3R4RyVZtLIaa7cn4gMIY2ySHm4bL2kJlfGPzkOdgQopq6a7tC3/TuJaE+STeaO4CFo62X3rN+z+4/bItrI9h/rttnPz664eL3Ihb6AznievOsU819vyD0UCYc51nx0C9fQaLBFGpdukGSkgehYxhLE3f0KELvKqVUIXEyOJLRiuTJWZj8NM+hgORnac7DfAaXAXBVpphsFaoHwlSEhqK99bftFvFFW0VJxsUvea+xXASLuiaHJEVQ3C5yUhrcZl2/lSXG2rSKZI1I9MzMBsbK4J6gUrV9VdPFBU9A3IohYyLWGJItLewi4F56VIXoh1boxmZHlp6BR4pdf96bZH7m/MFZs5lPh9rh6oGZb0jO4KGcUyT99FOm47cVPHnaviMCabXkT9OFeLQVavva7VmOg3OswreH8xUzcck8TF7DZ34xcOcQk0Vl8uruQ4+NzjJTO8bkjjWNYSgWEYaBURomBH7q9vjQHra8foBiJD5zHl9WRbJ0fVimD96kjCx5ZW5np39Zwky0BzjWZBBoLWPHsm3KmtJT0rMbw9DBw01KFtCKdZ/dSW7sM849kHLZycdBxbGEPRPrIbCfTZcZfKHL+TeHFROXNnYSxcGmjlu1lT37fBT+Rg5Xb3Hzk5Kp2vc2Ne3a3P1YWJVvvQ7yaOUgDnzCVz0iC5s10fmuRgqlgoN0y8amWMcDF4ZY7j30vqoCZQbCxBiU2RMk48g2Ak1yjZ+QufhCbHYx1jqJrKA4uyS70+mlqLG8xhipeLfiWhs3A9eJVSEWcROwj4Bdk9JWp+U/voFyUep1T/+8C/QINdKIpme09lNbXBmwfPr6qWw1soGInra3WmI75NELWAJGv7AE9J6iG8lGeNr/6r9dfohX4jZF5KGD85UTYdZpbg4MMKBUu26M3IlPqzX1Xavm44h4voNgM6UHWzXYB7YakPAD2sxpFM6RwLS+AvFTlqQpOfyO8Bh8QIjWHSxiayvlTQYAUpinuOOcpf3vmdJDpzVZSNbG5OPzsamVCLNV0yrOfZAeHFCby5nfniKcx0Iat6R6DTGij87cmS3Brf5l8M+6uyWpCbNbmhoyOvI5GWIlOsM1nGJcyNTTpNgwfTjKMhADFZXGNhP+voTo6qg5tXom1dNLri1CNqqUOvsBwDXaN+KNaKjdIDJCd0tON5p+w9bPCEt9a1N5hTNEwOl8bcVnJewnC4IOZIIF8CMkNqIUxG0eOFSjbTVzdwefKajKRYEcyB3zzm1dhy2htqD64bkJksuOwrGxUL1EDNyJihJDEsWPXm6V3YXdFM5ODjMUL3GKMJhetY0kz4AqXSTW++MPFsL/IXlusOXiTnhdOfIrgCaIzGRHSath8oOlWR2WIyfWID5IPTsOv2sAI1fJY8X9e3qm3WEh9mex54Kdy98XGqoSaONgLNl8a8ySMvBilmAKvfcn7B9KtSBqWpeQ5nhitKTnFX5fWZfnH++nZ1fRtAjlze0OcbpSnCJNoRfZ4e2G9Z0Qu5eBxcVk7ubmtXiO7434sZdDQk2AnUurfH4lWGu3UxeLzobxeS3JL16lT8Jkw8nBVY1YqRl+MODqhdv7n5Ypf5q3JA4swEU76RKMJPQ3R644EaYPtnisQy5+9Y2X6iI0QOzih331E6kV5uiexwOcUy7W5UCV99An57JIpzIWisWfZbRgUAM5hRIXG0YQtWTYWidfqQOP5QDGZcAGlidogYwXgu9v9JPS2LTL8fN694K/UAyy4h8eQuJE7WLVMH4SUGnZFkPxvSsX5mVaWkJ9rz+rdpYbqtvf5g4PSa0cnEvnpZQWRoLPdZ2td4GAxu20GsMglz1ArrS38+6Wf1K8ZCVs7Mr+s2P8LA0FpyA9d85YUrW4zWNKrpdLI5i5XSNxPngdSiduSvkMYvdHmr4TzEkDDCLxnqaI2phE+2FA7P7GTEfxDd+e1SWqQuqgJ3p0WHTyx4i8cKO8kc4YsCZ9GVO1T61orxnybvDVfGzBZ/pnhulU1554ChL6kIkBNJWFpRzr1j9/WATXI/F2nQ1ydTmDi3BfpYMprbGb9oIkbSykHIyBO8r514OtU6ttdcTwYVf3iwNxbRqDVhSzpXt2lsJgqbl2k1cFMlrdJdqvhZepuWXAlanW4pNKZlQYYd/00nMAa8BUKUykWhs3+ZUCplUUlG/MQXM1yT05Kh5mE3nIHKjjgUecvkhwHhknRk1vwTPCIyNZxHcl4Y1DuKVtOIc/+axP1S3etf09PqmAVuOlFmYzRUaKc90c32KQaPVhnlkD+xQc1nOkJra3+TIwROD0Jz1+NWGnMD6SsO85lZ709c8ojDUL+gNr4DqNFhvN+RkBzXm7qfC9tfKyMr2NxeDZMeRMvV3VwQsRtuofyZfF+JbfZhz9xVgT8lRiEU2+Xcw4PjBXeJ6VakSzrDa+W4L/zzGuHsN8LsLbIOwlxbAVdlgYy37qdsQByLwoR1OtXxbSQ4lfDbU5+DBGxMl9erh4kRqvVD2mGD/ih6Y8yK/m8C1QWKVpFcV1AdqPWQ1kP+oOJ0a+Uo7WSZMJOVC8DKmaflYi93Rnn4sFr6BnULwY/hlRTaARlrZHpVdB6L8HZnqgdewfwuGnf6L4mISDLPOfEoBaLFbvh7IGeGsFEnAS0C4Y/PEe2GmJECIK8Q2qygKCrsJg0sj/KlVGg5qbX6vuXoIHQjbGpCMmFd2Mhg0kvxbR3bvu6MaD6hjJNtzHoUsvNKJ0b6wJg9TdT4BAIWRWKWugTluWK5c1K0SZoJKLoBbVDgxPEw7BABvhkfOYjlGeEgPWhvt7Ih3utneQmq7KBi/z4gfIAoSM5dG5jKKXlJw6tWRFX3BZixVCT2B4uHzwdEa2LV5PcccKeEstKTCcCxWP8lFR569URpQh8+vwO66/Eb3WVeR1YpJt+A9ZdtNyJEw1ww3rkXOe7LEiurbJQJTgRZTp7noyhhL0gftse6VaFDwUhFhvO3SA+ktFcw1qIM/0kmoro//cn1szISb/TkptNEZ49KgOeoQmSE3COmq8EHsRBYeZ7Bx+zryefBbd1u/OT5zB4cMzQQwnpn1tI3eu4qen+83zcrVGXUZeWnFY62yVsAHKiKNWC4sffCgaZAs9adAQ/ML7XJY745CSePOuOzQo3AVY7VCdA21jPKvpAf8QvINWH6TabLrwt6aVmwtBSNl3LFCnuJA5lIPiN3j1Ach3ThoS60gueqlEZuHil0SHsAFouEzqV576wZmZCvaFPTfxNXsiA/nEgEWQBaZ4LqZGPlRPrzvndrMXlDWouJmgwdes46AlSB4sVM21hmj0h1T+jcuyt8+nHdyCDjL5JDZA5OoN27Tt3+LBSkwUIuD6lM19WRo0I94kY/wjvxWBMS1rCJEQBE5HLHSHQhb45YXCd6NRFiwdBx2rdgEP6Tz91LyIEwn58rppklEY7mFSeRhFbhkCotRgLo6XXPn/m6jtAom0sZQ4kVmiAIuh/8jREgL8PpOtiiKHQTVsK/eAKbFL8q+iCSz0Nr9xPzczX2TVp75TV4GeUOk9KBiyZXSsnh79gIg+w4sKI+6fvki3dLBcevwMhKqTrltK0xpy0o9cHMgPzzCCEirmtpjOM3eEONawpGAEaZY64grJ21McA/YN3ECuKuva0or8JKuwQrh6RcJDC3U/CBSzaxy5NWFdrSbBRnzQs+sBO6307fMKrwKwZ4JqHJBuhVmhYjdNWeFdJYjXfrypyFRYqc+fhh4JRCQF3LB2bPBQobLc8GiUR3f5XsVutOdeG0s28XCSfE2QWgJEpC2SBKi68mcofP5DZmXEtjh0G0vz2ao+t1+/ORrhkgzGfrMWiNoUmqZxqLpl/ojJqwI39sMrhGR4AbN83wrkkax6utgJVAnwYf9MaDTfETjonKXZ9ce8GKHWD6E7t/eHXR1J0oSVcdc06O64O1clRp6IdQcJCYtHiV5n1X5bC95pq9vSHhVOmGnitNUY4Sa2NZKNLR6rkUVm209zKHMK8ngH0wctMZ2jHXuIMKHURQoUbvb9NfC42I7XY1rvJGH0L4LaxKTkWXAnuLvUsB+a7cLQAkTdjinxdsTvEBrf6eeOqqWYp/lSZh7gx0MCRDpV8WLur8iZHn+uTjvRdT8WUrOPZiTMQpNVsuTcMgHtU43vHGLjxtR+X70IB56ZIzieDWaFQAPhKP/PJ9AeTtUDhGerVdLNmJcOF6ONFN9fen0WVD1tHBrEZeEaQUBX1NqeQpjXPJidubeG1JEkgkh3hoLihobBZrP9UnXzOpaDlvlw6E/Uft5vPUBwoIH2eVA6sYnNeHizZ3IeapofzaBR01eGRdCEm2ZRZi5xPlZhZXSaYkF7t65i2oYmTYtuf0r/FUYEKA3wYH/R47ay+mCFYH3FceuNqUhd3vLJnYgzYT0i4lxtYOcesj3TSGRtYETAsaFzscN7zUAw9NOIQLO1LvrJty02kAtFmpiiKvckg5+jE2A5cB/rXxAounQD1D7U/XOBBymw/icu7smwWExi3vMZlUn8lHzWBRneDsfNCW7Im4NfsQsVASJXH9kLBz9VdmvQuLnDWEO/2enm6HpsktYCknGGynCaujQoTZQP1Y+5AdS2IAVX0E7ZqI8YqrxuweQgisLPhtZRVD1LNKPajU5AgZ6Ybk3uOx1SeHxU3YC/Dfmhdn4JQuIHB9jBbz8CUNoMt+AMusokBs8dyuipGP5BXJBFDIHU5u4SRapVlacRFklLdrUWAz++9aNOWG9P5QJ0XPbZa+kCpUlPLlPOW1/GDGVq05v65CroGwI4+955cLg02IAzpNrE6DcCzMuCPSWSCyKEZ4PkJlMvv4VA185qdT2bIxSUzaDPGt+wxDFaxDohW+2mZjHxc0iPYtDurYS11JiOsbWn2wRfhFqvWHjGB/k+1poRgQcmrzz/1OsHpKvPhvCRDLBxMmjYhGsY1k9LwEBz1zKCcYZwJsvgMU8zULUa+ecC2btbRrallSk8UgkLG3QFg2VxsTsR3sR7H0/C5puVkYyyTw399u4mg7Io7J1rSxTtflqtngrFH7WC5+enEGzPP5FwV+Xl79jLnHVnDF+HDh7DnkfvrhrazG+Fv9rLCfO1bEAE59RdgksPe0+0eQ+I5zUmVFiC+4pqFqKYBzQuSMHSIBx6FuezKRfXqeRFxwKQDTH9kxdCEZuRDJw5Uvw0A9FPbeFY8P8mmc7MwArdLJuY1UxW/VCc+re778nlxaWB5q62kM/us2TbqHgVB00zSm/AKaFjK5A/WFm2X4TgG7cISptCkcN37SmcuUYuwx19Ma0Wc8uLeifSvWHqlfFMA7/9ajCh1p1yvhcSc/5pETvlu+4ap3QXWLUF0CaOoswEli9PSz5D9/13/stttvpep4g0BX8b3VdSAiLMkCy5jqBTu+rh55YgmE0TIe/Znk209xYnMIXl7JNsvflTqETjY8OVuZoKhBEpgZMfk3ewrChuEX+IKmzVRPLAtaILjHAhs9TqKF/NkeOsMVgtNQXbdmGwagqW/dOoJ3mknX2xDJ2Wl0MDaHDheOzQO9DG92W6/4zZYIyMOsAwpEIwgu7Vc8v5t7OeGZS4J6uFu3pgKGvHV+OGQWnfRcNhmqyWXJDcFnZQaNQrxnjjxxLuSOTQbX42U2cjE1p1jPIQCLM5GPkBu/4T4f0G3Y2pWwSyoDGDrUwVjLEyT3dgwubG3zeUdn77U2gDevJCb8LfQiaHWg7zoiCXYkKI1vYtYNNWncBYzx9zbl2+gRvdai4vtLaysEKPklRvFJpc7WyXQhlqrMCBktMr1uLwsM23mRah6edqn0mCexv0nivhxvdblbZZ8tgo8YnZsta4YZqVEuvBPx2bo9Wmj0bZ85KyOfkxO6EqseCDo0vS0DeB7QEN/6ADN/F8qa+EoTasmyZRasIej1PbYZxU4YMsXtNsxqKCgCtShGd+z5kUOrgLJRWaRG05hfvjUh/l7tbwMTqzh9FYxQYphaXs5fW/vS8y3W6Tp5AoiduLEdSGjI0xHSLEebCcdCuHbhV6caBl2785Wb3epyZMagQrmMcMivJWsyE99LiBTThesDyjsYFs6UAnnyYat3GChZu+3IG2l6hJQ8CVDvE6iTw77aUPEgNhkVfZdIqesYSTvuVAH0TXieGQdOPH2xzHALK0rdvIc2VgIGiNOi6wDI2ixAEFoyzRT+zd6To0D7D0AKaQSInpEb+8WoFjmzdaXzkIcJ/bpgWbi923APHHwtn9J3u0iUiiyyFyOhEKnaltJh9KmACg5AGgOahRxG1Wf75AmQU0VrzEbW2+T21Y8iq9h8TivJkZXmc/6uFihRiCKGAer3Zv+plDR9J1rYTKnf73lc0hqlJoeobL0Gu8dNUTFjKwiKbvCiJQp2rM1R7RREG89k4j9Z3dnXzpwUz/yfEM562LFS89AugxU/M54a9fWNZWQYSYHgv5Ixi+NLJH24aKBY5o1aq/qDWtEjXQX9NbPGsmtpZzZ23L8o/ochmzNcgFTnn/ScnuxyY4ZJ2/9KSVridzqkD0wCSDGqTNZBlFi281ZPwobS/2gwhES/jCpS+wmRwxheiSCsEktVDmYmkNW8a10zJVI3lQ1w/pceaJYu4k3NOI5xu1tJprjvO7YiIaNDjUQWXD6uayukl1g8xvs+Y7kRFjemTd8Ow4f3vBZiAjS8zyGLOJ9fAX1lRYEAhFA1V4zKhYtSGn0jHOnTk/FbClYFSkPtISKuGqNvIXJJRgyzVDgMM0nef1/qXBHftnIkuFpn5XDGbLwnFlrM3tuPuiP4bP9c/wghjAjTAGs+TgtL+tNyi0avxgFMIjKhw09gvcqYgZ0EkueXcLoxGvJn+xAUcKYarDaQcsLl1knUT1cC591ed7g64CRr6cWcjJ3sRiubdPWaqqwLGlpAhQ/B9Oh1oumVOJE3HSjrJutPiJx4/tfeUAo56Mcn3qHapBPOldL/5/crY+nonuegromE2RsZAjTNGKMm+890MWZLsQBuS380TwECytAvfFlWBnNmpMuuN3RnLkaxaVi2ZxGuAnlx+O3W25h5tx2dz2urx8mmPRRmKHTCxit3px/S1oqyD9U4OqmNAKFR1zPpASZFCX3S68lSYQ9uicGHmUY24+43pN0d+okeyf7PVBwZ9WUxeMeCQlAaoixB4AmNqOigy2hTGTZlZTt1rr37+i1obnQhvj++cEaZqjet6nvGGjk+SPdhohRzD8V/K+UrWOlpnK5LLRqGgD82K421zRxCd2YRDO2Z/vfO4seDXobXRIcVXnNpFKJZMj2GsOhWftoAYOFLCezl+KFqlkz+ve21OXgcBmqPkpwgVNSGL2cN+2W1nJ4hdJrFhmOV6SsNC1nmnT3eWEMfmPBlvNMUbd2tTk4v0DzVyeZ/iBXpcd+R+rPOIwACuQdQ6zuCDech+nz5ng9sThAzrjdPOqS8GSxkffmuDqXXIaOsEFO9GxaIm/Rhsl9qB2cg8Sfy++phwsif4DFzyIpBtB2TcnvYWwkqKaSiyKCU0HVz1WbCJIomx1QKAbi9mbhxmRtdUTG4lSNwp45MuoCkYf3tjchCgxSW3C5CQol/253kvRfDYpP/Xh1i87hYCSEN5ayvegiRaTH+POXKnnbpT19wXYKMnKp0n7/+6ZxsZptj6TmVC4g9mbr+7DpNdhYfaEZlv2/3UblZRX6Zre1O0xsylv/Y8wksvW6FYDRXqyql05nHcCUS/NG/7UoYRc5Gf95GzeKCMdg1G5n8KuQqhwC9XtB4C7z416fzyTw8K6juyMpZY0gAt1xiEAyO3pBIn0U6REP9ttyHWZfwsyi+I88diAKJkjkvLnL18OB3EcNG+bFlOxi9tcVgQycMSqp47ftHQ0bXBpsWXtmMZGzNDNUQ83gv70J5auNl1dM+ARamuvYdijhY0FHphEBWUNYOrrxzWjLrNuzN/Mc/CCCiokPT3iTT37RMlYPY3awfaf4u23g9WBGVwpeJwPZsouNnH+NJwuPzKPPiAK4YhWV9jvQ+PEOCkVBF9fjB7CFPVusD2CRW8PvzI4VF234dXxJgwBCDG11XJDuTZNA0wcZsgN4seAceTUqZI3BOaycbvaEb8WttS65R4LJAXjiiU1RUgwgHGDktPeXZ09LQt+XZMbosNVpVAj479UN6/DChhxTN60oX2H0BmW63FH1YrUqZz/neVdENmrdufbYEtfOyu8UDbLNe9HOv4xLV43+XkB3opeqHs3U9v/nSogrrJ0ZgvL2FUoZDVaf2tNVCguhJeZJ2myyFaPvqToEmqa0u1JwPIWTdebvKiBZ+uvezBUD4ul1io/8a33x/K5mXM4BGk/9j8KuTJUjT1RrE2AohmA2r6306eBVu6XGUOU21lVmJwjsWuTxgjhZrZV+fucgpQhn8npWqp410mwcdRh8lNaWLhbWPXje5GPbGYiEuYiX43S5YGG55WWZxmMa6pDORkEPUBjVJEXvXfjOgDvOBIKspdq4bn1RJ3aDsJwtK/OIudUNJiFdOdExOhJXUIBgKdkWM7i914hK91sHSgqFtkzqy3LzbUcODVl/DK+a4/ULMXDRN9DrQ+WS7GBvqOC8fjgdKsEEwMPrGbP6hXfpJxr9u6urq21DLbfmJa2koZkoMrkes1OWtS4I/5mpq6aV2SL6ywKJKuVpR871GZqyHC60tH9OSpTQ/T7Zc0QHKD5T+NUlfSKIpjGUS6MpCA8e1l0NMXa4dd2v3uBH/YmlfKdYaojpCuRVaXu3avTfzTMchn7lfxzIwDDiPK801arsGlBrD/xHuIP6Q8NO29XyzNKgTEUw+9/dzcrsSlVvdivDGeaApQP5nE3sYMuO8Wql4jwoYA/c/ErRB+BZc4JUfQQNwF20DOXO/qEYYdhDkEZq7gsoVqFiR+/eK9xllea86Jt+JgtCoRbYaZuna4CLlXYP4MJ+ppIMCMVp4Gw1GjjK/TxHQ/IihLZH3IV31RwllGCfVt2D4gSTdyN28838KjDtihrG69oZiiLQ/6BNYvm9tXbEVaVIZHQP8c12krgpOzizmrjmrOlK2kIr1ZrHD1KorIeoBFY+2cG1NKxsd/D3ZKrG5lNIeG1npl+6KWwx0p0U24A4kb+Ih+m/7+sVgR5t4pbwuJ3pXs7vjUX3qmlPz6yfx0Orm+CXi7tCkEhwh26XT3VjH+djSf/kaQ0T2HxqTDiU8LboVgxIqSq11dBFTzgEn1bCAAhpkDB43Pj3lCPG63+NDoCd8zEhDLKGM8EEEA+S4+hnLvI1R0kZKNMLyYbH7x1pgetTwxhXJ2TmXcAwcC9E+hc4COGNdqCJm7SSoIQHySYv3zM/Z/aKwjKtG8kfpHd2zzM/YBF2gtZjCiMTNo9G1lqyCkE++gtxmbc1VCL+xzwMJrCHTPK7m0F6tAF5MSGBNk6Vr3jzRaRlRbbAnd4DITj4Y4DtdXceIk1GWfnph3OZUustlWt7C8++BrrhLude835WdtVnO3jr+J21GqUEXRjO6zX5QjAhuqOYg4iXYFjGp3c+JS+v4NIE+NUylR2SCStsGNDuKSFXWU7ZGWx1JtzC/WutEBUrBHAc/HgVB0DMa4htwKeqhOJWhvHY7720BAdxgqh3K8D0uXmpVuTh4CeQLAs4++HcnqgZyXwYgMXi/BQA5+K4KPKQ3tQHr33mdCXzpDSihhVZoUhAi5+5BX4f42U9d5ozRaFYGal01F53pRws21Phah9aeIbMutoE3vv+h+kFigWESYVyfZww0s3Nf9YMdVxyIm5Ov1UhKFR707sYRO3cE2qN4aS5YUJqilsYLTS+6xlPBJD6W/sJpLFVwW9Oi7moqqb7xTRo/226eEwSSsQRg5BP2hNMYj0KBu+KoPgEDnp+ECDJi6OPEB+fUaRZu07b5DJ0Iz0vUR3ejy2dq4ie/Pe2xN0Hc/2nSY66YYnJHEl8NzRlL/89BJ3JFw07VrmOumkDj2a9H5yXLTwgDGlK+KxuTccslOi/qn7ggvl9TtX4bLA9WJcHhtf4d2LQC9SfN+Dh/y0+Uy49wwhfUWlQazAE3f/8M+z2GexvN4dKsS97Ar1QOnzWCnzwASTpzE+x2XeDo3I/+rP0rTDmceBSXyK24IB+JxZ6O0sM1w8z3ETO8LpjnV6VykJBH+c44gJBG7C8nq1J8eBmGRKU8sWLUDRR8fDHEQs1PtijsgfB6cfsKkP2QJvC/1KBsArrTfrQnfLO/KdoeFcQr673t9OLjdKpjcSD8qMOYB7EU0Osq5qK/R/MaOyImAXLtWpmNESEtanfRPGEWUjx7pTuqd7BWUNAO0YTx7pWywaRZ52yPzB0mNUxBK89MXlILwnaUnArTDHcPQDyNfwdt1CbZcrCfhrU3TkkOhzG6bvNaMZtWAJxHRs2AOc3VLEAX+Hd0INRRsPPhVyOQcz3kTpHPVBXZjlqRqk2X5YR+Xtdp4I9r6fTj20c5e9ITB7tEkXVEoqnq6/ct1tCLqliJirpQOnjurMYRRQQBLIQVbouLq04PJGdskMPlAD79g/ijLATJjEK2XWRsv0lSgx3XheCTqKeO8WHdhLx3TskIM7Wlm3PkF/7ap/L18W0xhnYQ+k1X75/ioABUNfCVP5UuWmpFlyyVvJa3h/SEeMUoX5rVjvpv/5o8lAL5IjpoRin2p0jwRulYo6sVtqnmQaqhCiRRBVmpWPQQa8UdCZMkRS102yl0l8xbJWDqF9AwqqIin6UZv6yarAZfhz167RONZP+pouL/4/ina4ba7jHFvSfXOGYzQWreqXb9b2XToFO9wcv1J/2Ni9oYuUfrfA/7qustkddCx4GAqXx6t86FU5/HqfneeqjtD1uzeTFJfHQ97MNsnrWv0gp7DdA1JZm5Yt8pasVMIqlDGFGT9sulVcFfMFir9Rg52Pda7xdZ66ZFlxrtQ1/z89RXZnHs6idAVQbHXG/lDiRPvopcj10k/2/sgVV+s4r8KLDoHQrP6aNTzYtrcWK0mrNHC7pPOrCpZul44/yuzzsClPa6oQz7lFat/CBlzM7PqsQtHsYmHB06SLe27HU88snkz6ezH47xfXnhrnuWXFdvLxz6VX06x4rYjvlD6vDtZ/EdCgfmIwYfTMe0UiP0kr9NBs4glWXmJoyJ/38Mr3DhNKkkwts7UEpjzMNellg/J/RkGHLHna8dg4E3knxO1tJp+k1aeweKwkb3DF+AtWipEFkE1EFHoBLSEVKrzqnj6BUgdQE5V3voPJCB1ViqSckecEoTTRZexEBbpueEXS2KAdTfBmsJeU37TO1Ky/jgSLaoSCU7a8CbBcTd9poS8PGJnfWUlGP3SMgYGhnXtQDyilmm9Gd9Ffg3S3M1OGhd3pT+CcPhZSYa9fDIdjY9gyjvzhRt3VypK2Hm/7dNd5IO3G5sI4Q6w2hJIHtsUJCxts/tMOnjMyWDM+Yvn4XDg2c4D22Ed9TtdZKWT245EV0PQP0X3Bleh8GXIE5IVHaCgTxKsxXmkenPp4d0tAIyATKpMxEkbuX2RlvDOWTpqqyOKQK/32EnDlXLpxeSSJQJfRCXMm/Md5DFZGXG89I+rsX8W70D1hLKLny/m3+Pd2yvguMV2uTrLgVm7Exb+cu3BaaaYMxavk+j05six+njSgYgzHp/9pkh1vyJ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dJY2OMwf8mgoXWrd8S3Dpr8K8e5QDX9l/GOurOelpINCJLA3EC4Lci7vMC6fiShJ1UHdlzzodfzXVhfa9I7ytnjk8UxGhLoYCoYswL6v0jmUqyjtlYKGO7KNrwdR3Jtqv+irS/Sfzu5qGHNY/GWRzcMCJB9+nhml2tFI3rlve3tOSrKeIxWD9P70wEfe8SJ6/MJPLqB+9+ChibGUJZcZ79MSo2j5u3APi7IPvBbU5vnnU3oHNXYDU1pQpsZPwllRfSorraV1v/13W5stHj9VkwYm3cencw98ByET5gQ2DWVEgqSQZ/W+iegWBwc5uL0khqyxbvZmzhy+TW1I+hoIly2Srcjlg6MINbVVTjlASA9tDfjsFtpO5zohwDAqdS5+pAMb7NLtOUJY6aov3b5A1TdPqlMGX0rq9jmFFJNQBHse1nyBzFX7iMzvSEeDw4MTssK9PJct3A94ondDsfom2zRrF2Bx70MVq4MRQZMslzFkUaaJGFcpDmhsUFFu/DBGnzjWABubxD7vwJ/cJrpSTUdBFqOjwCoQ2qOtrBRQ2DsNaylW051KKW7jbxU+GXfjYsevCnYnbmNFCTc6aOlW2HR5i1JBy/DcMGRFRMkHPbtv29KvN5XwsZQchybZ9p7DCVlmsr6HORnQkfeOh7Rpt40QsHtQ/pH5YgjqmUZ3LILR5fX1SNSQPDwoT5hWs8LYcHr+fIyCBqsXfJpmomvZfo2qySyBQoH/cQJ0iBHv3v0Cdv/Ug2Fb7VaCgF2AqCUmKJv9c1/l9kTnRyMCaStSdvMgnBfSB/zOq430eXUM8myupA4ib+Z1i1RdDMRUIVvbPxzb9A+/PFvIwXLlfc3U1CGCzBrdmnHzvkakYFQFmu0P99yksfMFf8y9ofnGLxjMvLzjQszAGjASGAzPsLnRghRBNiqz/qGdBoZ+HrtYh8ZyKhb+zAbzXbXk7DbyLAt4gIeoQtFipX6N4CQ08KG6Go5jrU1vr8dDEL4JhRoMJKQ+R1B8E7fN/rgsUtTmiAxckMy4tfdB2Xxcfv9kNLFXbo7vul9EfnZIQhE+IhgJpO4NMmmpjWK/u/2cTR22v/2cSFbTu1OCJEq3nSxRK0UU6b9l538c2XjJJCPIjnfoNTZjrlO6TM/0HmsHcleRyE4BxFeBcM/BciqxPdL4R1MpgTeAEra74jcnb6Dcr/c72ZEKBMeGpOrVwjkUue3stYCPt9XYeFNw/iTRDEnT98H3wHPWObw9rKERF7bJXxBG//9uNIOGD1fZzv6R1l5KUXXnoan10mR6494k/Y93sktxhpoKa+kH7qRxHjIDHaBfNZ5A+xjRtcZRrkcv60wAWggeNUYOSJfJaBfJcJa9KOw3l6TEvkEJrBxoQ8q8Mh+lwMwCCYhZ86BiwjnD877XTbXAUT6rCBY2TK+XLtktOCeuGd8BErA2imKj1/IFiGMkPiSkg1mko4HuHGquNNLk5Bhip2hNfHoPzPCeXtLjSA/MBhHbwFO1cQVKyEZPbxddXbTDFqqh/pRNnUadmS6oUWVGm3Ut9m20TpCh+In872S5f4k2ziCoAL2QUQWtqKEqPpopJV0g0nOKlmdTvCzhO1Sab0gTKI+z+f2C0YIDR9il+XKW4rZDbs8yOvvO+2RbbQ9bGSN6m+YqYVWb1LIC2fd6YC6JDtUVNn444QTjdQI9aA26HZ11BP6Kt9bRjzj6D+h1pJb0+XjpryGkEH/tBVC48o716o3+rZJ0qY56qMHTW75OR3XGMPVh/oyHCvZEdhU+GT/jVRDoCwjudwhX6t/kP8mAJCCkQOuCWHEOlBc7GdRn8fpipJ3XtkWbHPyY0yI3P7MJ0jMQlH9rX19IJcr+F2hK8bPQHPwZcjJm0iyc3NjHIR1lgnoaETfqeiObnWAiRryWDrIwDOs6fPRhZMLYnfumXDx3anXLJgkYpztXFftLEmFgEPpjD9AqqSuv/azqf4QG7YjBQZ7L0VNdoODdjBimnENw0F96FsNL1Wk7Gyi7TTUiv38ekSCNEPfeXJAy/ymaZb2PC8Q02uBicQVg94tcNdRpftyMhUizoBlkrJyJGLoixkNMMV9VNnV2Z3hTEMBo5gHaU2WQrGW4mVerEwbhNyz1ukcnD35q572lnfOueh/wDKlQtPt9KsG/Lz+792CbOSs7ItHKkp3alz3q1gbTh43rrZAV0UZLMDTKRx1vEDZBXyDKd4MgW0UA/N3XzIG6Um5cX1d7mkQKJDRpI8n79n2usgqjqFANNZLGm4rsoUYDX3eGdfUkGOOHPDP89Oz+/WE8ATSjGIrospYMSWixMIHdC+cEGkigJCnEBL5khNe3e2hJv/K5usCeWe0s89pkn++c3RoomhO9IZaxEs2Ay2GEJwZnhvj1+ocQ/tnmZX/LF09ZgKM/ki5w3g+Xei9lJsJeFuVnAZHgUbiSxeMtsZ+bPfV0MucnIHz+e6ED//n+kEqibRBOqBrym7YY/EAraDPWbuZBIdYcLA1/v6Xm5RngGQ43zvln6jBnY2UwK/xpZ8X6reJGTv0GoEcR29ObPmoUB9z5j8JoNV/w11/OdM1mAq3zR/58Y3fu6jJweiafLpjkMKg+G0e1a9eOdb7CsWWkbPvWuxAodSXI4V1sfWWk4VFPD6Q0vmE0MOXl67M1wjJdtjvhU/ywBjIaB0B7qcOcNUEoBA5b/JwaRunM9aZn/Q9cZrkuO6TjxyxzB2MgCVbhU1AFs7XwIKLK0o9TyGkgoGwcDfJ44vk7GI7pyjsbch40SZTYgE14xZUKzhT4GMYWElghe+mghybKmV8YbjMz7YLd2rDzukAGnNm2sh0F9L03WTHwM1vyItfo7zaTQZYaVUZu+ItvccEZJky0JXnKBm4DDyEy+OV0LnnYM5NBzcQruPa1QQEhohaeX/cZmBc5GFbcHxyPYpesJWx/nbqpZqZLQVrL7bbgcj5S4QL6PFUke1jO4SwMXrzqoSc7/2Kp2X6acZs5kYM+gx8Vf1rLOmyoUEy8+lZtJxQ9Ry3sxzEiTD/02D5b6jrv4t4HiOiPnpf65j5PA9uTP88713qjqcs4NETgLPAte9iCQmqmLYdmBp6kUEMn9sTOaN2uw0RqhGn1GDTDwQYmgdBqDv/cHsBJnTt/9hr99OIq/EfyRa8HgnGOHmTdHFlk6HT4V0Zjif5keZ51OxbgtNANr5wGdkioI9BOp2ZHkdhHwMXCWfkk77LkUyaSEirjr7GRj8u8JAGapsaLpPQVFKzEBbgNFOUiWHZ/ExWZGdRBTl2otudeCyh40ceP+1l5x7UzPVb3xKpJYWSeUg3f7Ulj1WUesIDVMDfL8JQQLVLwC6krmy17y8aZtPgB/3gaXIdvrWHq45CPtUBr1K22FKRF5QjZVcsDTovjcgYP3vXmMp/8OoJ6pRtfDUgc5yBDMUSv3ZzclAGbRlvCurgtlZFhr4mWPesuWSSIdjG3lKf24Tdz5pLZb4Op5ipH4tCcRh4p9QTXgx3QKLTVVNJCIeli0wsamtsGLeo4pP9BacpBvm+Re5EO9EXG45JmiPbiAZXGZKsaXNRo1qicTU7BJPPAeCqZsB2eKwIYv9R7BX/A9WzziwUW1KSDozx3GV2LLuK4oUtV/5JGLyOtj8WRFWwwuGGSx/iro85swO7d8bPH1fjcqPLXcQSowcLZZTY0bciv3SQP82mE7TmT6k6/88+GbrNeJVLioWqG93JYgdlc5Salry1aP38IJpSj54SAxEpXInopSER1hPO6uRzTCYiBjLK6roAYwQFvTbpb40I0kFAFzf9EeVybzF7kodd+tUG80b1ptpo2EdMVz1w0xN6iek7dNwaMYicGtfzft3t2ppqbilZeJ44SBAE2WjaWBh2Cwtiy1SNKOVf3DA+4G3wY7eQ95DEsdtEvkRNqWM/Pk03J/21nxcuoVGOQY0WgVy2z9X1nyFesXNl5g2pb0tBjFncfeKR+BfwDnza3K8V2szm5D8aLCLWbDWQYaN1O/Wqtt+u6FeyVJz0xvNiPoTW1QUzAuIttGx+olCKum7XQ05Rof7wQiFGcfy29dlm53kjGCdhDDi3vxH+ve3XjjIDcBAMbzosT94UVk4SMvG/8wCE1a1N+s55ajrALBJe84YS/ZJOGvYUaaSe779/XxM6/ReZflPKySdg7BqLSa/48fpk/Aru8mstQjuzHKFoK9zOeXJC7eDVu16Eogeu9inktm5G/kdgQxyBGRsHzBi28b86AlQBX/kZxzBEbuGdl0KK66yLTQDteQ4/XpKj79ocYgXd5PmweEVcObeY0Mh9bXVSbP76wYiQNNO5BsTD9FnQ3974Zm5ojU7b0B6Iam8lXZpMnBUwZ3gNDWvGpYNZSJeO33A2dtXJVvzbHC4UXlqWUVsQVfnVM6I0mFFi6oQKK7oHOn9WYtw5p2lIjTVRmugCQk6MwnAuWCCbnQp7i0vW6UusCEKcJp2zgLel0phaMfjPKygDyKX1qeGjmAJGEaWR1nankWPPYEfH90XW3kmwQgA9L37DZhOehBF8H1dJtbFfhdEYgTrDbtErqjEAtJJRDzjVRKyy9QUV3ShzED5bmrNbHjQpHSYdiVO2jSeuTwMhq+3eD/EL7Ak/qRvFNjgqxDF3kAySU2eBxYUWjYrY5V1wjwQSAuBcamNJT9jWVmS2Ham51V16wrIkV3iRz2BD3Shb/bZEv5q+e4lhF9rzbily1HhH4CY2v5Z3Ogz+Xw5ATLKA00FZ2t7BQLPuk7LOdy7Tsxojf6rZSSQbvkfePG4bgUGEQDi1iNEg0M6rGhkT3Hi++aPsfqHh58gpxoTmre64cOXPNpte/AbHSxB2lLRkYOxzHcXqvUJQUlur5rq71/NdcxZaRfcF9yD4FgK2lEAaIuj9+sQSkSegz6248uvp/NM5xralJyjJu2AYWF9MFWZuciRo8Xetc49bdSEq3tpU/NoZu6S2mOSK3somhIASNA9Ho3vrQlk9GI7efRRQOKEYWBjTH3nx/ho+57HYeZyQCQyt6Qt6JcUIeMNC7gpTW4EPfKXrmHxBby9GamcHI8kzYISPoK39Nu5M0sfHzurWsRddetypWjv7ElyHJKua4vlkXc2xsiiOLc43pSHmByANuKg9PFU5rtkjlfYXJGP6WJWPn8TIgruBhkvv04Z39GD0KsBq8s+MmV1Tv71CNpXs37k60vcgkawaK1Uy3Dl0srqp/7Rdq1WQt7uTUMwsF9GW1bBtKD8bz5fOM3HIKSBFiWkHrjkgFxMbMDkSdLHSozNj0wnP8o2nEGq8LsvIGkPZZL1MICAZfunThPErlP143zyPojMkcsVmXdp3PnUtyQZb1t3+KQbtdR3xqXi/QGt5cuq5t3h1GzBt3Y5wNBtqKq4vFjuC9FPAIAqiy6AQd+lWoD7zgIekmAKSxczQrwGbaieorztEfO97cNn9LKfkzhK+989NhMbP9zD5gRI0DqZY1Gjo3L/m6DrphUXtcAfIxUxYkh9MUkcfN0f4F6R+kwXdn/rEwriSZbL6M/N0/lY7A257Xb0KdKAA3UGwRv7pW/OD+43qJn0oOKb9Ea0OqqgdRW2L1MYiXggJ8b4N0AvQkEMAVB8apRJDJ8YAlhyoxWyG0MbGqu6WbTJv/41zC0jrg4fQLXjc6w9lpifI8u2TdPF/wKp2JY74Atbn+O2gApDD+bj1/1r1MCzJYfmh46q/NeYZDwF/61wbKELuI4bgqRxNNHEtsNN+8ARdurQTa6L7SR8OV5yFVUcUqBfH3GElGJ/qpb8l2V+R+STQB0/mYiNd547S9oD6UpKMbd+L5R2bjl97vHTKS1bwV1/e+DJeULlgj4wAqWqoZt36F4GqSsZAWMduYOrAS8EMbVcD56mLqMwuJMYrOMQeGhxfilHrIgtMloOMnJD9mPHhtSEmGKl0FPzYbPeILZcjAC+dowbqk92USqAlxVRrYxBKZH/flUvuRf9FsOKdsqeipJ6LPrlJCwli9SZA87bUqsDfti4Dmq9dg27p9nZt7Xov5y5npYuXHOzvIaZnneNoeL1t+xT5FvyaEK41QMfPHiaBOLibgVDpWRBzkkjliq/jKxAfW9RZQ7ZS8JsqBbhShZeK7P47Wg9E5xR4N+qD4S82XbDCFeP7hD5vedGwk5wZI1+Opi0U9nQ9unznVlOjexfpckZMkbvNLcEftDObT3VZko7xptELUMGkK13XaWSiME5VQLH39Z5qJczf07EiitsAEEJzjlYtRLy5wUGtk3TixqolmjogZH2HEXWl9JTjeWuNaKgtfltOhe9G5Rblz/Rvig1XlHL2X3FxmLKo/uMJ7D6jErghLo3N2G6Hf71JJJsoHxkbuLwD848AsxRFVFFtPX/MZA43xnnfWsZ2vrL+6spboldWKs4x1m/p590ph1S+QYn0NqwoYmA6k+DDMS3PfYWGm7DtOXr4J7kHT3GgsWI8Xk1QzRmhYo9SjlywzloYa6fJ1N33SHHb1ifEMymBuS1d2P2yNuGH27RdolW9HKAOTufpnpx10Vap0Fk0PGvRJ8xkLE76lQGl+MYYXJ0EZqkv1BYbZfG7S4UQwTwSJfmr1+hDHj3IyKHsPuaTLxX42/Dk1RkYitkNtVK6bS+y6edssErI3l8AKQ7uLM7EFVKF5DlLzmdJcUOkcMa5Rz8aaXwCUhYbEzexrIBW8EFYRJtu7FhD1CdtZQn0BmHX0evCrBLmZLthlkSf3E+aLZ9wpq6doWDau5omxIoouS168Ntn86bSj/j9GafA6N0h5wm4B2lH56BUaBLqj/rDxB4vUAZmZoqfQotugELST6gd6kRKYUHoOaBDpwFOBG6ToBkdAkBi3qXVOw5qNVQerR/wGekbQn7K2ees/KV4OtWGd6d4IyO6ak2aHcg4xidoUwgIHe6e4F4PqMDvxNiZS1MPpZ6CHyvjXBUHL79cI7dOUX9byJ2i7IOSW5wVD+gV8l3HcxfDDfW1RKVXTnQF1CbSzaU1S/LfRV+8tesuVHPfv8zDCh6rEiLt0m4zkuw25N/+epNPqHd2nXlaFXDzFstUBe+eikOAYwGnwiqub6/W/293nO5z+N5MnJPJ0NY0HBX+wMCDJkxm8AYxG7Auyl+lneNK7vY6Tob7GLBjV99GvEaG526o1wyD4t9CRHRVdouA1+5SI8+VoMXY8m5NtOO/t0XQ9fJgAoFm/hVEgM4uTvzabDsbJpVoL6Dps5DV5+DlTh3RRvRbw/fHLUMPVL14L+Tez26ncrppFcbTNVPpe3ztZXmV4wXVAO1Ae6ZhaTTRbjMhiOExrYAtszBGcgfenxGid0poqiMNBz1jHLxMg40xYadT43P1yZNOC4kVbyIu3b26zIlaJj5aHSYQ3VDfPHabP967AUiDfvj4ngaxUk0vvHcQhppBqhA0DJNsXOZ7NiWuCHDw5iiZlyrmzVqz5ln5GeIhQ+SAK5e0QW509XoNUR7Ej2VvulDtMj7pKuP4MvUiOAqO+Po39o4qOtdCOZUDAmsYRQF7VrvXprWXYza+FaxhoX7gHrjszSFmXwzUX8GNjQBifQO45ZUDmVTLWfN2VrYGxPyYxW+B/Jtqs2/L+nRN4DykzHJ0VhJlaB1ynKtrVHPucAt8pzNVeNVBr6Sd20+B+7tusiDJIs6rnLd1O4oV20mCmEMwOLPv9gDzvBWzqhHdloVIYpbY6dUG2qCr2xioq4PuMwBfc/63Xo4uOIq85Go/k6fJtBVeBEPp1SfDITAc5zCgNpI6uuJR+zpK9efdGd0c+hzLh8Me2xrmN31Cp53XlGY2Vf8474fyzuFpvWq2uhM2f7Zic/wfflOfZdodoN5UAvctLvCgkTMmmHtoV01uRnC2jmu8bkE7ENzz6wX64Tbert6KuYk9ZdjlzLTmDpRZXgnzT7eNqoBIqkXdKLtDzhlKvln6xhk9x/AOdjDI0MBctdgRANUeBy8eI3fYnfuxAjIqZMfrUtDWWa52/u7pLSpm5s7j9JXM9+G8JX+QHNCXPKN0lOPIsAIaWnoyO9osAwuG1DBjLBx4551uU4jxdNp5a+BSkepteGdWesUwG103gKWHqUJAVFPcUeSvzvj54aY/AAyi/0ixppeY2slgYz3VXZdiaX87IlBB2/IbR0pQ/pEiw5/K7517T9UbCX8AlT3//rOi4nt3tVcqeKi78Q3dmOcQY6NwlIlmcA9A1lCPAA2WzZbmFqudf5boCGFUanCCYv75GbD97FqB3FqIxXyheZstmTy+tc3JiEqyfuWHVuxsCoKkCyJ5paHKu/SiGkE3CTGj5cFG/kqzoAnRn1gFJbdDzu0L5JAUynz4hGMsmjtN+sq4ZGKozznvA/hrcrjOMmlbRSjCdh7i3yCB6DrTJXOfr8DRmkM5SI7XXO3tjTuPxVnGMBi1f3D/tpiB++PAVYnKK/jRlDgavZV3MekTrgDDdRevY7EuflvDADbaVErEyYHYpvLmI3uNpRIlAZrgzvUEiPdwOQPJzX+ffmLsGrhg7edEYDoYYm9AO9plShExWv4zNnyiNZU8siUFvE7NKLdOuy8Ak3SV2UbHUwZm2Y/h2Oi1uBaNJdu0Y9r/DVhtdtZ27ggUwiStUYSpnRXSvX6bwkcUzbFNDtlWc4f4qNOAB8p8jYBelA6jj8rkUv2vqPP1TfaOOe5wEY7A0ag8dShcNkV6tBbDOu2mb53JU2Qh6mx5qmgW4j7jGDFTxHz0JAnY+yRx35CBPr4RD9TxZFs4IyGkPw+xHO1sbl/Y0D5TpE9HzU7opitaKXjZ+N/r+OoSTCz3YbJUKk6uGvAlNCkAV7Tcx5zyJCl6Q+HkmfnY7RJ2sfdeWmby1P/z4oKb1RAuswhoehI5lAGSzcvkFRhBEynjurzaPAtVB+Pooy89GiTf4ajJgPl3nCC36eRSnXX5FsAmnayPXHpjcceIsTJ83UmxSrPjT/KrK1iElDKWZIjlTjFFxhsN28OdGHSP+NaVxJICqX2oWjU3VnqtkIvRG5OL3A0KpP4Hkg3ZkKQsQtGQFwKHgAI0U0Yo27qA88JcfjBXl/Kcj2AI1gkrpZp9DIRg9raJ4rAX3DYtfRZtMvNNBa2ZwWMWLB/q8rKC8GZ7mhNccrlHSQPjR9AHA+gxACRIZXSHXWQCsvQ21REFi1Neb35kLY0+fpRnvjnbxdcKGNYLL45MvGQY/WHJgFKVFB4D/AZv3Ccp4muZ1FzEYyTyuB+O+8JOgzsfQi9v8U2xtGwQ56sXGCIrZR2kH05J7tI1mSBjmGJTw1S6nHRRYWSoi4bkCbwyooDlSiEx/W84N9XU9Mh7nRo3aepUToYQrbce6vwZJrdJdgDS3w+JzgguB807kteft6ChdqjGVMBgwho1Nc2AenpIcKlWLvFb7XhTLd7SmvC4rt4UOZlQymf2Y+SzbFYxUYAYF0eUXxt/u4MCp1HqxftvBtPCGy/vrPV/H3xcf65Ya+zCznLvJzTvivmaojloKt6nDZsBa1uQz5hvR+YuV+BGL2+EJySPkwDKl32qOTtiD3/mWT4p44tJmwF45QSHjNj+eSh7HaTJwDr+f9ZY03n7Z+DxRSVWEIzCiuRFzAb5z4fBM58MS6eUJLfp3bY+/52sO2iV/sc14K54fjPEswMGCWX5wlqsDUP+voNPSEX1OWHbDvUyFScFUyoJ7/TOFzRNfjzh1BO+fSk3dOSqlROpYN/VxbN1Zmebzhpg9K043rZw4Z3QhrZVrP+sujIyaRTML5NIIu/moYcIp96t5T/ZLFeDjtHfZ+xIdj7N3SZYtwaVfzjvH0JaZOaQoUi0OVzBeymA5DsZlvVDukACTbQ93MrtNshrS3zknwso/w3uIrpHOP3EuHo6qPRg/wpGCSPuyXqEL7kjWDts9mmx+/Z5Td+iBMizKpQYCprjSVUAX6EZRFamk07f4GLiD5V67mk9gDebifEf3QV+YG65Yp4/wKP4TAE/LBTRZcSpAAdep3lt5qzBUT0243r1HvSaj/O3p2NpmbLpiMDTTP02+DvRiWGDd+eEtB5ORFQIjCoIyix+fn4Uj0HDUjTJ88qmOg2CxgDrtPQoI3mBhdKxhSYOkxK7orjKJ2hqvLRSGreMIRVqUvTCmKSICpxgg3WsqTlq0w35/XzJUxNBzgf7QmKVYZ6X6zYSWxhjTOJD6tqeLKcn+VDCh3q0ot3ELyzICfI+l3SMukzyts6lnJJnrLXjVNRf6YzWsOuahm4bQxhsof/T2Q33JcfwnlAin5cJPCpdTWJ1ooh8lxKfioZ2PU/5IjS4dEKoTsGxBzYlqcHjLVULGnwoFmnibOfspye3NcLTw7Zulpp30LSjFj4zE1umps5vaqaxshZlXm1QQsKIvMsEpvOs/lO2L/+lGpe3ZYGPr28SxW/7s4SMc7qU08u8eKaB3vcSQEZXsfz9O4/sXUrmN1vewwOOa9b8DbxY+G2opTDqP2n1jhDQ6UI8HY5Y8pBLdvXz/F89goCB8forQv7/e4gThw66T2ik4XIPB+cbcy0q6oqCjHtWrwS5aYqTGykjqq1Z4VgNL6nqQWSuYCXKhh8u+ybLF71xVKYZdJ+2LrHw6QP6JNytQkF8FZHYRzl21BpDX26f77PT0ODeyvu9dv+LsR0Q2U5oyW8RSavGcD+iJOUrg/msQmDifjD+KIqWvaAigE3b2LUt17arQlYPCxCvF1f3eiL1V94VWeShYLypGYGbW3yGmcEHUqgoHAf8fVy0/Cngb+LkPXoXAsl7BQ9gHr3Yq7eQyuW00Gr3MepDsSe2roZ4JpG45j8oeAyUmRXT7RZ56Fd1Brv7rmvPREnjkRTkuVzX74JoUpKt25kIHwLrorTFB38hUgXfW2SHtFvSkAof83vMBNGj4iuTj4WkDlM8qJGaAMGaLExRx3QQHI3cXntezP0iolH2KoiBmSjMYKpFfEd+jXnJVRiElqPLkksBDnBqpHxZYgFfBK7ZO62VlW/5FZEQ76ZO+Q5OmUthOxdpa9KRqQm0YlrwGmfKSwwGhigfanH24Ou28AVq3kffM5lZL2c3+xOTeekhzNs6MV7gsRmqYnKWZvrB9AAjLfu9u+u11SKDhcL2Li2VRBpWt9Ov7VTWpMx15l86YmT8j5Ho9G81Mx7vefh2960wjqTqd/wheEM4EGapbFsLNWsOg/cVsDYMZdLW0sevVrMtZ4QHiP5PQzr2O+cs9ePKHLAP7nzRCVRj8Auz/byZLiD5Qq6wHP71KqrD2+Wq0z5LVrRS/Sa2NNzJr5SBmKx5xJTXuTT2Z3u5oOwV4b/WJGB3rOoPMXOUB3wfUa4htIhZbQNR9tzmsCCm/KaxzRXtAMwF3V2QUYEIwDP8bdU9WQ8sP6PJkJtMiZMBNfhuR2mPs+64qZKpqawUc+cpyGHetp/JSlDkgnYImTxDRyg/8YCjZjdgMUiBMHDZqGHMLQt0QY8LkT3f/Ji5AfG/rh7RMlZLI7+JJ4IxzeONmDHd8vGfgeAbO5fI28pPoo9TginAC5Hxvme/RhCcfZwGUrNdA6pK+ddifz2YniYJkBCcmaE3ZA+4+O6vd176ECyub5PHlr4u12NiFc18hGsDPn1MhOSBbD6FH68HNoxoVfZ3FJmola9AfnDNlVQS7I6w6X+aJIrxjOfIsaRr1X/Wp4YJuPF4kPcHSfibEi8kP0U6+fXZASjycAcqk1kjka16abpSuPACLLOUj5IdeVZNdLMC66OuhN0Hl5Dw08wujgGqUq43Q16W8TWH5a4WI42T6m0y40IdYotDv/Wq/gD7WHs1DpKElHsQ3BESkc0c+M2cXMMaIBUZlYXjevqhJtkaxTmYAaXBuhTtvG0gNIV2dEXSRBhvyjKkJoUtM4YjPlEU+zccjnJF8ilCRMZis6+9eFKwAAzm/QrIrx9km37popmyqt1DQO35dfed2UDFKF+JXjtDQFu79k3VJz55id2ExqLqB1IA5hkxtkAh0ZD5l0lxrPMpatDfMuk1ueo1Xn7lrj3I/1RpZb54IVBjiOHyT/OV7o+Tlpb7tNQBdrLK3uwx8osze4yJtmJ1bPil/ksKmUxsQzxSb5lRuq+EEOHD7YMGZ6vUJb2WOleBTaMn618+zZOE+sGi/ZZV/8FcM+9kaRFc6EwHpQV80Z5C/1R1Itx6So2ZcgHoz2DWLpwW9KrIVLGHm2LTcdRZGqL3pZJdpGxoTY5kz/GO2JBcS++eLz4jAwfeUyrX/jTT86/oH3pKdxjnmBZM6c85iu8sEw9/MnkdOVGu9EjITIvmHG4tnQH/fxukQzW+tmZ5WGtglZcPAcEkcis7CU2vfirQkTWBCRirKGheUxBzwhFVHZOcfUqt7mlEN1tVzYOEdHKSPd5lVlLIVcQ5RDDYQRlgG+cC1Jorv1zWqwnuDJY1SKPc79SHCaE1S5FbjDY2vvNesKCw6vmjRaUqe3wj5oVEyfU8VATbn2pBexO94JWU53/2C5xNYjERc0yV0mXrfKVHcPhwWK3vZXu7nskqsuH/q8TLi9yMqBZiGPVJLGEV3PnsHnK0hhZfXj3BmKPjOb4oFf7F1cXfZKxfdyckNwcWPoVto2Ugj3FbQ6pRTXlATY5Fkw0BULqfKnj0M1G7Jo8gb+P89jIr5NPgFVSGmurwK8NIU+63xhc07YRWnby1wQuwftg1vsXfmjGmvbMXMXRtgiacdz+dALI/WmULK0MfbrK6OfFG9Tk9JKwpsfZfV2IOXmRVvgkaOIml2KA7pnN/Lj9wbEl4GBCbsWfZAC8IsMUMHI7zoF0kNkAPnPBpKK6KfiTFFl5b7CPjCwtAdsdc1i2cMljHOIY6mbbPJMOEacKMmq031+ku05B4HUoD+O+Mh5VY/S6ar6aZkyS4Ki3cCz2DgXD765Ck9oJdXpDAMxG1Q5lqe6rUz2EDqd3m6CQOZa3v/CJd309ICGHyurquzXVnf1TZInAyqzfCesnVtnAcJFVThPZobNK1RNk+xPSyaxZqK5CNADfmSkKQ6wstqELaF6zy/735hBdlePOwIF6PbNLtVPwo/E8QJkxXn7whGUni/UHlASyII9beme3ATgJQCmyirq6QbvhIdChbRqUTYwT64vxSMWOXX8RsdR6t2QkueYl0kpC+I5zrIB+ZthLdTQ/zr4gbn+10Lt2vDqDvL5Obe1qRk1bBMhQxnvH5cvq2g8tqIPP4a5YrqAPlrSEWLE8YMP89x8PlE+4TS+Al+evI8KyNkCecFc752ngDvyxA4XzQtswo1ucVH/WfYaOhZ6ydav344C4CLY9InnwWw3xXvnbfv/SnWHN0YCfFZ1RGWQZ2seAPfjuapLysPAv5RafXCSgR+S4OjRb477UTMMgPrxlkwPpMPSkzvZbzkHD3xcF1ly9RVPM5dosuGhe5xP1A2/XJZ8DmKbcOSKwGM/1+8J8K2npwdku4Wjk0rblhAB3TzGBMTRX5EhjcnBptg2b6JXRh1c7fiB9uKFxkaurr5TFloyR5mmKjPSxjkezSedgeNzlHayx942UnEXm6VaLfb7Obav6jgwYmj25tEOO3snU57bIB2bTiBW4tzbV3Q36yHIqn9/e6cbbjrJdlUeeHl3llyyftDQ4BnW/WVBgAr7SQpAt1cvRYuesJloP5WAeJdox5aLimkjeRUu3Ds73+8VyCeUqDcVd079KQF06ebs6ArOyeNc7dckUacNd4QKohc5oEX3mSu2wKetKhsqi5ik9Xg5kBkY+CChuM8kSFpqwPaqplM08YLKfxrWP2w2r1XdRmgEB5PBHKDwC2qdOM297pDKtN2n7Aii04RiITADOPs/QnmzEYryB0g5GsXs6IGi+WMwrbtiWbtvdrBtaSKjrJEsz6rwm/D1lLkFwFlAM37XDr0ybAafS6EiT7ka52hFOOmHU3RzM9wHqExXwC4A3al/suim2HmCVRjbc3x/ofig7DlzeaZqHrMQdQngo9WWcgorWgWv8IoFAvNSnACBlxt1CgUW7GD1AaSdzsgQxW2gIUF/uDb00VVHOxjHRIm+YqHSMJKNiCxmKIXRwKkemMojxx4kvv3SVgNfF3oPVKP7EGNa8hHsKNKQwiVxAaF8iU9IdtV0k7QDq8LwESgPC8DsIUUS09Qx48Fzj/cWVJPklTPm2VHfg/mXAc86VCtKapptCD3HDk1mWTgA7EuYwv4C5wsy5oUu2DoWDZ5T5ybu1CM4TPxh9Z5vwgjibMaZPVOYZME0HfYD/A8PnKxqSs1LWfleuvW/sSfzjqDl4NWxirUTmP/WHzYk11TGp7zbmITHSLXOATcyFZxDutwZvb3hecCpZg5GYSsjWwto4TM/FIhmyiTL2Vz1vlE4d50RcMQJ5pyF0xkYZyx9aSpwkNJGhIlT9GBsNRcC/VPdnthUZXzTUkN+qfS3lJktfJ+6DHZDLh8psNE8c6KEF/bcV/f0gYMAh0RJloA1hwBv50GlGtzNPT4iv2XX7CmLtoAnM6sR9DJWTjIKVY7So+Nbt2IToUoBwUuDFSfCYBMEHr7x+/dZtAvXFtbBT1SwTNrwQBPogGs7IIEPRAOGiNUBNgoSIaWGxynlD70gfw22Fh/uoq0aaoIzBc594dqXkoQEEXVX0C5d88Wsgrp5vmNAvSoKt/v96YbJbEAYqOjm9Xae+807MAAHEd5BZIe4uK6BEWPFVaX5r55a3mifn6u2IiiWynVxZpl5mlN0QBP8p0tdfqeyWgLHonwVuKrYy8jmYGj/MrcL1hbjxEgD5kiWTbTHs68acJftrU9OLAvjHfhcjkwjxptIKxMF3sliMds7KKA+V7/LSWJ3VSU+48JN1c1Ci8/M61TbjbfmXSwKm4wZZhUEav9dTiP2UUu6GUU9DD6gZT6GF6W/BaPlZwu4FfPu3vRdZXKcPYsgGL+r+7Gi18pKMEQy7m9T7NDMoh2ZGUEkPu/GmgJZl1xVGcRoM9oRqMs6OoBgeaFyvrpzDJAGsVrfwuK5FHertRpO0XyYvS3QHlk8mspnr3rtG4QX/S1qhWRqnILtC+QvAHE73OODFCwEGxUiW2eg7Lqm2ygHCQuGJEjznXCPbvTn7u9OJzd99f7LWJODwRum0P80g/IpG6eYn+lItYy0g1de9qHvubTPTpNuLPMxxsAPxuaEybdRkfQgXMifGGioxKk3c5UMM+9jpHK8v9i83KyKCmr9Ioq3OIAk5k6fnflJuIwPLpDTwtAY4ghawN2OV+IaoZ1tOwhkwYsH7I557VCEAsq0bHmqBs5nMeNWNUdTgKJO5WSA5hNTBOr5o3GmotBu3Dj0CODvbwVKQf5StIgaA3+lMuA9VfAbArXjA77s2wfbrGJ0yhzF/H7Sm6x5EX38IC/VS93E2tXz+1MXCCmWSE9HXe2AMEXD4t0oEIRSWFF7VRaLiuIR+XexewIZnj7KE8FSiFsivW57Uzj92Dv+3xAjZtx7JPlUifCfjILRHJwgqdXb69oCg2oLu22phKITRJ9iG35Zq8aevE7MpBOeYmzR5Kfk1B0VFoGOuH4t3kcSqiUysD9gwg1BDPbhWNp+YSbIbQXp8Ys+HWSYFfD8SvRdVOyiigxweWN0xgXjfOBf0Mg9/AyLOHHi4zVwWZ0qOHhkx4V4pV6zxVI65Uk0znG/Lf2t2xP/0j6b94e1Kjn0L86FRs/wzgM2BBmUkGbsO/dktMsaWQuO5PgbloGeCUTjfokpTHndSgX2YaRN1HjNvpH5wGsC0Tp1TTpJTi8B18H6EJ5XmnK8CD42vnMYgTO9GDLFIY1B0qa6MGUnNgYXR+axwxV36jrTm6LjrdWvQBO+1eaMWLJFtKWYq3G7NFPwmXVbEbXaHNzg+8Oew+c06NZnQpFtJpVIoK1016NQm6bCI3bYPutmQZhMMoecVI6QvHyNoYb4YQImypX1uQQvC67EGWpsgGSXq96vg6VIrSr5OCmjFtYz6Xw6V2yGkr/OwjQFXFavsFizZ6VS6Np9bfL0uXFonMhuWqFs7hLpAA4GDVaZsWwAIcwIJHq2cDbKf8wSb7Bozw2Y0umm9ejUeHwQPtfWqnu7n7XTjH77cbsINK4MilyHAaiabIiA5EfZHgt8kMKSw7vnjnZFUyBx3qNjIImhz3pRdEuEJyLYBEQvopJyS22WSu/wZmDwLtZSjUqtbO4hLeha5G9t6qD0RzBaaeA/fmIAz+QaAvAdX7e2W2dI6rucIzm7eBtn2N5CUoNX/Go6gGaqACKkShZbKM1HwGY1U/VWh4xTEJl/1+28sV5rL+1KOXROPjmTsPmb6hYd9YlNoXMmoZuaRAuk5FLUf20iiZmhDoNs7e0NBsUtxlbqNvcD7nKNgurO+gsRQMIGMr9sRsm0IpBIZd4LmtV4ADcj5SmLGUwH0brodJWG70MlzoJ2BHW8uXTz+hXtwo5Uw8cfNAurz4g/unmGxBcllwxJnnS+/1dh2AMfyZPxfERbQZpUEBQ/6wN8D2P/tw2ImSm9FZAbD/ltMgc6Od+JXna+MJDVAZPz4OVgIgzGthrtLfRKcQYte22aL8EPtYUspipZp0o9XzxvVzzfbG28oRDnhpzmxMvEFrTTlqKkNR8KXiqfssxlRHwqx7tTn3ucaHVFRfcFxEo3t0aNkVXQrSpaDqWIMmFuwWygq4BFr+oDAP6R1vmvtpNuZCKn9T8XZM/m6n7vDSX8O5qfzkaJESKRuTPVcNoDtY4oEQwAcTXQ+yBfAx3wb5YDLpP7e0ruNELJBgMyExArnkc2f7IZSC73RsNzbCGIRRl6ObnByFcNEry6V9BXn5Ckm0teuLZUrZVsnaqD1HDZ6HqrX3eNgSAivkAe6Rt/PiMS7FtGvX0hyad5UHXUeASHGb3hOG61P0X/+T68YXPuYq4H2oxrLG70XuRVeY2/s+0rlu9mW+q1UU0Xmhh6OWuNiE/sUGo6WY33c+Dj8Jjs8ZiSr7GyeNshj5SMLKp1BUgbKlcKNMI80YHTvEAOdQf2XBcaydZgJLRWXpK6wAa3htb/uv0Fd2vDCwfG+Tk5qFB9gc4HASl7/cxEPCjH3TNQN16KWy6bFqQyaM4XqBnZbNOu6/lmunrzYFnMLMKOFReDiNb+z8lYrNyQz0OkQ4cFWN4rI6OkssBfHedsOf3YOHNozfISex6bc8JcYubD/ZVI3uzzsMrnQvJYaOrSJz1tHkIaMOeFmPjwEdCm+03LhfMVsy8mEbFHBUaDT73BR+nYZbnjb7TWtLw39+VVv2l/ngSFyjoazvAYAnp4EITY6HWLD23NXVim7OvCApcuxqZ0yhTPkRFE6Ku90shVabNV0YjnqE5Fzx+wsqssJYo8LCiNPFOlk/pency0ngZkIluUJPJXJoNsK5gCvZ4QlyLPheb47OPv/fCnwg/CPud7ludOdlAnS6MK138qlI2Nq/POit1jccTndYXy9DfIVgLsvEP5UiM0zTWiZJ8WfBiSdBwCg1/93JKXRqA9ssWDBsCcejWQ0VCs8hEpAi1UZBHazFfb/+BVwp3jLfWD8hcMqCrqpP94P2vkJQqH7Kws7+whpHxXDqVZ5/g+rmOlKLItwaaueW1aXjuPCqc8agMfwtNWThEiPSGkyS8MmB+E8Zp+eWWMyK0NCNObLiKjB2QYOnIn1hXSSrD0+//tPdNh8Suep4NFGu/eiwGMK0W+NhvG7+Tr9+mYh5f6pXLwCJAK5Nbh7XUavuGMfk2biB+ivjKWjKqCxCtm6xePRLEO6wYmHl25oEXMSnYYH6kdUicULUEa9Fpi9cpbfbBA/V6foxTaOt2oklbtgKBR+UaeAkgQ97HQFkc9XkuM28UcozarfKqDJwpbNaG+msq3wuOe5vvlr4sWZNENepor0Od7z+R7c5ja2yZfK1r3MT8t+LFnB8hRI0Hoi68f9vWE77syBOnqMUbmMj+98MmrQzG07eLW84Jkj4yyC2FrSPe2dM3sl9+hbCc/bQ8pq+NUOtcegsdOivJlk1zeG1z3NzVHraLuDfVD01hc/SWp9GV6khk2/E6bgNZ7HK/EayePktPtf36EHOBH7Y8b0r5LhLKk6QNxi766bbX3mnGmlrTh1nY+dkacUZpo1P5e/PiWVGDYJ7u3oJ+LCE/tjwbuT/EnvDO3t3kawMZEj2PnpvF1GkTk1O9TLbeKvC+dT/t68aWzRu+MoI7RYb9bU934BjMdAB46k1NMz6Fqk6GZSja6x2/KPoRf5rxieTXYx7A0wJCVMercGgnfVb8gTBMUlKm56TuG3YUnFPJWqxVZ4znKiDIcnEjbOOv1RWPG8Zo01+PtnEoL3M2Lq9Hm6QjpqkTMVlYMdTn0vj3jOVk7IbwiyU46EJlIEIgjUUaS8ma0GavUo5u22XhwMTNw1PMDc5mo8wYQoDSLOUSK5kUHiM9T7ZIym4xHYG1PMMDLPd649cbIZEbWs/VpsxUleaMzAsHWBVtRKs+ZKmM2ox+lBjjefAYz867R7YErKNU9mEBU/BXfAi7EA4nbdaunsUH7vxi05LQO8g9aXRv7vB/7tI55g2gjiaOsgiFo0vBpJtkv29eQ3qHBfiO9p/Z5mWZz3/Baoqg1pFeDqIPOr8KtAzwEqPrhdPjAa0Yj+jDUedelcL/vgo06v2hpgZrQmYlVFvfrlfFeEAVzr9oVAJntLEYMw8kBGuSmiuPwJcJXRW3m7H6YHEhRp/rY+mw9C89//ChG5Uh0QHFhc7d6xsY6gFe8mIKicAz5B9dW5cm/YXY4Grj6jfaN64iN4Jt4RtFoLAtAsDmAjyZLD2FEGrEhytLp4UW6g0dneFydW95hl1LOdVtOPKVhmJ2LJgSL/9LKKin2iWNXPxQfgauxkUshJ8e35ca3CO0HI9JERcKOnWqSYUnxlNz1ksFXxVKM9Q9YUhfFTjLs2ak4h/2EtBobcfwrPGkUdSFQcCDDFeV67VVApaiz3RGPLrhwdhF1lhgEb7sMMmRexF8h6kPJjQme880kYWWztLqcdCg8jE+SVabwdmWNV2oSXNzJgYX2PT1rbTtJy3J1u0yaNDEcNOl5jkzKlDp/MXMSVkSmCSnDWH5V47KnHqhx5h05nqtlvOD6moeZFGg4YORTn8zYpS44ywWQgPR8s6p6JA2RWeKmbppFLFlvUWSXGrb1XKG7/6wBSx9cJUxmW7Pfaj814BnwfhqZhD0pKNu6f2Xa25wXWKuB8sov8QncA0Ta73DAohFIboeTq5eciFFxiGGqjuvZrPy3rIC/4qnVNeZSkfy1LYvnYYNmaLt6NSVzjP0YdNMShbBTs+yParJUfINEFLhycicGsVfDNCnQ0cAr7YvwXUEK8wVY4Rg1+yRMIYYR49U244Dpp4zS2EeC6kSrOc/ABY+PYRBxajXWkGaNtyh5Jwkyo2AMc5sQ726Kw6BQKkrf2TaZATWgiAHewl/SeFXvexVCIYpnc/a8ETB4jcOfUHdubWvLI3sOHwBWRZ1j4mkFQ/fRhgHCzNljpRmkaAL8YC06VB3dmLjFXcPurbC+7Ouwb0/+AkIWEYSR0NeA4ztP+N26Orfsg/OkdkQNcSdR2iiahWS8Mw2POTAnqiZl58YJVEsKGUIjYTdGim3wIj+9Qe2dkMe4gE1qp8s8e4OK/g1TxgGeXB19ZTJd3ES4uhNaoLDfyzZdFA2PIzA25CZWRPomAsBVXT4mFe/aV5LHJfynry8fAVNk+nadhUJz8eBUguUazwuc9zAV+lsaQgjibjjXBdhk6G3Q+B14v17KLImN32vRbSOJjHTaKFmv4aAHCTgRznqrvdBE1hUeanHCaN2NlWjcsdLKInqDVSLnEt5xCF7gX0TAX8IUrxy4y+P++awWl6KzZbsuHTY+fBj2LTrIkvvoMWJiIwLRKHIibzgbI0kQ8oWZHNHMXcC92fv2MfN0LC+Dl6wr6N7emRlaERURcFDCF/jcRPMc5lbJUKq8nj5f+42sXuzjecMRMwZ1sg0fgTMT/mUutkVBzyQVfD/UL0ji9BrPZU3+rnyMlVNxmXWocwikMHdGIF/rREOtZtnw5+q/C+sNomMKhZ1y151NzBbBzUL7IA+OvG+JB5gTD4pPSKM/hAgI6Lrb04Ect3l8eTMN7NjF1718QOKtQe7EJdJbBPAEVdtVSTy4L++zVFIs58wGhgnVPsaBgzaTVZEU9ULDcF/uvkxG8k3YlR9cm0t/nCoLHf8gMjWvWHKBOsCyH02atwdNkiTaptoyPDHv+3ejFUVrH+pLo+liKLtoP74R3I977znOT9dS1CbOIRhEXsWMZVaU7N69GwYndqFklGYwL4B+BQtR6A06dM3Ztm2ijU0qX92049L92VtMUkIFfckqicB4+ddYr21DTMK3EKHjSTD3iCm/pAhIG9tJCasOgweRV46UrTPFlKSDJ+EQta7LUajn/6NdeAc4mlUM3ebILVR1HxfzGiZQZBG5jt/QuLSJg4aSkD90C7QXBc8+7uVHNPx2o6cnkv7N+Bo3TpEM9g6PC4nWmJfv7diCEokDsbysukt0e6j6nt0vPVPmrp/AYtikoa391PzEqf9MF9Y5Dzh6DyX8u4AW++GoMx5EqK9X555wDDQcDsfaD1ecqZUN6dK26IigMlbD+cOy7vzESIgcthpIgH+fV33Baiq2xXb130deR2WTVErnxqtvxwsVcai94CEkkIbuMqKiVj2dY39/PoKg+3EmgxGatmEKYbN5u8Sj8E2SA+K0xXs1F/Q2efSSzC+JAyuLsbaEjYjD+3UM98AZZ2b8V2NIkm4ombtbV0f/HlA4y6u2Xrb8Mn3ovSl5dDx8H0XMNSgbZfIBsySz5POj9Za+4a1IDAB6jrCz+fRxtOPO8HobHxv1/sxz/aottZ81AzpEpkHVmJNUg5Kc7CMGuDVbA/XdpIkGZ8j0RZQ+gIQQUjePn+tcoR+c7cxzYpQDCEiFENxyaVJUiDx80+G4y73V9ancMPgkoWjcNTp2yTTLa8m3BUIXDtNOFys0W1z3kNhxfjmY5hfnM9/fI/stD0tzVJRYVrEx40d1CA8GScAF6Qx+HP1oYRdAinMj7JDTMBxttx1vh+wUqW0omsxRcB31shSckVayqa5P2FnWhw+PyzpkYrBaYRk7M3samwX+aDYS0lQEi+vW2v73cQDexd+NigX8R5azIBkU6eu6DxNEBKkOHW+dWf6LX0m6zitwba3PeUdlD6S8yR4hrZCixA+erAB+ObsnMIgjQd19ImH/YIHUbA/+cUFKQzG2xMBv3rJv3uLXZK2GeRH4315PxbpeszbuBef8bProeEATpubW7DZYh+W06a2tdgOUC2AK0eNnSoIU+64ReccjwG79BR360tATJHDWi28ilPfKwmkdKaU6e6tju7ysqqxkoZf2harR/KvP612rciTGuRTgBu3NO6PIewhOn0jI4VKpRkhpvzVPZ2IuxQTfVFbH4NsWqcdZtN51btZxxJTdl7tiuPFqwV6DfwfkgQ46Yd/pMxCSaWXTFL8HynYNUZx5RiikcFI5uSy5BboIXl38Fter/ZIVUfA9iE7No4mW9st5RgbnD7mZol6ilLhF2Xpw86zLeBoOc7BSVzeuj5UJrHidnrGHW7m0KrHNe+Lc8+X6067TSr8BAssP1syn3pmcMCiyOvXl/LOzRoIgOVIhQ9LxHT9Iduo1tTMorCzvtYT6Bby/7P0bYg/Q1RotHUWVWbonhsccXWteqz4R9fXFDCges5u00kf0mszjnSD+gTHu8ri3JfPaxa78FRlLttJsfQo7Ys9Nmu+0z9/wUamKJTVIlh08IMmDz4OoudHS8RcwtMc5/jc7LVkV3CoOwlH0xyI9PYBgLc50SRklVichTYIm6dE4NJAiBEVAgOsb7o10gGwjvOkZv2WVTIbblwtDMdBqxB+YPKcILwBxMNJ48pwCHszrbD9avakV1neAx8S5OivwDRiOsWES61QpDPhZ/ylyR+YtiEyZEK8MPAG/t6wQOhjjyUDP9jvskg2DbbXl7lFdP3+8I5EcMuVdNEXyHXFXoWQZ4fjEXny9y/D2BC23MlvcUmWyoMSoXhORZpimC3uN2mGWkcauDmf+o8Q3Nsr2Bo5Pjw0+fHdPYtS9zfmpEuD3DPKKn8y3p2M0KTkoa1s7Qqch2WpkrxkwvtD/ibb0hN9KYGMf27fER1F7TIrKl/1uJPMZpKajPUImAUJglJDdIg9ruWd+Nog//AH7LxFsm8xa5GPS0aPw6nA2PK8pBsG3xGRf0hkzLBpyQ8zb1WB6rlpsD7z3Vz8jdZ1T/yIs+zBVz1QimfmzxmV04msdPyhatBiR8qmqP/QiYiuSNVu8b8myoHWAiB11vzyzLn7C038TnEzTXhYFxGVT8MoMVEyCbBgTOfLe2bHEnZ9AE7dSCYcVjI/pFXWGU72eF5tPTOIlX9/BNeo7Az7S7IkeMKhZx7UgOIme7HZ45BikhOYJFPu+HvcCVDBGrOB+erW15aD3+MBJ52dpkcVp0x8tyIIn39P7AiuJQxKmTCWcgIlizRjS7/3AnSthgWmQvPTEBjWY6h6ooKiMqbzWauR0/PzPpt2bnECj4Y1D3adlXOPVRRaiFVb4EV7/CFbWLBmV6spGrtwnUKkoHpObRdiXPds1YtBw/K0qkDoYGicZv3zztGhG3K0clZpbSoQvFVSvreaD/Fhx0VAqk4lbx9aDjq4MP65Z0h7qdhYEUnQV9m/w8C/hXpq8VacwC+ArLurBP873Ud52gePLkmxXioLq7Dm2uKO3FnZsWXjptDf6sVypDIwwlFemu5Wuj2OH++IKfZ87OE4PNJCPVbQXL9ZWaKZM7dcOgssvzg00T9jm2xjJG+3cDxJYHofAG3LatgkIO2uGKHAwBBvtuqgro2ZKTFSPWIJW5uoJuVZAIdNZuj6i0xwqIx16tIt93tmuPDdUfLjoRtO1AarJzTPfWrMsM9kYW5fOE0S/AqLueiXzSUpuTJA6lotHJCOabYf1pArY2mru+RPL5HygKf7sQRH6qPiM6qtD756eKAhQ3Bbp7r6TJ2rZZnm/tZ38F2f+VF7LKIXBQDjmCDgua53QjqE3QqL7hkMImQpaP5kJl+qIy4uhSiGtSI31fzh25bXqQlNlbI9cma/Nv5h2zZ6/zNjowOxjXxpzmwOqCJW1lso77S2x7xNqs6Xntzz7jtkn+Lcwm+TOvysW7OzGJpyaqI4Kov47LyjS03Z6TBZN048k8KexbCSDkHS3A4Bux00HzrWdJ6pagxXc0iGponapH+dO4bbxZKJOlobOrlRlpvSoSm/giIaCTpQIT5AFSwJUnzxfz/jByjGtgjto5TsmmXipwUTVrdayulOpz7dBNAxbSoLy+JWNkrho21MWAkzjyxB1kK2rzbGgEwxExObDOl0xC2tzx5G/AQnmrBIh+2o7dc4BLZPrQPmftAZCF5RhR+2EkSrqtDKYBvEmJVdQ3uuBs/i9CGXaXlwYe8EKBTiXMkQ61KZUlhWKUtxKGrRIRbJRGHn/f39LwK0xISIMHTpfxwAcyAAX54emcHBOJA8lUjEr7YXiZsmg2hamJtmzqxk/r8XGrSBDSqRoWZf6caj+jNg9Uikr1SiVV4PV0XpElbtpUDqwBKvtO/jgw3R+hoQYdPjOMWsjebvpJgqtlWIAeWqTInhnd6bqQ53DURHkEJloJkvmgWA2V0kgVV0DqPfB24Ac5U4y/4HZ1S7Zb0rJGSalln+YxO5aYT8gOcP+rGka4wdLVvh/wYck/3NjdyOSPp83kaA0OtfdzGU/W3IcRy8yZpirZnLFh5LyAqpTFXz5t5d8f4Q0EoxR30EJ9RmUGuy8f8ng4u4V6Hm0/POoAUpP5Fm4Z/tlWA/KwQ7Y/wX+NANYOv/GacBVAW0OFHf8h9wdC6Ac6DwW3aW8fOJWwR/CS+1ekCQ9sGCT2haGAsE89AVoXIj+nB8sy5Xkz35t17ZMcxuCbVUyiiJ4YLRRFPEOun/5LPixVQanZQrf+J+za1X7f0p302SOHM5D1ZEVUXkFo+Ki19F39HoYSV2kPayTeiMedzOM52y/UoVNgI0V7KmQmU3YNSX32KMdCMLtgXLmVa8S6evcNAxbNbaCUgLFiCo5X1fXSB9wjti0dURaVpcsoRHXHFCD5VO0+cfvdpCRMB3PXtNn8K8qQc4LmUQLaWaWjbrxqsXXHK1DklpX+PpiMyG9pVXCQB+15vl3Mxqi4/WvpCZ5WiM2hgJfeaLjiD4y068HzJqC+R/7eD/gcAFRXSQ9eF6eKie7yJ4+x4wi99jFNsO3bJ7DOJQ/ngxEKRJ4fD/r4Gz+0c6sjQry7khjBqT1KxmMhXQdgOUGl5xy8V7UgIJgE4C2ejhjsH8TusSbs0DTvr9PtxkeTB7bd5NQLVp3Gf3LvrEF760HINh4zO1T/TsNxJplNKGRPDY8gCPKbWPTh3jtcEwkjfq2gjx9Vk25iv4Aggm8jJokWZLsG/YZNZnOWSgZW8Eam0gWgsgifml5UR/s+9OmViAez/dItqC7ljRzfD/fsnF0q98JL3z8ZQEaa++VyhdH2JYIKxFUvOEgiBJEijgjOkfsKYXMnr3pB3xw2R62t439ZgGS0i5s0yX6WTXx0dX9QJGIJLEi47FM4NMn579p1lDW49BSLTHIUNgY1uSQ9Peod8oYnKa2YJQJoAzOlYQ70rPZfFyyoUiuo9rrrWe3W3Bh6pBy7GWIzyfTrx4veiqfys2MOGrvPF5cFnP5HXechY/Iffil3tFdHI3VJ1fvsx6uIJOCQTmdAqjXG4qOr455qY97eIF0caS+3upH5C5PRp995iFTa9lyvJkCabAJ2gcrJsHqu+5Ecfs6LFSmIxK2oRA2NlruX+wPDf3A3h6llfkONBj4RCVhzz0o8RMx0OppW3PlA85MuivPQn1WqWwiYYY+3JVBcWZl751Pqf40u+j5WxL7W2zVRFF4/Qpw9gh5vbalx0JUuLIWdZl5dOc5YpadbQpyQsOya+0mzBrzaVQsAnSNerlftvVAsWm70TGHDTNuu47FcJ8K1WzUqWhkIAer9SIjHIODigXJMqvvgO3k/fRQI1Urj8X8kGAAteArPp5GtW8duso8K9YfC8Zuc458NC3iWxtLLTfUSuDAw6TiES0xhyGMEKLkqGV5bXAgyIVCu+KYF2bjLSwElnxTufRTaGzXQYm8NXTOo5hY+U9gR3Wzf0CjVoPHAiakJGMjS831hB8PKMlsgiXk6Wp7s0tJwMFx8ySYewaVyIPB+PiJdH1w59NQUb0z6qOG6qVTGLU8leWMdxajuXb9pEjDzst4itXpmL+I8U18U+rGklxdMBPo8JKaP7JtvlX+eI9rQkJv3O7OkhYPDDfs3stg2aZm+6ejfHrBvdT8n+c9Rh/5EoJo13dJ6JRHbFERa+mlZslmnAbva5hbXI9ney3ALA1ksp1cufqKYhUGVNzli2IdxoCV313KeorZTgHcVYd3DlY/vNKxkTKk+1G2TdosOGrQeZC1glzM05FF4K5l2wVPmd9KnxaYN9EZvfXB+Bzp4wUAfdNgeMKSqP/myyEHbBNZojUNXXatun9eLLoKmAqOmUtD9Rfpp4lUmhdPwSm/we7bgPgVKNyaeorachuAA6trbF6q5oHUm0PpbSEFx6mRsemx2DKW2GMPYowjVeB1mQ/u3lyhR8++1k969rD37RNKgM55kEUAB27C6DJlTphUpcOWaFqCPVPLUAF7N78aU+7ldgumrpCixBbyn2Z6pBKdbb8XKxValB3I/SA+O51Cm0yuOJEG/rlATWNGC7W6+baemWP9hkK2HKHJWv7OLZcXczssgJXsN5fcWkZUfq/Dy9OXK6GpfUZZOZri/bZzO++LM46NiPTYIsJk+glCVTbzAm1HfaYUEuTMO2UHM+5VU+57CuL2dRBN+t5ZvotuWWta2hZVtQyYemztXttwiEQJqUklki/q/ohJ4gxqDn1A7NU9mqtBShV2ztDzJjo6AhCwlDs5D0qhTI6Nu3CoeZgoQp1p8vJMsRcNnh34boYpYGS21XscsA+4CPESyjb5rFom64HjY+SNWR3RlbQ6KcXMsuhpvqZraoGKHvB+8K9FvxC+F2Ohnh35Tfh2AbCwWLM+F8BA8hOhTrK8SIHnv8d2OfDQ3v1BvdCFC9mp0br/gaVImNHKTJG7gK6Sz83jAi4tD5On/jDXwB34r+eq9X3RyvYcflVYkbNCBS4tmwdne6MylfXmHeECbgrSovQiTKPfcmPO+ndsuQSifNnIhdnGdiOy0gVTTmC0zwvH06nSiIxWrbylc151Ybf8q/A3HCFMsrLAnEEhmK3g8pC8CvTAK6jNCFf5s8ircb+0hQPDvKENOmvEaxFDAZY6pib1KAjMImJgeH3oJOomGW56zxIwF56CofYeUId69ERYEKekuWRUIkg0UOzV3P5bpmdOzXmzU08ePGqT2qpD/wOaZxydkMQzl6Eo6KMfU49qBKQuaCS1zcVP5PUB6FJusBiHd8eVJkxPPtRXS2tFAy3q8FHZF+SXFn+Sb2Z4Ps1+aUPJwNwm/hmzWTV31M44nYnxTmse7bHEfKGPQrPzZnmNg9p9PDmz0JdFM0M9CrXtNu0FOUWnSap0WsFD9Y1CkmONFmfej9/cxa/ZjBvBDGHnIMTqEHW7fsyOSgZjpdLRBCry3bpDDmNHmRx3IIYfiyjJ+d93Uv7QDrASzJN3QyJaprCQZiiw5dZapmVPe1emUpYyTZp523My9lnhKF+i6rtXOIkfPW1C28De+RKdueMjvOqcTR7vpOqVXewSxeEGv9S27I2mdSU9IzQawk9m06QSSV5t5byowOInijn0oAZHIoa3Mb6aFVyvbqYlbuzvZU19blieE0jeD+S8LqyYfcp7lOaWPhyxlWtxnaj1N7h8v9V3Vez+wQjDsg/G1/36JS3UTUjT8FMx5MhWMEx/vszHCkK87rCxJdeaFAfqhF7Bhyp+XKto5ZeBn7Cd7+gaSEUU0zUNE+M60EyELsKoVy54WQ/9/gwIB4E/8vq5PeQQVJLYoG2ZueayHv8iOJpm2iLKspNqbYsG/jP7cqfsbCJay/Ze3Pyd4r52PebURQQakO+4ynlBF0C8aNgBhSzW3NNQseGDSWmvXE8+c9yhIpiH7e498u7s//Aqi1U6wpPZzrKRjQnAxaG+H+MDKbezb5pvnqhH9fHk//HwriWWBdwsQfe9JF6mwqu53zYzdzH1DaFXyVVBe1NFL1FWvay72L3tclHEV+smLelf5dhgFa+b+1bgJWfe1TYdo/2lxWc1oH7EeGK4IDM4A3hv//xIlLa08LEhigQGRO6eTfOCV6jDSNtzWG8o0L2MouK1DC5Y82gDhzT8epIFgw2xzLjw/Ece/t5E5xB9ZKoUaOL4n5EtHMXRBQ0TUEFu3UNBZBT6l8jYnlqeYi4FdIT/SOHVh8EL4cl5LKRoCOF38/o7SlLbebh9q+si0FpgoYKYa8rIQWXKRpzIW2FB3ymYcxlIqn2PAt+jM/Dyrz3jgvaRHpjNpXd8a0UqhWsbu7uORwSHgcv7rDRDZZLlVTfyYm5uDXY6FJj5RuvaTy+Y6A7AglqYZDZIz84cY2wmJ82/nuF6MlUG8z1F1kOEkIbJXWiBHnwDknUaTgzwuoUracJLNgRgZHA8TZmApOFUjBLj/UeutDKaWVfomHZlQS0xsOpZlepzRMrWMiTbjRVV6Wt6XKFtU0g6PVBpAQydD+jnIdNYScHsfLaoN8xXgkVSDq/wmbHKrJxqLagweJWDcQnmk+0mJOiQtgegssZ5oWbFezO5AH2qGqT0y7hUNF4SoEr4Iij9wNoRV96XKZLPN9WEJUGlQuWlUK6tHjWJ0qps4BY2+nT811YxCd4yqO99HzM7pxMt4HMt1KGRgwXziAAlTbpvT3Rj37d0oDsa12U1j7tjroJIGcYvrzA79yu9XQKTqqnHcDn7Adcm9d8Fuu48ZGnXWg2Ovv5Kaf2ethiKb8FVX/midjun3rPKAtxlv2Xy/PUndv9HMocCvVc/e0T8noCM1BL//WYk86T7vZryTZGwfx2BwTRbs1EjBDgFnSx//kxno10HncIzkss8sBQLwNVhTCP8LC1LlMGtqlPYLWefWnhSe5eJkbCU92UybRJm2x7V26eQrAan7RBpNFYb0Fi5XwvfBETwhHFlTD/QGjAg38idOGU4GancXiKTcLzV6NU+SIG4aUz2N/y61uUd9DwEiW1HXIn4csFKQqqCiQG03yA6CzkMWBhytDDmAVaWJIuhY0oL64jzcMR75HMkWGobk4yIOIT7uObmbcgfurmTPVhtZBzoKoT4rseZs/lfwKMUaR5Dm2PB5E8fSZ8+7es8eM6r3iKuNpqFKB6BDlZYUHyVyC5Qf1zm60N3dHHgRW5YeU30Qj5wldMlod38bfAKwtScsj0d60fGo3A8wJsAmQzFHyM9syA08JJVRzM4Bf7s7I4waizt3J34b0t/S43GY+Ua2GLIhmy7V5haG36frmUNPK7vz1v9DjaY0Ggpz7tns4lcYkBP+AFUAJyqjy6ZdliraIEpaCkM/zTykf8lM3FSmtB4qxLKzbfj50dU2fIFaa/socO76AvtdEbPpbtZqm+GcrJ6Ll1ANXq5GyUeb/5xh1/bznGpNPEk9Yb6BD3cMeR4FySmyYg9ehCSD2nBBYKVYWKXYsTGdu1o2dBQH/vgVawgDuEc2gkhHk9Vzri0MLOausp5gFSC2bVevevGN+wkJ5Jkad/0djuI/5T3EZsUn/1tN3l3WsJ9IGV7V/oOeaY2tS6bjSUhIcL9HXKCwwbJDeCtyc05M5mjTYvLVweZrYUYcn4v+5SH7V0iEIUQioqL+7/660XZCjXAILZQsaC5aBAOljmZ0F7ppLSeWPqhp0u1+YYFHeVUHr9ZM4Kc85BHnwmPaiastW/doXCcQrsMMn4U4e8CbAQoZA3zrvQvlhoXjCX+g9yV9ygIeidxS4yaB8IqTirdojWzBkxTI2j7Z5j8ND6gZZxyDtdhVX3ktwFJcxhaqY/0WvK5LJrnHw4VC7YDgEq7U7+yzWFHPWUhCyWv2XB9mj5st31JoLukjhmgekeBig/XUv2Z4TeJpGeaMtOF9IwAM2GFTNVXl0f6QGzd+4uMszk/fhV971L5AVnxl7ZJ/WsSrth1mC1FOd5v3UkRL9J32Td020MJZwHt3UXqI5MTHFNzRTcOcCHCWsaLnDajIPZJRKBEAyZM8+W+aJDmSDQ65ZUY8zpX1pmalmvXfH0nCXsXWMTIo3bebSc4amBy7WU4/69+nHbTdalSieR8xOEi4VA/pWoVOWSNTePQ+k/UZ2R4juvoWmEOpxtvc2xS88KqwCIWWKcSdgI5XgcCdmcaBE5liiV0eBDYozTqnHcbHCUITrsz9M8iWzHPzjxvGECCpt4yiQgHicRAqAaP8nH/aOuAucET933ESNnYvUxQcgBmQ72XzCiPwFHQ7yE6FnncmpMtn0cR1wi3dkiGkC2JGc3XzEbW4oYJDvAjwV96iqq/5mzo22G5W4qSGp23cIKD0vV2CzPBtjQybwNXrFiH6UjbpenX1DcAA/m9mjirNDjX80me4VKj+NjOMA5bitObZE4nogLoGXLhQfOFj2PzxJd9OVDIQDlkdchVgEu9lq1Jyol4VvQSVgf5UZHZzuXtpHKBqSVQBkbJpEvBn5Gltw0HdUeeJnNPA/jjWdD2Djnhlx3l9vesEfY4lzZd8RmP/4QnJbnt1XM8jHccBz3bhCicoQJXQCUs5TpgAFdYjRX9+IOJ1IE3G2SYVH7wJfA6avKeq2k11jN7ol9G/uGw/LvpQw9owTl/svhR5RYtP+PTviPH4NomjdA8Flg+NoYuiJRROwRla5hj3CN3FIxLrqe/Yq2ytVgpYGWtn0Mb2LXpr78l0AaC+LzA0WKMQTt/7JTVa3GgGzcL6qrsVMKGnI7Ri1HY4V0agTcxeJKdWMmBz0dZKunnU60JXmG+i+OC2OHB20aMcZtLtziw/w2PZw4QW0qn9xtfjrWruL9+D9d8FMR1YwAZ3UxpSWNqNVkYFGBKfir0a1J181c2ptrBybXjCpgP3Y+TB3H1NMcMx90bkOrQz6qOPlg/PRWZdAnXClgQx5COns3tHk9LEhgHy4pKlBUcCr0up2HOd/3QMg9aqSrf3YU0q2NrB/8r90HyQFFEqmmnvZuO+rhP3uySh2dxrSErJ2MBB4FlPfgNXf2R1gbEsG3Ddued28H2Nko9QgKSA2r+yo0O2teOCgcUK7YbS1jhvelTioyBgFN2nwRiFlevKE+lpoLyg7E57zO7gPDJxtXsVh/9TxAPq2BqQwP1WbUre62VbNHI2Qn2tskcSAQDiF8iaquhQxjmOmuizpn8mBibQVd9sEk+r6zZeDuFdXK9NTIHF24pNBd7A6JdbD6gOUvg2KxGqhbn7oLrNMhDjQ8li7RMvivY/6Yzu4Wg/PgSjy1zxV3/jIv9qeknxXYavalmKhg7kSh5bWu2e43hvD01+vxx9b07XXzBjv3VDK28tq9Mo0WHAMXmJjOQ//5NYs90jNKdmK74g+dhQ5WAs+14iSj1pvwicPNFCKgGEQrN80ZnPy2BtPkOJ66uWfUdvROhtQbl1eX0gXaB9sudZ3m4aURVxRAA/uUq8QcxJ8YC6e3ZvJfAfs4x8HL8pZZHw3c/D1Hehn9Il3mtc8fs2UbcKJ+oiPzdoERDatX9Kz26qbZD5dlEr7K+6rMGk+97QLb+kg38oyZpYTmDEXtAvo5s+2hWNABoWTK0+QDCRUwXDAY25rhAPAeiuihYczM5rBJIqUMHYV67dnUMKYy5TKmwlqGNpRIkMNii09WaJM6Fu3VQcpu374/EtigsWF63OyMHTdo3flkUmTcP5ARiDSSIh6AHLSnNLasMuGmrPM0fL0wDjN8Bm7CNsElFFh2ONzy+lbTVM27lZux5XoxPluQGCT53l/twohkXhazsrdA6DSmUCl4G/vO0aaAy2rCPdhBXp1bWEYoskerPU8G47fFHWmMRM2znuHzHrFWaOejKAISDMWBzo2BNeL61maH7BSRx7MotSkisCL681aYq/pM7ZXXWqj4L9KkeF5lvTDNpTLlRgW1cYgJMXFlh8cclzfP62q2lietP1bSNrpZCHMS03KqULkPWxtrm3kE/4JTV5jyrxtMZ0APkaYwqNxh6s9QWvp56CzXYeU3CM4i6o/KWSPBijaf0IAbvpG4XRLYGZglsi+Wn8uYUg/pX7yUwKRZK1hSSCaUZIxRIV1tFAwjj6wkyLLspkwMGTuOGw0r9wDX1bYpZpBnUBJdMyAaiLjzG2gdc6Jc6b9JB5kKjfdWqjU7cToxV+E6IA6QdM/8tzpfBVCKLieapKv73nTskaahVUet2LBcPvQwwF2kLdRKcwnYmvvQrBMTAPnAuA9PyVs3r0Hg76xgjHUnede3aWOD1CGbXe+UB6mIlP4Fft8jO95d6DCli0LGxrM8zBdPwiFkb3VpTVyoZF2QQm1q6kVx2+RDu1EcoPR1n4P/leA4pH39PicvKFzVhMsy4a2KC3MjBiCa1fVhVnP5pp2Rc5FcVg5frNFL8h9wwCBnvxrmYKkogLmpvsxIpzhV7so31vmSBarenkwuDPSotpzwrBsKEtToE4LET4kF3llC9rixG8pV8tgjer6v7p3UvfpNQG9X0nV8qC3OpysXJE5x5sLihSBgrXKtvmDzDHXV5YtugjFDE8RuSGyqyhf3n6S4tFEqUApJbcn+jqDj58JVvkAr4edp9Ad7QwqGKWOrPEf5k1CGPu0E3NVjAiIicWrrVCQUxyfyuE9m70xSczRjCMzqOyFyfv8eNwe+3A4w0uiUBJn8+krt7ZUWc6D7k6T9P/FRW2vcy8PleB+JUvXah131QpJSmKYr4d47Qt3Rb48TUfzMORDsY/uoq3QmwEscfm5o6LEoxC6Xozq6w8WxDStL3MFF58ciqs5CE3a19FbIXbHZunrIDs1ukwKD1T35JLqwXhT3VMSa5pvfIIR5QMDy+s6NGmNV7RnvFyz0x/jBY+ay612iQxO/rEEwFEMYl9BUfFDxi6NbPTOQPy6Fd/UEIqiLc6ilHaSZHr/Pp7JQLgkklZxQHWTYqN2Pw7/OqcRPf4wimV2YBgckdM2+o0Dx3ih6ijetBhTq2hX1PDg2nPbGilmTnUf8DrMds7Mqrt2uK2pz9Q31IF3ACwjiZ4VsCfZfnyAwJ8Wadzwu3le7bSvrzBdUhOFl8tVLUOEKSXvq/uOEbVcnnr8qJ/9GkApFYg1oTmDuGXQEcjNL/lIeZmUQMbGhgzxcjse7g5Asn1sMDgYDZxWM/yMGgKBhN7jTIsQ908KoT0FrkKu44oJ9btJmvYB1xU+/VnHh06DmDV79LjAfqGJkfGt6JT2YCgq7XY5OsJmWkIBAMd/sU0LqUG3q5kosNr9+kRI83USdIx0RZoiZr7HH5YIAQHm4+xXoIbdbcVOw0QbL3/YOQwCTJqEJM9+t7yxZVoNXLheCJsvsyno02WcLjV26ulTmR6L2H5Wiat13cLTyFTjNWq//BUToT31/EFgN5zAycF5sG9qaGU1mqvDf6t1RreXlMCreqnUWSotkKiy2dtXRolKn3n1HH8h+tuJHxqN66KU0xqu0CsLEekvQ4wnik6sZ/HPhgzI2u3SPaWzmMgZ4pAfnecZMdnhjCtiZkAOPvSZs8fOYrS+3VpGMHfG3kp33wMAfbG/2ZaZoS8oVvzprVgQeqhTFqujJbEiHAHd9Y3gswtRMSBLr0obYi2s4PV8tDLBlOwe2c13Ial7sQZxsno8MMrQ06HZ5+Hw+xtlJTVYsmIYLc2ffNn3liNWSOBjTJJF/CZc7URZ8i1L0Pt8q0XN4rdWfRUOmmtKQxCxnJ37bsaCvppMhXaH6Gp4utV7+RDbaZA24ad//iNuWN+7UIwJ/z3TRd6g/mYiVgIg5UHWJ9s8ORqMoQ6B0OmN7tTpLKgkZOczVq5q5WcpTSOMoA8C2UZwZ9YnbtGG9FoH5abyVul5pzWgHM6ggReW2v4ClSqEq5neD/YRP3uZxBzvt69qPR4cZ2rNo+xrteMbWVA5hG2NWLtj5wI9jObQOs3dDwa8/QVUa5WpB1+JM1jrV2ArWNtQw8jPuFHLgXkh5wkocIkf6fxsfNOd5zK0PfZmnbERts5Q09AVawfkZKAX7meHX69ShIpLJZjvI6AtMpYtK6S+IxOvNr2ak3lbjfive7D0N7Cza0ug339pmIfQ/OdqEwhf33NAi7Mw63pjp4FBL3P26LIn5aFT730MGuxlNtmMDPxdbsvjJkI7ek0rpBdUaA8aGXNY4ZH5YyuGo8Q9F2S0vL2AHc52m8BObcXj18QZ85hc54nadvMSMqDcoFAFtwEwVuhKqtKoN8HLaOoGtAExomsZrTxtuwdOOh3ZS+PkIvLUNTQ88yRX45SB0Molic4SQ+KLfegwSL42SyEP5Op2+SaBUnfQsXZAq2FIEUCQaENxyyog3qvibLJKFsL6M+hl36m5w130MayvEJ0BfdcpL4MgDA6H1LWuS8NgwuKr8UFLcEt7KoMxmXbysCIQnZSOfhts+ZsD0DVyiprhk31sjvvcaMR575SKlTZKJ9VW1OF+rA2pyWoMgLa2CtqATzHRdfij2/p8h/4j94Rd9fpMr7Ga46lPPFARw7eNCbh1zyAGjQaccMT72lGYveqsEd1m4CzNE6sBebjJtQ2QNxjp9N+dlIJvK4+KiolaSXgiiB3rx3Fe2hgTkcS45poxPaRHuwirJkRRyjgLtlTCs/4MiYCcoRfH8Ti7ZrHmxypANWiQw09njD1bH2JwOoDFZaVm+BeM8pjI7mKehdnFBjVLahHEe/EsDITXz+3dyRQ74Hs199KbXPttwmUTzku4SyKUf9b3aLrlpg41Em2Mv4+u/pEX3yvPF4x/5QhvxEPBseA9y7ZLOk9HT/y8MtdF9SuWpsQgmfmaOGD+ZT660uV8xUP6rKF38PohbuVOoqVPKTSToTyGcsK136uF/I+vufrV35juZsD/XqrAFzKqI5ClhR6SXEajyKDuDwexw1fVAUM1OnWIFICVADkBRJ6Ys9VR54Q8WGCymXh9O3ewEUnITTl78Kdj8a4z73HGFrPrVIzb540Q5tjB/7J1qxuZmddv2EJsoU7tJ34AxtAXTOmdd3YVtyJmwDUJqtHN4pNmvNja/ZuZn7Ky9rFNfLXGUvXhBh+0nJ+x3GBTy74Gr1/RNRqV5F16ep22lwt1sVBYE5aV6VcT1mXzWarnjzdTS61GyP0gBRAXDBWU96PA5erVPGzSdMjRaoXc0KD83JPB2P4dYO+u1CCvKGPjLJ68EErQfq2FmHyVhGWkznHRvzXWv3Uq4deps4DaprhSjgJ7kzE58uBhVyNXzFIXa0OCrBIZZEvqzYwEacbrw5hTUtenrhfVBK7OHoOXTk3FWMujhnFl2rvp5p5QyCTDD1o/186G6llT50Nunm/FkhnXVAY+lv7aF4ayt3R+k5WM7X6aVyxSKC+WYVJMnssCtLuFTgiMbYqr6cweNQkrL1/jxVdQtbdo52SZhee1U0htZN7FdbLoToCOp+3F9BA25YxWkkhcEcXY7IRtxM3jVieced0jPlLv4TxYzNgw6SV1cRQXDYROA+SCmkpFQGwTcCZT3IVgDe0WeieU9aFxpneqv5la8omX77fzmSLuNBRgGr6VGDk/th+0fAiz52qJcHPhIajjnukIT2xlHSnzGHeJNHIirK4m5CMB7MdRQB+OqjqYm8qYhMdPu5vHJtPT3PsAQ0vCOZ0hoMp0AgMajFsmI9ht0F5aGdtmh+nDgxEcNgtZJzBUi3wtmdqoXujATHXwfGYSnCIUwtrA94oXnhVDElGMHQUU0E8hIX6dGqVjw3MYsDL6bp7UlQpnBEgTrOi35UHmjZ6Zd/1q0EWraWRtAkNGouFWoQLE4MubpL4IAJKU9C0P93HsgdkBc3oXMDlxEq43R8d9yG8SODzYCLzAvNXtE7dmWresWrDPFexrhXt2ZFFOYR9iWmbV7YGLiz+UecetUwOKuf9RRn43K5xnMoNFFFK8UK5RWUZ48cM+llU4Fn187SkbIqsgxr0qsGEkmxv1KWaeHcX24z+NLKq8qIw1zRDrZ5ARcuBMvYZ3xQr61Y9zfHEyH/4xkBm8nODejJxju1iIZOE7rFE5PHXAW8ToxbF9XmpK5W/W+4VfnWTTxsq4rUraSQV28aZNo+hAiZlvgLZyMd9Keb7huhIjKhkEawitzeAvBoj58b8OgRwoVxMB9yEZNbRM5VQsurlJIaZPuiAIg3yELZtcDwGBQpVlvqwq7cqfxiIWJi9MU6YgRi01o2bYuD1HxGKj3FrNyH7/4YwYxWij+7ZnUGqw4+Wq9pCv29pNslQxSQu5aVhGT912sG130SVEZSOMd99GFSVYlNfH+PCc77DEbFV5NVMux6Ee7cJDc3uCoPsJnWIdZK1VMjo3miKoTy91AjK4cXpNDOIqRE6BkvvQ6vw0Qy4LI9YaNl0aGl+LIHH9iNPeQRRb+hIr4NjRSLWtnIOsFzCKwKYgwuf7JsddTyvCzNfHtFgAEKWwsEoYoAOrwcb1YPtmXhWLestfjmNl8rpQ/lgl1fMq04wUstUWTm4JzkozTzFRNcGzBzCCnrqfbSZ2aMypg6xl4NGI+6AqXoOhUeOicE2FDeUZ/39tqHBIA/Nz/vO7CmE5WjGRsc08vRnokrnW9u+C60KWdgsS14nsR2RhXpMUlO3G5w9dOlCTuhFA945pCRcuyRpP5jv3VL/o3eSIWVwBIpFmvutqecZGOt0z7b4TzzU4EcNbFHPVRXYUyGldsXWc2ZUQdJRUGcJHubFdE36J/3DTY7fIySYh8tXzIDW5dDSesWxAdhyyIrb0Q1S72nE+lyDbL/lAKWNYNN8RGm6/nY0PmkSmk0J/A4CLEc0cZE6GqqYRhKbkfthSQ0i9U8hG95w4Y1SfAXqL4ppSC6LgRpCPAxfhFU9ws04nDdG4/HMzlnn498H9LFbmWKgRm3+AiN7eoEULDyVNBmN5zDjHqv0YYYwIhZuupL+tVgr0mR6HeXb0QIdeF4rd9Sy+/rUtm1ilBR02RgXX7zuU7EeKD6Mk7u0ZAhSCCtN8GwpBhrPvvVXsgBGH/gMqmHawbZN7HE6nnJLCx3WGLOYybMtfSIyrriYZfLV0iGtLf90fZEn7ibzqVee7NaiJC4qF6ur1hehtr94wn+dcV2Hqv4vjs8PkuGorOd8v1RzDX4aZAhJ41zgB3Y2qX6Tp5yEfY3gGioLxxe8/A96nB0/IziHxHAesIJV2NkHm6I9t5lQWopNEa/sHDG3E7+M0yzOq9PNAawcUeI3yysz+AnDgf1E71Y4rRFgys6rW1TtERYpgCxO9zohbZlp8UAp5TFWLt76esaHajBklOtSPdnpMuBHgP3O5ELFkDRDVBxK5CvlStH2kKGPwSIi8q5Lj7I62ronwPSHF819VKgGfi0fW7t+CwunRWI6j2IAuftIhqnLSt6QEjat9KGLi++rvv/HLGV6FfsDc2dbDXeajzLngoaL+GzLBgtRe/8vU0xNjhWWOK5nOfYt3VhyMR86q7e97A/aPQCG0koCWnqeWmVde44giOZDTcPh457pe3n9ZPxdrdCbPCxBeaEeGMY4HnAGyyLYY5TO/PmfUhXdEMAaCQeO+O1OxW5MxqtB9KuqAfe3pBdbXAIsijvN29Gw9TCL+WWzbmaZsbHO4xs+myXC5QhEUnUV2elIWv2TFxVYHBqMtH/b6qyAEU5JbwsiBKBvZxZqSVTsVfMQQ4/nSe6QpddDAPapzziLALh0qU9RrNfVQHXmCWEWEIEa0kB4VDsPcSblSdH69FuIk8ySDKFF0J97YUz7qHHvWgzHPwip8qUlbzrK3AHDtFWRVKIczPZ5ji8lAy60ek+NFBMH3817UikqZ2ohADRjVbI0zlBrcZidPC65h8mIFKU2Jd1BpMuwrs1g/UAyn6Q5Fqh2WgVs0lBBUvRenyxVuJ47ga4s9vUVd9uUpNthPt0u/+jGUiAe3VZj0SkgAgQo3fbBiyp3Ri2BWnNuMPDXEZMS3XKckSbBZo+iqvdEYHgrMZD4Ugt61D/JpDBTyesgMPfC5LwYk6WkEASP2C2dKmcm9dUTWD0J+pDnWSD0S0YScrPPXHIC5C/Of0NFErcF/b1CF43fEkT6QJ0YGLHCCJcsPPDJ8/iLtUPe2Gj2EtCI5nxKLxy4OkKp4uEKUyWL7MoJ+XGE5onvqYxa5sbNoIDUuIm2Iikm0+jiWQvylpzXP0U9feJJBh0CCg9BUbqQDv2Lu+RgE76bDKzDHaFWftZswUDU5yPw0s9rjtXPg2N6pd5DrL9/nLI7CLp2gxx2vtfAlFKTeZFxWDvyVrw0/X5BOx0Fu95rR5yHhiA9SFFCklAT//pMqPGI7f/nxRLNsFuwBk+r8POiJRq9/DvB24DPs1uc9IIAQHpuApIFcVxLmqd2ug2jhN9e4hSFDhS41VYH1NnizTTJmTMnW4Upl2dkI/pVXrhXAkQuk3Xfz0/qW9KmhIP6eD8HdnJKxZPNfHNOaSABQreNHZ/dT+UOOre5XWTkfRDmKhUxzWZVWG2ORRYwz+HYGbSRo26GsmphDCIOdq1kBGjc3zdJna3C/yjAuT3BgUnhh+8HYsJERJnr1OPqPT7RWfsgumhj97hhxgHeii/FM/ycUeMZ+vndt7YHa2A+MVcKAv6A0i9jojTjlRjjP+/vO77esUt0W+xeGhzpqlm+3M7ByIlm7iGfmK9P0wAzBnc7512oMPGPVLx2/bOjyfjkV+71/H75L45ICKPfEjvJlakLPjXZe9i4ZXbaO4E4b81Ll7ILZ3s9slMcaKDamMiE6sG8mba1Eqqv8Qxd+Yt6lbrNsdgJ6T6yoWZHrD2gnKR60Vh2lROCf7VC/Cw/Di/JT+wFUEX/Y0OmqlPrFrPiwsSccKzAcveENHnyno0Xl1dKD0zEMGdgNyv/UcLr+3mQrGGn6zpVrEgyGl0IjCChSnBUYfAC+Sr9F3KQTiDOUtTOwAAe4GqsmcnO+8wJ+o6lRmzysqyXNwKBLjQkeA2Xllbys66bnf20H0cP7W4wiqvCfAINZ+YyfuCBqIXpDUXvfh/tMjPpVDBV/9qwEqgi7GLl7E2sO8cvbq1QSdJwLxmRNgjbkaemyoItsteDv8nxzFrwFnqErCO+gSU2t5nfGWDnZ15pJlBdhLSwas2Q9QRdyd1RvweKia6GECmw9QrczqpyRvzlFCB5yOHEYnYXlgQr0JEWGFkCWGrMhg2bAyfPiOPjJsjLfZpeeMlq5cPyT/q/JH//zp9+OaOJ6R3GhKUJEPIRWvH7QZ54dtF1Fcdbu+yqkq8PcR9L2hp1n8zOwH4e6zDJm3wPgS5dwjK5Z3bZ0+IhFsgMcdvnpKRJZAzTbh3xQaUKL5YGExAZI0nj2w8/ZZQRRUxHhaFvGx80aVm9Alp2Pjb84L80RxweShkk+KSKLQFY52cktJrxKjDB9hRYpiCf91WjJIrBRbJaKFovFXMICcLvyQOed3R3/ZLN16SMVwAsCVZAO6tzN2U6+ksMCmZt7qWEm9AdeDuezgP1q3UZnzyD+Qyorw+OLlenvlwmJfYrxUGDHib+nDvfZpnmOE2+zQOSFA27CA/LKbgTOWPvYyENnjlzh4k8p95IJlIXinp4uQ+d+RYopR8I9on72IKfFCyJcr37aWDSkJE6n+c7kzw374x8vAuLhMLlPN1iVPOqnHrKnAzBfW5Fsy90yRdKEZ1SNhQb0aHuJopq/VTW3gPsl5MVJW5kR6P9Eg4YPvGzISIP0zLPOxsW5tRx5a5IVDc4e0nz8i918JVEnYxfOhpQNd9Nomo5HqTEREsiWThCHwusH+po8IxQI73B8jAwU+uPfPeR+/hBy9s5PbIxC+Fe/St6MFTCxrQNOyD0qFTCYMbXpllAU7mLgNQz2bKYA5ZSSsqY351C7ftno9gREeyZ97L9cd52E4pGDWkuko8UfIILrA2alzXnMefzZK6H/QhC7sOexAH1LVKougFggpCr+Urq/+Hgh1eLucBBZepMPdf+l0fqizTcAIRcm10EzuUGP1aPn3UModvb/wuG9U8REiDxjn6hvDfGr8TS54fPIVaobCEp3kaWl6QNO+0X8CXBUBe9Ve3wIOfqxfiI2i6zp9kwxheZc7uYAe+sj5GN8gTzvnY/dlIx7S7My2Fk6dH+FQ/u5nDXsf22/V3vy2Neds8ghZ9LM9M1LUNv3G+JI6HDwEPLePqO2GkTkICG6cE/65DQT6B9HxfL5iPHDyIAdwYWyadHp4F/zSUBmyWDcaNjSSA8EWI50o1rbB+lRdgIFjPREayGrU6/dI6AaLZUmvwbq44bPDoisvg0e48wRhBXh0EjIrFdiFDDvSHg4lJdeI3K4+3kip+SwGXO0Oi0nK6HXJx5XEW5bRPYXsYINOHaDR6tSf0uYhrM/4o7px8k24Mg/3BoLek3O9uucUSs/aYXIme4pGNubiSjamA7q5kjNv6qNqAKWhxzI/G3QFhtc59VmyUkBGzbiSKN5tHypMovhT8tM0FNydSeSNDZxdehFmdUuUsW+XAxkB+QIL198P2fhkwS0XJojfk/RbhDP3G9JPRqdPtQ2pN/F7aQyeyi5I8NZa1K0EymRZSQSUCmBW8gYgOe8snxKzkG4Yvl1H9LuTVrgQkV29l16nzYbspxMoWLyc8xdwzSIh37UM/k6n7DTx0ZJSNv5N2ytocOjW7b+VhUXom+omtSkzX3xIRTdiUTk8u8p8FKuirSAo0cn0G2ru0QgIm3OzYC6cPhP+BQTMPND8e1M/+MNbe/l81CTTjDSsHymVwEq0f3OspAkhHnlt/GHcIyVvSangb/9+5xlMSlsdoVfjvKE7Sjbb/D28iP+DqxAF8B1lzemPdglD+Q059Gg3nAwiWKV4So1fw3TnsLlOZ/cBwco6yhyJDtrJqMycZ1pwkC0iIgc6hTnz7QBY2Lm9Z8Gk2QEZNrayiZKKBIXeycHf5uVNtA3ilwRuzzZZtzqiJAhJsB/n/obwlrlAU2z3vH7Bj1WVO4CLEyzWPfeynrSiEUraFCGeQZhChxkOdpwaFJgp87gdFCAs4YaQMVuRqSkZU3zxcGS/N6JJTq7WQguqXG1muhzbyKghnRJM0gkbq8QEA5nAncLbIM1hM1GesFop+uBEsVGIdMMrt6TxG7T1A+9BKDTFTU1qXEtf8ZNTaoKMtWVUGx4DxdT8BsAS1YpTDq43+QLO7z34OsOeM+ncTFTrDHA3dtIr3SkfjP0zTn2JQw0TXWH/jfQ/QFKI80miTlQLUdzjGAm8Dg8f8RWm5qxVPN80Boh7msi9J6KB7RJDc923I9mG96oMWD9CB2KDyqcqTQHtyx+3JZc4/D6N9sJBZh/DS8FJOhXuFxrAlGaTuqWHl3y6ZN+18lwLd25EyXj93U6ScAWDqlCzRcB4vFgbWtLWYLMDMSkP3dxYZTdRclK9lbFRTx7L5YGeC73jcy/4Hpx+dp25bHCnHoesiMAcLRIhEs2//0xYCy3DYKRIU/DILSlDsLa1cDocZ0oCVnTRY1wo1qg9vMgHd0lc5yxLg322LZJJTYJaiaoS0dZCFUQXN2hOpCAotpGBtP5JPsRYKRIvgxvZrQynLZZvyiiqgf4P1jcjPCQF7Oj5QEFsUTbCtDlIsOCuP/Z77c2SJ2AVa8poiOAKXhlpNWSy2Vk4BphxG7zzOiMq+PABkmGfQvr51by1Vccl9zaIN/sDD/y/d8x0UJIwQfR5Dq44MZJ1w+BT2lwZeUG6Rl+LgZdd34aN/wvPm0W/d7nLt+RURWig7w0mo5VsbXdJU+52lqhAaN2Phxpm6wwa7fOYV35Zry1q521zoQN48upAau9P4qIcpU9YUxOhsmkYsl3nkskVCTAkmwPFL8RhmOvOqHa4pdaxKXIM7au028KCxQuHaOi/sc8hEhAMhgPAaVyHNiFgECYp2J3fgGEoYmq6916UtOmbWKaCVm19x6V5cyBw/rqVu4MfkMUc4pvJ2WplZNsQxyhjoSi44mABP0iGY9vbcN4LtBDbjXsj7mmA63sPn0p6UHlW9P108Uv/LU54YsXi9Qvm54fce8jvMTAxPIKTuZzcJ5L/Inv+u3vhZk5/NdRusgzWXIc4OldnhfgmpBZ5EZMrwLKSk8oqP6twao9jJgEO0kLrNI9YQS7JAmPZZllf+0QtiwJYvSXrqGRqV+dJ3KNeKtVnbysq23irBbUOEfwAoVDfH8hzxNHktFzOdrSMpTONbc3UM1DiglOhIMiGnl48YauX8hfrS8qDBOb4A9w+WrXAo+/l4Wh3XXp8/Rd63+u0jH5mum9eVXrjorTTtx53o2BJrwSYwsO7Gz8VgmzDHOzjAtVVTHgA7brSjl8n0bzgCsvnEQe1WuuQEnCu8XgH0buQL3Q9fuoK1Zp4Fd0ALnph4sslAF9SegLeu83rlp3GsOaiwPtCqV/nyXZ8NVVyNHslENJahSMolS/l4BmzJpRIb8TigaSsHcLKn/JWwcN7o0W7sXicJSwVto8dda861yJ8Ab14vN1PJJ7Sa6wM2DKP8LPe5PXYkth05CCeTEvoLp0MQB1oeAXf8U6fJpr5Js3RlF5Bwwm3F+w9XWWwGv3xF0lU8w3CigP2jY20lzvbyvn4wh4mI7c0EHMhgu6xu+9QSyck3cmwgsZWvkEeK6GSzug/a0A0MXUvNVDUo2rmn8Yx9zImpYsRFBCdVkXWSKGMRcvZKcG7RlVCLzeAiX/mJEux4pady3KFIZ7FpcjuPIhCa8YNQ7qsxQh++VeJcasW0OowcZMXtUgs6m0rG6DS/JnLOKELZ8Gs4CCI9EyguCqIWVEZz4CSAtQeTTRHtWisGcjG8H0BigaF1ueACG/zPEFyL1RebSPCbize8vcZmje2LCIUt5WFbDktA1PKM9rV3UWBYbealS6Exh6SXbyEvNk3jnoqEz5s83bQXeuUKvv7cvzNtzQQpwQ+SW6HG+bufUTjNMX0/lIHLxI818u2lsZGAg0A2Ro42QPSkpvTZXf/pujM3X7o3cb6aaMl7RJSmiKl9NGJLsOM8T+jnb0TsLgob6IM1AtCXoTk4uLr9xm8hwG6VMnfe8uq85ntd0R3DwJQqP9oMgHEhTXGCl3YmbEY+irLeIhqateCMIkaqNkNkTXtLArEvba6N8s7cthIPrceEyiyhx4RXpFLqyjAtlTjU9CmE+9BTz/UZJWisRplEzm59bwXiBV6i94DiDVEtvxWDqdyg+TBqEQOYunC3PGTmegHE+mjY3wqNYsEAAUoHSl7/bWqhiSTtMT5CieBdeWX1tywNvHH6Dl6sYqmETGAfVCg4ICGZzRYYD4hHGN3Lx1n8vLBkUKtRM1Grwfg5N87pIXwWrL53Diizaurb+GQL8eP9fJiZSh/Ae5I9rw+iW4HNOsPVRZBT67gySnI9v2HsjnX4J5dIlXthc/b8t0K/bWjz1ScwPmaDkiVNjLs2GgugdS9+Tf88YEVlaXz3geoAjg1u+HNUf3edOSLZ6O9SU+ZZOJxjIWg9ENuE92hLjRvkeqGhyg/gka/0ermkJ4UTSGx7FmD4qmYryCgb2JC9ADmJjR4AiDxS7dGUmeKm6vbu1m4kEOuckRzsJP4OXeEkAtGCKayvNamh/Spnvnk19WgCMYEsoZe5AvYpp3qa+6olSYCtqok0aSpzhPTu0WVt+qQ2+8gGlsdJ6x4tGUErik2AaQJR0iAu1aVZMJkThJhkceEK/+TyYBajgUT6cpcosloRjAwR5YJSea/m9K/a0LSmUy3Rg2f5w+zDSG52490k8dFiEWgViWTs8VbjMk9MszhoZCOYcbagHRxWznJMTNAX/qHwlnQTmTi8nZeOdYKqV2FF9DIuULcM0F7773JJ4dZtanP+oGVIH0thH69Y/Gupm6YQu93esD4JxdY+lokt61ZZ+3ZJ2UA/Hsw4sZQAAAfc7uPMvRC//DSrFFPuyz8iE3ez6bnSLrLonkdiGjjOSNVot99H4sJ8EghxWhUvpQEa9LaWTZy4yXIioMmuMFqhvsVAi3eQT2yK/0TlaguoR9q20hmDi0zAiZSqPKbmQhDY65NxqjI9zSUigiCUibQwMYaXSepwJpQGcbvUpfNj6G8fJzxfpvq+nrT5n7NcjCfPZDkiqm6aMGB//IC6gxIVvUdor3rn26nr5EeS4YZM9Swinvgi4pf5G/RS0YM7QAYTUgxm+3k/tdN6UMa1a+9yER9S3fIn6vhOR4x9rvSdPWRettCuEJLBzcdGViUzzok+lHFP0joKDv0RFmiofuEKqt5xFU+6dKiwEb55CrJ7QGs3iuqZyiatFUBxs2Rdv/JYhPEnnjp5fLrQvEd3N3VUkm/yMiKvHU+iCDyra6VFzzRTQktyOO6rbH4JhkyMmu07DpMYt+sgz1Fse3rmXCTTFn6d/x2AjTJs5ald7qLOUAHAoMdKL4tlF3OqQF7T8WbY2MC4205v3AQBa/vx2CM3FJf4RZSasA81ea9m56z1y9by09SDm1OjGs51FdsRp/aGV3XefAMcCkvTpyZABSs3oTLQiEePTGfBu7M9GdyUpZS5WeqhSwYrMO7U9DiuDuocZFxJESb2Ei0vLMpJUNElFhiJa58l7v1oGd60D/eHICU8pJHpMHFH6MT3mVbzBS/XzLtOrxL1th4/dXz2VZHpP6AAe6kDlhrV7vjvahotrrWHudwkaB9X9iRlb32up8yCHYF3vEkOM07qRwEjX2WO2AkbPhptKEiticP6sdZ4oE3fR/reBLF13IIzxqr05QrKuGOrZ5eXREiIFvEvBC8MoQH+gNwlGyJuQTvnGzZJRAceM0WQYNM2Oq18rFbO6H2GqKiN9bliFYBKravvpriqQ6v305w1MPlsqzfb3ranYzJjBxUnElMM5tQJ8SdLr8Zm+u9Q8Z+fC3s8H8UNj0gDu5KSwCDPadIixjtNEESZpwhtMz9gC42oi+X4QKygciRtIFtD7r1WipUf9BVAsUvYdI4e42geAaBQOi9HuyGWZaCfG/VsT/Geu2x1E5oWfJ0zx1XHuQro5cY+c5MGZE0Tboh3YAKD/jGtMCUjybI9rRV5sxPOdTTLedG0sUIRhJk/8/HXkQEFoYBnJxIfGv9VFfyT8Kc/xZ+rzYwHvOdNPFhZD17R7fXqbXY6qB2L4ri1InxZQJinYliQ/ZvwaEG/0CLmrZL3wZOawYUdcvX/yJ6hzuJTd+Zp08PSVrOxxnjqeMZ9BQyEZORmSzPN9OUcvQzbKOcBg0CdJsomVeBu/GE0Z0ItoAlRdanynJngXNdLHKYJ1uheSg+HteWap3mRdT2W6blCRuAnp+eUpYK/h8aVjYgZsH+3LHZ245I8HffjfvMMdX2mhCjP+OKEeRZFNWhl25D9IVRsW03SpClyzzEsni0pp9eaOxfUmsE7dyY03ktQrbyFilK57+tUveW/6iGwg1MMC2ErogTArtgZFis7oJqge/gJG8sP4wVNUaLln+swgmI4TU/8yOZwVXZDIqtBQPy5fwtvvLqrc3gV3RwMIkVm5ny8ZgXeprW0RHeCsLOeSgPx4Ph/TDYgQi5c44/7xiC/RqcUTZLt+fMf+C5wGc86qqsEw8wFHLNlvXnn7Ih6VUom0udv/jV4a8pofIyLFOfRyX2dUW77m/EZN4Th8Op4Wi5MZWGOPmId4Sa7ZFlSxCI0JMSiWm+Ijdhny8Ej7YSogOfm11+7x1Rvv87RhsgdxV6CxwLKhgeHmfii9Z/a1UJ/kJve1uHhUA5tBlRGyhhBsCdbZTY07Ey43PLC6a7AvTH1NK6Ke//U+u+G1WIxguGafyPbKCNcENsfQW2nLqPFZtI96BTIDnadNki2mWw/Y4eZpvkdSvsk2uo5TUGiYn2WDhRXw8d8nzjz5onBO/5vSQAtgF5Jx6JHfWAgt/ZfSHswTinZmHXTJE99z+1ksbOmg1Fy90TTGEzL1QlPo3lALoADY6/iUQRQm68g+7+WtF6bn+O+L/6y2q0H9NVlZ9ZcJN4sLOjguoKWal7DWTTg7yfcJ6I5W0vWkT9M5al+T6MyhSo1TxC7KgNsnrbT1l8+vTTHbujERZwo3YNA6Ph2UTYMG2ry2LFCXOgT61YaG6UCTewWcJ6HXBMqM5a9S47Muv55dD5WSTeK4dh1U/hX9c3yGXcfigxGJdXvQDbhdUKdQ1F77409q7InSGcif0HS3iu2GybArNfQ2P1dsaZPuIqLZ+xpZvjqpIEwCOJIJM1wrbKGn9CTx6uh2Hrxy5bCvcsh/iGD2ZwQWSfxuOn6kU4bFvcWNTpln+CsB8qe7OyCgB7Q/GjkVaSCO0eBe3LQ7rO1pVzXlux4keF6ZvTgF+mbWmQRfH8/1nhAQtEsIuP5ybe/XleP3wHE93vSoJA3t0MGlLYq9LhHSRMyz6tGp6iqPcj74HLfafODHzMTFj1Se7Hi7wnUbJqdZVKow/i0R5W87equZaq/NwAWWXhm7mzJcW+f8Zdjl75fQXELRPw5D/AFATo38lrxK+FQ/YL0ie6nMUhDtWWYY4TzlagDBj07hPftTsnG0eNEntCJcMJCsLnnvZuXReawyFh+F4Ps7Kil+5aysMr/aC0TfFki6/8eJH7/hC0q6o2TmRqDeEaGWeGV0FWMk5+9i75IH9ukpPcETloPoZEE5jcGdtcHLDpvH98c1Mm8avcSQFTVtxSrtxSsHSqhPCaqF8eB5h3r37T5I8z7gFcTVDapWrtifq3KB7f3tgqf5ToOP2VP2Jg/God8zQbn6bw7dGJsMQFz2grXB6RS41kJRLrDMTQCRYtmcbrGmR31WOWvz6Ejw0s1h9gjrDb8w4gB2L9zPFZEb9dNPdQsjcYW3/nRNlwS9qka1UtpcaYISPP1S0LgOvJPq5QCDjUesqt0f5KIhFjXeRQ9miOVOuD3jnV86+zcgb5EXSFbwA97xIdRC9G9YV2h8Fs0fq4sGN6vdipX5RwQUb+ztHjItAtddodmN1xskz+Zmwt+8Z3xIkVETnKh7y6kCNqoR7tjT5aRyLQJhziWk1TItF0bTCB6vdsnWLlyXpbjM9iFZmMShUTD7KULMXOKgR8N2VoM34mwlHbmu1u8ewTpotgYy5CmO1lyDxZzc+kLWS4TkbIJ5hGuQGe5KfZI5wEIxYgnGQemkECbf7v4zT4YUe5ETz90dC4EatSgjwT6MVcZFHpz1oX/GyJxhHkKDeT+ULGxSg9JaYJw3kD9txAiv3+EBuqhx12g2W015X0jb2OrPu5njnAB83ZC1lrXJ5JKPg4whg1YWU/I5nJo/UX9l+qko2RrhCUiJLcu4Bbrrv2WVFO+4L6G9ARtS2KKg9/Y4kv1uI5liKtVsZ1QNMMmOvn/Dw4qP0N9QvwF/iWGaJOoOBNlSfesVGIlvRmmhfCRHU4jVEPAUKuIKHvd2slV+KpXz3UHhhpHQdw0O+NS9oGe/Qhh6LVdThvWVHYaNbI8xSpKNi2kpmSEpcoR3Fx7t7RvoJ3rZoKHzPjFD4XTVuPZ5rRLY/qmCuADnlvoKrCxuc+fV8ifZIxrLuwsyvg4pnnJ+4Zgi9xy7occCLvcRM1o6P1xzEPf6o+Gl9tleYrJW4hthYn1QNOjGavxp4Xx/GeTa9Y0ipdjy5+FevDhLQNQ3lXClFLUY6HTeXI6yKY0HNuKNvLlSIB67fLNeL8FTTPOkV8c5EAV0y6WRxKwWr+EAxmgA2LzkobmR6l3iW9IyQJEV4Ipej5vtPLm61wOQj8wENyD1dxzvnH27MMWARxzVJbXpVg0gK3tpGxqGhDyu2QlncS5MBr+axThRvvWXR/9X2AduYSpIuzO0Cmj9zhEAWN+xiGA7v7CWEScGU4E0OobTFWvL6ZLTkSaDg960vTlnOncoNzCzwFAoGJz8CPSfpl+WZPB4SDaVyfLg+p7j1qsxI970fgbHJE0EngZfT0QKd4nZaH4WJ9ah8sLJNQPpzSo3NAwu7jMq4ZPqK+eX58O7DcwPuS6wPAqV6zRA1z7b/NM2Zk+NkCpjIJSzBFuE8DPA/9RsUNlOymgFvDHxIm2zVotYyjD3ToSWc4AIS453qMQulrZHqGKWrM8+k835RC5OH74y4yxil4N/TzUeS1+UeUU+VyTjbx2eadx6mspfqqyyMgHwdpgPtEqUMxHXl0IeQJs5bXNWj9LSLcZ/PrDOuEy6Hbeb6DNb8PQfLp+GCGa7WoWNPp6s9BmOHeEFi37fKCDJ9LoXU5jtiRZwgQmC822H5SuVCNX21k9SzDVZMGJuv9wRM8BQ0q37H+c7l00tj8thYfrwJSjFwhbecf9ELPf08nOM6cKuNS6AVu4F6xTSaBgMLbxfS4C+2EIvxwDMjC9oeBysw8RLeDJCqN+Kda7B+rFsfRy9SZ++C+6LXTnHu5LNV0188T90ajgTeq48xtp51hR53sdMgE6PqdbA3HdfCKJyQO+zZpGopF7phOgQPXxgpZk4U0EG/sPYSUNZC9GcmllHaK2+/TiKHkA8KqAjpGSEZnN5qhf3crXtB9nmToYmCoqgwKPDixK8gVF9uZUuzMZj0XLfRnkBU1olnUaBzB/KCm50XCfEsf5cYxSaCoPlCjWn10w1UhBqhD5kRgRxPCR6CeHEjCJAnS1vvxGwL0IOUSODLAFLH6iZwN/pxqfzW5sR05cRwULbCxfZlODNofJh0g5qnDf9mzPOtyWfU80BSdBqnFGJOHs1wHnZ8NkmIg9gyDGOoRu06MTtKuAvowM41invZfpu8J02OnSVizgNOpPLG94e6VQyKUOQmmqE3U+As/NJ7tPncQIA39uD/upljU5DAv/XeEMcNc39/bUzVIaNoRns82Rv6OWelF060x2KH7+dLSJ1HvXKK7cEQT0xSH8qb8X0kBBUidqr12E8tubbQZ8u1MMwErtOMtximJYAWKzMVoZ1Z+Vi30QLkjDMvSlIaIbcHdXaKw0QASNl+PFaupdBXH3Ed2V528SIgXb88phGZNm1/k8e8JBg5HD30eW/kk4QkO7bIcwJt4pX5e9ecf7n4UyDZBv8CJGtnlcNAB+fNN/AjVm6lSyglw+rEs3PqRrB2Bgche62jmRljJwEs0642DKEc8Evg2Svvf8KSDiUCdiE7pJ0ATmxfsijHo8XnnmUV4UFoWY+MnytuUgyA7AR1f/46gO+nMwPXSKrbUFmLXNyjROrACJ7VmgJxxDFymGh5Lxug9QE6XHkuUaHu3x0xnRWE/wOa5K3gmseE3gzJTWAvv/Id3ckFSfFfzFypn4cRBCz1itzC6uHtCG4ccwk8gPMK/yWrYs3aKmHy3AutVjq64S+Vb8COEQEbBwygBDfbx2HDeH61Rr6Ra5p2P+k49F7ioIpaC1rI23CV1lAS0NXJMmH5dgksofI/HuT4ySkbBzgaiTTVXmAT9k4zZ/wPmXRfNT8eD1Vc57t82YflHm4VPqQYbpa8JhccH8t3L0AEl9YlXEdxUpJ4RMVuIygZ4cM4L6rtVApAtMURRblvIFVVYhaK2cBemYb/HjFnGzBEsRF3MYIjtwtlYqOIFHmHsZL3JreHHOKTMqnT8+1MaBs9JBcJ1FOCvhRvGkePGJmXqb1Zb4WfeuYANafkVP5MWRv3qyAngoRxzxPM4qkUU/HDBZdiKMPUf5t2MILlJEpwra/1RdoNmus192qFGyhdcquyNB8lkxObb4l8UNGh4q779MRifzg4Ys3+ttF2dK2IL21ZzvG7u4lebDUqa+AytnzQIUjzIkc8ei7Ky3o6mTQ5La/8D/nmAq+a34SJ/yA3IpLxLMP42el85BnwwqyIKXoqU7sais1dacthgFa4xUl7bwqMyrmCw/ZR+TlIZi1i5r705CTVtY51vAwobfEmyfXBVFYVzj5p7Nw+Cx6jw50Uo/YLIHAsq6Q2hQyTgfMf3SU09dSpaIaE9r8vc5tHT1t9KWcIndbC3oNQE+UTJ7ZOXIZ9TyUIQR86xJnaZiAK85CdfBCVUc6AVRreVZAhZFnqLJqsXBvbdPgM6xoyt6KSoDvlmnIyiyrnXkfvz3P9aXbFo4ynuvOSTaZrUfCSlZm7ACL22Ql2W06kO3JJNN9RK9ymR+qJiXufTA380tl+HIAvCWmC3diU/FZDtKP2DgEpLoWYJ49XnKDuz2XWC3wCZ2eiwq2HtdE3FRU2mpM1bozfAALmVVydQ+e63hEQTGCVYnn1DsaxP1PfZdUMvtzEDp0mIvUzgbd6QZvyipF83PFsrVyTW2CSEvf2Rk/mFmQ4IStXy69t45jCZ5WR/O0JuAm0qQB9rBKOCAb685tdmY0KcMu8uBU19QPeEPUbucvo6kQFUTzUATvZPhPVVAs9C1KRWqaueTm3eunw3e61lfk9pH31m0eyAIWD3rOwZ5DHfod8vcfB7Pr0gSQ3pHrR8+7IE4Jn3C+wklAJCdfgWc6v1hVXjjTGQOH1jiWJ5OOPZJy6CefTKcX6j1vBA12aOaGV03FMe5Iw9jf3Io+gdnR+WrYEf7Krqj3hV7Jog1rQflIcdx4yI1X6BNASisNqt2tONAVxGLHWIw22ijNzjvDLkq79w/EHszlHPeZl5uHO3V7BzyoSGeq+8FWJjK4abKXrVkEBy315mrtAH/N7GsC8EcPyHe4quB6b6GNyuDeLnl6+7vegpKlCPX9zvhRlbT5qK/nSMsMfKMVr8NiaknDJTqf4a3vm9P0VZ9t6jwKm1K99Fhpty2TytGOKb0qCyxtalqXXlJMlXQ703GiX+uvm+h8EDieb8vYfzh8/eHzSf8NGi/RRnX+x+WmLOvwy1oWsqKOq9hcPKV+SPOOjIn/JWAIDe7nPysmca5iZR4N0urjJQCpI/65fC/XUfbo4erXQYJ9fWh/pE/lhUqkUgh8GG9wupuybCBBBLu9xlxgffVmXpfLWBmsxl8b30CvOMNyeThbWYA83mPDxbolb99FoTTSnFcK9GulU/cKK7QFbUXX2jCGMv2BB8xH1S6+4OFm0IxB6J0cQ3+guhyGDYmTxQe9Qh8iji95D6M7C4qDZklVSH8lu+NxufgtMKSJZmrLzFyTjcrXZOUAFTnFIwKuLgFK6GUlq/moRVE1iY5apxfUqHpBDqSINXqztPw7cqTPVcOnzsoBG2+BDYz356/jUk/OTP8nz7vTXd4k+b9ruk8Jxap9EIxdGJkhI45T1D9qfxctf7+D9NxTzx6Kezs2ysAv6Ac7L2vAJKetVD7cVnQ0N5z7iCYUg+oWwJ2yD9fVKLDnDg1sUrDQm1V1inQe5GgxBfVS6R2/WKvA/d7yA7W3px3wqDj4DdgY89egXPyAzBd29oj+9QTY5yXw6LMRA8ewmNV9nor39LK//ufeYXPsvWk6IRB0okIU0/BR5BWp6FMCp8Nqo0c2LgrolsbKYRC0uYUVsjanEg4YJh4gAArXS0MD0ps236jb4kp956MyY2dZ5R4qoPm0bA9Fu6cycw+8hC9/+CytI06aBXD/TXyK6pPc39iC9PyTaHusKEw/vyLxWWSXHxBMJy7PLWeZWdEkJsmPAOwbG9PBI+d0pp8mDbFr9EOOtwpkIQz7/JLSCpL5AwWZiBDUt0Okiue4K3FnSHklXVlfTdhUY5FGWN4+NsYQIU7K2tyqSdtE/WMRo4dew9ldoFYf2QHi+swuSAAiVfFexGDcZYB9K99Wpuf/RBTBHJqRhbPuQFNW9s1doTQMLKKV69DbupjtNw0kIY0EDszihQzcqB+pInu/+knQjctkBScwI2klTAi7X3f35tz3KFVEaVoNWbzggJJUE55V+QqnINPH1eGZp2pcAQGZqen1m2E4NXzpnCyVzHimFkIX1Q7auGZmWRwn5wgYGATbh56fF+nAWfW/PEE1HhZoxvGbybXbf3EHEUxpEddQrES8i+iPw8FX1wbJhuatJTDPtnHIghKYAeTGjqLlkRZAH8aSrChFBeWjobhA9T51Ch61kJ4WA7hPmb3rSGhgNkEkRgzrc/eGOmeb7NBv6m5IveldMsrNSiePzwNi7IvU5AG8kgrAYZi9ARwzKE70zpSxjtDmM6TzOqAUm+xPaf/wjmLYdGwYCYlw9i0MHxmfh7rA7teboVq3TgjToUYpG05Z1Qf5yNgAFKMaow9d4SX08PDp44zwSW0U/m99Spd6dYStaTeduFZ/yaKLaAhHHw+Cj0qUn8/vm1Ncy3JvuMCqYnsTb7FUK4lo50QTr4nkwP0rLuh/i0wYVKBnsh9/V9P0ujC4XEzSwZG9bIRM5cdpL23qALBJfex4XJOwj7Uwpu1wfeCE/stHe3M/iIR5V0GCkhIyy7qZ9xMG/3WTEM/JqskhnLPm2JKgUf9eG+LXebkBYH1Yvx2zwSL0q8xfed3Wkpevu09c5ATYWFK3Lk55n6plm8FM8sH5nhW/NsBfRlPCtvT5BXHT/maur8BIVeg0cn75l4YUKVPafMB8jGgJ3t9amxxOGrjSnD0eEPI1pt4hAeXMzrobPbyngWrmhh1EoNGvzgGGguCz9WFywnzbiCyUuhG16DqCCx63a06r4MJmh8fglAy1jlE8YZWNVT7rD7EOPsh/eP/aweCsKr6C5toP7EHOeQ9dNNbOVlkUqiiIzEvZaaVyuVUQ9GCySqya6qDK+ljVxNF497sTvpcgTgWw6DAUHuJu+g7r6pNze4boxkTcs3Uf7x+1T5Q2PXOJdtLPAnGPXiPtOSGC5fCBTjPlYxNSqweQlTHGI1MCr2azBktKratNVXdjJzQjK5UxDzVTu972ous/jQ7mn0lOTXPUQbRPf0pAF/2xLBXr3s7FIK99dP96wY/pzco3ElDZ2CNk6y7kzMoxZqrlcO5Y3yOHu05J+nS9QCICI/42yfZKhxsPMKbLEv/u91zXKd/QS98G32Yxj7LnsWUtl14QHJu78d8/Ky3eZ4T+GXPTuwmJwSFhgosCfYJ4zx/gGVR2Y3Jt55Hhrl16oWCOuRL/12ftnJnxQkSvHD/+2mSkVsjRc2bPYmIKXsmilzPn6lGNJC4NFKEsa1I6zWLc4mCsZjWO8JlU+xfBCnsF2FNF0e0tONST2q+YMfqToCOGCCUM+7/h2MFHZbHxVmqASxzZ8JOMaPJIjKPmuxd4hHTsqli4i4Ixg7w6wQ7vFVyU4nEGdXHZn/WzqezVwvHsePKyntIWL44VKpn+6eft6TA4XRkSta+QSaIj1NxXcyhpJvMvbWG3U3OZx1ib6zW+M/LxewArFUXBvUo7E4JbdN7ShMaEZLfAi5nRbWUiMdd0FSBWmzpbePDcZgnzNDUDCFuSOq32WntoJXgn+dixL9LNqqAZLrH/dLhjPYjMgzcUbWZ+E5kFrMEcygl+Sv1A+gRVSpSWEezpi2h7MlMIh5tGucrTBoXQcOUfJ0BG9V5LhHVWtL08A7YY+k9dHj8WbWoPuKHOoOgb94uPr2go5NPpc52dgJX3MBl18Tdvw1mgrnPD8w+eHkH/4SRz4MsvgTqNwNoRAGYTYPnNwxePKw91TNjKN56ElwdQLw4w4NFEXnpLnvZUNYZq7tdBxlJf20v8lyZL29hM2asysitQS6m7hcV76MvReIYVia+y20N7Sem+4B3jgThYvClaquv/HjSkmblbKOT+OfkXoYyUipk86oJ2atGbpLiGilEyivjbe31Li8mxqC+QSV6VHyjo451sdYIx27NBCJ9PrR3PaL5f/bPbmhASiQSojOV17b6xsLm2fhQYN9gBPyM/KBu/gymgqeyr1ltMY35ORAaNU09nn62f2KaIQ98W6FcwflYjz3WJexOfx4ra0T2JLQ/NovwXc55Q9WEEVO8oLO5e8YP2gVo+n5OdX6sUZhJoApxIZ5t+RlXW/RX9nkH0jeMlyL563Y/ApvyozA9KyT9na81J9SBc4lS3etKB6oOFCJuS7q1HGneouMga1o03lRkP+xAMkEEQJO3W2NMyyR+DcTFdcDs5iKr1vMOunYKwgmu9dXZJoASMw8f4HUW3ax/Mi1Sh0GxCusqM0A18G1XiLOGd2jGY3xf5Yj6hTAZxPuXXtKCr0APqIcXsN2QvaWt19i9gX1auI2UFduJAapY1TSq6SCKTjO1E8hv2A28uTZKjldHT37qNdSML0HMZRxh1CsocR0ESYCGhFQtJeQ1pKGngNB6OIA4DQ/k19GDs2rjlZoxAB4ayJE8iEJENwuo+AHYWeinOLpfeDMvC3Ifo/B7aGwpbhxyM0ybrIgM6Cg8CLmmP2Xh+idD73EvvXr95U/sPqvY7K58xGy0KPkcsV/t2OISOy/2oR639qV6qvTgphxRQl4oEfMfNPdK3Tb0Xq+sw/IZUy3eKBp15DAbw5qJJAUVsv8tuS6tByrdm31CMcN6L6d7bZzwpTPGxrhBxAvhG1HQIUrPe7KlX73VdTzIh70avWtflvKvdprQbs0h0Ep3XQWfC27jPlvYGi+/v7gAaK95uElAkBcaKzF26npOtrtrhLl+Iu0adqW7J/ED2nXZ4NNm3KttyfAxQAxrjnM3c/0Xi/pv4qWIOC4WajexPztw8BYcytxywD6MKxXpLKzVDpY5dKnUwTsmSydvrEVROwbu2rmk/5HI2yKUEPGFc/kpIH8ut8Gpr75IleCJ3BVC1peZ0Pc+bAIhcayigP4kZESTPfBrZTlmEPQQb6vZUM/bfpRXhHtrm9ayNg8TxCQ0MGNI0lFax61Z/NMiXDIIgsIcMvhN/b92velmI8IqDdlTSr59MKTEM80bIfRW2oRuQPHpAGsm60FgTV7LPAffbTMrVkVQTKMbFrMFoO686SkoAgLoGLgbqIGPa9WFDVqoic5a8t+p0Mjl877nOEAnz0OQJiRyc2uB8j4SCON7vPqWvgCRE+XZItKSv8L0eEebXjN2fXPeUCKeOfIOkIL8V3AhK2jC9kuJ11JwQNo/rnQNUCfbN4XC6SfkrM2Tu18S9yffrYX8OAYox1FR/HeTtPXZxnHn5T1pd0gZ6SdYWp0yPi73myKuoOjXve0cbL7RtI8jZ5f8dCWZc9IM/ox8OHXXx9bsoCdY3VnvdBaq8kaEZIoCR/Yct6HxoUlQyti1tKMbgHXFt4EcvwbsFPUzThoCES9xgtPf7cMIlWKxb6LGH81Lp4J2Mb+FkUot7g55hGdEtJXEL3//G3tMAc9pOuKVpkS4gF1z8C/Es/wMSP9gFkBn05EBhVa6kPXaRIc/+ahMFQrWGMdmEEyBdOUtcPBdtOEwjWVbEu33UyE3k3KSRrvI2oszWuYJ3W68cCjUnOWOMSeLsKAeHfzvpA1U1hCZatGiRJ27m6iwSWcCGcYkUppKx/t4LKa5e9J9aJs0GyM3EUmfQ9SHS+Ztlkw7ue2bGP4pLSQFK8bKXI7oCheWV4v64dchsSI2FQkECURPUMr2LB4g01wgi2F5WNBPlXCPIKTCLowbYnV6BPnPxIxitvTry08KKC92J6FmG/g5bie5cAY6WtlhkiFCNkcscsfETIqW2fAuOHh8d4BVBqZrvj9wenWv20eK+VGYfMB9n7UiKANp1EPxyGT3cT8NqqO6CJegrkqnXVGhjMeTcAp1g0yFaLudE8XiIrjeZIjUNXKdDNvLSmpSLRyjv4p0WvXL7gZ0fk0Oyz4MKNu4V7/mGmoZ6vXFBvH6cHZJuW5ZT/be9nCIhiuN1s8Ok91FWl4xmSDmwf9VPYW0pquC6RY9V5slb9eK+uzyzTX+Vk0d0plhY6rZqu40YXMu4RYHrHaNxL8oszdr3pKIuyOoLo4jOEr5YK/wkK0fObnkYgp8eTLAbeVPqSVtBaWO0vga2biv2CdMsDWN/XRytgPZd5LpbqO8rDiR3ljXu0oZ9rs8lC1sDvkfVxTS3V1cU6pbzQean4o5Fu8Z0B/32w4Ck1MTho7eLuFUyylj1Gol1i6EIfQydElbSfG1/pS8/PMONAJYF09MMsBd3xg7oJT6xJHgkbqwqEHA2ixLkK0JgVSF6MEzlGNe+EHeJGLDnje35ssBgpqhcNyBH7lKYVBxanl591UYQUB0q7XdJvMdWpPodANVDOto30uy1HV12HVISyQIUMb/DRUhgxqb3GEhjuHMOy43IPBNtLVKGmKqUeAwsvtRVa30FIZV9WRJeHsxeQe8wCITHrIHY16zmOLqLnSK+oPQtt/WEkLV1FWdnQmQtrsW506UXE302roIpDwzowwN1vAi/qy8mdS02+U4/W/UxeVeSlDFKjBchX0WxUuDic5HDGMrL3qN3R3Cjt6Uk7vsgoO8sT5Q0G6qux+Ov7s7ETqAd13u8B8d7wPwpI2csh9ZinJqOwWU0/OXyta0/bpZreAYwIk+Il5zR2pzM7s0iYsig1MvdXl0JWvyP0a9YT4s0Vi2ydMMwzwgBvWCv/L+D6yVr5rpYT6vWosOT3TBCoTPWvgIyWC7z+1w3AuKh0XrVPs7aUBgKQIQ2wjWJIvFmmXX+fYyKZGUeVRmT/AYLSKGfMhd5woCI31qEe8SHuTp9CtVGQ6E2juehLj7Fq2p0N70Q3p+KLd30ftJ8sKmy3gPpNXGzNpH1apwafRwtctNc7VVfxRmyq8YksfadXiop1psOIO3Ho1RIrXuX6Y3Di2oQWS+spbzOkjqQfW/BAIJ9PE9cyeoLRpqeOiW8WOjVNSZLIQBvhBQDnJxzd1xTfuQ5S2EhMW6ryJ4uMrG++gl8tP2e0CCGVqUoaXDD5MG8brPxBOrLbwyU2uPRn7eY99z76qLV3gZlgb6+joT/iCXes1kzIq9RXX8GlCfk4GLeCwryLL5EXM6vvfheL+e7hqDO38GA6n1s2mDi2IiNC50aRgmuYkfnebPUCvtksHbamUAugsz4/QEh9UXKmSrsmJR/FbiI/rX7pO2r1yt6X4N7/5On/ysOuJrMQaKr09F19QcXo5T29ta190FIBADtrbEqLruMKtIXYIt8tOQ7tZyqYEyuC2865rTMGiHlDXVDFdrBYlu8hki7SyiTgke8m2dHi6w/nPT9pwWJgX4laY0sFNnerXxRLsxsxB5wH/pmhWC4QoqcmyuUhr8i2YePGq2nDpUhSxpA7pWKVDDbcx5oUIniwxVoSZzxrqfmcoQJeQIVGuXv44wQafXOA/BEzPiUSKTr0W0T+Ow6V93hVIL8bVz21IanFZDrkTLi/w6osUZGh+HkAkfgXVIijn8iKM3vIjl2a6uiKGyoqXXQoWAVuGfgK1sa7V2PtGjjm4Xbag2HIh3daN9fTAsgx5Jj+7KLOrDNcUtD2NTdMCn5Bu7Vi3JxjU6cJ1rQAcOeFIRd3JTBRXcRYc5YaKW3S27QCXinMrmMYqvJxSbfMMTJFQTKVj+73HYrW5VCm36xRJ1uj8j9Nv9yznfUgy6CGgSV+eZDcd59dFdDWu9TkN6v5mL9sF+N3G+CzDALt1jslJj2AME+DPJL1qdl7wIiLeLGci+aaZmuXpLritkwTcyZjfZTYP9noPVYdaFFHLm7MT/tcuB8yo10/zLWYd1sXJs5FdG3Atq8bLpAWokiHCu+b5o2ilM525LYeGuX9ezE5JOEy9NEP+wUTrdEMbPd/DXVgluaCqiTLLqmEe7R2yDsZn4eFd9cp+g+qkek4NF+SbOy1V6DjSQ+APynsfGVqM7ZHT3RPrBAQs5357og1IQ97QUXthcULlkGypZzDqWVDftnqBe9rYxeR3BOvYysvT05xbpi2MXa/oEWsSlBbv3r0qR6T9842UmdS+rFbefKW7bWslhTJBlR3MxnchMqke/u6LXshO2brtL1vpBnsGh4fjWHLGwci8wEf55tsKy/DYSEp2eT/9yu8/VD7YOxNFUh24qXbYlZn2kyc6bMeaJbF9mYzr3iDgZfigbQ65quOjGhqieULawxumWqZc3FGAYVhzl9KCi3nptlNUNOXEBckhwWMCBW0hLwJvz3CcYGZGpjPGJ9IZdZfWMjTU0xgB1aUIlET8e3QKz/SrvDhTQbci+kfLkZShbIQnsBS98ePKbR3bZtDxcrqrlmbmNAqUONltGfAuzbkE42v3dh2DEoI14P8V34hPnnGVQ+LG+0voi9YJwMOY7G7O9osZRNA1qrFFc0fz041zXa7cg21hpwxQsndJCWaJwTZDfNn2bosD7x0TBmhkN0XaDe2rN5O4RVyLIsSCl8CSO4t5SE2oWC7Fl9kXKElhb7zNCtzjlXesOb2oXIH+dT21kZtQnOCkUd32FVXbb4DmjbZbB9qrk1dCPaAja/deavgf44Vw9h0y6Sa28lsi4K6a2qMPkpGCS8NIFaPwOd+ZvUHb3iduKuli/WTUNd54PxFhsC2GkMamx+ng6HugOvXFEXLltCGs6L1xhxS2eiO57lRaESFsWrbo9qDfwrxkSAUri0oUTFcABgwUPyUhejbIjrNAXmscGd7AcllB1OJuxywW+J1OVnqXo1KqL+7UHFS3yCfcCrdhQahCTTLUZAdbI5hNB+sA9PqLYilzBQHit3O2ebz03xBoLizDZBFgQO7K6ARJLL/3SVNNSDRiOV0mpIcudHBMbHzveIUMwU+GyuqU2PoKV9spDy9t2Kzy9EPrh+LtEcZl0MD1AtfKsFSeVBHyQBRFUJS6k0bn0xj93aoGNA6u2aML8gNxmeIP0qlFVkF2hO5KkREdHPl351PqanF4STACm7wcEodZKF8Y/KYqtKehoLd+eqyntqhuuE3j4tEQmMyxR89L6kXrZXfI6XMSfh6Q7J1hhANlLMtQPJQQt5rug+BAM+Q6pFKEJMgdp+K8zTMMksZDqYCVrOFo6iLEfrIIAiANrdQzHveseb61QnC4V+4FKFB2wmMJ3ccgFR5BUXfcxCwc1TgUbB4o3NzIxg+O2i+9n+1lTW4UcUEF9SMX1DJxfqRvV48qAu58E2/kwsN/MdXJ0+/dOcD6YRvMaDVovun4I7d5DMwHHZnHlhnmhLMZUSrOX5f+Qslv74WmoT7UW7hMUoJjwletAuH0vNQmHqgCeEtNamx6mUhJ4Em/blOPQTGT4/WoNGPxC/UxLQ5xgC06ZQqDKU3VC8lr8r3lmuNsnklb02T//TO3O0jwo+tH5GnGd4p6SOryaT8MK4Q2BRNwMkg1+tfK4zBqDgyDYv6QYKDdoLdZo/hmDYxr0bSarSYCWNyc1MMd3V0BEmcE0EXQP98lNEqG75jluYaKwtxg1cP+1TfaIp87192iCsmZJbFmNVj2W6OxWnytCreAExq+q9MINO6OLpU/WPfXVY1NBFxdWxJWgHBtFVxVH9p4rWdYiJou5vtO2q72FyXfN9QmdfyVfAb/LAZTuNOKKhASirDIqq060GLvvmuI7CVoYFXnY+OiZ4J5UfsHuuL0W7XUqaW22J8zQQ7pVnF1wETfZekav/JyG8zYpIJ9i150y+NWRG/xXSoODeDaR+sxAZStyZZ5d4CVt0GPT9FFnlvO0vfDA5dllMaQlUoYBLH22PzpmAjsuJ2B/g2dxvLo7AKlHFf+AUnPFdQjcTkZLcPKT6hJWyfYm1UF3uSGCVo2PWvBuRm0wnT7Z6xLJlQJs00vgyXYbvUl5zArk/KmT8yx133x+A1bpBdSakKs6UKpuinQY9DHqlFSb5/3AiXXvvIfjrYgMqNoRkY6lywsX4RUfSOfrcd7NWZB4bYRuxGF0FwVS+FrLH6tpGzDTiAxH36htxXyMeEhtuSPnebnnCxoZvx+qZ7ZeXgLd0ulcn46VRO1Wt1um9KcjmNM2QsBvofaGSO4SHD5yyqiq8rMLB8ydKTKMJPECOf3i6msKPFLheuk1UMma9DYZyeuBqxrgyewQhiSfceT6YR5OG0ISxReNj5cvBwAYBHTfb3n8QpQ5qiwcVuooHJbLQRgvVZooe8p/ZFN2qtRlEwhZCzxn4OsXF7Ut4xFwvezTSERUpKYNN5TmFGTuNC1AQcv/LYTct6Mz5QcXhlVw5My4UC78eW0FVx8oBEnsMD+fcjpsp4PuJUHtRGtEAl6iUojgSRrwHvy7Ss/IUyiJiGbcMxeiNITJr42ckJKvvC2gQ3elFmIBAwP8u3mwNsRKU4wR7m+tZkPSAqqYZ9pTxHXnP4rqYYOU+DysQCy6G7gF2FTAjiBamu+NiIH4/kEaW3bx+OLkLWnlWQaI5pq6zVeerSNZFc+7lsaE48DPk1of9Jl/IRUHyyXfxxRfBI97TzFsZw7UcNUEoH8KUeVVuwmjaEwVALexZAnaRwej22doH+++LFjBMxEQBOI+3ghgfFq5tUT8TuxzSIfzweZQW+WgI0Bx02TnbwhcsTstzLXb6r8jxUc6y+LplujsxaznZYUHhivje5mRU3owRM9lMH7U8hSIx6ggLz2pkBF0AyfjZJaUZH0i/VcjRZOecLMU/iFTSZGGDKoBVIUPqw2R0pq69cHa3OULnMo7kKF+eUWEZhgJeXfru2I8a+OwWnfVqysACxFUTsVp14ptGfCJh/PYnFtMF1cU/9Q8hq0wfDfuXGpz5y/0qabxYPBWVzsPvzvpX72beSfn99thzTBN1YV7CFZ4m9U/KSgRY7ZQZq1ulVH/wgGRtjODBYFYe3KA7bhtweGLrX+wTPYZRe+/a6F0YkPCLxF843bFj9PQnSspVpxoFeJy+hija9jVXv3IK3M+MUc+DizQBP0x19ykNeFPaVcq2JYIZJ91zV7cVLvS9wdW9pMk2BPIOuA9zhLFFmBV7rzHjHWY48ZSv30aWc631GCFZSqhyAaYRQomAGbVKLLr26XgWhkyYrR3IsZzgPu7W2zav1cBPONdGqhqWjXx3IpFAkXpH5ZNe8ju/JzV5mr2elUxLhTKI6Ruhvo51JTWGgy4Xv/ofkpObB2j7u62tVFKmlTl0DlYiZSaBYGkTe2s7RR4GG47IEdelOVMcF3JzGZj6Xu8yOuEEwUXqX6eLNNjbzuVkBS1qmY+eSLV5PMFa7t05uyjy3NoLDLbvdkHhrKL6WbbX5B+i2I78YlSlC9WOY6MMa5J1pnwkE+uv81+q/81xOyjgHJIkJjkfrWOrx8qO0Z0oGlmgs+RnscyLVeGNyR8pD0mWebMWlK1P8sEpyVlUaruCEL3SJfosXuZpLS7fGNj2d7lJQ7Pac4t5A8GLQRULt4oCbX7RtaKUwVTOhPfmigz8a3qp9LC9dk/pGtzysjB2h4k/sw33PWzts8m/GvjpA4Kn0wIme3eBg5ksLlx4+P0GdRdY1OtcSspOVcW1VtrdyX8PfGja05AOMla7KohKryTzIxbk9zYYezvUM2NuR21u3vf3w9fwvOs/ZMa973vp28pd0AMK6yi/Hmsoj357QT/YrFEzhr8AsfSumNm74BmmLVhxsST7/+awljFVy8Os3K1s3dhrd0KUGA7Nsa1pRvbZdrNWtS39ouuR4JBkqe2+ce0C5DyCvgCpCSYGvsDZAay/G8eE1QnApxYBbp8QoS4MHdbM3lJ/bb77ekPvZHF7m/8IT4WyMm2FG6KZASOHmxNeqdaAY/sgALSMlZyydhFU6c8eLWlgIeHzmElfDzLTLfQouizwEMfYy0DuMCS9IbCnRwdCrLCYdp+1gzPncqYlrG30PKTSoefZb0hYr+DUYeFBio67AdWwAf6VGaXiBlN51wXHFv68Iqew/PdS58XEexGUhgKG5dTkwmmNHzTDgP5+TdGuvbipJr5tll+3M7r32gMSriMsooRqBGTCtS+Xhyp7nDLwze1DzrrT3W9zvOqSXAu7uomeBYzO0eRo5qTNZeQ+z6UJg7ZNAckecNNAGNaqKrK/eml1FQOO8t6M6kGxJKsQuQQzzZ18GVLfB4R1tdqWbYZ4Ff/vDbhmo/KJiOvFsQQap+vkR+r/XyOUB+ygv2sVHr2TzWZ3BIj9acW8D8Kxr2+gLMv+1i4yocz4tnpFZG1AdRKu1R8DCO0OAgukdW8V8wSJOhQ6f1McOREoLPbkn2wsuZtE0420DlXXZ48Il7VNudnTC5DWI0J/VUO1KX27oGGX03/YF3x21kpd6BycAb2NBf1nhUr/PMUuJ36olvj6Y3RQvmGWaXcdEIarBVuFhQp26EqiIKT6Q21JcGGBtw5dLchxRSEmSQqOpoB0N5uEss+9e2HOTNyX0Tm0eHihWchE2OO8hm0fP3ULzUeiSF6h9xVbrwZr8joeIxrT90Yf+aX8uz1oRm0QhA2qFddtNwX+FQhQCct0D00A37LYa2S+EtRBPsDqgfA+RebWLjVRvE8AbqyGmfLTsM21hH2lGCqTiaM9XegSMgWtNKSzsZ2TF28GNlRZSApjZvJ8/SdGMUrHuoIyO4jj95elkIsObf+frUv9lUBV/kf3/COr6x+G15tnKi4s/jTI4519R+09QnMt6JDGK6IAq4VY9dnh8+BylGzCGuJQtQ1Yp8QgFL422w9JprURg/M38YyFrEJFV72d6ni58sG8e+Y3CvWchD90sp9B4H2wLBOI9ffkgOVnPuXlH5/5HrwqEsxYBpHOna+R4MEjtZIj3ydxXRUNQSQqzUS1e5j3EGpOgXWsb0ngSE524L6ugKF57ywo/tag4wEwJ28fPQEO2CVIw+7RqqrnY3t7P/FhWkMff1mc2gRMU0laK5f5EbI2WdErzLfjTpmbsRtSG8NLpX0L+r6nVKNv20W3Dl8RjzErNEnudQOmrU2Z7z++1fV1UXgjrKJrSD0dT/vflSLt7FOGt6Ar0r41+zwaz+OGsGcfyxvBZ20rsMI30TaNoYifOpjtJ4++4XkJsrKy0buFxcTfJjmpIaQT0c8lcSy2+lIFqc/ePML4MZTA4htc6vPAS+8HY53xws+LfAkjylB2UsxeKLuv7ZfofOJsZdCCsOVjNcEA06LZypRYxuHSdixBAAnJogrOj0bBCRrGHskXv3y1bo0f1+zxvQ6wpEdxXiIerG3jB8YERjYwpvI5wIuKU+Wm0E9pGlNcSQzzRlswSwWMgHZAODReL/xL6B8Az+EqjRoavpfxOONUgoItkuNjRY98LdKFHl+/FGf/c/+9bcyMJbEPjZgMX1c+VMuyx6eQPMbquL27q5/Lvik7bJBquUljOcJ/U7K4DBOAv4Otu3cUdNcyh4pOdGDv/9PPI1+Sj3BH5FA0/ZyClR95o/+PLmin7PJV+wBBSFrPqjEI9JbMgGlYlnHykzFA+tDzvk++DIFA/Su4iTahbCrkZGBh8OL4J+2iI5H0TttoDz5VZqMD/D3hs8yl3UQkWce8jh3Ig3h9nQK7xslyemiyPxlFX2mIYKMQn+zXRG0mic4kAI8pmomyqYUu8btPDc3ZTogCNxmckfE7n6rrcQLLdAjwFv1zrKDIPZ0YtsZc419kHhMbBwojWQpuDJByuL4uHyU6AZllVWuCa6xVgp+pWdbbr6lBftfSoTXt5M+8v36vUwQuD7aAr/4Kjq9rkCM5mOykRUHu3m8dRS1rZYWrlDtPv5xIwFZEdVbYpzjzxQ5qzX/6r+3DOT2Xn7yN0kRISe/gK9dRcnZUbweqOZz5JeTdq+0pcN9k5xua5Hm5Pc21DMHD6bWvYjCa1ll8NSWJSkE3pAFIWT1zYFHwY6XlokhTqeP+qjMCGjHfZiS7IowibMAjb8XH5kSJqjb1DTsFlNeYQKtF4poUJcI4D2MobwIwG6FuJpyuT84b6VCoK93PQofHBTNJntOBWPur/tYJ3zqI7Pls+ZFVqmlYsRV6/WDG9DWFA5m1PBVl1btoNXjvgCTgTdfaUNmKhKw5GhUjNxiY9214LeSKanmPuqggnkb71mPGkhGoHK5FfawgTDk2iks2Khy0fJ55nMN4AE8sUZLcxPeqEiD5ZhN6iCAo49Ozru/SXbVWj/WrFtj0Ix6JSSfpshLValBBU7cJzXzf9MMIthpMvI13c0viTyzHRYCRqz8Q+o9joMUYDhX1u4dxmDqkkp8fbBzY008LAlYcDhuqijv5ijOctXGLzvUpb+y0pl1Bv4GnCLZ3vtyeLbGOG35etLbfwaOiUiLDm6Q79nYFVVhYhtUCw3ui4qcY8/zxvHhrNoimVUgBqXPTy9R9iXk3ePpAE4BR8mGaImdExZseY+o2SeXW+1+Uv2UgwYPB87MI/j8Nmj3rTcWs91H0MDEzHC3x+UAjaufBgeXALUVIF4ogQhfZRtN+aT1vLpa1PjbOr4WwzaDTKmgSqBsE5tMqoCId8CQIHakrvm4lV9PyIrXyfEzRM0jRqvLbqF5bX2kyYc8ZCFvfyLRSn3Juv40xgwYbulcZdn/kRbAoivyNErT4xVw+pyduoLSZyQLyOyv2K+8+nUjMSc+Z6kwhS5AH93/RGgkgeysXWaC1Zza8G8H4D6c8v52NTvA0kdenkeqHTuAK9/L5g4nUJJ0+yxvFAdcdy7tzxamlMsKgsKbgnnB7pZKAm8GxhXY0e0LF0TCbfWGTNHr/QNSm0jKNANNca/j6mUNp1LxPt9vTEKbJfikfrsVF36/ZmhmoXtnCVvSifNR0Yk6J3ygy1CZVC06ruiHEeZS8l87dJbi4hlRI9H/cXWCSeCH5Kjjkh6gHcVO+113RHHJRBIavWxJr+RAXkflFeRxXDMyBLlDNUwCUy5xSzN/sXEaBOtF0B+5dbjjdF4beUeKXOJRE/4N64hD2oML2DId4Z2TSZPvTiYLVO2t3FRWzdBgAIzcNl6FBou0LwLB3oGtK6kGW6uxAmC8QaMjT3DEXcUcUCHJbx+VHjTrdRqetqoG5qlzBpuIES04rqpy1J4aFfu/mpCj8TZ/3ksPdA+b+58ePvlJWHEvllkhjQj4aPv+FMVYpUTPUSR8Ny/c529tOnFs8Iujb9DpVVPDa0/7JA1qiZwgbSAf2AM9cCaA5DyoJrhsle032ewWGbZ7pFPV6V9dHvf95kYSuyp6F0J+DefLKvilPchz0pPnSCiqSehCOMG6LSV4XnpoBETh7XnHSg4E9rJ18PLkw1FDq/PhT40rn8QwWbYCqyTt5V4ocQm5CY5mCvDMvnHfG8AVG6hWUney7ik4PchL0uYNU4yCm2vo7AjtUmUNrXxrsVXlk74cDn2Dwnni4KHKdKEK+3kqK7S80EQoCUjh36r+wtkfNPrZU/8vSCT1XS07yRzEJnqXvxxlBYh+05u6mIXLzSO3xIRRXU9umLQIR0bm7eyW4VOmXqYNQsgAuoZLRihtFvgxPmojezpI82WIy6vg85gM88CTnFbjizkVCnOoXJHFFYP9lQsh/l/utLnIVU+oR0ZUFwPShO14tKAVMY2+HytQ+UHOJN6IJd8qhwwNSARmhtzrH66WpVJ0j+crah2woSu8rPIUkopPn+AgqXMons3deoFahDKL+gFGasdSPU41a3OVWHy3whL0xEDgwNnKnCua0z2quhn8p5gvScX2xD9ZWmixX8RR3ltvjnaoaGu3ZtzA4gyfWmqrfO38zl8vSHLwaEVIOdF6o+cyXBuDR0JYJInnPUTJTS8xnCTWFHXy7ZOhvZUFgfZGo9Ivw3p63tZwDluhn1vbiLf1hiwrvm7p42E6Uztu6ULJyY/ReFenvMFoAKwtnqqxQZfITzZjnLUXZHhym15xSlSt9XG0flMliLRVKzcoHOP+zj5MBWFZEenjppaXkRv7LaUcdeXnd3SUk4vUgWuJH2ZIqN8Vot3OAI5TDuXbNRxv7BhSy9yurzO91E6kaCLu5pw5nsfPHTniCUjvBsHnyk+EOPUQxo7sv1QwmMaLxBnXgusNHce+3HettP95mNrbAVkmR4GBOi2eojmxjd/3beguKJD4CHWNBdq9b/NlXSFSlbmYbqH8IMgKzCtAI/YRyqJKRLyD0G/SM24RE3At69ebkE3WPYCSZ6DWi1DZDktKbqOhp3kVs6oagEwJb26JVz6JxEeXvNZTNWDbfjSHQ+541rtfXQTQVmRK3Do1A+NYwmOB1LqxIDHXzrjVSuGY4zt/R0wyiu0tXruwOtlzUld36dKWboieiJDFc2xKlsJZ9oOYC5N6mIRxZ9lU9nOowDJtUNSd29wV4RlPlRvyQQfD9cITNoEpFqSP0q1B1GOZWZ67inhufa/KvTeUnrfMlsjjgZDGrEjgux4XW/pOfPBMqG2gWjIHhpitxFzxOscWDGIZhnQaax64YNoHY1rJYDGHQ3iPMlWUeeiRJU4/p71D2BU0kKZ+IDSegosqYmdcuddTQ5C4dTggHDtXzHiZaxnsBjDvDVz5NsnK4lPAcy3M/7WGASufB8TBbMLfUt3NEF6dOsoq6aQCl5xgewv13IVfOdWlbzT8U/D4FKL4NX8YWxPotUb0jSDnTKRFUIco3T0yGBPH84t72GNFuX2LmYF5EV5IiKecCr8blAWaVYQBMLivoOvD+IxP2ee8f5tIZdQEn8oKePk6xLAbSZu5HxxB3E752XwwU4rRDToRZTfd3/C0qQRtcQpjPdV2dnk/W98IOvoJ+DZHNeGtQa5SKc5volirRJvUrmZ5VxMGisW/1p4xoGQQYQ+93YBX8gbKkunSvuX9FyCAcvjc+HacYS51e7BkLIiKyQ2CamBUbiQeKWk5utYPtt0sai3eplNSMsEhxyIUgxD4kWVGVLUXQN17GDemyTp8k0GcDfInvLlrSwyjThN45HRF4+5ds4A1dhZNaIFAo5UoivbziqL/lcUBvKbMTnOtPvBYkYaaLekxUJ7I6wW3+uk+gfOjBciylhzLPI+YE3fuC9W+zY4vPXswzPykICvtTkDtl2vPoXaveL8ReNXVTnhV3jbZy3cXGGtLFd8BT1nCMIJ4t6Yn2xt2sRY7qbmbdprHUnap+uMAN2U0jWi++Yvw7+XrarrFxIM+mH/mbSVPflxmPFeGquoW/frf20qwRdORpYaCk3Qr/dEsTSYKKMZDkO0Kt6rpfi94B4g9pjN3CyCGdN8m1uvK3Wo1GQeS1CaWPBPIEkTYyHFmZSduVU54e5IWMteqGBCwsbpLGObYwebDSYS06flb20ag8r51zkSxp48CCc0lRwzVZgaLRZ94CjvJbWM5NFBmvht4z6axdsxY5+emfRv6vnBPiOp3pcMqCdHnNE/vL4oEgqQXNuptS/WZNrP89BxrsYzCIYcmyuVyS2cVEq2F03o4GXSzDh5pfKA5KqcAYRn/hCKOeppu8NvpZoQ9/7O4tfYOfdZJgt6ImrBy/WLGPXIxQBti+AwXLW/EGAFoURGDgsyQxyLvRSpixB8pKWx7iVfW3f9FNrIG3h5EqJ0LHtQ6RavbLwfuXcGljHwy2tB/DmNg9faaig10gPJCmnRUqB72ngsqP+S4Kqt4HJnFs5lKCTjWKbBdQjqF4XsRHrU4OpXwganNxNDnHPQoAmppPRHcRNseaHyJweiOgWDdnhhlMkChD+3xJJn79YI7BEpZkwuQC6JMhySjlfSvpds1x6H5p0Lry0Pv3EOLdS2/suz72ODK0BZ/nVkdU+ZIA/bgo0udmQNrRPyzEI4gkmA16OeKhJIEY8bE6klZ5d5SXnHUgrp6qbeytREr1whNWLSr6yMOrP8+TI73la8IYydiOEigZUc4ryB0JB5ZPQ8fOSlqMukcZw3ZY0+/uQWxbqLeZ4fJ+DW68ejPwkqt6eiK5D+AjWAPwc6eMML5HR4MiTahVJfI1KN/KjMRGFXFQ9mybxv0m8qZ1w2nYgPcNqW3ansKBR+0CFqISaLXWPSLHKUjpkcxQsvBuK7oxZ9SbjFxzklLTVlTTBSvMIBSTcw0YXO/3mTgHheoKAhs7jlR2NFjGoCmYjyLAxpFVWa/9L6yev8OV7xqvWuFT4UYAPFvXsbWnLf+YLxX5JBEJq3yRkDJyUADWWG843Lb3IBSropzBht3JyIMfFq6qugrL9fDYkDzWHhR5QRLlzUQAG0x0PORHw3wPpY7JQWZww/HZVnkor+aE8hhjKoLKDbD/qtUGFx0KdrPdGnwt8UrlEFI6IVapD4WX1stNPg6LBqZ/pBMGw130x1a3lLRwL9K6lHQiZPgGYqgh59Qzpbom2hT5pdeRwW5Keq7Jb6O+/tZBkLSpDNgn+Aix5a+om7PcbfuQI7sYD9FVllM/IWKvwmA+5BBJOVocE9SsxGiG4fK1zCpH1VKPpFWAnpV8/8m5Io+jD67GwzRoPOv3/F3l6YC5UQy6uqrRiY+jEGvPyZ017rhQtNbW+bK3S4ZXgqqmt/jmf9K8REUMbOmnnCKOx2WKRKgbKZ6dMpYN512PJzVEckUEG2bpycNHyO8FLZKrBXncAsNggGSj2dBeQy2lWoIktrOte3pAVBuiUt148hBvldH/OPVLLdtHtt7Y1e0P3FFqNsDktsuKGxrbyM5s0l0Lp5UE345SMt6MF7kB0cjKHkZ5rtkblw563/IrFpRjrAMvE6+g6er/3kNktDVoBu0/8RFIUYsExuf1RBeMxhlzriTMz40xH1KbBkyMEgzvfRXG9rYsXoVKDyIcRElNpBU/md5PMN6reA1TbwbGlJ1dhyjYdJhmtieAkwvdUCNSnCUNG0BXaIw98KAkNNrybBqvSM8dlT2rsOGRyrFJjFcAnx5vXvzZcLc9pMkfsP3IdzMymmzy1D4jGeKF0qf8nsJ4NxIRt6LBE7gMX+e4hmxhyzFWWfoQhsFgQBNCB8BsJQKXzvQH0WaUhlYjz8zaMARTjI3JOSAPV+vMF9I6KOzOYcfaQ7u+zjIia9e3tpKpnd6UflxX2M3614rgK+guObqWy6rOTPlvpVai667kxPiE0hKpM/3RO0mgrFcXkqA6UV5bJ+mpnSrZ8mAJA/JExqYHOvpkQzwMG8MQEXdabLT4fT4WF7NOPeCRgVGOZhzW6Eg0C+rhmDetJuo7JnyhvME82GITO29IZxWRmNL2YxlihW9ocGVkPYl0ztRwhSFAGUQCEAwEPLQpM1tWwO9mSyEaXaoQBxgjBFu08WOtpKWcb3VmFNUosICXbgYO9TuFjahIv+PFKq6uF0MVXwUE4sS8n/vQfmhKQrVxDvP2bQSbuwacoTanWeaflhdVULwYg6zT1/fSSwV97wx4raZDCaUqgI3iJo0Dpv4LBpcyoXgKDf3wUKxFyWvQLd8wLeaCSkKBiYKE47VD9A3EImoZgdyKu/xjqhfDAliKpkc3kyp+EsDqTI37sKdKkqOFxg6etL/pnNzwtdL0HoKxUyKxCYcrJWGR45lmaDQiAX2jdueVJJ6Vg5fKVjeG0RggA3jMep/9ZFiwLazpjyWbjuURL9kwy8DA1EyjJiGkN8r747pXpaMR7cPo9qTgmz1d2bGLnqbctGKYU3FyxSbzJbN3amzCQOqyztLAle5WIRNHrUlVj586Zz1vif5ayZWM0dNsdhEtViyexcl9Mw8SR/3f6z36/TKgV/5fj9gGJ08YZ5hFatwBg497PUOgEYpabsNoWnzwBol0Wo+xIRZoW79hcyL9qfnXHHG3ELg5xhTkZrO6eZkBlvce5lzq6qM4AnGbnP/mkHHH6RUnGMnCemTGQhew245n0Z/WeZU0w9ld0iCMc/4pVYxfVyXJwHf6j/2GCVph1swTcHGsopbNcF+tKsOgI2vRgprCxEl8QLkigbhNBUogaDHLho1ECJJXA9LuOeNVOMFEKv48t3bKEvXYJXbFBUEH+NahOOkB6qDwQql+vWZlSJUZKTqpBmjvA2vRwJ21qvhi2z4IEquQsMWAcKG1Ke2v9DtU6Aj8bNEYTqRVKsshgCfdu7045kKpolz1hGkEZX9Z/Qeb/Tz/+6ZPqm4mqPmk9p8hqdpEavKmxL2vWC69BOL+GN26liWjlL2VkHLRmK2Q02yQmWXenmyIcfieRSf+21i/3L4aGCn0LuPlmJYMBzM7DeWVQnkSBmsHtyRxt/2TRmyIHkF3sQsRyRvR+MkMeRD9dLJuiSL3OLDNmP5GsXU3+Ku5ILbBiYES6qjKNOticN9r2n1iO6F1IZWfPepBbRX4yq8dlfC3Kh/YRWuBkqFhkevB+2uvE73lvELwlGDIuyb2cXN6fD6JcxYF8yNiCOrjr5cf9ubfv4rgXD+AQ/SFlFAZcSMskxBqO/mE8G0LFO5UiD7Imq2GS6EdINIsYtpNvuRbDToT8JVj60f75L4y779HzqK74LYibu6jv/dYt6mHmMmIdfmwbvkn+NZbXUHRjCd9/Ijp18T/1KJ3tcaXaSDxovoj92FU0ERqkvjAn7ZGeXzRSvgGO0xpc9jxs5VzEiDL/76fhFAl94xxo5BP7jkUgR832XJfmC+nhkn9Da0ZeNYylk8wPB/MeyoIOSfvy6wX6MhCKgHUMUx8R5ATbTWJQ44JDQggctjZ+FxM8LHnFg8ibkETrz9aboT4LnfIR6J0SuALQra2gI/n2yedEDBCryaCpfUPOIO6MOFLeIM87ZPHJaE/a+aa0V8PfWVuubioiOIfas+Fa9BClhmFJJgOdXM0dhLNbQXuR1NFGpHFd8Qjg/DAnQNn8Bou4LRwiLi0miscpGqUw9MyUihOVd0q0oT5in8YIIbwTkNwk+sPYZuntpm5e1FQ3Fe/glVCDU2yo2lYnE8g0kiOEh5MFPIDkvV0pxBjOsTJ7GsCsWTVlOobbDJgFONll10uwXQh9VQl9p/3es+J56k4kESsFlSmreSEg55gkG3AbZPDecHt41XlEbcOrQ83PwntV9Mn32nPLTIxRSkHdxVaADx3eiecFY6EuH1cckZZ+YaZMZjnZ8V1/plD/qrvu1WRPia5ad4VMIoE/oBPinBdu18UvUR/WabYLmWneTllAXTkAj1G3BxadFP1+rzquSskXTABB/mx2slcog7iUvMxxtdw6eoDWRkVy7g3z5Zcl/Uoe/RK6NW7tQIsylse1XVhN5dwOmgDSS5j3SkxWL++QUMzmpM4TvTpj3Q769U5YdAmVGr2Dg0zRSpDGOZ5mtnj/g/CSHGz4oCWP9GV3iqcL5fTesHaGF99PORWAsov9sC9PfNVdsEGJFgTIWAKpaQJAXQld8bMcJFkH6Z+gW1Ov5CMazGgf7nuOyu7TS0slmWWDS+e0JJi4jiiGMnQ+/iDOyHcExNnw3AjG58g1yUp5R0SDemNhcLGzRYU9VRqKDCMjfFL1ieh4GpGqov4NpoDZ8tnNSTiyvvWL46fthZRdr0R2MUJxGMPMD7iZiVSxHEEdaT6CyLCxNhnISARsW8J7mMrQZv6wi6PV8VczExci/PzXg+MfYDH+bqNE/ZnezmXeM9AMbpxLrnwh7/36n8L6cMF9FT2Mx19/kppjjLAS+bL7cfoncO4z5qIKiHWc/j4y48+d+G/42xmVTMqIcggcBa95wn+Y0aUBS7AN+Q3FDYgk6CrcJZa2fOQ1WrTKlwc412aj2NoIYpLNRZKICLFSaleoyYk0G5ftSmbiegADuos7gdxoBL0wOof6vYZtttOBQClfpjobto61QtSPuUjJev6YKu2do3XlKCYYXdnFlKD7VoVH0LU8k5p0wpPn5sZp7N6q79HH7yhxxCKNnyKJuyRz+b1GAXy7JyfY8DLwPyrYIZzuTO7XPcweJDb6w23icSn0cqA/jefpeBEDereuP44RnXlJvmCnyI5P1NkvIDUCVyyo7ESvLqfH9UTA5g+Q8lhNZQSG7o8rYjDDt1seUQmtOS2Jvd6oKXRmIvJ2gUTUzDi4ug3VDCBhs7xAocPCYofOMrDT0erv4eZhIEHVk8W7InOoGzXjTYqSwRQzP7AKhsHgMqlYNxQFZz4AnKCDAPnMhwaNiDdwpKc5amOcszcm8nKwaa5JfpED1q25dfAynOGLRQke3mihQg6865waeyY4KseRKexqHF6lwBVivxu/Cy969dDS8A8rDB3AlqPVZoaxyaYEEfpd639gfDnyg8jL29FEN2j20116EFiFNJ7+Umf2qm6/DU/EQljKNULNcr0Fpm6PqZl2jBbx03mrqIpuJqZpc8WJwEyKs4P/oGufJ449b1Nv9EiQM1B7f+u9Bm9SRodAulddzwa3X4ySMWBoD10nlUNds39XN346acDh9KsDqYyL0I6d7EEIT4AE4cFwTP1zud0f81yBWmFavo/SW7imEBp15fOehbfIz7v/dnJhykZnlvy16iEOCtgXfXQj17tkuFqzAP6TU+L56nLux+e2ESonwNlZoPcpPheAoPmNpB3OU9Xd875gvWRX3CT5Mqogu7gxBbJuNCSoLd7i/FaO+5x8Lb7DUCTV1600ZLGGMfcDWUKa632t+tITvIuNzVIZDT2noBp+JmE1QFFeLukwIQ7Xs6CUCOA7o3paLRX96GNUypwNPrcsttVLBpoJrsOFU87R/v7fIs/WOuDVrNDIX6C4/HCAuv0AfVXbtmVuHI48vh/uG70sZn+Fq1B7/Dc0e0Rw0TikmbQPufHlze89qg5CM/Dcx0+WMLWqOwfiJCASnlgzUC0pojFMBUoFNFmqDak1P7+BsLMmGDNo9qy7Om1HBYOASPGsNKF7c16roOpqRH305+/FZNSoSWJcG18p12S2Jd7Maa9FqfPtvlL8xq36buvIKfoM40ERfcyCSOOVo2kloKIMcA5ISB5MwFuzwMqXb6JNipdSmfvdpJGYwgpEcMPzoTfCeghZibAz5000NTdps2qVyeMdbut0jPV3TvjecegCrm/9B1z2Fv9wBfUaw+LdcQVbqeikcV9+I7gyxN0PE2RHZ0t0t9pRC8GP0wsQbqXhSE5XVQhu7anSmd2qU7re4uD7S1H2KT5MKUQdf5zyTxQ29PVA6nG5Epg2UyWHuzbXym9QsRPw0cnuwn3GUbXEkVhvsgCDQfxA+cwvLBdg1aLAsYm2PKm81ruP6lXIqXXVBh+rSWHi3/00QdklNdcdxkM4oJPH/0wUulNEl6+oZ4OdmXcoQuMuagM10lUZk7QxGOurLsxhqBME+l22GpQJE3Ow2gwOcePd/73VFk1BUGLfzG4ImwTcDaQhF2HYjK7VG6wL+utAzfqRPX6uvTDt6s7ECI8yNcRxxUCKBz+uhaU/Rk7AOEfYCXDn9h1lrybj6aQO2FKaxPjTZCu8oBJDLHAvBfudDMZH7ys8433TqWam+hckqJ5jTmX2m/AadtGBAglIJtflCXPv7nYNqX+NczGCyv2wnpzhPWU4TJRNK48i32jkWiDITRQVA2EGhrRSKgrykVBPOKcH/BaZ/HkfxYIORPeNBxSSAEj0mBtaA/2KxV6IVA0NFvdyZQDHE/OUMOb4zhOj8RogJnTWi9YbMQjxfou5jvtsEcwjddtEWrDzKTVCLVNTwjuDPvFyHEXElh/28+vrtW84kJFfJzbwWEgDpBLeDpcW1fHhljkGbzHtylz/5ZBHUTNB7z19/Ky8/sd0q4+OpIgZ8PmD66JNcAL/T5Xr+kX2ngUr60gQMdnuWygLpdRqO/RicKLqaM4ztYAF91BbhOGAKD+REd+ULaIu64hNcyzXRKpZc2cBLRVygKE48B11mz7XMrlFuZl1TiGjl3U0HbC0jK0V/rDI/2Cyod+IhF442f66p3g7CZgVNjkfIqeNk6arFD9eL8J+H4cpUZaAsbqf3WN4rbvgTvBelvIvSSEgIpW4Udb9eV22j6e48VB1wXfux5wI1ombGXPBsT4Hu9wgcv4CKXQpWyEsoGNhgiFActgGQPDEvfNuGVYsyUfYuWWVJnk03QPmkqkyZ+Klc+IeKg54ZKgD0kE2sCnJAIP4NjHG48Ek0q2F7HAoDvC1o+dH7a/U9fU3wuFuiqEGdyIw5Va5mxjz/8KTISruiz364LF/9XTGsgEuI1qTmKTwM2D5YBAyQ699XcC+8UIjoBSqCSuEywSw87+lP6E69VwPn8TwJuSwjnwZYa8PqfZfMOjvUkkpy4btQmlOtGow13RNJYtW/sLrOj5gZrz6rLAeSwWOVelaICCHdgZVVVQjW8ptO8+DxGRS6cTBGKJUw4UwRA+xVcHa39ss5/6DeO/UYP6VvWaRLP818W9DKorP2JKSmpkS8jsrD5i5H7cox9LvJoISwKHsDUAqxa3onaprxs6TR2z9zjchqaCti5dd1dIPoKbSNDO+kCCKxcjZnACGY05UxY57sFyarPQkoBLgMH3sREfkt4kxCHar6LQENFNlW2Qh2jfvOJYuyDj26kyayhBNuU3MguyDeA8LMN6XJQfhE+YTKdp1XA7WQIZs0I6DMAWnTOUw7jmh6zaenRMJlFN83IexgT3U2oweSS2nG+FAyM1FgWiSrCv+c2cMYcveEqIRa7u27SD+964Zk+8JUaOPOmT8kLLXdtnZW9KS6iZ/op6tvrZiMUByEMqBTbwhKNTE1mXcHnfkSNYJeD8Gk2wagzgka7f6YPvSZ2LYHgUIsbewzmrzfWI3y6Tw6gNmyUqkVw4eWNxLsVVA5Y1eTJ9XRYjORmVebNlffbHrXycwBldKEtQbtZu7+4iOV2n5ylMC1iLJYe+N6KntwgP5yDrtABgOeR3fpEDOnLenboYAfM8aMHrJKyZxvX0fAMowm0Tf7wkFf7jfVnxaPFfEgk0xqnNIXlDIwQ8bQPfIgfFSyD1iOS4KIMPN6P8CxlsXoR1x1nPNjqyhHgdqNSosrRz4vlAYov2jGQFlctdJOsILVKhbpR5STwQ34o5UG3pyq6Fo9sMgLt42HBvtfEJcxasaZiNvN2zksqKd72hgAQSyUKdQSgAPTis8tieQlc3hfxaI08cIaCNEpSq723SCWN0C/GRitUFZeKGtgZHmInjoshdUbE8uhndejuV2czzhVEz20Zbz2uTPskmh+ZjTbV6yPG7FtQJ4tUOuBP8Ys8hPUTNZjHsb/PD0cFfSWBtRz2/eOZuEQFhp3vDZNkuxvPzJeoZL9zNf6AAsoCujVi0oBYAd4mVvnjZyghswcKI1qOutjoO6Nk/5bIS8C7liztOCZ68P/vsPuEbVtyg+hfCseLuT8gaw7IO1cDJR3maHxbSaTZThgTwDdc+VBOnW9sqQMkp4qKHTNFC6EezwJME0e/9B/f2HG1gm3XPfDY3Xzm1uam6HXWem65U4jS7Rx74Dq7eO3AyJZU0neYoihjmZUK9WYQ4Kg5hE9iXJYbDw99fC77Bkjf/+KsQlcdH4Je2J5QbOpQJchy7E8/sV72+FxF150OW1Ns4UkmZWl3CsA+eGYaopuUUgZ848/Iuj+9KYEwx4CMc7WbM3Vsou4xYfm4WYYzo1uZcnmt07ElMtmz3EENPz7CTpjflFaQiMmAQ6F2jY9LuFPXCiL+7j3oSC2+cZ/4Wkl0fCfX1P5Sb+j5q0lDuOW1I4E8yFtJKmiw68gB8veXG7A/HNfxs9aNJdwbLE0rRzHqTMla2IPr9atVv/AsTdwa0bhfUHcpJXtoAfQf+2RjUiCZYEpQKNLz44/vlBDDxrVCE2NFM+LRaZ/rF3Vk92YKZg/hCgRr5M2Z6yb9i+Y/F0r3OAyPgnCy/q1eLIBtOIqgN14iv5dRCAhL/QMfQ7YFRadPzE6J942xcfwPy9TxGayMrhdVh108dsu0HSdUEdblmJp23KHAbfhbsYwt4aa3rONPeNj1DLOa9ORyphmNx9q5CzzRriRZdtPyfyyfRQDamILlDCURh0xyDSBab1zo94z8E/ajVpbDhsridoJdr1ZlaHhz+pJqmghU0xbVCujiG93mUqa9fFaSiw44KhloesBdvB9vi3dWtWtnW0zmPn0E1a11gb1jp5GKK/NtFns7llTFDEE58vN22WGhV51tUIyz4JGbjx00strweEStGgge4B4jRMXmYBM5hNG/vpqt2YRQo7mgFoJYMt/HB09UNbzFK05QcYRomo/p3Rl34hnGsmWfzyKptYfdpYuC9E/BdjyxQneWrbs9qS5jpr1lBHZhjNRq28haanvKcPAatIbstYiTFLxhI2fQkIlSv1XSYfioK48atgjWRH466XEugRWNfrCXnnkgrWNlqH2Y0gXnD0VDFFM57Tl4PnqoacRit9FoY/HDq2u7KFDxzbJnLq7G6JKn+Kg65tULggsk5ln5GXgFNA8N6//EQFKOGRZtBcxDk45TF2Gh+ONdB0lbTf5QBjSX3vhkoIKJUaRY0Hh0TcKgkJp6dkyM6/bSiMUo3/008tyewYnNmHqivcSo9Q+5fxQ6EPdLGaodggkrO/+eMW34L0l0KJS237H2Y2vyNWp/9iGi2SsIFtn7m5IxKyVNIOXS53jDRkq1r+FqFhiFrVAJ1l8f58CJD7YK5msO9sN4u+1MLAWQk/niGFZQQ/lWJmKJ2ouRA+N3Jno2jLHVomjnniXfQfRGutPDFyBNm+8iSa/4Wj5rgY5cv1ukv7m9jDkuV56ggfNKNBhhV4v/nITC9GYu26CCKHznF550wcUFFg+/MxxU0Zt83w/t2VBDvVPZt2x3aBHJTPMzB6AQ4VCpZ8yW181NIgmXby2f1EtE61ZUBUxxGtuL5SxPtvrPwXCfA44wKW/gUbxuG9Jur99ClgarjtlcsTksbCJxcPxEzYuDuwLaeIGAEsK72fIs30RH/pgqaYF0L3dSqeJIshded+p+A2tBq7JG6TkbVYlXxSRw3D0c/MNlbfqU7wukJh/WSfX9AwlYfGT4OaM3QTRHSxHKIHSFZE9UirXYd5TaXkXAlqdc9kfRad/JVizH+5cN8ABRgK1AcwOZebNyIXkeBb/sUUNBolIwE77X0eyfDNl1fxW8rDFwEAIxAm74GA4ZE/uTZ6xuT1HUwvxuBXLbUY1Ht1lTiFcxp/vA2e9ZKGWuCnEs5l1pt2UyqhLaoyuorYx4Rq3QOUzZoYKkik6Vfn1zuW3o6Ue1yC9sfowUULHtRrUI3oJ6/8da80n7cBR3UgnMZilZAlSJ9cqQPwN4vND8SsKvTPqeJPLGtbF21rESFRpcDVfLBD03k2hsaivYpxXI+vyrPl9UGYJUWUUQlbf8bKKBNPmmXr3Ok1LTshmcAyzVl8685raNSajpwUKKG5Xhep+wZ1qgMLcL318y3xMapzJU8mylpDlmweS1Oh01rZXkmnNROEhJx2nEaavpjaUEGMblolICy0DzqsEd2L4iTpZSutWIN0m525qhXkZJCcae6GY8Qn5apXE2j814ATezG89lKlNJnJ8v4OBwMz9Wt2SQLKISpFMNpUl400JIEyTvvbP7xwN4SC5cxyhaE0cbLg2aBb/jkLpk5S04FMce6Bc3/e/6KiKe9Y7GWq3GyniyVyDQZObg7U63szw/5tzHjpgof6ELeaKgyiobBsNZq74wBtYGNd9fcn9k0aJihr3UGLSAa82NiNM7T2yDzy9pNBbTL6Wlp8EcAJd9l2ESZMNRlFJArF8mXS8tEWh4LtTSih8WLB0XZkrPKm2USsE6cdkW7UqaOfu/QBM1Qy25UlR+RGy0pZSeej2P9MuYD/Awy8Z+WzY7zZHrB0KPUUsVjpl6kh0LgLVWZHCAE5xEcBqPC6xoWZq+xZNcHcNeLzkZYFJiX24mmTlIoj0LutlY9QszTdyRJLMslA6cyGKKMxt0uQV1+1CJcs6BKOI/kMxLVqg6mTeO5rlYO5VMwCNXdIyhJ85k/bKFSh/cJC3UxjngbKbZqEl71SaGdw8H73ZEznUVXrRzfaWBN6vQVztxvGzJ5S5fDLJPW4z4Zb9P7JXO+SYTULqlx6iYo39R/2q18Unni6974sCke/sbdw7u70Bu901fzI0OGOJiKKW5iVVeRxSjZPbwJ+piokoU6sXyixUDoKU60qQVup44bC6YttJi28ndnDYsXHJjnNxECI5/SUXM1RySM/S+T5938y6SuXEYys4fsAc9w4nTpeR703SIYdBs7RVduNHC4OYKBiPCEsR0efdh5I2NJ0oY3jPPRQ/9OAyx1DCcuHuL4ilERUZER7ufFx551K/F7mOWh8+iEfon/8Yh/MapLpr3zHkDR7UomXGDxoW3I+V0sNHgEia/Rq7ONMYPz4mLuEKKMzfmnD5JkJANcWb2ql+gAZ9i9F50UjO0NefJPVUXAqMohUqxSCEM4mP/x1sELPbPK2pAURNhwwll3R7FCmLJocAcmeO9/dofGrTQKQPFzfXj4g8iYehS4bHf5YhGJI3oVzqb6SvGcZdsP20Jt0CKqP+W7ab0LqIoA0/FgG2jcuadIxr9y3hfpjOvvOJ709WM23vd0Z9YQFY+UJxpOzn4OM4T+997WWYv20KjPvzPR5VKb2b2bENFMpHo6jKrUKTkhb3/SeEJVLlEosekXyASUICA4RJMF8hGPvTOphPc0Si7v9gAI9IqYnBphXNIV0O2YGnkLEhOM3GnhvJF2GpxUfN/xYkVF3GUkZV3CTtxTXfZmWW3e3QZ+scJ3lpg9pkSpZbaRmmJ60IYoUlNulAI/dR5CiZZ7Vgf9mQfjjEatzmkOkl8jx35MRUS5Yl5NVUi9dFAn/Qc0l/YrA5YzbHsnT7Z0sswPb5YId0cxXV8fhjJerOiaNRSxGmnMZJzjrwvVhkBP2ypSKP9hGjiR0Bd+md0L2TdHQmM/d81nyJuX9YoJyVzMmv79/3diYrGrVeGtbc7+F21Mfw9mScK35dbXZhrR83jkOgKOjbriFnStNRnXZHSup+wrJUO3WQ4sGpbDs2jPlggq4o6nX95UxgCd9wc3l0GpV8czkwVeSCyj9u+z7fs4CS/lkn1jKiqPi8iFr9PbaAGzNOUADyNcuO+0cI5OEGbQRgddYr7+XBQmIYsR4phw/w2QQTbfYAK+PBbcfkzMzfAcnWrhVnpxKG1m72IqPe3IOJx5eakdX+GfN0QlhIiljwADkXNhLu0h1MCWcSkRA/TY/8gFMdRRsDshx+GbF/eaMGDWLp6EBnAv4woIkbFWOTFjMiqeOTf/q+hBhrE42Y7Zqx/IAxBOxo5FEuf9ntatyBdDu1ZF/crKalfzJAk5FvDvzVuhupzbcbvkCF36+gqUK/0S+Go84u7birH9W276w3QZwh9gLx5KYCrss1v/YrZhlj4cFrXBCRMkQrEHoRVegmPDcM4YGrJPvEFDyFNcTHnHHqzAn+SOesIW8m3cHaHtfgC83Mhb4WMBBxwJgEdu0DKP9gt3xNE/gIm/lE95z2cMA0O4QQUBri47H11IMXg+IvJxAbkEgvdzXPxuC2xYyafQXEaV3d9BYkwK+1SPAO9SG5KROus6tlhSQx52iuzji9B+MsTc806URQDZQFFnJtLb7F4MhnF4D7PXEApyepofIBdFC9qFMM5wQgAPhpDlIsIK1DWfu6cMCDRoQxGY357Q1sDG4u+3bT9R0m2p2HFiY5s4IwSAsCVE/EoyEXnXQ2Nie+MFbk13DBeUvT4CR+QzcpZXzpWWE363kY8ZnTuumuxu8Y4N/djBuyWhStD96BxqmzsWsbhvBH08tarU5CqFkHcKGdmGDXhGywtB9OXJycXO8YWTS0fQN+2Y04HPMFb6Z1dJ8C7MtXRyrVYoOqila2BY6BYnCDWZSs8X0dJbA2IV9JWLdDGhZqH3PkCLiSzN7oYbO1lKejpo/SFqh1rXdDSBCclcSCZ3xrYzgjGtgWFBcXJ339xhEhpQPOZ2/RiGISgHij0AjvEB1Vu5ClnjoyRzSNf4WBY5rXyfRocVI9ek0Gu4KRUbK4qvgB7RDxLz12Vii2rgz/td4zaMuplDuusbR3RXjNj1RYUMa+lyF5iNL2dSTNIPTt6LpppZYMvEhM3oMJpeU2qChua+5qZVQIaBRfByzo1/cRZSUQ9uRYBC7IYrYXskjF656vP9WQat80RQ9h2DNHb4sCmzVv/2j8WX//KWOiwdOG1Xpaw8rV+BdhdAKYRKXRMpTHwJGAXaSvSvT6/rEFsl8cl2Tkq+7BTVR7AHSHYGJZMcpntbDFazEm1mFP0qEJdpJhsYNcU0Pl2GfnfdVFgTgn71weil9EI2x1NHWFRZPKV7CPyr+Ur16F1w/k0/AN/xJDhwH42fLJ1o8jeZ+XEaT6M00Y6+wXE51DThj8FxFKGZ+FtAdUbHhiCeLAfOjwa3z3twSGjiVYNIEMBgpEn2fx0fI/xuiVDG33n15kPtO12hN7xdvont/bj2YQLvH3QlRrL1EEXTlQPiCs1eHYVI51kbIXS5/v1ZhQTfOPdeqmwA/pyHnZkHNdDqDIpTW8J0b+zZEd776Re5p53cZxhfNKLXNG87riwdTqim8xV7nVyLbjZc8kMa/5Ko2qB6JHw/hhw+WTKXm4WMSAdzWBhkWo+T1EcbKUWF7MTRwaDwij3whA5gcl/hOVPBCyRwwIlI/FBU/ErGER3GznUbSJ6dNEtViyF9bS7HrU3pWVOozg5HQWkd/ka2BaZxVIvNZEd1yee5zvYezkd0kkeoNwyvpPveVX2sDHFtR+mrfPMEJckGZaMTDSP0V3BUcbZt8hYbIT+7aLD0zefGwzkmBowzbcqgyL5PWoccuCuPxZ6sPrm2qfIvr6I7pRcbYjtQReZ4wOW3XxeD/+xcbQp3+s0nrZ9YSJE7OWxoQFMfuoFWIzb/k/MCuxV7uhm0rg9kXiCjcx1PMkrKKKSSC323pNTd+lP0Q1TKsubYMrhmA2XsOoTRNt28Nb3Hu8rotWT19NCeLa8/q8hNqUsZeLkZdKzKzbliet8rWHckj38YvFwR+kVo7Ykkq3+9mcmsGdsvMfiVGclE0GiNaro7jUzJVjiV2NcRcmewHc4cC9BdDi/hjqYcFNKSKlo8T/YEJQXBRJ7aUF5nEwLUsC8gJEBzZJhIzUHAOMeWGwe3aP/DO7HaKhfWj9sktkOmP/Pw2fdF4KxHssUkDWC8phJPTNga0pV013ltQleGqoiPjFRA0/NPfs+MNGSkLGIchPB8Lzo+pPmWm505ag473yUa4S/RIc6aI6RHu1AmdrtTvBN4bL/OGj894DOZmX2bne/loiyoLRW1+DOEk3LyK+nE2MjXHg7mCvJfRBI2y2/raXNrew6heGVGXJKtMrEcuXVTeQt+ZZNHzihgY8G+YRM5BykqzEwJVFGc9wDjyMtPoQjdU+czua1YU0ZbtJHmBUDq0yZeQzQUxf74DjIrnisTcHFYGmEvRUr3rc0AT72CIYP4iJlyr7t0ij4D9kVG3NLFbsZt7I6ydu1IzPsVsodQnjcpxznh3r1n4yfeD7ZeL5f+b97GW7wmPzHm4JQJjiCjw2mrmpBQy5+KPW/iQCOAXZGGNXg/Ol69t7XAriHGjmbAC7yrAlA9QnfG7VRMNzcbYfNM8pS+fP6jTR66fzKG4b3Di9bv2ne3yPuANj6rsqivm2fsSlJaa0gJMDa0tzODggjuZHk9VP7SCqMCyzm1B3tCAWcdMeD0kTJKdwBUOVWBlU5m3RBqv6cXFeVU48SUSln59Fj8X+6feP7YEc2EGDr/KwBri+q2UTTrDznubWi9jjv/FZIRJ6k9i2cCtf5GvHvkBdK66Xy+B+LzKg9VejOpl8A640dqjTtqwJ9UUAkDg7G2X18EGAqjwLLKhLrcTRm7SedRyKdliPz56Cs/iyKyVBrhlvO/isjPs7qN6pdXYC6sW7kdEVFaLtzRNZO4OwtuNIO1J6UBom0A5xo8ecR3l8q8MhGxu6I/4bRgC1NbEuxi9dBnL4+1tLgkZQy/khQCXfc8aqtxuubpG+D0ACupMLH73pGZ2/RiMxu5c0tFHwDVCaUFDoCoLzZevkX3HJUIgjm0sJ40AdOmVc0HY7gvIsqPgAfAkjVYJVBKwDTr0boa5yuYZ4tngMOCgYLoOtXME2YpN2842szNuyWVx0+mzKkLVbo2w0yGplYFLDU4MIbUPPMZ0/Xl1bfo37MDcYF0TaBv0kuZCnlu3sEOc13a1QmybsZ2Ehw8dJKXRyO58CwTv7fA6uYkPo6t4RjR16vOnB9IUqOav8+eDPNtL8uf30ph3QNMux20cZOZneJvUTulKeacka+387X7zn2i961sVxW4ugZbhMlU7wZl5mx1ohH9+yGaxPMIPNKzD2vOCL238QJrU7JI3CNnoHq8HroF/nMNOJ368YiIwPBS11+HJItnXASyZkLYLPgQbCjLb6jsWBIyfhkh9+z0wNuaAycPHcAdeM6OgdHQmWEXHdWE+NZtQcQwBvlGvozoYlYMFNsOVeDCWFHyxTO0/Co+7EBGgHENGmJnPLdeeyfbKPL/zusb+y4xP7YOU9MkYz4a6ZC0yCdecCCbEw3ytPZ65z/OzcR5wEerH8d6EslZHpJGnKXBP09BLVFgre5CRFWtTUzprXwxpXgI5Os0IzqwY/FiGk7zWtcSIPe3bffHNhnIw42eJvKpzoxu3MxyCGyTjmNplZQppJYklqpvkAfIUAFt/axPi6u3twzNleKAhLWxZv94CNCXqNVv2aoUI908P8EzeRkNzi0UHxhdnjUY9iwL5/uwfOyFLq/rOpzIYtJbND/LIr+qTRC9bi/81P/vDBj7QDozsHVOKRkLkhzhr/4y4yF5eKDtgFL+ySSo4Pq8c33pT7tTHFSQxgP6a62s7sio3oDYRBxH8xovLgIFdHU75NwhnHn0blED7Gv7DYK0SHb7nt/of5wbYBh/Zut2DyXznXD+UZBHLVXSAjrvFkHygAeXnd6FiJ5VaoL/SG/EaR/OIUUMlucNnh2Dv450so7zLWQ3N0jbKyKoVwNZWarxmYcJgZIpQ03e3vZeQaQ9iZvb9YvuswyvsLsPUdeGzo96kO8Kx2wFdDx5agKeURlhTOtVVFvkit7zS0SH0CDrrAiSlLQdC7oOxytAmDpSZPoy7cj4Nsw2qyHz4IFqQNbA576j2kJW7P8R/QrXDkxfGgJiDTvvDvDfLxsJrqUsiNnRNk1YZOQFt3c9M+AwwrrhUVcD8I2AfxqRLzZvyS76KTK3MUkPqtlSlqbhW3cosVnvaSvEZP07KMk4etRTcUQ4ea1mdYN8MsT6OaPW9zACh00/ZZFr9ihOjO+kYxPi6UNqQnuypDfLuacUQriUl83TIJGDJpMfF3GWyvlV/e0IixMJqIHcaD7I1SpVa0TQe1cwHVk9MorCSFD2WGDAJfNZly3nrqQK4CSgL3eAV2r6G1E+QY/ycVKwoTffMdTK/9FRZj5eNk5s/Uie0x0f40iZIm3yiblCU8FaDtONXk942Me/S8ZxwuOt/Tg4pdKVrm66DDarP6UtIV6yaXa1y8FaNyX3gHVxndRMQy31iGNIQ8IKC39Z2cuhyljqBakYqvmsm/WZWG0XK13/EmG4uO+rC4SFq7PhGD2ysPDbjHpvUun6+F1SxWzHxgvJV8qiLn+ad1EywwvHGMfLoLm/Q3WPHUdWq+1z5khjtsoXoYLqzqWeJZbjz0AG6yhjTEgOyer1RRIMV+F6u9aIwDmUW9515yeoLt1Aten2OVicpDvUi/FyeUgIrJ2PXpB+z4FOx2n1JTVzioh3CM7zroPQdb/sMsCuborFLzHO2uAa9BMviHGTkFmswCOwxCZWj+ahVxMqoQkmink9arZRnTt/ZcIAjziskvNpPXWaWaZe01HNopbRB83YZ+9f0ibmqCFQt//CPWhqeSvwZG0y4RiBQveGns7vXta7AsMpR6IvDRF4YcCiVACdsILt3b57oWVJCeANhUr2L9aiMvxaeue7nLXqLNu20Fncx0m/cIVXTD476qirvzLRcQj5zucEFNnj5zXgVdWpd5On/H9zVicTyMUHnI/aQboAUTHmraWewYaO6vu7no3uy2jeCM70Dba27BbdgliFsKaX/NYJIZ8KKgnOuLiMcM/qfkpjWy6WPDGr1HovJul6FBaWkPo5tjP0xRYB5MvXDYmFupc4lIbnPFzojU0E0vlqZG+7LVQbxlqn9RWQoEil/JDo45A139x+EAZSIFA7IoSs/NPr4knGgEpIurP59id7sRxD8EsDNhKMpK9sjILXgFeFzk/nSFur//kf6eb7/LyDr3GFN1HZtM3QYB8WE/WcFnhxdyw9OOUc87eBmrgnXkzpDxECqYR/LgECO3OFMgvXNaNn4A5XLczeq9XM4ggH3tHsYUQFBV1ukL+zBFGa6DMiP52LJ5+QKElpQCGACWvjYGIsNeVLQOxn9/SY7R7dw0xu0ttSk44Y9EoIMCgzEl8IzfPAeBk1AKt4WidnXFnWA02CvfYIQBksjyT4An/+Axko/zJaeKUpy4iMqC0AdTh9+Ku5ji8TZYQpHiWRDDITCNQwo7zRbT9+mv23RyS2zZehEu0sS76+pjcyygXhpDvl6diTdcsRNC0oKoocptrqFAGu9P0tU0Op0eZjYhbnax87W8iQ7nQdP1a7lVALmIM+VTdxVRe3JeXauqFB6SjNoIIzubImGGP64lEhHxS4YJeuNVT/3AR+gRZkwX2Xv4HwDkyEDnTEDH0V/EziN/8R9Qd4I+ksNdZBo+DzoGN+LQoh44c1l69HOgo3/Lt5q4VY6V9iMKBoQIuKZBGOlIuDloliuuEPmMEl5+wUqB6J6JDDVZpPlWFvmTWI7JBaq11++6VjrefYgyXdhvd6FlwbnF2tHz9ptmeH6ZXZdzI9c+Bt3FUJMjtIIo8FN5qYbF96DwoHV6LP9LmJdPRmnWc+WV7knElCowwOjKISyv4N8fLsFl85EH0zuN2FN/RwOFRw0EmsJ67viRQjivgDcuKCg86lIEKA+4w1ysAuUjLnPhoLZW/MWSrGr+Z8kUSWNVxzHL+a/dyYFXn/Dv+MwB2WThHk6lRIXlFVnKF2IsCJ6zAeld4a2bLzZ8BtKjXQ0IlplY1u/Gtxzwiy7Fjy276rz6dG9X1a7WbkPAA3EFo/jA7oREvKpyq0o7pg4CSNnBUd2CmYF1Nec/V/Rl9P1yc34fnl9g9ObeM2JzVftuyF17ljnJAQXOtlO092ffm9U7f1ue1ZQcSsIAjp5iC8JA08lHskbnuK+01dKtVhKEWXjckpBqMF1T4YapRMIPKtQqklmt6UhrP9FyPTnnbsCljfHx7uNdDqBZ9mdzb4LqdYK0Ew9ltXHsMPFceGYtwtBQrtDhwX12Wtx5Xhd2jNcNUHbjc+I4sY6+pOsYcT9MqdcWBZyhzcB/LEDsbdogwQyFLFuGezTK7QOJdvV6OLJ3LgYzRw/MxUhGWCaFgngijcxzCHGezB25ombweLLkG44w0ifR0PULDIB+j03Kj+7ZeHiH3RYtGcyE9eABz9gHbuVEvfZWCpB9Pq+J2gGqBvoQqdq1t33pegjGaRF2RYnerP1P0swtIlynPO0ZH5wi7oBQ/O0HQ4lQiqeMSRGEue6BSCJ9ZLWhs1eLBpx2Hvn0/ShQy7GdP0iuRR+QoH+quyEdJqtPvHS147jdKw1TmegNQjVkt2FVfRDRG+bC8E29E76fZV1i5hiLoJDWU27zEpfM5vIQP67gGjr0SXeUmH8wFc+gYHxxgNVOiWicDp9NeJsF/8cqjDGR++95MxYXmfxihXesV6GJgoBGB3qXXQR7F6suRZ86d5kzuW/tuikq1DpgNCmSBJwm5zRQRSJOLewIYdw6iZA+tfOI4n5xt4ZH+Qi7RkCLNgScRTAqf1jqvDcNImubf6k0hBO90WhTuxS3KlW2c3Il6CrT/gPFX9/kMPUKq0gP9f71W+zhzNwg0fpFulodQ4MFGpjwfDkbBVRGqAISwBHPlBPoUm3kF2obVbGR7s7akxS4/YUlFYUH+YlqOt7sGH9HBVlYOUa2fVIG75GULqYUzd+hQr9C3PuY+FhR84y330VzFCFZYiZyS4bqjngauM2vLlQhz7DHCK3v2LQXRvTv06BTiINAVdfp7PNpv0uhkQFtuwAcYZnb3e8kBU4CN3PjjLBqtApTZ3zvPyfVzVvW9aFqBWTfsSf2JE/UaGgAMVXEAQOvpQNVj/M4TGXR2OqhTv/9i9R5CPDth3IJV7aD2EK5dzHzf93NC13FdUT6Gm7E46pYIJcahBN3kYI1d1dJQ3iubzLCK4AV9C4ITwr0LrzlG12ecQjnx9uzhFcRTFLYBlPzo+wFeKlwnolwBp/lpHVMt00+dMTGHjuFYUb+W+97CVruF+fz8SYZXXGI3tf8RqXkUZSBvtdXwnA5gvwf04+jWeRaST/evhxhrdmOZYIaPAZG3VCaleMIcewUnnemEVeShvRB8Ny1TVfzWiy858iiMWS/WSMeNHgoj4Py6tqhDEFVIvhiDiw+R+1uJ4LSdxDmgjSMzaYBzRdRdAZTDuzOLPJugXF12mwDQQ9l3yESQ0cX3JENgtElRCnniZ6jmI02gV+CTyINLMlPoQ7jV58WnuN61BgOEM/UeV0DMuZTncFNFEo9olTLhGwIKCNxJRDSKrlS9JC2n/oKQIheqvOQvpozWdYDDUPsV+aoyMh6uMAHxQ6ykd99NPQI79/wBq8029JOuuvhKXg1an/zZ09QuffmeWz93enU760EF9Q56lq05X6lt95gFIeu4R0U+CAb0S5YI41LnH4zswzp8GBZcFAFLXINrzdNVVchSUjhzc5sE5Htz3wguhdVp6l901VMyKEuZV39TI6nrtymaK1TCVQVcTA1p6esqjXOSeoXxorBlnTpF5TiUO1rz9HUQJBvzv7vdUurwOMjlDGMsrmoaPEBsSZGVyGyB2h4AJi8siymsWWxu9RGf3RaSBx50Ln0hoFoAcDjbott8JfNCtqiEQW4deaSk9CRT8UUlaf2IhrCs4zl0/Ooyn4QK88H2KWby2dW6oB3tTk7pnrxK4rFVla+MCax/WeZir22wJsXKqEgy1SskfTcy0i0ftUUWw1cEG2pQlocsUFucvJnoS1xfKUh0H2y+cfxiW50XUNlp74beuRirQkfNdIZ0d/yGGQpbOSk9g863SAe0aJcFGYk07duBCFe0f+/BIAvjkaR0qB6B/jJoCGrihTgXybCHeZNt+LMfceBqkV9ct3+5drmu7zPB4CB67ugDLYIPlULv3nzVuaBoPh4jIIXPxahEBVpOaiJccnIF6ZocEtzZ9ijVQ5jPWUyTaTkWtBYfBbJc0RmjMCujzjbqWDVxIm0ogYTLjIEYDeIS6StgNvY6hQSerZbL7ZehbBoTmB3MMo15+93qHQxVr8Y3ep6Jn+ufxF50s6D1fkeuV1Wu1jwGCWJ/G1tYRlNcZvih7EeCLZEm6B/7TlPNIRFpgHlBkv0RAux6p4DOZQs2HGOSRjk61woCkxDbdqgiF0Ohcu+nVtcjlN5u2LzXiONs2Ue0vJ7e8PZOQiGGAQZEWcUwy3hcQenlDm/OpCu1bC6LHyhW8x8db5Nf7N3qQ69aBMugH+pX6QMB4ay/XP862XDQ/bsVtJrdf8EQBg1V6K2e0dv3TYyU9USnTkgALcZShn2mwzbb9JH2Ir8YXW4OoAkZYcYgJUNdC00WXLbslo1+2TkshW/0DyDjmlEpEef93//rIEWrtikJ2VESmguJC5c6W/tP934xMZIlttjmWj4qNc+yC7snhuNU39xDju3n2yJXeH5Eeo2OQBBs7koN7oqaUtwML1s0S+GsYN21c1+jhdUls2je0aqLHAw6oACh0io0BM1TTBEzLt5/fJRe7yurENfhOVCmpZOpT/tph+KodzhcvhNtBAtpA7pj3tGg4rKRJiDiNNhfZYww5IKpUA+lsLKKaQxc2j67orv4UNcNtP03e1ngOg4Xb9eGlIxC2d9Nj0lqjTKhtajJbBfADf6veju885L7JLQc8XOK2lgDJbLcYgTQd/r5vUrjPqHsJ/WqpoMUJoqBhAFY7EjiWBB02PDvnB8q3sqq0iqkGp9jcUIU/pRD76Lt+XP84zWhiDbvhU4rCLX/pBEVlKet4sN6gsehFGPY9ntBYbr4NuR/I2mnpNlghYoeVFqH1PdFqEZjaeNZTaNgdnv9LMYad13aYQs0RKFRDhyOEMkjiDPhb8g8UD+gJwV/dfo49fCXoMHW/JEZO5cOK/OR5jLBbeO3Tk0mdBNnj7CAKmwj9kwPm5EAbPrzTFrGZW+UiFuL6WEfXyCeHGlD89m1I66aq2AjhVED/WfjwWD8iHAwFAJpduxNobspQMjqAgAt/RXJZD93fMzj//mFGMEz11FYLNo5Kz4PvSCXD7kWbFGqnx45MZ7EGK4/JImFcASSf0BJhwwbpZOXdNO0TSMBxaZ6NESDzVYvf1UNx4pQ6YVTiWCXJdtXPr7vdxUHH7i7HD4TT3MX/uaAtsPUGChG+1pw51EXhOTaa8idHpRFSV7fb+lPKAMHd1bRk0TE7JQ43DXmXZ9/VyvbPj7M1ZBIJpOGNsEqTD4wfrGIEq3n0PSWkRcMWVj3n2uRrWaghpkW1h+P+ALa7lUOalUdpEq68SaQoRzfT3PF05Nc9SsKx11skW1659ca54SNF8J1oWejkhoglB8iAdvfBWn1pcgy57lYUXPmnMlXehfL+HSlOGoI6Pi+tGIMJtJfgPJj21q/hcti1H3CYkMQV6aACEt4EuSmAgE3wcR+bvm4SWBLBE5c0VRJYOemPrkD8+QM7h5hJB6SAG2oeo32+65bUs3EvvfTnK3HJpdROQOybASbWKmIhxkPpnEydywyVvc8scGzNBGEhkHkT9jAG8YrTlaNK4iszwjDjE88pvZA6PGQq9y+SP15NJDYS6wy95oX/mbLFSVB/cc0wL8mdf0goBRQKKSJ0MEm7GyCaKOQv2qMa1TBmDxWYhiJMWI2gSRjiZ4Q7ajMmakVnd5Snm+TMY9ef4xRS4FnCuSwlDmSuXgCTAFOIuPsphfxXej/2OJ2rY2BMxxTERXJhIBaY5PMce0VlCcUFtW5B9nNEqrZhJ2aOA8Q3tEPIf9YdGrjxIhsR1csrRUlZYdqhgHDrYhBe8o4q1SG0Q2dCOmqrX7+TYPZXG/nbyaZmvWwvk+hpa1d5wxIbabxwCRHDvp6H0Wb/xAp7zEeUaE4jBflk3DmxDR7cnGHewxR8P/rQi88pCaOPbidJTULNPRVA7/1rXHfAo6Ut+QHeeUzHz77mcH+jDSm+EZHbkxjknnjCC9iux8jaCQa4rbn4hhgoDeWByL9/tgyMfPWx1feCjlgkX4bqrbU6USFlv8wlVaWlNcmRdlY6idT0+0Lgh7mkOewSHmdDhkwuAJ+gibJKQoODTgpsRNWHU+XTgVCfB2q3F1SuqLN4W+OOSb/70bWaSPf4EwHxyWJ2Pv39f6RWyDGYONlv/gJcFLiHlBWhoECML6Qv/4LxHGDEDtWlPQfGHoEIJOxBROsjm8AUje/NLRmr8YgMcLPqupsE8xBhTtpDQp9tINibTAWxWBKbeIxbAR6Bn8M3hnObFxJZzgJ/KCrJN2eXOePNL1rxZJY+sKYPWRAnFrABAV3skCYnvWbVhCnOeNUfuwnd3p7ByHMjYnoYUwaRJ+O32unbOYTnooJ7EmtzGUlA897MOe+A+IJ85veypfkBE0Bymh+mQr1VHPTkMUdWsDqx9nMHhmgGsQM6+hotK+QC9Mb9svhlIDD1aGcz9409LBZDlr6cfzVVfFxp+STu+XB+W9I3Pu6IvCyDbCBzH7FyjIMJfPSXPexGKf6bc2dYhFnPUX6TUQKiL1Mrz6QuyBy+fRJ/pGgd2hDUXnlwyoYmLmtS/6Bs251HOoW+NVNrJStCiyFdh0rnmU5vnWVfTq7ps0bG62WAaCyDgDZbPCpOEYO3gItSGecRFauHS3mGzA5rGp1kCQaN0gam9uZt1osdG2rgi8+ZtxP5eiSipPNIEC7kqKF//qacQI2OtIXiLBkCGQchAY3Sl01W8llW+Y07/J2gm0GaBvCrENAfVHFY6o2gn8qv+QZnWKzlVogOdXFtT7AmNzGHk8j23ZnB8uBPQYVVLj5L8iuEmQMwgt8I2y3pj/H5J5l2oS1x3tkr/lD8mxP/fnkok1wZ5jnFHlHxsvyBdYRaxE6jn65LHSQHmpoFL+wN94Jhj2CCI5mPgurKf7r06FGWOVSZgxtomAOzaftmeKKRBWSXbhqzzMjCW/waAIC+WkmHdQE0fpGSVMxRqfIfBJ96XL4JE2c2HMCCgXpy8AUR4ZAE21X3TfhK/tdl/n1sP+oBSFj7M5S8mfByjTVc4hwuGgukrDPTGOsGH0eEymoyifFIMZpK3UyjYWw4kViRO+kFwSZ90fVCUBE1SiwHjQAwQZLIYxCvgxuVUoldfRnkTSatOyu9+kOT56tR59OVsn++0gYszPZMLGySkzmzvG5VA3URkW8JsCnR/2bdyq1I0CgAh9fv6f544AOqFtAxegIYP6zkN1VmOiXOPLFKyQngA6vOrkdU3jhPiwcEm+e3xl+YL8jkqJaRhRUKgIlbrhhaYTljW7rdAC0xC+Pr4GQBhsiQHLgM+49nMakpfzltwl6/9KwcvZ8vleqzwgQQpIxksR9kRpdfRZ4gOcqQZ+oui1l5NKYX6Ev82t8+RuWpg7g7qtwSs++l5zKixDpxupF0NNRKELwa17FBWedgcfaPAQ7nLwjwYXjniwObwr3JP3/3JDv7JhFieWIHOYeHqnioqR7V/D5JFffN6Eh5dEWMc3RtkcVqLRdVEB7v3me8ZuTwg/K6j1IuE8TdzQIRKtEapbME2F7dwxFrgGgWqXSsD3TIjyIxxCQshyHZUPCykgZOQQK9UTPhAqEkdACbJ8OS5BINoN1WfGeYge64QeVBKEjcJqteRktxvFYa7JABZgoKqg3bGwMj2LFrNO1MUgxXQMUnvRMbzFQy1eNHBkeybpCGPwRVxKIiZs/B9DR/X8F97103s2buU/P4iQSvTlVD5x9szISF0ft0D41ULlB+fkkRfTj0WpfElB2NKy/L/cjP9THuQPYrWZCmWxzxE7f90s+Dx4+2ONXiA5GVbOsQ3vsp+reqcGR+npW5shyBWBl9u7WKN9f5o0vrKJ3VF9bmZq1HsmVXJdE7cQ9saMW2f/IuGsVhTMZXWX6y45L7EWeljNP4vJO1/vg2jdVsYmJskeKyVv/OFi2bFtCjvUyTZ+UQk6oI4U3o5V1RcEZv8AsyM62vdDqYl8cybDQJXSbe2GlxdoXpEkOD4udijQ2FG5RNXSItKau7LolB/3vMgxOsEZx+UJNMsluxgDIGntozv3BBYP3JZvjnAWVLL51BuCXeMt2Kff8VmaWPFC9DhAiTv/Bdzyx4uaJzTasrDKiwzge9Ue35P1UjUT1n8tND3/7O2VF9nHtwOiEw8WAm3uyJBbvLObYP4kBwaXKG3rwv5CbdwARw2Dh+/m4WegHqpYhwjj87Mdz73CCTVdlhsV80kfNLdX10azolVXVjjjtlLcbNMWDly7QwenwA9gsNulJV+q3ufl8C+65i0QFlBMVogn4KiWy+I0XLFdlHC+B5MYQg+ZS+y2b2BvMIaaVmuFbcpiEUN/0tjGzBhcyziugHbOoqtAQU6Os8F/xcZzulTh/p9rrVQIJkZTuuiyaIhJc5yIWvSCw7auKvnrXPs8acwY2Y8WsXtm5GVx2oubOMk+1HRF+xQNgfQQ6rea1jX6GrcXhfC85DYOPzfruTgDRVpvrzG/mtUGjeRfU3gqbvOqXby5VhROODJNPOUaUT/nrcCO3KQCUceYkcgJyq6nZfXul8+VMfGwqnbe6P5+Jqq07xEjGMFNmwi/F0T4KrQoK7oy3h1tEjVgUBGyGkYdPlLmy2wDIyRmNoMFp3E2wUpkk6PKGc/h5FHEtW3fyhBt3p41hrqtiX/DFiliXVkhoqd0aRUAyIkqKfhHZMiiS9FXX8mD5/HkTo7TAzYHErb0ZJfq2yxXOggIiGsF9tR9gHDXqnEu/v5FTfp5a0rQsG4y8m/q0g82YRHvsgw5lFOl16AD76iAfK1f+lrwF/N2nNyOR2bBUv7gDkuu0YBGFvdT+hvpv8LYdhr0iYe0rYYvNxIKQsSlJWd2myOEWyVfCcVvBAcCYSUlxqPK2HgyqmMYZMrTAHmN0IWzBWtDwnzY+pzmGdINY34MMfLFamOWGcYukna3IJIbntrmxfAkv3gpdljsmRHQrvwGgPJLNeLX3KpuH5ZlZ3vNOiZVq2xOgByb0u6TfoBisUBXu6ApczdeiPtns6BCzmUf/QLUBVaUqFrxeTUKjyy+bWh+TAHxIy+kiKmfJFR+YlNy6PS8EdGsW8WQKHeLiIysSbPgqciH8nc1m7PKhYOHaNrmEo6gxtgD4aMd91A2LYjJetN++MsuhYvf98BZEtyL8Xn/wKH92EiaLrZza6SUqi4ea5ozCbWjRSjmmvKSNmu8eZK1qD1DwifOMZSX52xBRkLVsj7TXRWkwPLglBybbGfQbMOxs00LYl1nAJjzzw+58t/A0k+rlZwbFvmsXNpbeRmNu0V/GVc89tnZuZCEfOM6oKU6fh9RdZSVYWWYFtnLs0rNEgPBBM+Cp2R67up1gpwhi0HhaffEj+UDl4ezb0QDn7+v1terJ5z8QfvLwVfLgpEeqP19IWJFBq26N6OJjjXdpPdJatYuGO8EDnY0wuGWoa5eR4zVt21VKi8fPtQS46SAO37/uqBtQ4+uilez4beARWyXIArPzWTwMARiM1bIuFliXibgu2asXQegPqMwNOpCjofMNhSdgczpo4YgFdIZORO46LkXOaYFO7Fd8rz02phVXM6QccvXHxw/SkDDHo0mVVf3Fbl6NWoY4VnIknFx7ngkoWYfJKGJZcdCLeLdFjQmDwJ1DbeYTEXNBJETlqHD9w9/UUDDFFZUfkyCxCyws3ttHLmkWEUDZVRSSpmNUQlXakr9FzTt/+hkdid6CZyahBkrHz4daC/opQ+iAEXZXgxuuqPJEK8DZkMesQIfann0iiNCFTqWR+sLVI7aljQ9qWP2GozdJxjvXp5MqQIKdOsJAsKuraF0mfF4L66GdwXTC1bV5aFL485I6/LmkX6MFapjA23aJxzkmXPVPovXILZzByrNsryFeqlv8ik5ao2SOJDiQLBBYzvTlp1eNs63iFXbK87XGVbb2APe1t1a1nE4KkUtnYICvYsr2VOYg3ewqIS5s+PDpqJNYed8/Kw5oOIRGx7i0hknMbGNcyMnunEG+XS2zGtgtG+AzM5QjBco5Xsi+HDrLqX5UQmhBrILoT/0JElzTaE1GlYNuuGxSqcj/E6OA4x6YFnpZ7KBAm+qnxHnBA2QrX05uKZq2oPLAKyWghZSI69EDetklilUEYRC8AQNrmHwjVm7tNp+trc1eAvSKYQmHrq4aOHYU8dBu9/O2vBPIaNMdiV9UsMjJo5cDzIBaANg8MMIJNSzZVu6/hfdYDRuep96J7DKoAnlMjrxfnPnBL9F8Ygvl5c5vH1mTGpKXvmP3gmczsYuC1z6iwX7j/64DMhgHlap9bAQ+5W0OUu7izeHbuudgxubr7+T7nSMrkLfi1xZXfdXzXlZjzdAVa7C3MYZxgOlct/ymcXkrPycttp2IHs5WWAMeJm6+J9FD58dGciz4Ni3d/6z7/4s9oBYnTb+SqEocnwJ5zbhPfgqRo4FmrFQmHnqvlrnFFi+KkiXIY2EtGvCuN50lsqpYfo/hyKKzlnvIgZ1OxoWPsED85NlGLvlFYDGOXUFBjKtX4p4PtISwoNjYKTW7p5zZnkVumzDGhS9F+x2PIkE11KA6HqsZBWaW2++fx9pS2ua/V+s2hooAfUsf5jQqHO0X71nG58axtXw7yX4df+LJqlN9xAFk0snQbMB5MGG2X8MuCFcx011h8DsCsa+KtVB2CYj1Vne1qKmYS93NxfD4ddmu9tFELKNgFaQnXW/KaClzPeC76qe74gfbgg7dc9IUZvrNCvezpB74qObfczBIuM+mBenqIQxeCZZ0/4zdIojFF7pOGDSYIDtlU9EdXYUxLd2IV8JtQ3fp2jrurhX/MZ3I4zlvvK7ZXjKmtgG22lswrtu3OE8Cff/RWWi0OFbjwzmT3rmLnLujonUariVoKjgcQoCVZNKdkAMDxUYheAoWC516xGAXFrDy7nIMC1+bXXft4GiNPgN3pjG/x/i+ui13Z3Omf8uPJwLT9Fx2ap2jqMGJtx9dMi+Q1himaL6gq5Om9bOUSC6uPBtEH4CHGF4O6qaShjoe0TC34h05W7t7HCvy/mnEK/qk4i1PD2mJ/Hjj9oplZR2ReKo7VCFA+XYUYawbnY+1zSzYAkwaKQ+qBQHG1Gi3s7jQU+9INmmLfi+Us9rbQrRGQ9tTZjlIIlr74U12cagIjTyhmEPwtU3WbYqT11pAhjn4ATnG3GfEPiwQROlGaedIt3B7vkDlbNGV6z/dt3Oa3ngooOK5/x1oCrJMqGm7QD4irMNooQmQwry/Yo6X2vUA3Dkcyhlks++Rh186JJ/4Z0xf3Z8z+IFMH4Ety1hLR+IfaXAlGyv8hOxyELHtLh+RxCHOG2SLHsXL3osbWfjB5c25XHJvph1M5/+bCSKUkx9mTzr0lEaxszQhugxRoUg2lM8ZHSECO/iqiSrkerPF2sNYdJqoUJCsYei/y43e1wSAZktYBFDk0LrNj9Td+FmXgAwMLsnjAo8rJkogtEh0++Ys/UEH9+R3LQG+b+mh9gApKwNw54oAQUtp7wF5GloXkBqmTdi8APHA4D3Q6oj10J2ngETSWItaGNmgZD28dmv/nP5Yx/gjyp2BqfgB2M2zeW3yDJ3NQypwB+807CZpPin3rvuN+VkVzUWtkl6OeSH350VVXLR6L/ceskndczW7R0zbPU28mpLucR5MAiFCqR11voTOi48jCw2elOvnnLrZhL/en00Cee/Zvls5C+vImEM1nD+FoUdfFgxKhu7RZzwUj++MTFW68kTdKsR1ylOpOkQQ1FecMSmwFa3N30HbuHKz+iivvAF39ErWrRV1iHKQixr8d5I3llYWskg5RdRI9g9z38KmgeLLJQyfHRO9CJ88EzkxwBXEqTQAnQndVh5ofAlS01DRk7z4s6Jfo6gW5WTYhdQORoFtMZsjjUUKpnVlvvN3YIGoIYtZ5MyFgD6O1Q2z2eY2AW8zrTnBNsUBjpKKIYLxAM028UZ17gM1dFJVQPi4+dxRPTCCcOmUwAn+wjhcdpGhTTP1QrYfIzNNEPEtPz87YG5TYCYX8WYZGZWCrKrqZ/0t0ax+sTDaJSpOMFSSSnYNh7lknqWPcLIZp9Oi9OSfjs/tXVwMpSVzcJd5+8jfKNmKPdd/cKuLbQu4aFVDAtEdSUsbBspoB1n2fcV9NiwzB43fn62MXSfm4UJ7T4U1DU6cIKpnrnJ6Adb8ZgoyaIIQfsxF0eDIWTihDiwsaYw+DdHmx1qlLwrwxhwst9sGjlotpCH5OQYxahRzqN7ec2n4o50t8bSZowSeu1wecfBckDv3/Vl//HPYF1QiQSH73X8yOIHjL+yZqQK0y7tbG12jXipoq+fmWIoce/6tbNqS8boy3Wlba6Ue2Tl8naryb8vYcFTQnnUhyhOnI8MWp7q9J+2T8TYDb2mmNwcqIoeQ3KTj9ID+Sxc/JR+0om2oY3pfILZSKz/uasldlHCTVJPw8PkLNyeDPiTRUf3QzYau8w1PC7meQCCfeDyhig7RqwqxOMKnr9ZxOS5W9Q/3k8xYr7FZ4SRDwXT47P2HklPQwP10S2k8O65UfS+JHebuYHBUWKE1XJm+j4+PGW2wwAyy2ivmYXzVflI/ad93wkzosagCpWPmzH4epT9LDmVhLiw574tZmYbymEW95eA8ZMwuK+vd28pxaCDTrNPZJ1ACqUckVs4MMcuL/hsAKJ0uj96J3wB57f9bQPuMKGW6u8MqgeX/2hIn2VTA3H3EdG8vXEnW5kkSpskgKtxE53haSLbwf31JEdg05YCky6dp0MJzpbjVRIhcSruSu25Ez7Exd/WR4oSU9Au279eEUiC3Q0sAk3S7rDFhrwT+rZkpzMeqIL6242BVrWkNoFjKRcQdbwWh/DSUYTDS2O1GtI1jp2BE2PxXXtcQUAQ/gB0IOC+V9wWWNb8qLXEuZhYa0U7IlYC5P51cmaTwip30tKZekQP+9qe2ENW4QbhUAGlmPRxmDBakUmatoFy92Zgo/hUjKhEYx9wufxycCQvVDwdBV+zcotXb+mDHQfUqB2eZbHZpIsWal9d2usgo2710QQlbDg0MtI76jhmKCNROBuGWWvS/NrzTAqJwFZOK3wdxK6xPU6d/uMduFv86STh5gApvONdO0xALSiTAAuMHki3GJv6ifNo31oYNIlZsPgnKK5gX98YIQyfpq/d6Q3mR/k7Oyc9wc1+/ljIl1n77t3/fawy1uNa5o1u33Q6PfFWOBb3443zUm/PJyhq3M0y0MYYKkefdjBYEx3lY7Ynj/DXuFfP8HCsDNWJu/3dqU4x4bwdCs0Hpnndx/cutUUZzSOjfKD93ggDAtvh6/OJPndGZLdlM9a/0RR9gBQLuh44JVQeUy5lFYX0gXbLrWXGyFaEguP4XByOUS2Lgt9ZBNaBVYMRxjliw0ZSrhDz5WEuDB8Qd0Es2N66zsRRN8Z/54FBHM/7R779j2cqS0I0C9dQvw/4Vaswn2c1nol8AQ95YRNKfs5aT/+P4rqPr4bm4GF0z4TmwAEh/bCcDlEfD0A2AfXdgT1SqvkgH2IDVZfsdQ9+HItJyGaqiUGRMMsdVxePI9+HLDWVZauAC+U/UZ0aBRTNmt3YYHsLEfkXoAyM41ZRCSe6EFBs6/4Y4s7KQPlgffMc9hnOqPh+91kgblbYrQMkzbKfHLAk4kfvX71p3HdEDQh+wBEyPbvNEB2ojq5SwqjxB0DCTOnm2mjCMirFpYHVoqy3us9FW4Zn0RufgrDOmvH1JAzPvPHIwYX1yethRSdLWTClrawtQSGovduJeTQ0dKoOZOFRN9OD6ZnVxD1RsJY7kUs2y9zZbxFtQIoBk+bHupDem5qDoND3qwAnN5MJOHrQ7J2Zlz6NK/hvil2onqesvLdowawCKtjOOsHI+iioxKH4MkR4ct5Q8TVgs3FOaJgw3vz/3PQ8AVkGOt5R8fzCSInw17uskxnTn+ZNJGo/xTz8yMAJbEPD8KpznsvHJzlmAhEC308+1xxDGkbBDGTbppsyEZhiAFm7ZXbvWYEiVxzZYL5hd6RF7k+2ostt28xc9Tz/nkKEIHoM65/b61WLFDSIWEPoMrFUtUzoV47kptvK09kPp4dMWdKSyRzxBrmj6CuizwdJtYfiEFwoaK6Sm3s0B/taIJjaeU0+BjthjPdrgocEv9MCzInpaeG/XNpTXrb/lQguAW5OpJg1bF9DbyZlyB+7tXcMAIVNYQCwVnx7QwEwkcnhgUuqRhN1De9x6PE8Csr2kxmWiFk1oESbtJ3db5Q7S0AR+JUM8rH4fFt4CIXBKXUOkG5GOewyzDxutZeKC/AqJwaflThq00Zg7A9YorAnfqrcLcorl/Z0MebB7x36tm3DqG0cB793Sg4HqMWaJIvFqEV5Vbt/NPBkGKPvadFuGrw5RYMcwg0Gx8eoHyNHdvgPj1WWfQfZ6VmBxnZmdpq0vuFlm9Gom0ojEoFhxV5W6Q8NICB9gyOt6n8992ukBIPUj8LXfngH83PrcDOvlXVG46M8OWTdnrzk+3jrGFSuQnsjrymov0lSnGeQVWvn5tf/vbFsqEEVNCvkHxT9y5km6aReyp/TuL8x8GT96w1439JujqCnChq1ok56ywc+8welV7emitIpf4ozqHDBdgrxs3jbjGx0oiuNOsu8IisSOO9QnPol/7ZgOgbZaDft4gaJv+i0SsHpXVjFDje3YwB3prSXM8W/PHhmuP472pZDSh+oax3O4rHbdzA0aOfEmbywXDzYNiuFVRebP3+ZALt7wy53txjQWbt9GITq3mzre1N0KKOIhj3TQypLRCsfNF3Kjj5QmiNvd5wxbIujNGTV6vIXHJ70F+WbJfs8gQ7LF67tJyhsb67K+jpvNqzaN4gA3XHY3Lfcm/jeHWxZ+uw3/KL+TzJ1VNUAYlztBHn2IdMclHhmm/LPDA9rvLYGUx7XsasWBemk8GWmdJjJ+JiuxbFUwItcIbM1Y4RGfrkhkJVd4UyOV4l1q1BY4MWFJ05i91BI/ncUOFPtJ5NzYNhksvlE9v77ZePTlim3AT7d4pa07WD9n9WwVe9jvPX1Ja0OXKAmVDPdYMqfhdH5N6aDaIOR6UvHTsduqoB1HX0qsrGm16G1zWj4pOKH5860A7v55QofgxKEjVp364pgr6AsZRiDbNtkG66YN01+7lRfgTj9xwXYH6Qpj54qqxLoTbuWvoborX7+mXNmcgGcZjU7noouJRGGFBGwVzMtRBiPfadp2FQK64BHS7i1MPHWOqtv5/CufiwYyRqOt2P4DT/PUc4ZhjkvoBA5a+mGzFGA06nvkFexJbVnrZJelTcMKfcHQhNOeBC+wkFOPzuef7FTW1nu0mVlPp6bAzm7eSujxMPWCGqwy52rRQXDIqsI9VyyvReNpogFoCcWYlbbaAnvAT3Mt2f45qzp2btQP9N6P/tbd3neDl6gPkPi+323T/26A5VaqSloK9owYfPhvQhM/Jl+6MtB16456Chnd+Xl6yYX7VDqjP/1Chf8zzflqv9hevQOKmWdCCkiTkykibGpfP8g59Io9nco6/m+PMTsTX2RYubRt5ULIU2ERsVdIjrDoNHyXW6Y1CNZvFquY/EfUJMQfBmZVwOoUHZ518xIW00kl1HdyDypYbkuOe0nZfZMtVrroWRrxmUYOJTo4yx89Mx3qaV8Lp+8H0y6VjXXm0nI5QHuNRevkY91Iu76sg3Yy7B6/MejpvNZ0pn1JCWvDTOvQhPtQZEoU9m6/Uj6WeDT7GpBuqzyelvfmtBZTAXY9Q7lnXSxhjngWb1i3HWIWCcGsVe4LZzWr/o1GHmI+fusCyhnJI+3hHYUgB1d3gwgfbmK5HLI9NcxC9AbPiQzdh8dYVJ/E9qWlofGm+sq5cGr/puYxiCHi1GRtkhh/WzuHQikrVoC6e1xGhYq0kKHcI/KqpxYBEoIX6sWKLrjRio8WSKn7BXe0jMOw599d/7P+EYTEEAyKoG0SJh4eZwGUqJn9J2+eA6j7XpDp+OSQKnLP/ue7iKeaRPYoA1SIKzVZby+Zz5BY8HyF/WPIUg5uGFtaTYC/1Xo4ZIH9b+CBeTuRNW8UFl7eavDB3W7GOGAS00gnH9WRewT5/luH1wkmL1wy5F6lKNdkTNLWACycHtyJf8nLLkz04pD/7k2VpbKC3dryXl6Q7wNQXsPdDvGxQsR79kvgr+HEz4e1GomBgV7v6HsuflooknZmSANfka9tpRYYfqOU0RhoyIslVEZ8gECQIIoQ/wyYkGdM5JOx+H4PPZcBzOoDyaN6bLkd7P2GAOY7oJybcNLYD2btvTs9kP4XEQHfyJLxCnlcxg5q/+/CXncyffaq/EumyhR9jjHnnr9sbq4Zc7igeJ7DL+IW7OpZHweIEbHh7mMiW+Futax9sRSorrGLqkBO2vLwhNdTq79WYS1exZHP4SS5JF79bbbvKNldVe0VmjILDnCz486OU7rA36GpBxEceVb1nbXZDFwHbWb45tTNPy+vpB3ELFkCGD5vJaBw5sUnSGkr2iUTF1p0Jth0+P3CL4XBIi2x115PGqQirZ4W2pD0LZZJOp1FoJPHiMIr6TM5hv+k7riluD29aStwiRs3opVLBJvwK5ybzQO1rz6bF0Vlb/IsJWASTQNuoM1mLcz4nUSaKUHKyD2wDX2rs5eW+GU8NT4Jvoj4zw87oBBbAUvXRa57rtKuIQvnGpaqP0LASsg4ERifuKOHJMF/ATc+1bbohpgxqrC/wABFlatvBcoRnizKDrnf5sxurgVtYXIvfPprY9w+5uApMiC60q7UxPPQ90svyGL2ITfdF5LcuBo2jsQ4bo8Amr6NxETpTmR+sAlG78TiVp2ajEg6x1H4gzczcaVxgToV4tNXVtp2XJHH+HNRbS1gbuN5lDbg3M/+dIBNM2gjjAhrfkOZupXcs5IcKxDfVGS0xkLdK4Q7W/lWZRUzoM7C+1GEptznz1F4ObYgwrHmI8CS38PgGdWv0yieQDJT6UEgLgNStBVrilNVLJ6U8AyjiROIh8l9cMKk4jIcvgWBJdx+T5iS3LAStEaUhB6qTl3yBmUg9PtHUXvWjXZKQmDWSMMu81rS46+klUwA1G5rqN2CijGvurzotQSsvSAna7r93H+5bSn4DA1iSaSjkqv2z32kXPJHTteMYUFsXAasstp60Im2yYlZI23rNPxmPKckDUNdqrbfMshOgE0pAngRW/CGxU7b2kTs5lY3mw/2ECDf2rkutscUivyhLzXYOuxZe38ZJ1yVVLDCIhpyT6zGZ+zF48jcaGQBS5fBAVReGIAdgAKi6sPpx9iDtn+Lp4D6dVnMFN+jP+nDHdsAWX26Napfh0sPPCh6Ngknka3suUnTyyO0wO1rQSafSVjoG4NvpTxKj3WeUSMBFBB5/+KB52geP0hPmKEScTidCjIjOeUARhcsjLwrJ3rUNDKe7JCxob8CuKodtcxpN9I0gfqMrNYBzpLabn5AGxZDSbgQKN+l4JTZWQLFE868dQIa1NtszbMvUaQyYQxN2MQzB44Ans5+k8Fs+oEbq5ihAqcYORok6vblhs4EUEJPu+ysfPsCql+MgK161j417Xc/ZAXRp30Os9BFf4Fm4WmByIll4ASKTA3jzj2p5qs1GP+Fpe2BCjebzm8kebQwMlDPurndZ0BYxfwJY+HWoIK8EKiO/0328v2UO37tggrKsJkZAlRgdN8G1yT4hkyQevc3mYOoRN3ZWrKl8DXrfa8GYn1wlh4mDDipL9HihFuZINu3wDSJbEPBzYn64FRXSCCr1ncDCI400yhFjpqatJtXgH61MBgbEtlAN2tOr9pyNHOAly5MEyO71Z9SfXyugJVkTuDdYVM+q5ar/dwPsJxL3IyA5xXSqSatUh2vPgfWiu5e0hrFFqRcHvE0VFG21Ajcol5mqhcG8YqVBKxK3EfdaQhEde568WJFrKt26W29Su6jc0L1l5Gas6aWpSbF+H7bfIB60YbLHBEIWrRwjJv1oysvH8BgDXx/QYMihUisPfvNEs6Qo6nseqDsIUH2ETRNzpjDDY50YiMpilBrwUcR12cLgDSxQligXJwVAdfLv5lzKr8EhlyRpT/Q4sAiXqiyd5INZVRMxURa74CGvLQAIg6lDQ+Q7Jz4DqhkcScI92s2RZVJnfzgSSMTzopznfS/LQCqo94ZUTK2jVwJg/cfG/VyNBOIJhoPXml2LAU2leS9txbRrwW4vKav3kb9VbaBL0GBrOecyfH547562asf/kCpmu+LZdKHHrJ71VcftR/JJVReSgPFINxpySxlzo8rH7BbKdCgQts6x/tXl9bs0YrQWxeD2EsIjIbs096D+aDf8V4Q8QeZFa3IWqvH9Lsc9nKNNkXJZvvaceFERhMFfvCL3/tkKiDQHzKyY7ZKD0quTlnmIq5wHuH9hC+GcpSywROu92d1M1xsODGhz6VpBR/x7KtdlGgu2Jl4ZkwtGZUOSN4YAgIhupW2f4N9BH8vKLjT4FfZqzkhl1OLWHuIEUd9lo6eWqWqT/SPn/af8losySz9xBHUco3kN9gqQ91px5SSTkZMWp8+z1K2wMSDi2byPnhSZ2gWLD3J6dQYssU/jp7B/flUTDd7HVE4P0YM5j7FS/UhrpxdBBqfiXbANc65WaEHAZ/53ke4hEl2mcvaao77jDD2QvqTZZL9xlFV0HFeO+umXkEDPEvH46WN/PR7wfj7SJbFfnpj+H7CE9Xx7j9bqfdhC0H094BCTvdOW+n+Y4+MrlXZ87p0Q5e4qhFq/DLSFhSayRxVjykTgbiY5R9vY4Oe8TLCJBQ2SNrtE5JMrRB+JmEz/V3hmZX638VG/dRORvEv5Jwb2p8plbZgPOd8OmMmXGFFVJh16z2zZTlqQn0cGvbQIlfVWhL6WFl+MmdPIAbI8N4g94TGmSpL7vHbnbK9NrkrC1Q3Qde+5m1ZEkmjbJpY2lmu54WYpySHv4//RdHYZlU0n750VJ5/QfydTD/OI6GlbXQETBKCpegiiQsryDZiIVsUsaoC7GD3EttLCvN0qo8tUsnXPxOfgIKVorQ0u6Lju1u656cM7iNUX5lBTVqBtISxwiTstmovzRnkQ6eucIaLQKyHr/0M2pbhFTaedpttmvTm8MON8vuhOjYwMqENn1OjfuHFBGo+ywsZ0HwbQHb3XTXs+rGzDABf9Wqn766CizkE/ec1fYHqP+F8lD/1Pok5L20e+HldZuSDxlqNPvOAk8OrueyialgblN+6ZuqV/0ABoBAe7TRwvaDXXj6QQ0rW+Wroujj8CQ65kuoUuYtAV79gQ5QcjhKHXS8AB0mbRIfd9E93UeDVg4g9Sc3uYhiLGy0CP9n24S73ie8RyDx6oHS9uV38RBew7KyFY9AdadbThmFhdWU/P1YQpXrW9cK0in7Q23y0gpqc6wLyMLkSmKpyRZ6Xw2A2yE4pPzehPMZeIN7ygrGfgbmyrcH55GY7ECwCaRcq7DGSXzpKEndDHtHq3RL9HQWmXvGRqPTMlnv37Um2/oKbR3lmOLgdThT6ZnYz44//rebWql/+D8AEb4WpJBOtvMqIrPKvt0Iwf8ShNIlDiHsMT2rPok8k0EOtNoQM0tnE5PayzvIeqvjah8w2ZBlJb+ykU8788miv1c/4UCgeDfYT1Tjh4aaK1tdyjXfXQ7aXWquQ8WYvBhUqgNaWYUXe71IiBWT7Isn5i5U/fifrSB1qyypCJdi4vu0BDIRiRQsmid5fPiqLi36eBeBc+aBvvo5cXCvoAHNTYyYK2u7AIPWKzkEMWZ5Vi4+ez/3BoO9UXvHPUV14lq81BKHNSXSaxEe0EHn1AtnWfUu6z1R2ryVOwxkM/O7IPiLKlvFMALPBOF9ovP8G0R9uOk8wUM8Q25gMwPI0kOeYXf/byj2HIm4PfzSbHe6H1A6p5MwgEJaYn12hKxAHA9vDoTbSWhbvJ2hA3yzbho+5LMz9vDX//t8qFj0qaBFBDC2fmbWarDgyEK8eVClw6bKDPBS6DrXYjUN0QtaIOBeNWQOKQ5l7Z+lGrNaeAfsqMZHgmC3Noe307agMF/4cbHa5UuANDz0OFRD1yVWJCSrRfsw9z0wJON+5EcomHVY8TJGY7VjSBw+8KSOYo8QuOjQE3ulyDbhFNggwBlbN4gL+Uy8SrZPBcCwk4Si4t5sVzM47Ijhu4KGpmz/z2DpsHBpeCzlvxqbUOHzgVFcjDhiYZ4o+P8kkJIRjyqa+v3zAT5PieZIG3cKHcVP4/OB7xnL5hA5XyOwre1EOdbpQzY2WHa8UZpCsFdDCIGnU1ic5XFGZeoJetA9IjRW0L2QEuq5XEP3cCGh1eVyYHNJQ8eZXtqvb2fUAiG6xuTbnUxHWVCmVtJZtc87L3Y2euK/NdRc2J9AKfty62my6TD//GUMm0Q0MDCGTnlTQJ7ZlzEV02AnFCZ9jfjyW02Nko30/XgI7Km7PFf+lW4H7CWq7gY6Ga1AsbKa0/rXJbqL6miEo2iU0QCW923TAhi+jHgaexngJ+QJiMMov/wQ2FgPXZwfcLPXQmpahKj4wenhbttMhnsj4iawdT+V6xnmaoSf61CLKBpHp3HarVH6nPHPbGcbVm3DBDDMJ/ryy8G4O+nv3V+mVUwhK0pjzcg8cGjJiD8n9+3zFBgD0PLWOZFZOkUEEZnimEGbE15fKvbcxypG2IlvV4sM7nlcrJSpgUe2v1oV0koBEL7cu9GmJknLWTWZa6XKSoIeTrQHGn4ql2AnnsxOML5oBWcx0GYF96MelTbaO+WpJnE6vq4lvikaEBJ+i/XQNZpW9/FLLp0fWDr4ziZRoURinqCnkBLZk4qz9y5khMDoc+qad7hx8Jn2lzu2pliEBd+uUe6HLuq0AphXIS0f0nFnTwQZ7tRbPrDL26RFOfhrtetKdccRRTViw83nZ0YfKgUTJsMnMNAbq47l/ieuwPfCJkaaWjfyRIh1WXDvm6gbXGj7gYBbeQ7jDPcEF6xWJuVSHtvpReigrBqfjr3akAEFurEZci1wpc7GgI92yx3AAYMbiLiojEDfAipaaF7zLL4//a7jxNQE6ZRpwfwM40GOtY+bizxA7ehcQX88GaS7GDTEdRrw/2tnDgCL7OJLI7WlBoLcJLCncXKEowiBxms1yO8ZPARbsqcIHgpKjUosTbrt1rPUOfsX1ky9knQs9siVpQOdNp6fXXOoUVkKsZg99rQK+zKUG88QFR6Qy6d5Jskb1/qWjHjL4VEs9JjA12lwdDIv6iqaqUYhnMLWAnOQo+yr767KYAGIdaEedRr2+M+K7LFOFdGuRItZEUJpsu+RzvJZhBT1zhBDEG/Hr8TT/H9ck0iVsQiStZKi3z/3rjfreZWwBSAXIoIXJeBuEkDAPVhpie1ZCnmEaES4Xoe1D/AuRfz2Jd8sohXLHLCdu61EEYnMdKhLbofyowPe6vNEnSIJrHdoCa+oqVv+cQjfIIeJQHH92OwITeDRtHvDOylUGkP6ePHy00TXKbjD4LVTVimrdV0UqEIyEyMPmsCmmrtNZ453qGOsgZU+PHJzJX/NAy2vnoYrEUz4RqHnBJM0m2sZVrAYZtTrJ0wv54+t87P/2BA4d4rcYr/x0TbUbFNEf55UZV+LuDDU5cjRR8e31qSIRxEjtKlNymMrtr1rG2y0aKRGPSVNkGdDLRTDpv6QKdsFJO8XsrmDlbzf501jx6JHDPOmrXjbefSV0BI9WoOLjaXHXCqhd3V7BX5KidlaV5n7nMOTh8/UBN5X2sKcHeQptna1zJAMZ1suGMKfXrVrNZ3PBKxYDSpef8OKTTGo2Yy6C4IUVotGLZfPku1NAIcVrBYN0WkihfQE5Xvq0VLRhjEZEhVUBaCpTxgn1LJkQBTjshBoT9cNPhvrT/dpE7+6ChxvD5pIuSYa3Zq2GWF+8HkY3xSK1GMUaIS/np2+MVMdQFqXzeAQnlfHWFgm/OXvLdxtB2NXbsQpwAacj+Es7OAknxuxe3NOtfl+aFRbaHxEE/xGj6KNdxX2dxT92HXXqvzEEnfqEivXbkKynY/rWY1Ltx1Dhe0eHd+9jn3kSF40iF37lIGcKWPz+mDTFpZOvIheM+GeEwRYX1K16Hcgu0waMUPfafwNLGGjEx/7qe1x+H0jOuijq2ep8M85u7c5H4vS4JrTpW+MTgTsKVZaidwu2LPihYN4B6RB1ZTJ9SlxcGf5rsIs70MHzfG/J87N5C9eRGYr6Ybc7LNcAAbCvLwg6n83sGZmKshliEzRrYoWUSKfkX+a0qqQ9Pycx4x9e6hp1sFgwZ87aSmmvzPk1ZBIOZWrk9drHrPq8BZk87qmj9dbe4USP8oxbP1ZE6Fi8ClQrUkeK+RjEDDhgV8bkD1rd3ffm6d9hHEJVpvNZuTlFPD/GhMl8ZzDshIIOt7Z1WBTyDEH7lBmSa2xWC8ug5qnIcQgoUkp6Az/orC8QKm4PVG1I5jUTgCZW8jdW8UDZPUx92Zvj/6A6817sw1RDNPgPpPFmXUfQlltuk735UgB5tT9hMIdmE9T1ZMABHy4WVDy689RBHuiQiCylZ+zdc6keirRXAH2VRyMpl57L0MyZQWPdrJP0CYYSsjMj5N0YxtvZULyA+F/Lyxd+hL5vHdktwkPcFAMYMXDdMY7U/i2g1Nnim5MDqRyzKX9vSwoKsZuidSwEO1VsYOIOe8wwPnR/iKh3lq8YSyh6YyMYf1UhFoIhBTgYRq4TvdoO8jrBfakcy2bPG8mrL1D47anXOg6T0h7QDTVbQYlX0ZhflP4dwnuI5Ew5DgXIiX0toVljEaKgLua2PwXCNyAJIrBtpJLXbskWAb6dQuZ4lgSX74T3Q3SXr/CLPpK638yK/k/9PmNr3m1k+2GjKddh7E9SnNviuBIL1n4JXHclKUgQsV8+zYZTcMlHcwQQt7wbhL/mwSds3Hp6hpBzh/jRr/tL8ihgrkXGyneEQA03TNXRSh1nJk/1la8EfGDdXzWYwTx5rgv08yOZma2UUCJc7aKskOnEB6yfxCfvPQcjqM5wOkCokEJU93GJIca44sAQBP6sG297E6k3olKHRGfLCdrq2Bz97tF65CtXyWvxokFJn3r8+6PqjaCmiFr/PcQq35qe3TNvWAy3DzVjKsUotqCsc+6Qm+jM8gmUXrrYQKFgq/2LiVqZ7y20rfjOxyXxjVCylcW6tk6+ZEdTdmP311CnRsLCZB3mpE+A8uh49JFicZWxdqhMueoFyNPNZ/9qpCk7fOIJe7JjWDY/bf4RonezbGHDeRtGnZN9rKijopld4DmZ8FRh9WxhlDGHz71RlR+ssUUxgS3lbihK9pY0khYhtY0z2j2sUzUPEwh9iuhiJo1b/ueXFnKqbD0hBBfsRihP/RtQ23H9uRLJWXuUnP4NzWtWhAMjwdXDBT2TM3opOams4e/d31ZO533cXOKw+inuWAwyNMWeflcxxRCozbrpwysQCsP0k+RiNUHHKGLwmlKx23WNzebsmlUlNqFHJgthy8EAB/evAG01/GL4lwsIhxF91dRpPv9GP+NPfsxPrGUzdgQwMeq272ZcpWpOy3ZGMrUfxLee3J7N9tDfvhgeGyKVP6Lp1jgQfD6hV2jNT9UFfMn1gWeE2ipNv7YMMId05t6VZCALmiwcAuVOOLtwShXEJ/fowIZozsJtCoj+obw3Pl5L5pp6G9VulMOJ44X8QJ/QTkz5STxlmtUJVg4ymRg3E7lwe4wsqJwy0JJUm0esEBr1Dh1jV/NeZTmCrEUB3bfVp1gulUSXnG4C5H80R+WjK2c0c+0sMpknP5I0at0HBjw0j+acIIzKWZr82zXhMHDbw7Lhgn3yuBVWwtFy+f7/LkPR9gJQYwcCmzg9a5k94DE2CuwPrII3DjA8uvAgvFUs4IM/XGOJlF91ZQxZ225UEEIglrwb1+Y2n4AavG3UYkx/8zPI4f3up6RIyTxgiyLh/RKS3YEuDYN9PLN4ae5TYynJAqVxj5bkXHlRwvsC5JfUqWsO6a5ZlnzLElEdHFw5iqzgb0+2BCxClQxvKPg4CbxwjM4g1KNwlt95VZ3YF1MbozLNt7/MMIQEm6NLTfdFtgdnEHxlIIEO0qhGeyz7Oor646JrQsiQ0cH7Or4z9b/ApxY2lx5uLs8mUX6D2nTcX6d02eFbg7BqwDky5Owhtk4XxHz46Z+1zsTMlEzbjaujiUyMDdL4NaYWZkypohYnMP3lcPKyQ/uxycwz8ihBsJoE3C1LcLrKwBIOP5jAxppy/kYI7cewbg0Fn6qWq16BzFxqeGgOc0cst5PpSG2bUByxQAyct0deMsoS8HF4FTgkyu1vyYU3TSp1CnFAAu1QM9iz1pbVONcQq5XSoMHsl0ToFajciRePHBA/Kj1IYj9FinYFElQHD9rt7KaHWEnVi0DEMCyGwcmkpvz8habQA8YNAyGOUX+l+eIyPCTmcE0Adj6WtkVbqhyTkkjoKr/5+VGQHwNHOztRz29ESXAVPnMniL/Q8pUfcwFKcuIwbFu+W0NCo7ypCO+0rd6nqnTmbOVwOcXye3bzk4qL148IL5FopglAMnvyjh5OmpTTVKZu8oWp/f29a9PlOtUKxqaqylG6W8MgvMgz81xN+tDYSNYnyRgXJsFLOl9qUEqanOoUPk8+GKgsxfds8n7K3qhoRMHfVjs05xEpzl2+iSquP6R0bX00AHda3LWgOIDet47CL0BuPRfiTh6QzfC+RJ0AnJA3YLuH/HsCKshyua/8cTXBJxkACpF2CoOC/sdjHl/qdqO/RIxObmfkggMwdnE4Ues6Kg8FpsiBsXnilTT6SdMUwrR1vGZwvpLbYRNG8bsRgA9QfaebYaAMV6NaA/3iier/accGGmZsB3pFTVeuNCRo+rETxwptI89QussKCxyH5XvY2cdcFkI+EdClnV1pyCaH0cFxup8cVWOjdvbWD88WLA1CXm7ykZayPJ/14WKzLD5Qubw71xE7ai+LwcDeq9Z6KedBQ/VYSChZpHxiE1GHeRPm4vRnkEMLGbjLLUnFlKKPOX7aA+ZpSEo8egxSfhAh5+EeHVN5b78F/okA7s//0c6JDNm9HshXxbYwwzEiRRUi2SgeHvRy8dwXtBBGuzDoQPuDJc2KTg54fXmOoEjorIW2X99TJ2amjUk4sOGpHLxSpsi4B0ml5CuK7zigjrr+/2ThCOBy2PjbKmOVD9fDyd0M+zrjREGaBGBHkDEZzk+7ZL9/Q84d02RjChJnAPcM8XDhfgGLKeQpRp6K7LgC9w/VwlZ4ezeLo/E2MdFMnSMN74sApI4drXO0RbpmQJceypOxHeGMicF/LYuuCmk22CXlqBkmcZe7W4ZES8Koyjz6Bv+9MDZdyG6FElrh4l5mHdPZtHMLYHCVQECsVrCGdIOVNfvgcKXEzSJe1iNnNRhnVwdveQVdzNIHj2XqYVGBx18nlX/3f+YtcUh7C6iFtwbiBMwJxJ6l6VsMIgW7BiX6/tDueHRnjpQSWgwEgKRP/usULeCDteuKPNffDzJrRgc6kbXG+z8ne1ZG0aTmWloVRsFzTzBPV/ONBiL8gTVZ3FP746BncGlxC3kXsVOAFimkffuJ45FITInN2C1IE7W0uUUjZn326842KDHyj3EEUh47dSsZFyJVvde6c1ceibkjFli57axmLRv2s+QlnCcyvjL1gVYtMZZvYtilg4mGznDlEszV6UABzMjU0fsSnZk92VSUreDiySvKv+d6Ltu9ool2yTmnG66/tahoovWXuFbaTZFyy+BvcrQsc9xMn5K1qh2Rk8BOXWO4bea0RvkluHp+z1Yogu6udvgSGWyrUhFKdOhZEDzLTZ1319L1FeInjJ9KjeMNWtpenkoYp89FBu21hxedBD6/lyeFOrjLvAYkBSGJEKtrzlmypFrcNnaVTe4HNU0q9w6yFdK1GwRp3iUDoqwt0nbXwzGtxr1KQQsix3liiVhqioFd/SzQIGCo/zSteey8D/qAV6gvR+hbVgjqQyWIN2oDUVwGc+OBwBhnhHqvv4zIG/SXfj8CyhzAmYerfNeDAbZEWkIU09xnf7pEvzcQqEtwjC48ZaDfuQ9MPxIXsPbr/tKvE1iSx3OYhySGZjl2ZplmpQ+FEyl8mKRlmeruB/pVCaHc782R0rZB65rdbpe3L5yJD4QyHqhW7M0Z/kWjkT5vslpiBRNumvKaG8rgdnkVumFUJPP/s/FRNbkUx0lEU6a2zuTYBLt7OY9o6J+UgpYNiA6ll/t76WW8Q/A2U/vpHlXloPOy+Og+rD2dALbxxvADrYZCz17lDNKQnkVV898Ex0BNSrvkgGWXlWL5EgRxIKSMlsss3T65w7aZ3qA66tVVriQ2q1/h3zJZKcb3y7P/xDsVCD/fGC8Y+oXSAIq17f2M+IMQAHSIbsZB/KPssCbbz30r4u/ou/CRjcOMbaoj4N6NrX+SgpZacyeVO3TCO9dCwXB4GDzY5NtAaf1k6ToAswQzloG4ktPOWq9GxxqUKZeC5ia2jPn3SDfyw+5Kr+oaNn77b06V1idRekUb2M1+NFlCiPack7SDxuKcBc9FkszOo+ClSH3IiHo0HKy8s6IGPmm+2fhXu9oHLJ8d6f36bWWHP/u+YAFYoIhoJ/tBjoJK0urSyJwNFeHHXS0bxFCIP49a/MCFI+tPbIH8XiBVu/JQh1S8r6rsiyZ2SYReuwci70lPEOYWkiDDJS1FhuN5R48N6Lz3W9DqIYL8C42KuhVKPz67dsR0xbL8kaYVsjPhLP8KXpk7KErVRkjF/KqDj49O2ip20QAnA1IUTmb9YXu1AWqxZ7l8HHa83hrh7rUIEaAhBmbUCTOMM77pyXiBaUcKappxEKobEjjG+nHHpp2ttaL8keCUMfSYX+YwbzP+uZODiG7nS8nbXH1uxMFbYaP8+7q20gSmyngbzL0xyaDzTzxJ7D1fT10C0NfMUE9OExrb4buuYC+4gbf2TquEK69Qe5tUMX4PWsx6n1bav1rK/XQNSkhCDZ3yuT5n1m5tFDOd9Y9CafyBP77O/qS5HZJe/WNKLIkQa2pcKejXr0rMIT+HbKMXs2mqv1va8QvTh08CRKeu7HB+AHyFO5mWSH/y7YEYNOmzjaUVcEHEWh4LR1aQ9Rr2CtzIDRZdJxycZZBD6RN0010ZIurkWm5Ro4lqN8hCHubz3SUAEetDt+pH3HRN0B2u0yBh/pr1AqKSrbTVSsiqWbO0kF01zp7WelwAyq3L7BbnpjXVj+hMp+SE8K9aUoLn28GVqNbUeKY5KdYuKKDQAEbz8ZFJFVX2EWE84ddIzkJq2WXtihR4f0KmfRpQNGvVYAUVf+RRC5vCEz2sZz2rvjjC6jFvyAdFMGk4tYjpkPkziNMhaGt/1AR2884mQRScRaLB0HRGqqNaR6Vn0icLT0OOPyGXLKIaDWZfxp+O4vocX8+QstCKnoMzeM1Pgrmkir9CkgrF4mIIlq6GDVPOhmPYkSvtLxRNfnP8RQKedWbd+oAb55UVsXfcMwneTSXQZ2rWKNevGgb3WygvXddunYG9BHWqgDrwyN2LqTHJqC2M4i/ESVp1gXU6GFht8LcCW2wjNa0irxz/jBwX2RSxD0a75uvlvApR4i4ueaHxV14vGvXibJYaJ4pgYdldZX+uHX/VxRCKuTF7UV+qIK4v0XDLa3khnKI6YJ8Mk8R8sfV9F30akWHD61L7BxNxnGAEkf+EEqB1IVRevVE1JuguampdOLURiWWeGUd9272b8vircFBStQ27HfKoeKQ/ow0Zxz5CaskYf75cZk3EiiyEGiHpg70hwUpwryhRf8N4a5OTr4MaI56mkjSFzKB1jrs7UQHJEXASgowLvn1OgP5Up2FEHASE8+lx7Ib3dPg2s0G1IsYZAfE8+wjMyRJZuYQgmp/UpbeaoIV65NJ4t/ThrkJNeMrTnwV0A6yMm3299EoP7hhgZwBzqfr6OEqmVg1ZuhbK82yMK81XtFnU1QRPEhDEkaWGz8zghsDFUYzn6MlKbjgExehPbQKFm0UqelAW3G4Z5GhUGZ5DO5Eba5ykug1Q/ATHcmzVjHOncZl10SbUpEk59ZFxJCriSWcgbj4cqAlr9gssRIopX5IqgDIauiWICDpJvA9vh1qz3GVmQmoq0CyJY7VuCwKSuJEIUUUgZFvaBqO7KCudCxWy0WPhY92LR1bj7opxMQxWOOauxHJv5PVTLCAYyNJUyohropojsj+e6T3P6ozWYioaDhQk78sjHC2BHJGi2A/SMl4rhDDEFQyw1AkZ0jNxXI2X49tfMRYFa8jMvN9l3S17RuvnY4xTqr66DgtlN3qwQk8ptYyi9lXTOckMlsiQjBPs45J/B5jS3lSXLmUnhUurnZBdQQgtihXyU3D1dVx7oi1kW0D1D1tI5WleVVFof5arCZT9TO9jSiRiJY3Di3amVWTBurrTTVO9XO/t077yI4+/ZrUVqt/5IcQhYO1e0AuC6lBOPMYQA3tUG3Vzi620Kx4zBhnQCFtdBZIsvV7xcciZhhs4q+X126KD1UmhHmFQaMvvGACvtf6t1pRGjKgOAZnxk5v1/dHlY6pfabFqBsFKycqmxG5mp7F/VOEIwi0DnwYIDbk5QGCODhF7pHNfCXq2H/UcHnsWX82nbHewIEAQRTmzkTxXPg+I75OETqzBdTLicivuNQ36hlusxfNImxBy+MP/SMwbxLC6+A7hBvIfz/1/0npuPviBLuSdwWBmVsynYgSSiZ1YUbsdAKP2LOK2Sh5OtO7KOhLJwzRzMRSIPbF8bmNC7dZ7yAt+KRLnsWd4uriamYQlthMXuXHWOPSjzNM58rTI9icGPi9JUEznrvbu4qxHwTo84XBQGqCRI//O4l+zkwfZ6ouG1qVy0MRPqa/teZP1zMzqO3u6QON0AfEgX7GY7swOm4tpe7CDLqHKbSpsQVy0mVPZ54iI4oXpkT6T8iC6IklvH3USFSK63Wd4nZSzE/1pBSz2aIJTctMmJ5QNennqKKpweXrjTHhQc5rHwvBwwb4D/IrnZ7sKL0P+opqT1Gm33WvPFs5e9ppP8ycTlNMlQW2xt9GGKhV4rhLnHSeVpS3yIyabfJHj5Of4AVomg2Tr5s/q4rikDSSAXrtz/s7Up8pyfsx8qGTTggPjTB6FrTeraHEIhGDiscZ2aNrjx3DkpYQm9Kjd4vH5uRiY9qdsgKzspoOcWyAvqOHVuSv8cB/21wB7Lu51pzmwaM6hJ8RAEgEMoz4y+9+aYEPqTQ4moILq1HTsGZceM4nSG3+nvCjlVYXcDXtt0nPGOvs5Q7GjLScUFeXfZoKvqsF9iYtEvslweZIiOWJy436dwJMrJCvYntlwvjfR07/aU4gp3iNoJABgqfa6gGHuoVMZJRAweFJ6BTpT+ASeTSkc6To7aiqCNwU+0Keq/9q0idlFaZTIenN5gqYExIg/jBYRhJNRH+kPfYTrY00Y2ukmDbZb/286ZCsBC2Tl1Px0qxNAc3/XhsfX0fgg9UoNkVmpKNqukURK4wTv2Mr80aeEvpdtAqaJO+I3shaGT6iH3vA5ba8H+rABP5fTsm3BdCOAZ+hSAvRxMwjiqNi4o6r+GdyYOBuXJBvjdC652BPzYR+oZ4SDbdemuDjqf3ihrRb+LsAHO1N1Tjxzeetd5Gncz+x5YrYMz1wnGOUcH96I9597QLy8YjVQiv+OcmZBJBFmX+PqsotbflyqWqPXjChSrnBW0548goxAQITCUGk4dR5ueCIH5mn4VyQX/nk9CDv52rGAZMvgnTeJB8U5+B7aUMxqqivk7PH1+2o07AWi1BGuLSx8wkL/4lc8t1aIelWtPm7YjIzkf3vXOCISAkLzqwduwf4YjlCWlVGC4ibRrrBvKETudPg7APMylbu5UbM4uBRzZZNVzpzwpxX9rKx9ZVo4kLpadhDReSsU55d+t48qcHfYyeMkfnopJB8oeT9dSsRFOrtsEkTVl20F6GsFv7zeoMN0B1trDqWSgdmA9ME3DP+GQ6fnUFVgjXGKF0Gu99FscsuhUhx9whii8S6u+YLXvEjXUMyiCnHxI5YbO5B1emQx9+Ey35pwFJaZ2eUsUTizpPfnMTi3zkFDw0qItJHWxmdK5UftLPuJm5if6oCCJJUUUvFEoj7q4D57iX5CKUbs7gwP0m3zDKRdp4wnmPKKYQJmJZaY0WlZCZZEQxMCX9X95IQOflSfK0Jq+XmgIDaSpPSmP1oRFIXVPEZ7+6lBWjRo69x5SU4qohOt34Sq+w5gwILv9xQ9CdPbgRcbWT1lWdH9FI3Oz4Idz0bfhtPMKQMU4sPZy4vCp0vVvL/Wv6ITrsp2p/3AlpDJylNMx5AFTh08izOQ1HT6aWnglzDiCmZEpGwlYGYxCxvJeb/E3WpuUmc3rKzdvqc51XfNNm108Vzy7mO5MIp9DCbUCe1Bie15DgTzm/ygYgFgHVVYgOyYFpaQtGm/ls8l4l1IrAskgobV3Y/RGQArtt4vJ0nE2uUJ4LZEZNBrQ80DJvL5oY+/1mtcPg0Wx5soQkuVoJpGfgbOnQNhzd+rxl1lFDTfsVoi+R5sTGHG9YvUYNPahPmr3w+7Yi9b6PPUkzFLcEbdqmWu2C64faQ7UVO6SQtxARN61TS0UtCc0GSA731uFr3QJ8iiFQZp6UMZjuuy42OIXtyVPt/1wVx5eJawIJy2bLAxTc/xaBvYRsPYjBZ85gR4EzpuMUqhwmRQQyxZ3JBY8j99l0JiNsaDypeAxY69UQrbYudwA/4mGEFyRl9UQgvQO8iDq433e4OfK5AWg/hUwJppkeL7Oh4q15OZM5MeY2l222a9G9ABwCKWFRrIS9tSMM+113iGhLrrcIH2AoXe9K2sCQwoGf14gNMf5X2nu4h3xmk3f3ZLSZfl0vk8WnwKfVGbsSGWXRV1Om54VOQ03QWNAo1lKlAMWQVDf4fIi+N6BkUvqaY/Fq7WtONxjCwTuCihYzJkLzwc9iAIMdOVrYXXk7xbu80/N/crMuP8wsQ2hXZeCxUZPdPeKZEtJzQvwlQ0ubIJW8dX85knYEZwkfnM9rDsRjomHEGGMgSqG829ri+q6VVlzKVFkJOMUE9HgNHqnvw1tgC0+E4vp8cXtmfYglxZ62vAjTRaFAdTHb5tN72iCEW7uyCbps8W1Ec4YcBh8Ob2auCiLjFhgDjrCSetGPMbEIsH+aAGBq6LgfpJKtYiZHnSTex66booLfsUctnRYOlfxC8Zl6CdwcUGtrCmJvyM/X2Zfxp+CPxY6Av2jZP6yzaDn/HR/RT28f7i8EgDW9efJobfO3hvGrVO/SKwkeQGhecDErNJGRq82MxQfy8psQfSoym0CGyjhI2EeM9YF+2blGu89B3RDnXiykPTDb2vbTzLOvHZwUjHHbeOIQXe30LxIxDw05ZgoJCQ1dzUWuwoPbi4POwDTSov6yw/H0vfdfCDqFkpR0hWhFwlAVFlibPmAGGWQXb0OBJEj79Q0LLTNpfH0/ea/dOgp1DKu/yb52bOGrGk/mPgPDnB8Yfe9nf+korm1XpV+8xYft5b+wFzTK0i8Yz6fOHJVKX6dbM51iWxi3Cp7UE1NB5uhhrYqJxvDAHqZWeSj39JD/eB2AffgXTIlziH46Sezj/JTQAyYNAnia8Yi1Dpf0Fnc27PYfYoEucEgzIAguIX8R6W31SA5M7ZUwh8V4tAcJ8UjAytXmHydVL+qvTc24fTOUirdNAbH9mHoIeihsOgbYBqUNEgRnIN8KW68B6zFrGAfyx+XmRX9/M9I4aY0bVBIO6W9jOl+NTdwBx/oTookwINbGPBvMAjxWVpFdSqmX80rNOfxSZXfqsAc0cvrphZA9TBwxW0Yc24aHbKh2yajOkyvYJwCujf7Aa63DXP6fJlDdOU2gxmp2IOrcja59IWLqfslO2Ltlr86JtGwihYFCxqakmopPzS+1Hg1e3TeY2gzraRCtp/6ReadNjFojXGKbjUQWFSvMcOreJA5/PTx6dXjyLs0n83PVXVzxlvS+ggH886bmTP3C+IGIH25twZog3a0YkgGawteeSpP9Hgw/dkU3imcw4EydYzjLhXF+zs1pkNkr741Jekd1OkyBDg9apfGr09KV+gTqy2qRMg7IQk5jAVNvmtKoa0uI94MBpvQ8Teup/GWRCqUO5UTelRgQYzeY5SU3ZjUW44d6XtQThaTf0Az/7MqHdBtZ9gWqtuXwrVJMC9P+LUv+1uH+VqLpqvD9eD+37RBsJ7cSFQadKyt3RizGeiquKbsBerc1UQN+GO5zExfpQyjBxlBWGI6agds6K4FlHOG1OwbZbw3P/H0fegEA3eTXh/dXDqzE5NabcwtJWt3GbyXyvVoRNvxi+pkB+k7EXbrPM4GBpn/4EtwiQmi01/SDrzUAr1O8r7WyFPSivrDQUCmB1xKm6P8EVb4kmVbOfKnQXpplq+of03ZhsUAksOoCCtz579M+UHUqrU75fctE24Q23FdREnz3VkuXTMAYt1I0dN/qLy62gkehzk8/kjLG2zfccfgPvajpTZQtbaUZnjKcb0HqjEfGYYNgoJGcv62paKKh4OZUw+Cq3uJ+3fLRLSHEcolPM2T680ABxeWZoaUyld/hwwtY4c902hOwaQP9r2msfcFxzkZFUtmOvNrZERSq8/CfGjmWq3xSPbibq0ZExwuggn6tE1/qWPhiD7+pfyb1GcQRoFaySZmntQLvO+OlonBP9dtgAuxLsiX7x9bnIxeipig1442t/OnrhlXWGGlQkAujdnbmlTABFQd4Wlff2x/Q0JIAdOMc0z1PUNWBpwxTEUuyrHZsfmMFundrvEetHGRS/CIFRHww2ScborhiRYUdw+pw05Ha7LIozYr0tbK3KzDzGvHcBgGn3A06tfk8Icx7HCkBPTWKg8L8GiEB+F9RwLb1FsqOqEirCU4wYXjsxAuloVvFUnNyuHyFo3qSHJTgGZc0RkjIUnFC7PAssd/tZA5+6RFUwBi8jlIqqtvwWGzPs14LhlW3Cq8w1zU03WXUB6NsZGUfI9Lcbnhm38/1IjWRDhTogWaXJdKQWx3DPGzEs+l57bdVhLS4EpE4owzdnf+SzFpCHs/Hn/KViaYkVp4fo9lS3iXEF/W853AFW2lZsoZpmUpVjrii3Q2hoNswI3FQ320HQUol0pRNkaoyttOhecepInxpTUK9iy/D7gOOxHQabBbSWDU+wdskFASbR4F9PnfXtOnRw4Qyz/iri21Z0UCxv0kdjkqz8P5On46+kcMvQLYb37N5n3dGKDOWjS39WDlGqeu/ilK8tFxgpC5af8OWl6RzUA6YdCOwkVs/j8WwwlHAsNFddeeJHxT0yrcguB5xx0v/Z2lElxew5RQV/Q3Ehuk5IG8h/Lm7Z8CB0YMzsrNI2YVwEmnpRul3IPYVWf6Xu9N5E58ljmrnP677rcgK0nkxSZd87GlEPX3GQRlduffbqOSIauKCX5UO5oTcQkDUoYGTG5W+4OsrFS09JdjFUl0yMuO7ijglNDnHZdFjB4u8aCZOycm20nuP41lAS0Bn+JO+kznJPlhCVqpDk7XG2Hq8VDHcLX3IZ79kgpLWPpK2okAe2UnFyrCCHZtxsd0VOvRNMkbQliuG6PDcRt6TU/gZQMV2ddkC1Cah4AxDplVf5tk0j/jVOstmCZcY01mBenDFonbqVb7Uxz3AVuq6xaQ9dYcRuquEMEYdtpUPaJaA9kc4XHzgzDB/5sCPADSLbsMq+nMBtqYsBU5u0OjptT41EVtELCr/bH/AmbB5M62ILyvhszOLhEtalc82T0ZQ15V7Jjug2ADfVlN2tnTzjmhV3EVM4Mu1Jlk2K82/41VTtWD28C2SnMTSAhBxszeAtclfTPaf5KfsZDn0//hpLerkK0GYBfRiFrH2hqFkO52AwM26BVuBvn7/n94nboZWPT+rZpH8/uRK+acvttGMgPdRWi3fkHsjl6ZEFiadCIvmrRiqn5M/NaZkPncAcXAyXtHxsmltWoNFvkgAwhhc6bMQI09XPmWEYw74tggmX63BjuLvpAFjqYsqykWkQJW1dMyb3rInm5/v25v0sPnEB/cjwzLhcY6QscPxqAwd2GXa5n9VWpJMdFtk5hZ2SZWULPNYOBP9CRuw49Jzw/CgBDBDacKxHeq9WYZq/WsIkaK6OcubgFJaGH7WjTByVP10BRo84+F27thbGecX4DxJdZNIRDCriQbRwAPaASrYRABDMpfW7flEW3f7EwefRMoYCKAKNd7OHnNByfdlDFQAAUCztzGv08jZxMEkwiJCXlui3TZA776Xxk0TUJttDcmcfG8kB6RtE6NPpZyhncbFIEiOxG2BXM1URzslscq6VwMbozqDs2iQ2L13ujrKCi1CSeqGMKXqYnRTMLwBmwQxtW+kzGlsU5pQXLHzbI+hAU7TG6cM9DrMt2SiJkkFPEDpVJWons8xJmUII7HHRRgkfjdKuu7UY6N2ZBSbgZspD9B+EfhjwWS5WoGLfPzF8Gpp81RQbSuKmJc5r8msbf8KGmjLJcBewQ1yddl0uVBa4Eu2pUciWooK2FXR82Oi84Mn1rdu//TzhivM2uGuR3i/SLErgz//SIxWh9pPyHQC0z/PYt/gz3Uy5xcvap7BjlyTK7XiEiufQGZR7QcgfTKbYusKVms0TeyBQ0Azxc8mSLYuKAyttIsYyTqqa8chL4tdoVois1v9vIwK5l3zuwFAHMlFWl74IcjGZvsuAz71myCxXh8i51iLlDxKjDH2Chu8dJiEWtcsd3wLgtomNCEkLVdOrcDnhPcOCz6668pqT6W47hE5Ryv2KSDwJEW5uzReGv1efIVESfU6MDXSNmt9+UGGvq9YTD0VpUO18ZQ/i+MUq+WtGaZkc76zntvUwRmuaYziUF+Rxp8/jYNW1eb3BQ+VCGRNyP59Bmbw9Mu/n+dx8CgfF3NqNJNb+dm4OoAmpsPnuqPqF94ds3zwQbaGMo060a6bDcZn6bkpH+/TsBcqhhO4FQzXTqgG2w2eLF+ezJISIvkDem24xtaa7cYpg45zeklAzJ08Cdu3OcDDBFpXKoUR+DUFs2Cyu2umL4BSWgJ4DqgVRJRdr3X1cWsmTyBlXmQvLzFE8XZiStdmeGltnaxY4TNOVZUhsthfylVbv+VUyy6ZA8yOzlB1WBXSxCWS2PiPsmrxRwknkK49t1UvTYtkJla65xN6w+cjG8WSosi2vRIl5jaxRd7LhWT16mgPAi9HdLcztCIVBI1hEvPPvD0htl+WmhfPTLzVVQOZIr6r8rXTgUe2mvKMlOSOBQhbZzkEQeMYmG1zNbtmdUzBG8B/5eOp/UgfC9QXv2PIGZLr9EuZZ3O8iuAgqKVXpjY2sXyJ/FmamDafl00YvyRoF4eUVfuHg/316uJz0Kemq1dA5t9srEiyYAk/SG8jrHs/g2Ap1DtHEcLKhTvm9x+tztW2OmTTkqGXAF3SXU3iGWaHUyPDLVHuEKoxLXJvSEmoGIEjoMWFvySx8JbrzRcJZebu9gaSiUA8YhwcaX0Cpak3j8FgOc6ugNOwQ/3fTPs9Tx6ql8cvoh4oFABIirBzKZZIg0tFBALVQ6wpbfXuXYFJvQUGhqTZNIa++bg+LmqXbBl8fKHqJ/gtfIScV9oe3TUO1a3ohIOkAKO9Cj7MXnKXRKaXHRmba8ijJwKM1MWFwemMs7RXC329nwN71l2fy8b6WJIhbvcDO7f4CdKmSLi4ejeMBcr9RstjqXv3CN/tmIVXsA8ApaTyF0Ur1L8sF5zs+ekMPO+3UKAa8OfDmkHDHOSK+gmQ6Q7c1V2TjCb45os0vPn2z3EATx0YBykaigqvLLCbHeh1GtKFSTtDCNDgQXbbcMJJQ6EzQQGDjD4TP6LOru2O1jXYKX2bE2iV5UYUdZ1Xhf6AWx1ZVbAl3CN7HoBInCwqeUaG4q2wtMIGrdoaTAgOy13Ry23mnX+IXZLSQCnnzmIok05GfVrLJeK8QCxAk1kMvzIeApCtUUYuohogh+oU8/FXs+Hwi1I6BXh9pSNkf19sDrjaieonQOeF8Pz7SfHqqFMXBMEekU0TFftewCXAanyeF/EC1MxtRdaAnNugLCWJgsLQw1v9rkusMI9mW8eCuH5nKWTHCunSc9WGMx5qzeQOuD26IYczlnvimKsZ8WlIvfHGZ8c5inMDSrUtdrknBpLHqhhF+L/34uGXnWbb7NbgqSUY0a2Bso7pciWDi16iH3YYWJh74+ZUhxlHKjsak8EeUNqUQthxKFuk48UpwXNZ7AyqiBBj37KC2xbOlAWFNstpHEw7Pzi/QZWs2Fw4YpqMXAPscR+gYV3dM48mYaVn8LtGMD+up2G9Jt2lGrk0CyjG4QSVEpkPSQQB/TwuDKS9CnVnrBCthMW8EkOa6u8PYknBeeL9xre/rwxyPX/x9Dvz9VOcDmmk8DB2HmcaLNVMYyTXx69WrvKhj7KK9+cAr4L+tfNrXq1Pt30kiotk1rt3vxSlZYoP8EGYPoMZukIY4R7txT4TtdbmoupLyjCwIB+40Va1sm1lhx9znofoeugS7w37NrTEroHbme/AbB8AZ5OwC0gSpWIGFQkuixO/0fbccCZHfVAio9rGp8AzWxlR9HPKu4iSr1FQqivaLou6MX5ucrmcSuyEH6d+cRE8QkrBl9srPQZsgl9+0dqxGOS3U0knAY0GEFZWDvz1m+7r8s2FFzv7meYNtyctT4wnkDcmbBvMKeTLVViFrdPrXB2mlnnCR4nd+BsAvpTnvA4DOr3K3is0bk8QLo0brq8y4TAPuBJqJ5hebrJZNEtEruCLHM9RvI9YRcuLYBN1zErivj95R6Z9NQuSnFDbDfjri6vZ9kYJqtwrTyJ+8ss00FMngcSkNb/1EcVHnKXJRBc89b7FfogDphnRHEQNGqSV6mlJLITMw7E4zlrAeeRxbFDGsO7FXaYtKAOyAsKHC99/iiF61G2jVSo5LurqnkLWsXS9o0TPHGnW+s2mLQHOQA0o/nGxcDt18bUGaUlJpU8h1aWy5htczfL7QAce3yYLwni9v5aXsV+3hZuYhmIviH+FqUNvI6tWnOF1K8exE263MUZ9TuPPKai5gwZyvuu9zvLvNhJFKyEWaMJzdim0uGA5h/gx9458FYjpQvlEsZx5I/4CiP2IouV7l38WY1x/VREU/9WCB/Wuv6tFuH0MarQSyfpVBRqi6T0asm0+9HJrZBO9caKkOKeSHi4BrABGRbIQe4uuLSpN/8Nflr3gFezjNUzKPSZpA9HRb3YTr+0GUhKnRLfeelMUh8rd2srSyyjEjbjk3a/hQUkyGbzwfMdj3LJMG497YHHHKJQV0fLs9lzH5Oi+a+q80NNMs1JtePsj1yfHR63ywx2J71w0RJu3B/bM3pHOuAAP7HFy50IvCxbZvXIOyy5hb5mff+42xCScV0fNhQOHr2uBGEEXK8vb2par183yyiATbUvthSm1zUKTEQ4w64CaJ3val7PPR9sOmw/YbTRv8ff0GTH+f/NyxVtXRd6kbrq/fM6ATCFQt1dUWoBwqz1VwGQCHf2Aqty61GDfNG/0WQSOzRio5K945OTBXQAGw62pmsAVGSAS1HTPsmFMzcHO6R9qYw8w7ti24T6A9WOj3YDuEbW25vjHkMUv0f+QhfGSgwYNO2YXUdaXKBK+ehxwWdzLl0Bu950wG2nwfWUw9GLVfxGB9ERGkXBfAH6qR2ccT9UHN2/hUeMLbo8FvBIolORZRCF+PwtgABVNot4T7ZH1ywxQlV/OBao+caJ404u1ZNZq6TF/CSsO3aKXITObA+b+jm99HaCNs8g7zAf+ZNPevVnFIGAiukQSDGbGo4BgSyYy2Tbv1ZHU5X+DlTrGgTKIa7T8oWZx7CYL9fPPEDn9qRBBJF1G8hKOqMB0L7aiB9Ijq7qomY44MJ/9Gw/YKfL8OtyCkIwmYW+AQmauq+y+6vjkDEqXa6yUhU00hobVifnSQCD9dQMTZVryjtGdZdhVr16Xa2n7wCE8mIJMwmtq5DUpoX9ea4EwzSvKyGdb0VpoNv8A3HxOmpoGXwJ8/Ykiy1EgJbrm5hMG1ZbzOdZK/txzuDKf3Wvv4KlK9te/UxNqnWqGnnZplIWSSXVOM503tLTNxpYEfLnyf5ZZFDXpvWzo0GDil+f/6zjKB68BRWa4+B7wmYFuZBq0rxGqN3QD2etSIsjecwdap5XdRygOpIv9yFo8cdnmXJmxVV7W4r/EuvW75gSvmZSnZA4ljIPGfqt6o96PIKIyw+ILXJAQRkXQJvLsJOX55Iv5qUV3vGOhWj1q6ZKFHwhJMa/J9lBuI/wYzyvjOtdrT8Vn5SCEOy4B41hfU2dxpUKwz03fwGY3EX2NqV3COFSQsOKhFRxasu2jlvlZCNFVoxXKDMOT+7OpFW9YzVVVIMutw+3v25iGLTY9A5cGf9wtE4zxsI9twXjLZXWcTubBoEoaasgiN8mqbHQofpH3psHSqmW/l/pLDGPcXqaxa7lVG0Xn6FT87sDwWKt3Wo1ggG1rexOE6NTAWRGSL5XIWsuNwcMacqOsVkZxkNuT+rl6XKft8cByHpy04PkFFrxOexUCYkQFJfXQHJ25UZLPa2L86T7LfCvrFRlJuNUFtFY+PUOq9yQL8RWiwpEbjVSMsXCblZ9flM1XXoLfOh+IKItsD+WOoFUbV8yCCGZqb1mmCKAjrf3Y4JMpx2OjzuFWLuLpQwI5S3Fijfsmp5nvh27coWuKuhsAsUc4TvUsWqztkdCP//EEC546nKDiuknl07VdRW8fmApMpRy+Qe1tnrIfNveosuTPp7U6DO4FB4vn9mnY+ye4EuxYwRMWxnc5t2D5FFa6Df9B1OFiG6k+IN4MAp/lxqHfPBYdO1guO/fVLCQG2Z5lR69ItZZl6hrDLoQwtFtbYmPekhHNlgMbyOqaudZYn++1p/e9dcTZ3v5GZGkJflL5zlrnaayOyS5B2S7tLwASeu33WEPOtz5RuzHX3vbaKIbHV7AI/z0ooQfVgzoN5JAjdIqzB8NF86db20T1ItYXpE9/WekHnT6i5hnTS6EAr0o7FjXgOfxaR/wG2sJsOAgRqb1xs4SV8ysgOOHZd3kjOfRy9v6AZgBm5bfIKI5gBky3hSEnMMunUXNXpze0H0zwq2uLSeUW979No4slA+S7cLouCRcSrC5Vvoaw7Thwsw6mjOvxdOKfGpAqicYd8XJtnR2re6/2LiXBWkQLaIp78qyGI9q9tQUr8DaM4btRj+FRhLH/D5SbEDoWy1nTJ4HwRiZ42OwPlnPKLM7TzaLo1XkYqs6en6qVPU0+AAqqQjD7/HV/a/prVff3lVvkq88aAHjK3++TCjhAMxqZk3vCKkztvAl0Y+ciX84Eyd5j3mYf5Kjw28HBj9B1efH8dh5i2ntXAPvn69+UcE0A4qiCsMtrhjSbDc1ZxV7XHTUyqdtGlwLzK1klXNlviCDdUv53SJtDNrw0PV+1Nvt2kWydDUSAjHfFYFYJvNGtAfs6a/YVNEOa9W92wzmU7wh9kSUwkBX4MPPPArsNTyr4sPdqcM1kO0PwEEKEddTnzz71KgCCe4phjPVCQNnO4AeQW6XJ5/aX2s9nLEf32MeBqq6RDn5TX9AT9Lzcf2ZKp9Ic0eytl7L0RpQUuhibPn/Rjhj8mnGpkzCNzMSjF7zLChLlZOa6PhR1QeMAn/vQoTz7b+LRsXFVcWkAuIr9WepDoj1r3JiuZuYa/mkvwzM4mvu+Ki9RtzmaFr7aSXAKxOWnepxzgZPgzJlWm40LYLBxEt/o7BbK0EPJ8SXMpXuqXCE9qpr9lyNQMSqXpuVdTE59E6jiXG84lpoPUWo4cY4eUjXZ56MkK9e/0X4bkPvj+hEkxVrIAu6XJlkGgfw30yW42YTK4w4zsaMgOkehZeWTEl0vVXJdZUBHA/3evs2RF7Ju1P6SMfqmauVo2ZAG67ySDFysx578/jgJ18a9doGc5Bx7Oe5+lXuFhXteIp1DUujemr+D/XgejYQ4XrTY3G8ocv9UQK5vVEvvhZAgRi2RIWaLC4ECIEZo5+ZyoDRbB6ot4fV9D28nkzv6C2+xor5GsDqVtcNigtYOLYqgyfrJZlQUuCQLBBvS14xpjxRiHroxOlBs+m/dVMhhMa2Bxx7KMpaV2XtqUW99rE/4WOG4qSpXGvLu1Xygc4e//38U9SO1H75O6jEnbvCM3H+RCOjN8LD6NnDQig9ea8lilZv+vYRzSrBdatv/BCAT3/qq1DYv8gvXI2iPqvfmErHqAJ+6/lOqjN1eG1YS/Rb0rLdu7Eg5Yo4QFHZR5CfexShOOel3ljGuf8Z6k2NcQKAWO5eRKoSvQyhCCQwfm3cRo2Gul7FiURJNAOQTSqgyUon5bm35nJrFpuWfQlM/we+f4QJaWqEUUPFYf/sMxGpgJ4J2R5IYHZlfYXub5TNMl6YDPo4iBTw/si0uVCJXqFpYVAYdkh4UcOd4fCI9x3kXfT+kwr7D9L+GeDuqMSegpPXfXFVOysyAzfv/kVBioM5QOglYMYug3oPx5G9EI0tmAJr93T02VnW5c6d+cngZfwHVJ6jqmzMInG6+VrdJSzJuDrl9AEg5hV7V20TuY4gtLZxmMwptMz9IgrE0z+BMoe9fGl6lD3svCk1o0FR6ypHFCsled2LOZqguKnEI84CZkLkifyUoG+ATtR82Z6OumzZ5JLbPtTWZ1CDEp1USiAowC0Pw8g3jq2heCgfP65MjHCBAztPcripfayoOnnwRbPEEBi3Bh/2u3a0mqtukkrYgBiepXKE0nkNTGJyVjbeAwlPftbuqHp5CN5I7MMv2i8IsmjK4AYocU/gz0XeQQJFW8PUYZEyWs114Y6uy+8HxKl+bwNeP6+D+/+DYsZtapEsrxgnck4TdYo1RZb0E3gcaM3xzpRo8zDG1PdLfvS2JnAGxvEsCPvfwmh1Jk3ihjYusNZr98wRsxEtfHfjYytznF5qng8tCBlWDJcv5rdrrBqeKy6JTHR/nzWgYYmfI+W1RKcjN/O9MGP/8fVqOETB4aFl0bgHYFrtAG93CcVkSYEY6GauGIV+C8ajlQCuGhKPZYkSYavWbW/NhuGnr4Fqi2oaqK8DeNi2GRTgg5sJkcJCUfPAHvupOb49G6XxNJpwq5XNhgLdgMdW07v+yUiZfyghPD2RgxRfaIRqby1QJ4rsP9MpSvKVuhd5nIJQrjQ1nmm5fQjruNYDNnXBgur7mQLlvOTJ7D0KKijKbwmxP0YZZJ8m2TvYGrqCJHcg/dkaqyiolFde3tyei7RjCjrWxgghck+yyvCJercPRHWuvenkFHVKVgBqF3NqG7CPBpmanREjkWsrwidb+Wbg6E+r4fx9admYTfwsRWYoq5s3PGrmjuzUCXBFvtOfNwRM5VVfFiClDxLrNfrQsKlrOPDH1w+RmRUmghHAbN0hqHESVS3IFW84aHuQNjxCswZeCWnr23nE4/6k8N+LHoGLDWj/kllbq0zg4jFlyziKPqLoJGv/JYcfJiSe4hqhuNC20TIz5xeSQqso3eBvhFm4onEy/ShkCuyttvjGi2BmGPjQd23ZSde4zmmANLJ6gSjYc7ligADYlD0zIyv7W+psp67G93o7njYRFYP9TCTmcQ+vg1uizCQampugDugTC6wdzPse4WQGuckCGJNCTxJYlhH0HTTeguPWynlcbbxE13980rdLnbGs3l5EDFEsTHghO0wHhD7oWNTX9iE6x9iPcteuCy9yZRIo4+lN/q540IastACGK16fBZtOWVy4BJZtFjdc4tlt71Fp7ysxNJoKyLh91R3GCTHsrtbHRoT9AFZuTbt5ob3v91px9Qx9dqspzMEqCjuwhxpn2mP5RmCiK0wSpB21NBK8ETYnHU0winWKYXYAv1AHbfGUEKNrm6c3a+AD4Axy6R/pTMu9NzilD7YuSqHIVpAVe0PQ4t65KYQWqSaDcT99NJ6t4b6BMEQsCdjVp3FTdd3BnOEO2Xq5m+gjC90bElue7ybQh4Dn76BPTNW5lapafY0z1mEKbqS/HKT6lFOryFcVeyT3vlnFRgIoFVbDg4TYCIkZOqG4VaBLZl+ZYzMwA9tYZhxfujWIaIE8p3e3Uag9forON/s9BJZAA/H7FsAuYp+Ceave4Z0FRnBy/hzw5tg7pAPEw/De4iDiq6cCZDEeyFK2UbDE9vObNOGROZeT94Oob8hewPfZid8C616YXCSJC+HiZME5aG0w8l0YhyHkXLio0i6hZcqmLbiMKU2VkVNkf6Fq6PY+W1eyiUG4XVP3H2fzNgw9SNDL1Kzis39uUL9H7mm4G83/HkN0OYyR95Oykn09lE+YvkGQo24nKfBfeQIYSRW7QpQxP3qF5uEb8apMyxB98xQ0qZvnwkaYaA4TeFlYG9dVBJS5CmsX9Dq3Czq44M7R/P7T+uQ/3/SpVgELwg70N58JpVdvi5quj9GzcQCbGcrrrMf5LJHT4r9hKnqxmz1P7ZFHffd7O//Pa2jvDL+WzSFtONlwhuGGLfpSaLlHtK4vujkBBqD2GFUo1LNT0SXcjYV1mbBQk6QtqkuspHGRxv1CsS+ADiURLtwznHbGpq+0cUnTB/TmW6W/6oSmFoekQXYXsLYbXh5o+IhjPSoYHlRpqujZf9YSJCfAxMhUWCrDG/KCrIywoXXX4RzQhiRyVa1dfDti7u2MGk4c4s0dAeZkhvWJRdHkO73SsZtT/kovOTKjhsd2f2MF3QU/XJlAIyCxfYq11pokLaGZ3NpAROtsPmSCqScYOVBh3/iJm5NYkd/HNxrvMlBKg4Aa7KIKSWmQihZfR5zTv98KWVCOsy6dA7lRYr8kxxnbwvhHHTUEkr2L2sn1ZUuRJf6SngOgVAxqARBBVWSxqinkWIo/uBGkaQd8plt+PrEdfgJIdxC6vpLkea78lS595ftstKm1DE4Re8XP0JWOsZpGFjcN1BA7bsZaIpBicpSeHa3MIEV7DRl0NMZTXzb2s9+mFVKvFmiyV5atY/mN8tVyyAEGBrMJjPLBGT96Yl8c1mBSV05W+71m68xOFWj8vHrnAdVRaFukyt9jIkzTV1zO1TV25hq26Lxg4sqZsHVpab/4LcGSO/kyTkhMjzzW2a1vTlbxTH+IWPhFv+oTSnacDzV9IBMn6JVJo6Et8wuy7KpbdrMRa/2ccjLzN+pKcVP44MxDhNyRYfZCseikYb4DFEk/JYHtaX13HoQX1RzUPheNvf209OOrINcRpcfpfPjp5RmaYkgnaAwwQQzKqMmLSnVivnQ3zcay2uYezR/dOKVbk+YB6XN/E6B/pcvntMM5L+77GCyJs4y/5gQ2ubZXR5L5RSvDcyH2xYd4ajsP+RDptFsxQWLsVMkXMtSZTuyTzczws37IHOvne9WAbWOMlELvRQiEnctRWvAPSICGiiRXPY2OBuNpip9n/9FJvbpeu6eZqDPj7jtsFLvhjBIUzOi4evU5JBcvMTuNjhpGcnQdj6mcJw8Gd6o8NpCYcoo4pLY30Bq54RFkwNTbibiburolSWwLovQM5RUopRy+LnX2MGgKErzNUFqE0y1V6tSFxax/jS4HpR0zgKu8xVtposRWOAPgaCKTkLLFKYyFDo1PjrC5ejEt6K35jjkjf7vXUs/dWL/N65w2c+Pidzd/icg9M5ZoxzeUQNuhv0xqETCIXW0UDLmFS8Tx/beKgmMDSY9EQ1hE+h3nkBSltk8KWbrKzC54MbAaGlRqe3IJldVReunMyTVU1wuaZ6QPA3LOJLvA+/MpBYIZyfzKzeyixaK4o3XRnpHtjLslMlH/qeOza0nhH4qiraG/F65POe04bzNn4hd1ttLfQsEt0b006z6qMITNhg+dFEkNyiNnAmJp9BW5rw3LZo5SCwT5XoigXSG2aEwopM+K58HYjvkYdybIa2A9nl6banE6LXeD9VUq1Yo9PHA0UYQb0CQR/hGKF8xzBypHDZYovaZzbt7+5bhuTQGfkO6zwmfbAOaBI70uCxiJZrTdSiXnErB2xlAJWHqjXQCanFTJmqmntkz8woB7Yj8Ty3IxM0r5wGgxcoCKKvW/qN4IvYVXrb3QxgsyZ+cAYDdv+yo5IsqqNYpq5c3WsbpXNzCux6y2Z+PMDmftKqgRDmkSyd8YAvrYCbugMExIDMpmB2LuPjQ+zj4ae0SUdtfTUc8GU5YSym2Nec6csnZRkXfh0Xw9FLkB0S1oTIoMpo245/c/DXW8xxB9QcKuTj2KZtSVfo1R/oNgzgHDDyaPPqon/rie+4lddzPzsl0GCl1F9p0SqURSojtpSyOCxQqDsr49M2iquzpqkCtq2xL1WYshO1FYKu+ikYfL//zRUsx4Suye8OebghZ2so5jbK9PB0YIVB+3blznBMtkkBxStefcWz9wcrO0uSvhHNg2lZoA669KEZaRenjHCTmmIdgeuZuawUdZwEQFEw19R3jpPWyaszVEbOSo8J5/n4M2PbAVVsGykKFsVJb3gTpk2MjdT6mR+Ua432DBBClMU1fstVigTBwI7VlbIJE6w4IxK4dIOuVNH7DHMs1Ai+E/ItPYqgU1HoIVd7dQnhGbHw5vkjw8ru/rbiEigjAG//O0sr/CCxtAZ8i/qRYIAjCRop2V1CcJgPYQiYtNs02W0UfmY2Zd5l6aP3TSFvI8M6BgIRgQQWLjOruQlrKMBRVikMEgvC491+E5yjllUKOuVY6sjcG3BlEFU8eljI27NjwH5pJFOkcKGsstl91peRZq2mrxyExulxRXPExYolh0tiA+MjyXrME11j0JT0BQKJyWi3O1HZVWmeKVvyBf7M0EdByx5JImyRVbRMCEddk86h5T/zmemV3S777EVxFbVacS37tU3hUARzrNjL7/fszh3ctdCh/fiXkC8YfHC7+vO4h87a1r/W6bqZmVa8XC1LdjKmEiDyQA00cI0vhSGdSsgv/Rez8t5aQuMaKFtri9jCSDfcK2zSPWp7/18JLGFH4WP6hjWyP2xYB1npnWSoTFPebhgwtSfE9QXWSCFcO0KK+t3ZedtBnD5ed3t8Gq2m99PHU/D30NULSGPN3Yof9iMjSXELoOQmV52jU0xJXq0PIW0PjOmqh6UUi6P9r/cruuk9V3k9Ma5Zng45Jea7NG+sQrCLZr0GitNaxN89NznxiSD/1BT0TdF0AOvAVQ+KhMPwqwuKbUAIkfQiWxTcv2BSQ6EUEmyBrnIwS21ncmB74m99em9Kp4qMY0Bty1sTtnIkpBTa2pGOxOVbp7tI1OkcyCN2o8Fy42JeVRowmGK3O6nt6z8gdYG/tlrYOSSUlQe8f8DbYw43m/z8qxQXg2oN0WclSs2QnX2DTjeDXWaZOuHrkMWfWCwoyit0LyWLUkiRnr5ezuyVkPK4ECN3euz1hjZwfDzLDBADcwfGpNDT//YF5N34gsUg+HoXRSbG9bTd1xcwasTs6ZjL67QmqKXG4lAolyP6y5IH2l5D4o8s2/8FHOygmoHGH2fmfrBLF0f/54e13HHbshRO22fARVZJbG3I5eTSFd74RVnAjMWRmnJCHuVZcluGdoM2ijq/aEBN72nzlvqzF3FM2sgmfIZCTMG1Ih+pb+iclXk/xOr+j/Q1aKRIa0dc/nPcFyWMOYxyzTenpJtYRk4tsp6oTaSRZmCG1Se4DXVo3sx3GqMX42idCMnCPh+3WYBxQh5G2aMzm7zYK3BdkiZj2FRVL04/nC1tKjlI7jhEY25rKinbiW+E89GU61ZxnMMEEybRijX4AIhvoGikYKKRbNVUWpAhl9IxRgCtKK0C+7IamQJhEvuvXOuWkq5/dszm9bIJ2whWe/dHNeuvM7KFTYyfUeSYC8vIGG5y51Z+N8CS9qYGcUrsHSEaCHHYb2d9A0Q2pbuxxD2yrefPpk7CTR8YQdDAB8sB+Bc186pCyzvD1AZzAp8t8N1rjIpkhyhuW326gyLCBMkw5BFUWqygDCgihW5lHeN/HKr74iEzAUfKSxMKr3xebGngh1V0KPp0J7Ouvhpejp78OBizI1imb0ljBOV16uXTqWkZl6Xb/i09v7y4FSapp2H1KigskDtqYUyv+NIqTtZ8G4nDxY9G9TyUEzIBPpEJbom1UZ4z7C3RPaWg93fAhKYp0gZqb0uWMM0ydCsxSU7UA+fhwUkeZEGxUOf22A7ySwSGiX0IDzUDPLyex49t3UFU/+34dFVUP1vlmLyIZwlnwoxfHo9IAfTnErqZJ5dk8s1iStrBR/lrK5lMHp0/EBuzwNpCG6fKFZVwYox9qdyPePXjfe+QG8+HgrWXMnJ/AwgdTLWEd4WbaDJ2ntQtsfoVM/dS+WY5AKdo0HNRPCleUHKGrQJoslI4p1VW+URcT1Jpril/ynC8X4Iz39SuGYj1Za4zH1kVyRMuCmBQWglww2i/Ba3SpCyp1ksiFfCGI/xO5cQ1owBElyxMgvhDcwoWlL12B8XIpvmOVqX6lwfCr2QcNTN4UqUx93tKDseURfhNGIAcMT+Yg35wG3A/nFZJdfrvV5/GCpaRibG+gawXRmA45rNEKFv/Wik124/aLSjaypVL8t+bhGrNAhQ9YJQWGPGK9vhKpfAzduB+QjHHCgoY6XMe6nZzyHHieBIOLmabhR86nIRbthj4foIToPnKN3FK1bDg60RCTZ4bWDH+strlAhhnQNQNQ0I/00L66cef3Vxqro9NPAzLF7wR2BaK6ZnGZmFO8504HR3HibB7VXfuOlTYo80A0VYqR7ZtbF/kvPJUPj7pJhXO/Dri+2mUKsPYYPzdEPtxMDfM29ufyocZYuiTAHR8dXLv11RtHjvMR/AdQItEp3usqUyrel3o5//Y2szvtL7YqO0NnoRbeWAiQeM7i/ZmUh3xPL5uQa8CyDEsoNREAycUFjXMQNZBZqa0vyXVaHeaZ7P0YauQOmJDrRGU3ANAJ0WqKW8xnMBJcHtWC4S2yU4WUIoHofjcrTcDtAHucd1P5R8mJGKwGuWl0uI6LWVmPNrWocnFaijNj/Bu/IQKWj9ZXk/bTbzMTr0Xek6XSj0H8oQt+80CkhYiKBuknbIGsQha4fIenRAUS8pVpyzZ8iUYuWy+iQnRWYd0ESUlj6O5fN2VClgKnL5egqDZcDzFNwve7kiOEWqIH8mrplc1pOxh65wbckhCn7z1KrjzCD39DN06+kuwmXfAted+cfi7OovCVjMdHUvMo5+5pZ1YbZYsvh+uwU00DHcdKchXeqZXLQd1fu/nRCzJW7JCHAH0ezsqo4vW9dBb/jfOEIUekOm85XPMCiVF9f0yOFCYwON6VAA1fBW1glOFW+FOaIMFc72wwwKyAyjPk1ZOnsCa8TFd9z2rQ2fd54Z1+YS1zUvG0YL9cZESmmP4kk1Mi6FMrjSQ9X/gqrYsXkn0jyYcjWkRvJm/wO7TKh5FuuUjy6+gWoQkke5SxpJisjC6mJB2dA5AbCqy87IAZMjq93Ne6anW4aqCeX8WPenjN2WUlmKj6g5Wf5UJko+O6/r8eNzTDGTVF6OAXBlQsdnH+u9wWJmM8YrH7Z/YsAiCfUWrYNwJEj4C8H6wewBDQjFV171UVx7VZ3HO1HKeV4HHJZIzmIIQQjjSO2Mp7GYlTdxcJxHLXIrgnx3pBdLiWDmb5kvYuNO02Pd+VuuRP81S2Ss5PHmst3IRjAY6VJYlW1Cu97JTQHcT0rN//YpQI9gwW7xhEWR5mIvMr70gSdyC3Bgxoni3iyEUyr3gGHQgtkTHMpOiE4PFfyVUBWPG2HB3F348Zh0TaJnRxuBYnpdEkU9yeBbWE9RIsIh8t4B+rUvZ8v1VW5+pG8O+JhqbR8PEmQe2YlrFejdSTmAlN73wWTa8yUnb5CmVf3c17YK746lkNpB9gSuzCGReXUT4m6W1qV8ohBk1Z57X73t5vUCTddF6cZadLO/zH17/KD4pW/66vlpZfJN97zT8JMRdBSgKTQoEH3uoJwTG4OirsHt7bcwijL70mkM90N8g4LpJmZ/Zo/xvhFZ9+gslyc+/SAFmuXqrxYFRFsW3lF7GY2PcQQDC/YqzgeRSCXGRngWxr9R/6lHiqfMprchrO+DoYHkeqx1IzoZh+jLl0/pcbDiwt3VkXniUfK1GrtB7sN6kTm7m0bhH+86c7M0nSULni/pkIOMhmm1PtzB5WE5D8E1xtkxGdu3+jcWOZYFDFZRIMdRd/c6PspNfWashiR1fqFvldt11H4yRizVeBhlJ1A9emYg/+TtdnWkohynxS0JeBUWvXT0/a2nBxR3dYY6nnBrxJd8Kdkm37dRF7X82+ZCq/Rc0OLEKaau7h2G6Y0L2zCA1VEiX8HNcBNgvZ843Z80wiYkkz6FPMV6fVZ4fdygzH+NF2fRMntvuN3WxnJv943Qc5LlLCzKx6JrkUC0o8tHRMQPiL1D7oAzJ9crOfzA/yT+grHJTVi6AMci7mLqxFVT/rpMtAEdZ5Ov8j4RTkZ7pXDKDlyCFdFliDOLdynJoQbGU4GkCWc9+BXgzP8TbE0e3d9W6Eig1AF1ewmnXKHORnwgDGuMTPCwKPTrADNcEp4iCNN2pHvR7Gpn0T2FSOFrJKwEeZDBvrMZfJaFpWKlv/YCXqU0NPQk/ip+sOIwb7P/4PGtDy02RM4V4jC2OfjPznVJpLuWZUOK5ALBEs2fuI6eb/nMd0TQMzywV/icXyTWyyjEGr96+xfVaWJ8EpMImtgjbz+5n7gKMizLTFuKCL5V0w7toCV3pQkVW24Legln0n359i1rv5cDjELfSQHlzSVZolqsQ39wzdTUHhcsvrS2y/g1GGM9xHCh4CKlI7ncclhI8zFug16zHgNU/tKKyrh9DMQuCOgvJXGc9++1aGqotuQqLDsTxnHkb2GbnJxpKFF+j/e0F/nmI1JQGJZq7qXL6QxUyGwHvHG1hyKv/F7uugG5gcDkr62SoSEKh/2l2QkjRtu6guDj+bJVHPww5J6UW2hmkZbMXNFesYzrnDu7TTGowceOLv7+ZTHeRBDagphFyY7DsJ9EbcNjNFMW/+K5K7Yu7D0NT/vcID3TlpuJgIsiRGEOai7mZqHoWepOS0FUFXL4EuVSHKzdATMvkgh/8ELXh2UPoUw8nhRqdYaxRGEhN6MnIGBj//pH63RSA86wbvlUO63Qu2NXyR8AWdRlAYccjeGQmCRGHuDLALP4OcI8YkYsLIa2dqPVb3cjTlMOeNpKnsv0fFZk/4or1z1coFWLhz6tA2+DHWyyF8nWnxxy+IJ3SYKamWPaoVxP2Mo3cm9MHe1fDOXR5ZitvAIA+8kWgbIk8KIUkSlWy9hl6KB2npljss8YLg8YUf2SfcTKNrDkvbo8kq153aTUYcqxnXoiW8nWu2X6+XmhMc1i6mAyc3ZuicehL8aLcYNhiYfxz9Sn/W3ktvJyixLsz7GY/z2WE30VpnJEQKqMN5IfrRN0dNxhyE/DZ/V58OloFDxbnx7qhipfb9ZrNlpuV71VBL9TNmwcug3czm2vnRc9FgK6inmLV+0VVrulMc6VJ+7JPeGmG/TmFz0cWEjSPTURuaCYY+Hgz7IHq22bMjmZ8cyMd9X/sdsCesb9UEzX3Fp5zP0nqhFSo8DAjwbVYCC2xxc6kJp88VUSfwaMXZ28tQ0xi6ePEsu9WUixhIl7FylgUu0BXuNCIhr3KZJ0RgL6jVcZASFlyTABTHavEiNLweSaPtxtxgnpFGCzgujE0sEhpIqJOkB39O/SEszxoV0x7w1x62TFkOcZnFEbO5E+tFo/GjUHqfVtb7q3+jFGPK+eDDXZsJIvnuTjZXEtbkOZFVI5E9Jdly5NUxxH2NrcjeUT/sYdglg0/9UQdQgLA6P6jAOAZpmopaXtkrt9UlI0jrKZ1lf0oeWuXoYAQJXjQADXjZOIx8Ayad5c0x3qJhYxuhuWm4/59oK+xmG+pohuiUg1FrGeGld+xIemJ3UgTbJCSc9+VnRRj6DmwQm+AXh/AN1szj6n+g2fSG5ALjGvBGwvCBQwvccXrIKFVaZ3C0M2Q5v83jmeRs00fB0zfngD6Z8pGpIrD0vmKoLOAY6n1YGX654hDt+xaxsWJLHTPthhFnCWTECyH6LpaxpH9k4W7WP+vABgj+A3Smfzw6M24Vriv2tFgWAUfqMFvmzCXjTmwHN9RbHlIHzdSK8mFrwP2GG+yiIkbR3eyLaQ/JGctY1BvYx84wmsudmwl/G+HB1zYUGGn6g0nHhC14/GLFDEqS8XFZJVvKK5ezXWx3deB1cgV+PcxK6lHpUpSH41+wdc2evpMg+IV36cr0TCQ7u+wwexsnExaXM4/UybOlCk8xubwbBafHiAUHMeABtryHznfxoaaZwmEl+0NBlZI1J7wW1e3WOJ2OhJM8iBpc3Crf/JqGtDTNs5N0qchI2YfDz9Txe+WWYidwDFU9t0SZbtTZeaQUqdekGdqndXrM6jW9lHU9Tby6w9+a0yX0NcCKlacppR1hk57sodTt+96CIQ/yHN2dF7ayaNykUKYqTmDQR53x0c3u0GACqingGZnP0+PgMQUC1FB6IvS4SoUVq+KjCiNH4rzyr14vGAzwgch5LiQYYqgo4fmxJDfgfjHvBCCeYHr4VHzd+KiGNVfJ0K8j+uFHFZxOQ4Pk00MumyVXoM5wcrPpQlmAqxf6nv2ts/GpuRYF3W92x+o85PDtg9mPvou9PY+U35FOCkfJxPfh7qNPYKGFZH8PSs0iPpHZBMmzxIUCcAti9LkutNOdoowaSG9jk8TndDvJ0bpoH67eZn4t+qrFVHthj1KJcsioXzmaIjZ5PlAlRXPOkPOSOmtI9one114ec3eSdQrVWcdiRBnRFkIw+olGntXW/jrt07w7U+3aBy7JnfheU3gGL0cME92CNwu5Pl2K5iJhp8PRp4QMit8N94gqrxDq4SJVJJk8HS2tN3KYLohZsuG3huckCKHjGck29j3pHwetFELwISOGRdNCtfeSozr5/POvdwj38BkgNzhB7SLVNrn9ddFo99n52fkqEpP/hu5U0zehd3tmcFfPI4XXp+iuhYK1wWGjSuh1O5JH2YVPBj0cU3TmZB4ywkz+MvcoNGdpGz3T1CokTIq9xSmXU8I/e47GVctpbuUCSx6tNp9o1xDtBolXAo7cDfb7s8T0RJrCGtkUbCk9tTihf78C1mo7EvMlUxMH90E5TbvHimv8bPkJ6vaow7xpx8H856AkasstAID/YTwZTZqlfqwbDDtst9DdFzN49Zw7Riu87UCHFEfZG/s4Zl1J9sTJKGylJgp5ZYrB0fFEyaQr/FeTEdllijvExval2pDpqVUJUTBrYgaZw3CR758jGKwhgf/OdiUWKxMloTIQ7rAxPk105EVxKZTLrkkHCAlMXspqW+B4Y+sN+QmLzVLwOqebouRFi1MkXIF/VLZ+xZAec1/E6Ar0mJ9Bk7os40c5Neg85KqZs3kDTrIcCaZYjOUkM99gGrH5aRR5rMuoFicbgXrCN2GxU/li/SHXy1bVuZX3hymmFIgoOJtwCuKUtgLBuUBl3xH04Q8GDQzcuEvqUqKtiliDIj18XS0+oGh1xtkBrNoNcXsUVmJ+K48yDAThJCx0MdsfUDVFmMo7W5Kfg0vE46Q1o2Ho06AZrH/YpBi8cSWL7D543KtRiKpXJ+EfmqtpOPQZaJ0cYO1onBAl+XiXXfVJu4YnXFEqv9zTRmaxGMEjBFs1SBBXUq9GpKtXvPmF1WIZ9LVqkiv5mDY9ATABYLro7MgtN7G9Uv0MDgpfjfaHrge8fHyewvAOLiKWURApuKzq72Pa3CDe370CqEoA62RH0F2XeDgote3bOwYSZ4bAfppXP+Fe7QaCz+HOV/0jtY3kHoHb/o9cpIfpXrh3WBWzFZstCJHpyohwdL/v5vxm6qReQjWtDfAwlI6WY+d4H40wsESlmSVJilvD6zz2kDTkXkP9sjKWKASWRfyAgP+a8heq/L3ylYiOyVtvBbnT6CNF+e25TWYADoKDt4pTte8UaRP44f48OS9bsaZRt63pdKBqjQvXckXzM/gOgNvOIQYGqBw+WDrizKwBO9efr2p5CPgBBdWcbtlZeSECbGehScoelBZB8Vjkj4/mbrLAhjbebxYm4ItTeaKr4pC4KnmCrkOULFMpzD+ze1PAwlDyDvHNfhK71UezulTzJu7rKNZFztbV7OQcO1Jd7ReOw/o06b1CIXf4Dt45EY1Qrb8KW06jfXGsjrZvZyEb4/C3pC6PSLO4zpJpDHVZrIo62YyFBWFpEyDOWbzdxBxJ35fuIvL0zJVfGtQtUvureojBSgh/hbHsUef89S2xJ4IK8PAjt6eOZoGfB46nowxNrFQSIaD+9y6Eq1Mcllshd6vncAOYgMytukXjxedaqfoQjBWZmcvCVsfFs3SRctb3ADM2jS2hX5O1uj+Op4WZraGq0IhOAG89/V9W/XhVNjhANxJKzaUbtpZgS3z+jH7pQIAISnb37nbKvETUCUUezhv3M1c1UOZP5NaPkAjhalzPQ1ysv8PhwZHbB9QL2QQwpSWmUWs3E1sz5d0EFMfT0LXqSvtOqCCApTC3vdYgYDjSqRFmYteXP4DNkSNhs3BZDyCJV68B1iXuUX94J8LEQ89wkP3gdC33X9RiPNBEflG5vORD+h1pK7iTQdJYFGVxkpXYMhN8bUAz1lqlNauT7whQclVugjz5LoVZaH27DJUsYMoUfVPRjP5Tw+NVeaWuvvigDVXy3AA7GGJrN7PGTSk960msmL/cSopMc+n6kum30ZvTe3Nd5qVtxjktpfJ5sXpJpTiJqrirB9xmAaqMNh89rXZDZ+DNu+/JXfyBEbEP7h1j38pNWIhS8ViNGUNQ26TG/1rEpO1fVkO9AHM32lJ620gRejIXkEkB7zJrreCV++1RCDnmHoCfT9dQDaY45ptRa8xWQEtvMft0NUF/abCvjJQv5LHgXb+TKzBcnqxmNNOoOw1Tin7NHyHrUtjyMe4Mcxsz+U0f1GU4ed6ZqxyWq2iouuM1Sybl71FsDMFuFAdMqKa9DJ+E0gU936mmwfFIXMcXX5HlL+cSaicunn4oNXz1E9mZSDtn1sWTfYWWC9nzJAjz1Cx/vNnaO1P90yg+yJbG6C6lB5pUE2UUJWAzcPLONafcUnysauUe19cxc+OxcB00Vo5Op6k/ugDhrLwBDtc2lVO6WdbmtkuF4mm2lpJxo0QMdP20Hxkl3xhH97ADM0Xr1GHThUvphn/3sVk9so93oo18ag6Nls3mcQQjhtzIlIoUSjd1QwumelTvMEdwsfBV+kYUmXU/5S8Be38zuFuwOn6bwTKP0YEalOq/e7VMyE/UlGwpuVvN8pJki7HUm/HweZimExmvphbHqR1kxlrBhOMhwfBGpKQj3u5YsE97s3wQg/D18cUDxJ31ZXtLHsSdyHIZRtoCoke42X66DfmxkBsqycqBQosW9VX6COfikf7jXqVl2pKW211KFwy8kgMsjk5A9WLiqaYXTXe+d4BbW/tqSumOaAWao/Pht0C9pd1i4sFM4tcQQE/xasN2dtwPfVYlEab8NkqmO+0Ccrev8lH/kFcO5dkaOg+d0Wcuw1mP6xjvYNAl6dtkP7d3J1w6Qo4MsxYPTtOheJu/tzAmWhUFthbw3GaVyieHZJyOplYI/qTc3H/rnmO4ZzS8nzxMDc62a/jmuWyioCvbaD104ZU/X3i7kkFeGVNu6/EacwaaF2rRQUvALmSqNUuRW3oEkAtX0/a7795I2Li0Kf6vvDBqmy4caVzu96w6vklxSFb7mgKNETnNzjTrihdkslyUyN7Hh9QLY3HS3Bwqpcsi77LHJ/f4YbYa96NmdxrmVRMMIB6kzJ3CBfdBG9XbntCKqSt9oXzxWtcy944Zr5xR0lMVhhQw6fWN8dT7ZWC090IAJHT7PBQ3hptRgZedtidQTnoQ07vaaytK/HzdD2mV4znUuRlWz/KyM1+21tp/08bZ9zwUf9EW4E93u60Q0SII27kLbt4+I2svL0uV7kFOWh8fmoYzJAwwqLwrSh8PhL1W4UMoWUAwOpFLzMHw0YSXhNvmaVjc9mvm1EUujaiNZr35+LmRaD2QWG1cW7NLt4CRtRWVHB0oCcfcwDMhD00Cpw2459oraoDxyPDnJxtceQyMJ17hbByBw3mTT77R93+PjuVfwgvsiocX/u4SfKVgAIUfjvQY+uDyNZw+XKrOzIRkQ5IhXyzmGus2pAjlWSCcuUQ1hyGgpFIPKA0vGj028VqZ59X5C/EnCbJZpgb0mWtGkfAdKSUGbpE24a6D5/AU7JM2Dl3gwTIQTpHr1I/NDU8/yDNtNhz/BVfCyMSQROHqGTrmVaMbfefHSXIzxganjaykmeVc754mvQmyfBRreA/3uZO1neQGapmMvgoJ2beizdOqcp9piXKDcIvSWZybLery921sw44r+F+WaD5H2XK2YtXRyEKiOXqAJzJzn9nJbsKRuhUTIXWg2hXKp1SRFH+8ZbTP9zsB5FrGY1xLshpgSbzQYeKKYP2qocKBnvHIZflBCyKtW7phXD0MsBLK0K3ZG+8XYGkq8oOVWGPJorgchgDmCI8rejOW4TwW7nsEWxGn1wmoWhENMxAbRma1JsqYjPrQSvUoFoxJFuWGtcM2W80UjR5xgBeG8YCWRyGwPtIlH4eb0u8HWtVQBKZqMVkgk/Ij5e1njFJOHLO1IiYet6OTB98ClOMZsmOhYY+0jfIPZm9UjdFS3Eext9fz6fYQIAbFwrktZaJUfPGKBCP6yTfPMF+N24ZmJRGXM2fnci5ZVpovLfAorJtgJnk/zLQ6TycTBzPcCnw2SWZigtTR2egwjExY6LSAlfX6L6txzpxgUrQq5LpM6zDP2Mu/tQ41N2I6FzlEtttH6o7hq+y3zUlTCrFL6vXVYZNWhBY4PAdSVEWXuU/UtPnrCo5QWdQgPiCTf3ALAdZz8LgiXCsp1RVjZVS1CC+kad7zyz0ky4A9pYHS7VmuBFUh8kNoXeqHrWX8s7NuBVnzy9pAbf+9+upQTTm1fNG1Wd2tDhD8m7+kYAerLWS/BRKg3aEXfpsEDfRiZsT3/vj6GyOHGvYmnFQivg1hSJw4tGyf1RIbJ0ROC/Y95i6+RyjF5nDB/4B5GBzdvapBHGziHRp7s7uQ6dSnTAjmmWB+MevIYJ9q9ooNXujj3w2QeXB3Spd2WIsXWBa7DrBrxwTsJad71JWRuRMfZUA/ipr6gmP++NGUWuseVBcMkx4MpZJf2iaZWfoo6HathfrP4loKLzRVa05TBo5XTpKO2Neuv41OniIUkA+vAVXCit3mOBbW26vtw5n5Zqr+6iy8PXn0U+AozNhLVgTO6KlS+kmSgPzgqv7Jccrl9cAQRKpvZZ4dawRmChr6M/FGLIiB04nUEl09mH9sB5iFPAg4za3GVg+8R6IW1rHqgzFteGj9qQc8AtX/ige12EXxMgrpq+XDoYDILnE7PNz7azSelsuq+rFRP3jxHrfW2DXW5kL1Epgfriqg1/tpMQCIPt3+NRKVMheEvXtnWvENDU5gnBrcdtxL0HX+8AM8JIx2lwTuMSqk/FJNoB1NKdDD6lItSEXTfzhywc5dqwAuZXzKuY/MHCaH+sDajnmlThQcT00x19GCOQiXWTfP4iXeXg7fXJp1wsZDfH6fHTFdfjDJ8opjF+5Ffz90vDiWmKo3bWO0IhzO2yfd5uL2NpDGclr/o5y1eYC4J6DezwMMOIP4Vm006XX1vthQDBOCf3DScfyOQuMeVN1wD8KS6hN2eQHMppFCG4eGMJSd/YmkFH7fdJueMXQTp46WGQTywlnk3Qr3ZBvHQkOkTFw7NqmJBXGPNbQ3UJS4Glfzy5jO/CtoCZwqRE82/v5r5i3kntqNISh4RFETsPErgHUu0FiZneLcxYey+sgzCl9wZaCEXAknwUIZJtT3VfU8oN9U3hfZlc4jXPRfttxdn0h7C/UDXsx7zZpaDGKhlwimlSf6ep/tS/0ZLzbPLQp8OneMvtJ74nPEra5eA6PGhsyBxwJqXYl9TUL3FerleEdv8aj+0vFVzWt6XsuNaL9xs2/bH8WTQIZKd7LIOZbtsrfIFd1F00lhs2NNrp4iJHKDX1GEFSdWT8tN2em61Ato/Mlag/2qFKW6jb5q6Lfgcs50l0QyXH2XhTO7vAvZJSs2xuwB06Ak80za0es2e5MdpF2S0bR3qYMv+aUEcErTlwMasgNjTS3gTJgwmYO7YD8LVHOh4VFEupsBlBjKZu66Y7NCdI5lJbaO4zfKamOSoEvhOv1bVlz8/n1qGpkWbSzdU5NPw3BwI3i6RQ8upHpvH9F4v3gmssYSmGw6ZeezMUz+q6HGxTlMj1ImyYbf6sje9MwdFGlPuVaXDA0f1227/qqnJZJBSyX/ZMSMHw0MoZ8yl58UcddXAD1YnVQdGoSvzOj74V6ZnsRi54z6TTkPs333P3qDPGepBTM19HABGSjvtKEZtHkyBzlAIcrjWSJ+XuE/jvDRTXVrTfjXSIMk6FYxHVNA29NxZS8idsqXbRsbNLc7VRd+1PvsWHvn6V5E1FZMZzX8jwxR1iOIYMvF1rtQTMcjxGtQgBwxZu7DVcFBSrUWWjVyzAYhdcJLVAx6V7Ntejk0+Nf/nn1WKfqiBO60Sk3lBuqnk84x4oeUYZe8Y1/u6UJpgpobvcYrdVL9rBDFsypy7kVj4WP0hECg0x+ItS40GPfoVu5ppjmE/kjwqjq2BOYoCCsTEolBByYOPDNZEbMOaw/XjaPKyFa0Rvswupcbvl0fRe7hLVtPGUT+tI8Ts6eu66fyK1dUA0DqeXTQhTa3A70Ofgo+Bz4ms4seUMifhbwGy3w9NEbAJwpm4bouSKhEeMWtCCYXvRsEXGUkhZUchg4JBIVPrwqNlruku8k1YDAb1Qg4WPopQ3ZL+YrcHER+XGPcaKx01LcxU5peUihHDjgI+xSf0DUueXKsnGxastc3tSrRlR7rBdWw00bH6yusBnE6pyEztxRkFmX4DihXcjfqRpIR/NvWDFH4s5qvA6TVnHs81DGwebqBx8kRyWfq6ew5fqL7xtgwpfzK2WSN/fyyNOG3OzCcNoVC+tocrFd4Horip3ah0J8g3Re0vBVRaF0bImKXiuLdgHtcT3Ao8MMP5UjqFI6F/3W0qWWXmSkAWkBYGZHlbZ5QQ6wKHSvBo/XoYSjcpra0b2DX/Ldhh+zH9D5jYXpu8545xCGLYBZzYQSgMDS/vmSlKAIKM8lLmBxfim45TUIdSGou3Da2cxBiGzHZnrPNvpw4OUUHZSOmTzmtVGJ43CX1Q3+P2BsrGs9jaz5PcaFdmbSi46dBPfw15t3H763UxLPV4dJaX5X7Df81oXd3zEadxs2wPgp3ldvrpxbM+aRN01cgU1dwrGAiQI5Sj7GYY8bqiLZhX3UUzQPjcTXq7gKGOamHy29NJFzpnfhmxF1VciwkTO1gMNq7t1a5cLOdgIsOKdfKTJ2/lkB23HbbO+LyMybBi4Ni8vwaXNLLlAdgSIkD7nWgDCNnwl8f/igKA/DNsNdWpqtpdyGFaXjtwjlv2Rja3Qd5VfszK0niozzB6N/GYJ9cSYiYyKFJtxLsxHWTDPmW3vVbEC61V+1M8TExahHg14sTSImZ8FnMktjtPL+JzaslcWR7jMT9wbchssTtypUh3F1cPra87KRWIkwj4X4+PsFEuZfveEEAFVFpUHq+zf0nSpn9CB5lkqVC4njThN3zYA9YDPz92FuiSExyf3I0z6jEGihkw+VcVN5W2Zp/2uyUUj9fk6WL1rXleGSoIhURCHGgmUWuHDtmmZOQYRCfjratH2JqReCK1G9Owk1kthU0/d9BVsa2BCmI5HWwB+pvp6o2Rl7X9mp6YYdg+rTBjFanXO+0CRLFQ5ad/eKzRM5GVkxset1io2oUPOo14TB+3jAsha1ltCH9FkPzzc1kEE2eR6c5+QC45+VF0Wu/zc8U6atW0fhFW4Bih8ZBF7DEmIZcbl2qhIW9MBuwEFazU4ToSCttflaBqa2yQRVvGtfLEQc/y68ASlkp9KUr3kn6V+uCAL++zI2reTwqBuyAW2nG+QP+x9BvOdARup6lATjoASPVQPmwcy1EjXnT0EID933mMSxF6mPed/QSqA11aKJ3hDr0hY9CaMeJHCeBOSyxlFAQbeQtduzK6eVanhP6NzKaMksFWS9HoHKaWpNdyA+gVv4wzfyEx2B3jqsc2M4ApSjfZo7Gh9iJFKI1Ycs4g0+mbk091BOC7e+gAKcrNaXfpSU8SmXN+4Bn/kJsBLUtWA35G3WwZcvK2fmMpDA05JnSZgy10w+SCKZo+ccxUDU5JduvCvK73Ri7F7tACxoqkcnp9fX2pFME63Rec60btZi15uycxvnYWLu8u+cJU7TBoFM94QvFcWeNTYJOpFgrNsGCDEq5UM7+uNckJRMlRBG2qKDXq+jQRxoDevICD1rqm9wBd+QSdjmnIXRYnAlhNjyr22rhsfSScR/Kcm8EJQ69wX1eYp5ZGaNKeTBw2oBR3V8N5arljmYTd2mBqjoWrNUst1xxlfnU4iw1akyaQHgkJXmm86PXalm6ptXLOiFd2a0yMl6mWHVh5vm1KpaP/KVgZmD57RJQ3FXFW/EDw4M/7pUB0HxM7Kg86ESNnBqYZQudIUbHje1NHxFKCsF/bmiTjesUAnPeJLFtHxNTHlL3nuGEqf10Zm3xBz/M5tzAKKmTprcEv/Z0yA2JiN77dEL27wL7qT+Tm+2jOrnURkNQGymbqpHwDQ3TCvsVbGH5knOk04M89Xpenrf9YZzkLvA4ZJ4GBg45gOgQqBrPZRjJmnnN46W3UWypptjVEzYGuF/uNDuRXzl23TFDNiG/PNz7GH/2MWLRwOYpnGu7jSiGHPqZg/2+goVaH7l9G84sjF6mQuJNAB/XEOBstG9AJ8Izhp34mJ3eFod0u9ke5vuW2m94Q/xJ7BRiOJv8lrei0MHzEk3CLAG8q1N5jYXuQtOLXVliJTVsF7wAwkG15yrXIEf6bTVT7aZyo7e7vuX2IQlfBvz4u0FO4Oi11HozMiT/587pBq89Yot+Y9AFhBGqOXBvYqO1egv8Y+aBYI2ZrrWfVf6KSgs3VCO05lGsK56hUUVkvw7aWuUsZ8EyXsDiKNI3zYvcOhCM/McIKR5amJv4jW9/L7ohFATXbJD86VmiTIUEBT0FLslqGnKTscOQknTo92802oaPjIml3Kwy+Q9xjVcME32x5SG8VMiJazvAKOTBBL6ywMgySWsWLU0sYzKWU36a3fajtPZVFG3aWQpqTEmy7wUYg7EMvafRCs3tS1pI6kS3rUoTRBLk14CynClllmAG3gLO+UsbKD+WeP1VZPzWyqE9+58cfsPcC59G8Od4iuNwSDK1n4yw0oWwDOcsvGovGf8tagxCmu1k+VNakxeXgKv7EaQ6GXyWJ5nHxv9jSUM3fPziPmlUkDaACt19NmtLLpB+mYE7TjoBSMuxNISo8R5ls3KjvWJ48SUthHRH2iWSrd90wnm6+jVG9E80ooD01OPlcU0DA99AwCID+8Isx0hmNIcirC9s1h3QNMLrecNi2i02SKW6fToxes81pmwA4ooM89jTtij1i6/UDlGMii/mFOv2unV5GoRnwzYvTV0V+WUPdgW8CAQomcjn/rAU4RVtAZRDKOocm+oQl/4I5E6goX5aSfwyuDrxhTknjNLYeopyMXgLUU5qxTDqOrTQx+tI52agjn6lHahT7szcNHx1MM4Cr6V31yPNfA1k/zyqSxJRHuDqYONcXJMz02BOLNb+S9eg9ie1JzobGwmUg9inP98tbcgFDS6ybSWO7Hk8lNNIwT/g50hUHyQ3T51v2Me1KA4G063onE/NDz/oDDNgIHCD01kKpr7P1UF0W5ITR7rnx5XHBE8XQs8QS2zhEK/UBGgjvuEIcaMXzHXFmDK2Ae5WJSqYc5rC767znO4Sdn3GoDOK/uLwKz4mguuQEJ9o1fErA+yj/RtTuIip+TjdgorcI7HDU+/p7PfaktET/6kiU3nisnuCsrN3IJn+SRbW9E0ToI1o2bX6XH26mczESQLBhBaeHRwVmpVMKgGWrsXEoD55BX6J8bWegHyqRvaSg/xKCAwQVZ/ILajXP4QWZdAWblSWZdsu+uqcUJTPpzZEKHx45Qe4xdX9+frxkNp6beoMDQdI/31iwaskKm+Wg0sKFPHvTftponutYLi0+tRRV2jzMZZEAc1oabWcxyuaDZI123+m+3bPHCaw1QTLqmo9wmGPfY6aIk6KX3SYXPeETuIKD6AllueCpqM732yF2KLCGfyFnt4H0TQlvz87lkdcz2rQFXv17NidpFhinTNUOAavx4d5HcpO9dlFils4d+3isiNPTmtK6zat+DTEPL1MsIHUO2N5Nf4xgGxNSn/X0AyvjinRd8LPsmUUrlPK6KP8bSvdz9koFo3Si6a+ToSAvZWxBdmi2yzxtQDSz7bG1BpecOfcwOcYS3t313JLmoCZ0fN1Be1kSfO5conaSMJ+NrjA/2z0TwCcO0hEwUEpv2tUQIJJaN0WashD/QD7KmBgJJfvosvrlYPZ13/fzLnYRjaJixjPmCSMeF+OvG69Yu3ZeGHoVoGVQDZNrTURFVfkspS3YTQlb0xFAEVm4ZiHZuU+tYsceDRKj4MazkImVnKd+3IXliI7x81qFrE0Figec7kmFKTVoelIXZy8Nb1PROh38gyMpHOsOEzJSPftnIgn6B4og8FEwtynGWskDVmqfk8tXNAJKqUn2PyWsCWB0Qj1Vr1QJnUk9eHtmO6NVGspWLnOURN5ljEsU/Tw0WA80LtIKYOXElCJhNHoUmmoAkTuPEHw29wcwGGx5ZRAfrPzZZoTQp26jIsB7ekNOXpP1eTJ6u2n1v3SyZaVI048SNScnri+iKLckTzgiC8aMRFgJheB/UGnCU6VY6LkQ5FgpGkIAMT0T48+VtEVfCplF+jBoZtaoL36FBHOza7GUCmomGXaxwCpLOJ8k+ZtS62qgCQdEFVQmWXShPR/5OTgGBNd/d2XNT5Se+6soClky+s+ppwINYDkNcM3QkL1aHUWSA4Snn2nuEZzjOt3lBqMI/Un/Odo/OyiZGlKWisWqvDr0FzXPK2PdW7q5p8n/J7LePb880m13Nw73mt+R9fw9MYmhZxsznfoahZQRCB/xtc9x9FT9fdnl7B6QC5hNGnA4EuBVOGctPkghs8IWJjDU0aumbrE4Q3egkX257cN/WpBbYtReRSVzsRgZKLzjjG0I5RT6CPgJj0NcUh7DOGexTaUcpTrlajrcENyGA9Z10XC+wwp7Zdib3xaRyHXbe+t3OKy4x63mEQqQddcoU9BLNA94i7uFdDNpVhXvoHXwIThNdxpiZzUjAaSGgklSLCwxHCWAdA1OiQcQR2Ts3IK+qv1yCDP/pEwDcdtuQEcN8L4VZKqje809eVE0qQK0L/mLEc2GGEXRGRClalKPi4EKyBkCth2ld3qJ9RVsutD9QZFReC+qIj/+PSdd2N7iCqSQHl1eUyiG9shAHVSXflReE1wavrPwVxQ3hI8g/cjnwBMcnzeW8jOjz3bhhqAipk0G8WzfEedq7CN6UswGGD6QNu1XO80wA/DauramG68JgKJxWgzBJhP3zA2YQwbVbcYXzIRcf/5al7B6XmHVH7HBMUEf3BD3vU32brCIv4LfwwUUpP6OAolWlrEXnyk7X6Ai3OjwCN0EvCCAKpI/HJvDOPq/pFE8zx7x4AukodmivjLzl7A19PTf5zjyZsOsManJCV4QX9mPIeUqeCmmozgbIZfRjLCuIwivEuRmN2MAtPyL4hLWR+fKuGs9fF8JQS9AcUlQy5Crc+IEKJWtMDtQXGS3mDT1JVMKNjy0Pz653WN63U6JmiURWB6pZckWU71UISoFYwJB6sekuqGIRJNBdYRghKwkM7q+AEvrVC6IaYPpcWvzpZMTuFYwiyg54JFw+67m0ib7B0AoxMXskmO3C3C1tumpMU33vTd71OWWUXF37QKKOpquxssClk+4vOze3RTziBuy9NvvqRY0G8eWzBxx6yQS7sOOZHgE85Utoz5BL6oo4V2vBzPOW4jaKCT7Rb1gEkd6zDhKQdATlP0csMscbtQc9SG4ikfGuuFYrS8NbDUBEX7U96sJL0mdd/7Yv65Jvqbef65pz1uudOdNSqDJ91clRsKXk10FYf97iHO5a2XGC+Ya4ZS6oVEwopDjW1+v5vczaxKoWrpl9Jt0Hy00g0+xbLRvy9q+kuveiUOacxkwuFY3F8IqUyblfFqBEQ9Oz8X9gmULcJcwR7tdQkMebaHc2UoeX7e3uZwU7y9nhOFbQOdyOZJRgMvHvzovy4/3+ZwTRPZmiwzqY5Z4MiI29pC77jLN0XWt5V9bK+3fni52ADM7fFGDwM4UmEIMo0fFRq4x9LlTb78+rKrE35k/fyv2/CDrBaOkcWKLUJdbyliEUSTUnQ3x5vyiOR9mSJ7BmZY1tdkToA834fcLtAg7NqN60unQkxBIbIYJnZaySLDJoGZJRN3RgMNaDCVlRCuXNiOXwh5LNeV4j4rYoG/uyMt8CSJz2ra3o58G8kspYZKLLeCkYZTxv12OiKb6xqLpobJO8UNGGFI3PakVxPCgFtdwn7YLRGZMS9R8BHrRT68z+FB0CgaSUnL0g7XrkIDRfYB2MqepYF05rVnDLHNk3PkfjbOFzhyUqXHZqvtRTbAr5vkvg+uN9xAIq8+kNsCDn4pNZ0E7vITJXqMSSBFMXjS3GvOt7UZwYH8nzPKEOk1bCo62bv7dyOv4A9KrfMfXeqINWyie+clBn5qthZXPFF7z3U4kN25OACu+2BleMp4oJI4b/hJYbFYoPFXeUE5itNPean592L8qruNdHwwjjhjeRlnRKxuUWicgnBGPIM36XVDvnWru6tpdnnQ+JuX4JffWp3Yv1/owTQfdBuB2nHp+Ug2+PgoBN947S3cBcXTlrTQN7Bz/c9N1XAf2vwCB1yBGl3PeVf/aI8MWOgLHrPWh03Qb0PahduT459xzTQ7jNmmAHwXyMmI7+20Nwoj5JS2YGL9zvLaXgnYqfBjRb+64CF45DIinMX6yHeHysp7dIwfaQs2gTaVSPAnceeHLsoH+pHaWZoM5savQaBlYBeBRwNmHGH8xLwKcnDtHOayyPBmRgIDYizcAlVezay4J2mABF5neyjNC8qv6SkNu6VU2VACP1SSRv3OLbJnlV9P1whAHXcF/uy/ydylOTXNqjbSuQE8Iw5M70vqCOQ+FBuGNsYdLPX0T9BWsfGs4qbhxRMpGm1li9paZLTDfGWbUV0lsjqybjd7bybHLta08BCUP02PmX66722q6AuqHHTSFmjQsA9L8KjxPNzH9k6erpFUAjHf2xYAmsGkw2Q3KPKxwK38XoSe9GLuaSffrQi+ziVW1nPqzMSwfyxyziQXQv86zdcHvbdPVdaleGNoXUVB5AQFboBei5wtzV8tQjqr6cxrrBtfP2weohcNjp4H0Xi381FVJ0ZGxyTy6lGdDDsSmVOxyEBD6c/dgXbgV3qdJYcZXRwk6V5YLSNCuJPSHtIbcBMbHNr9/4J4Wdiu632i3bFoOlQBh2F+whACQHJ2CwTR2vhxPcp0V/kCOhtlFUyT6ZzfZcA2bPb2w00bD4Mv1jxEFuqkXCjY7UwJHvUiyEV//yTX1EtOQiVr8v2nXvxMrTYBzhGplzsi5S9I3XDnH3urmUUD8iC5plV7q2XqiRpOaNHNeDc2qIAq0JdFckpKoEHv5Xw4VgzqmwcAlxDEBRCRP9YBpAiS6YaqmrRnkDGgygMYH51JIIXVAempSWm3UPgrYZhcv0MzFbV3O3rykh1bQpCaB7qQyMoAeUT2KoyJJP6L8T3XGI+gXKz3dyJ4tQYKo7LJRmjtSaDJmEouB3J1pU36DUCO8FgOPQ6ENcCNf2PZ/KkCOGqHOJOeV+i7oAJgbKkgaJ6QoimVc1NtqQIIreQWjG2tkdQZbmcNRO1A5cY6+Hh+uo93OGekToW1D/TweJ1G95QgOxhFKjtE9uJreRkisf811O5imsz1ein6rJ177G3h18lH6LtSouobx2oKO6OOD55Aisq2TsjEBYLO0OEulG1vxs0RTOokYQLklDHoOmM89/Kcxf46w9qE2h9k7COjJzXyYkGyLdDkVr1U7Ilx08Mb60hrLb+jOMjSQ5xzer0qq0MyeD5i5ntU6qjTkgxgFct230T3o6BVXWx/XJI+TMzVjVh/NhbpyZyzpqNLegEyQqGWzEsxAqoh1GkxJtcPz03JzyHCS9Wgh3JamIf3MmVTHgPAH8YJdJ0hH/Ba6dy6HiDCBa8ZCCACkoz5FSSQGYRxLr+46/fWlceP8/jaXFLzRfEgr8/NN7UDunt6J1KYngudCZRH/5dLPA9QgfJ1wVPBma10uQhIlnph9aDam4MD4+CObhijf9p3AOSkjyvO5jdrGMXKKSkoSM7RJU3wGDWZGGeUZAUdk86MVelMBbe9HfXNz80Aja+/G+7co+6i7J7u7HOy+UXxSkpUQnS/m65aDtXSb/umXe+uRLf6kMV7/90lTaBUGobnCMBBZPDDA78uRZX1f7YtrVC97q2es9YeNqDEU+rmhy4/3atBfUMEsWCmPY7Z6pb7Ff3bQEsIuzdhQ7qpi+zpLYXULNszb2e0BIF5jBFhFL0lYxoKrVx0k3CKFAQIu8OKjKUae7PZiCZELJKO11mdAlTYOF2e7qmRVZMACip5RRq571Zs3sdp3m0lAsONNEmoXCZjVfu+7xqKzt59VeR6Xg9TBPBykwFTIEj7zSvoOXuAupUKb2UbiJ3MyQOnyVb7FMQduOCKHJXBuQq7KIGQYV04hkF7iWPkhAN4EJGtqoYcVwjZtXSoSF663pI9Yqr3u9hAwcA9CB0lLLSTRWfDFgVgKpNIXEd4Frj94pPch15qk1TDi4eERBib6FyL9DQ+skMAsbbnjxCm1Vvwsn4s9iGuZcu+jmLo/onU1ydG+w34EsYzAng4A/mp27uI91ZA98TWrblhk0xG0TrTvYLAtmDLZGNiKEMoJSpme588XjXiaS62IuwYAZZw6wRKWI6+X9Nv90+E2q0c84aXfx4mgBohtOUB8115zt47Wul5loNuwUmNuGwQjB/fMqqxDRJhGjPJJIHUAJ/OSo1u2ryFhomR1Ri3FE8e12X4O0NcKUzFYeCcXEoaKTsyDvMfx/ugPXvq7hz98L0WwiNnrqR9qUCvAeRr0mJQjmwLM7oL7XL9OM4lcBFPIcL+SJrL1+DrgXA7Y6V1ARcNXrXZEGllEgB47keui1IUOkNiK8bQWnXD85L0ksw/1hR0UorMiiu5g6nrhqzWLUsWqr8JKOm8uUEE+8TBeidIjG6t+XQ8ipOkEyZZabzV2414GBs+PhrTgEG1/yMt+P/0DwpBXZVS4hVobSgq706NC/8wP1O4wI4gVeL7xMAP6RStHgoKQptqVtGiKWhqMxjMHITezXB8THku3m+KTumPBLfpK57u4iG2YlWyXjTLnyb6cpoKXnpmN7U2inKMAMW9FkhDN3OFN2DPRgoDk8Eau81pSEG9Ljdhp+S7aAUJyeCmhZatjDenTXXu49Xro8ZYVz1HdihJ6DV/VUNINkkLUAYUJNGwS1Q/EUWT79GngoUZfqTeb0MKVk5LGswBLoY28bE992ldpev8gKw21wcgGvPZUxi38wfoCdNh2CqSgoHAKci6rGzRT4v0dk1CXf706zRP7iyknYHxZc/lhz0Y1IW0v+g9dz4+1xwiAeCqVdDIm+xB7sZFIYkHtiwV6hX/l3AmNQIM5lYtld0LSWvscXIhCuFvlGCTbXhv6c+eTvhEPQWO4pY5PjloKNkzBFx//vMFSPptW6pWSVH+jqmurw6s/bOCCWkw3iHaIVI1RVyv7UQXsQg/KGYmdMPDvQa+cxDXg3Z29DWy4AmaRm91BvYgX8elmO9DLtzK3BHhtPHcucA7iwMyzVL+87tSMzYWZH05YBc3JpdtYqxe+yFIE8+bFPLNmTFEqfmEgm9YX1/TPtkECnxIe7irFSDgI8mXzHdcafTB99z5RB/BjqxGLWcaOjGsES2dMJpSDqs5jrptR5ySL+jaGdIlTy3ouMDUH0E7XjLBwi7GoF/DrSAKvJJ9FOHa94vdOcCB2DuSrUgy0NCWOIpJ7a+zg7O/N9+IjOoL8A2IkpuRKwZE91uTi+QjeWWQgMXnkWxMl7q5+rt7ime+P4ZtDGRY1fhnsgkxhlwPxUuf7noxwxMraDgxmJF8RhECE2gbPRLv2yKuFc680dS6dRKfXZ5x6MiZNQsvQ2DaO+nvb9EK8WiYig0H4Uh5YzrwTlBpF+e88nl8kNrP+mxxF00elwY8w5XIABYGXwP9IufxYTdTMjyoFhGiPNVA91Oeq3mhqd7zV9QoDHXDoDAN1ZsAtfDh20q8t04EH6fbd2Uw0QeQgwtuh0RmkmyH3fZg+cEVMICGU7Vp4OHj5Dsss72WyZxjfB1mZjwh1J+5y09zmoUnWpsAlx9xPnelFnXl28+9RShjFAw4dC7JIcyuqrq+X1N/jySCh9hhLEJ/5hnZB6tZpcD1LRFXqHWLVgrRb3CldDo7gPB5v4M+4cS7dUZEUgCBuJkey8rHzsMAEdVmFgGD5rhu/nsna8v8Yt6hTezbuqbpawkBxxGsaRuWhD3KDYOIyy85EaTFNcDbIKnvtkjp9vCCUFnPJKePfpV/hWaWv5pzdQSLEfNReb6B6We07PjtlU65Tpbvsja7yZBq/2yASlE/dlEdjqhRYbQJeNRFrznSJipQp0hvwEQTMk1j6iwIj6xcgnHnTC4Lxi4d7AQuMqa6hisUkmqHSPqLl7uRRAdEETB0wdkKM8NQe9SXvpHfFj2sPbh7g+5bKYVNv17i0lr+MSVpCu7kLn6Kq4WQVj64N1FAAqaOsBOL9kVFZieSGdsZ2h4eluSa+OHQg3zFsBv+/1arGb0Fou8gUbwtLZOEcx0GaE3hMKgVr14I+rllh7nDMFlcf24+i4lnni7IWd7/rPZ0mcOqt4HkwKE6iCkDI7Hk/Pk31QKjUCm9r9eCEHnFE/9ftwWgo2qW5WGQ2VUd4ZlTxMoCnun3zfHJgsdiRuxbPlOdLZOnpQ+nSq8XcXIki9xgGXHSb4fgYKiBwq629T1qc+ImUBijUiBeqrfVHyCH6G+CxeoTFBt88SKB2nezGH1bMcKjy3QIRl5614vj2Qm8UASamA1+41n/TIgSQV+hmmOyAH9m9zrNgcNC5vy/FkBBlCi40Cp32wUBGvGlYGtmkwU5hR2iOUBn/+cdGx1GVIc9q01Sy875G/ou2py0VdIP80uj5zWGXur/YKId46xlDH6cB83luZmZrSPxcf/h1zRgxjO6wlypFEdIlSc1dqCY5hb8npNybXquz1SqA7BsYszlPjfSHDUODZwfGzInsdz0+g+zom0cmQiA2KU80z2vV5+BaI0sCyO8AGEy1yZHVtTxxE6F0ImCC8y6HpebgUcEus4jE9CGp/C5wmqV3v34JLUBgif48FQlIRP82rZmHsQfrWBR92i9zms5VEDlp1WDW3pRZrUv0ssM/T5fIKYwk3QeZQK/Xkz0zuhrE6e8aAwpE7ZF3cG7FrROa+axNDClEXB8KsZDb6ML5VCyuSUgjYx2CHmgTIwP79lxEvgZFjFeQEFN7dXHonqy3S9M5LBNb15TF0xIhqA4jDGgU2EypXgjFTdQLuT1QNItSgAy3yC2ntmsPuQTaibHnHG1R2AmxaCuMHGAPGCzISZBkk6hq1T2dYt3XtjP5cftMofvoaDzR9kK4plw/FXHuS6a/+EUUK5i3t1tHN1Ho8ygBk2YCJ0xP0OiK6QXqWJm1FK+8DsfHHIkcSnFwkNfKVESN+OrkhqgF/hml7Dsk8OS95JhKhF5l6bP3WGTMOMFbGK+u+FKNCo/ZtAQ3xK7jksJZZvs21fFSTiqqN9br3Via/AQABIreCSFBxPzU9nGHGZm6c3SB3LKAEPz6scg1VpccIYlgOknjI5arzfZq2K+rsza91w5l41zReLq2ghab2aGQvn243T1MXa0k9HDUXHKroTWHKaIECRQCpXRA1dmzKtGjXAiId1yWHpegmaNcxaM9HSbTIyxixcPRAi3qaeVBB70N+jt9rUFzZobTH36g6pZiw8RuH699xFB/iGmAj4/T+qX9CUa1QTVtVTWFb6LZSkAi/SURJEWhJ2vBl1dGe0qCqDeel9aC5DNrB7FOzbYav/i4J6+dAH1GrJCH4MCQFwUOx/JkaTbr2/QurCYVnXPAWKceC15jGFsZuxPPsg9J9Z7riRvH6AM3t9hUavfcAr4eB4S2bqwLcpih/rQRC8zFujHzBVxPH4UQ75yD1VhpuKVMry+jLRPp3wG0H6CcqG8HBcoVX92wMSF55xjY5txsgQqfLykgtKKl8uzCkEnmTk3op44bTDjgTUoCyKXWkhCdU5h/ynjWB51M3mm62yzwlS5eRphiC7iC3T9O0v00pc2gHp/AhtFfjF6qmD4OEZOywoV6xKWeWzWHkwxwA1ONmoDB1SVNYCBab8IrDnHL3k2Vwb9PbP1a5wQ7XWEj0M2twBX669MP0vOsUCx0WNjZzx/byMVohwtWXCvqhBpfZo9EacZT2XSZM0YgwBNA9K+RROREFIhFapJeSFwT5CzmGaxD21XfWp2LbZNHu/zvVvlTqxLUb2KUUHT9SgITV/IiakqZ7gSESFlRz5m80Q9Gtxn30Zp7bo7XHL2DFwZJLuxMPozaduKxDc00i/tKl2rOIs/Xgoon7xfwuaVWaHY4BLvrvmzE08ZBGVkO8aT8f1i+A4AP7hrMCPzuuREMH8NJnqJHk3oORrWejwFUhz64/ZKTtXoKQ71as8zXKLCAWH4WwJaPqRyIShdxV0c8OPJe8CW3vgoyWzrIO/5aF6ocxCv5p5XXY2bRjDHF1/JBHULbGsecUY6tKCceIzmSHsBynsoXVM/qmibqfwKAq0LJGW0cCZvagBhgXGk6ev0o2dL+HmVH+ehaAI1gj2jg80Pr3Ycy8G42+WHvme27bbWS333AZWookwlIXvsPG0RxU1KOwaQAHnyZlR8SEl9gywzrIJcJ+f2JzJDlYv5WIqgdMvOCvthhXFH+Gyzj/mDLCbkcc+6bfFAgdTt2T4pUGJlCvhJSXwlhTybJSTSABHeMhw5iE1FYR1pv/W5b2ixbhJFTYJ9ziCpy3BwbmzYh1Wrk2tDCxE3gdoLMAhUViyGb7h3+xTkvM/0Bvjc25WPXPz7JUxK6YiQrm4HEKvNdwICaJMfS7j5AC9LslQQCk1HvVqgRAtjV5HudrXnFKVqDPJS+xlCD5YC2eIN5ELAkOkS/CcD14DozXYFAD/46fjT+yFV62FQis4Izkcu2T64KxgaiR8oNri6j/EeMPbPXYya2wskA8XQJZDeE0i63upTmARQSEWgn81RECujDQ2Um45/rNBhIxiHGmNqZqStC7TOuSgRMiTCnqcod933LV/QApFxl3bM02nSYU4tF5gonLntZBbr6XBJjOzxZ7bsN0WppJ3yEV+p4bh2GYbkfpxdHJBFmEywXxuoyl8SbuGO+ymjS9kkum/r5uIpVKUFFTjP2Na/btU4mJ7dWbkix9kq8mkxQm8wQWW3v0+8xivyuHy7eVPgKX1W2shbFyuIOG3y4/5VJUACyiImYcMYLVXfLytrtP+T7AQ8FYY6AqcULGydfmEb6CGpEJR8s5KV+Mst2cE0hZbGZJbfivORvOdwLGx8DQE8GTg8++aCUJKgi8kpRT+KGEnTp46GfPByKi7DLWBKz+au1SC9NZitNZW4hOW9gI9XdhJEwP0Zc2cMHtlbMEeI4rJc50wivkd2ADSIA+zs9R9LhmJXvG1e9LOGa72BwP+lO0KopBFgVhz2zwt1RSkfCkahkSGEJ3asOms45DjQGAA5WobQgiz0nBf8OZTPP7Ej4FEAZSgU+qNeYPhahrq0laWNP3R1EpNWbejyKXMdghke060YJYQafjqDWfXgKwYoQOdNDAbe2THC2ogsZ850KHA/69+HlCrVtmE2jg+pV7P0LrV8m2SK/vrvy1d8dBuZvEG8MnAKD0TW/KtI9/q/8d2PldlAyrwHceM1KjEMgjiQvl5A5qGOhYR0jptuVC0riGol/q7P5AymNGz3EPrdgrdku3gL050P1PWFqzSrAxIZlbe7bOBXZqJf/0gZULfmhsZsPTtOgNt5pJZ6G04zX/aQNfxO8gWkK5hYRPO5ZA9/Sxyq8mk2NfQ4iwtnV0RY+dCUs2y6lcPpTf6vdA1y6e1OqdBpLimbEAK7A0RAKUp+XjRTqinDkI9Ecw90ZJWNU2Fq+D/bu8Q5zzRmVTpTcs8mrrlzqD2CE0b4I0uBh/pkTTQa58T3JJaVWm2VnIz9UToJ4g8xIIEQvx0gTdixljIm3a/4XN+6Pnc8eQdCDkDIwrIZPZozmT4o1Ex3g7egaFOCbYrAPtgzXbg+y9ClfY412JJZgNhWcIe5IxcyWB+D+GlyD91xGPPXNMOxV/3V+FBEAaYIwGl7rmod4VWv3qrOdoPF8Km5/aPSJDyffR0175G8a4y87qb9BY4tWBFBSC2TCA0PKVtrkp6Ybn2oSkRgmFTyMKW0iXTtaNFGRaxSn+x3vnmaM5N8EtUzD9WR5nx26teF9WV7ka0Lqe6NaYMUrAig80kW90T2T9SxBnA7gFDHW2GasKySdN4QOKBHJd8DnsAzJaK57G+3zD9ajJLjYsTVEh0W8HxFV66OHAuwooS+Vk4xiZwG+SqNWAhutq8pk6g+1lkrHJQCpShv8jl4iHMBbE24G5XX2X7GOFLwCsgpACWgCuiuR5D5l+SO72voM3kx9kTZGSPvxba+EBP6QmmpZBA2ciYcxV2mPiTTJTMb1bN6xHrfn1P3/Hvdd9+EzYmnp+jmq12eeMqtEBKlS4CXRn2lmombUk4PD5Qc+jtAk08xB/tBpOXHPJR+ZPb/GVQ1aJbLUhTuYrYEIWDGEOoKUiUKtlLnvFDBHnPEfCLbVAaS6uBauyVC2umG5HDm6VwKFNXzUmZBquuFxjNp17/RPAyvLULJ659f4pNch4NLzjnWt2PgvTUZeK/L0BcIsBbxh8+N3HmaT+eN+nrh5YzP6wXzoRZx3NpmQzSvi7h1Y7vXjhDZJe750iYSz9U+ab5P9sHPgRmV64hdRflpldHTlXP1WMbXDzXr5xppHmvE2+xPSCsdsHu2KJVr63H6bF1k2AUrJlr7YmnPUFg3tCIeZR4RscHWBJsSrsrgPg+tAkoM96cxgOPB1VYsBpwzi84baSBOcUXWKqqeGdgziNIiCDt3s5mf//ZunPP6VSkOKxPamu/MultbtZtH+4Bm5rv+MHYEk72G8fmaF21OUJlGOXi1YZcWBYr4fF/es52IaC4dZM1uvDcDU2RcvfXywPUkebhj/FOS1XwCiOuC7Eoj9Tsjeu36OyQzh20xXQNl/OF7MtMj9Wx4xNCKZMb2CAg9xtpIWDsB9CwVIIjdB8HkxftqGy0FlGOd1lPjMwD0FNmpI2J0ThUGwatexe4tQqrtZ8G01KMRinMFYlcrX/43eD12uw5IMclr+Y0VxTWmbiQ9kFCjh2dH85kgkxvXm3436pX72M4596cC+PI/GFT8hi+DvPoWl2KoPmETAOv7OAL+u6CgOdwsiAS4N1EeY/yHoX1i3d1b1p4uKvtmAc7zyDVVbKUZPN0NwK5+xxFYEBz4kr00KOno1g4iTD784K7+SLnKjoMez3h0e17T7xcoXDRXtIODwu3floyszDhn6tj6fJJiVAZe/6d/vJtxur7smVS5iJVVaCEEjBPc5EedaBr97MOHb/W2dQm+iD8l0iK5+q5tXCY2qkmU9N1FjBKr432HgtlWO+MIjDkEzC+OYOuzNJFKR4ccBWnpKBKcOtvc4FL1QX+voLOLIKg9fry+zAcPYKFCXY2zNixeixZOCn4Vs5HNSu2rZfT8x/P2pU4nEIlp6TU64NDOVK29G6PAXfQjA1O1WLIK5Dl1mClrWaU5BRAuFUg/uq8QcHN32SKfeSBZpXEAKIhFTcCpwue1kpjHYshrihKH1ohgFDUeHGwN7in2JULnceDP0eCfhqt27YrHgh7S8XyP8a8R94QtoImbC+lqKqN3xJjehejsttN4PRQ7I3iqu3itqFXVDLk6E3WktdE12i1pOM6NU63MA4BgWhQSZpXarClxDuX1AjJ1+kZuqid0rPdQ4wFqtYeCU1Y+BUENeEk5Aizye/KPIAv/q5vPuS6BYEFPDoTyzPpPZkijE60kZBh+18g+4tSkpZ8vXU78Nl3ByQsHxDud5tOJmUz10F2xo7DBgB6vqrMW6VIWbnYWMKG5rIq5L8/Rv/cE+i03F2DQ/fGYUKMtAKp6apU4qnrHUzbevycINvUOz1Zkma8IUJMCt1JthaE0Z7zOaDjjbxeviCzGajIGOGd3fozJdZ8lFSCxs003iXzFGsI0V/CQ9PwtsJ0FydZDjD5Fi7Sj0k5CgKMlC4o0lIORvqpKFE8PaUGh2xZS9a6p1PQBZ/7Zpu+a35pfGeC94kuwMCYRDJwLxbdyVA529qgOnUy6t5XVELN7cw31HA9r7CpKFjz6DnDynQzi+e5moxfl+A9R9IOIFhCfoKXuam1phVyxtCQybNDWb3E22v0bvsWNMwRhH8ZOSgDH0kkH886v2SHc7CP6Zqn1EzaGeweU3vzaKlOeNxRwzwt+gA7QKgcXgzFI3Fa7qIMoMUya6Vm/+jvIkO2MUjO9s/I6ib2d+DB5sjIFhqo5qZe6B5K5iA1vGA6Oxv0pZu4sj2wrodSOME5uny+OQSZQPVf6SVkisdr9IntCIcXbrB4mfilt4mITrH/Q/tmco4QyXGrvshoV70rdoW90QGm62DP3HxxhgpQyjB1Y/Te8gqNMRyKUD63GfbdfLhCgOoNwqzlezPB2MWPNuUxMv57krtdEAPAOa7BWONknUN3Ur0BuW1uuEFA7ba8yh8+03/jtpVyebr1yg8RgkEqNgw4WmczsV0qdI2ezyyNky1m1PNlMluLK7+ko1Lu1R383kQ1CG4TmjWQtsT/IAoG+U0y5nSduF1e1CzwQgwr0A0giHOc7PhIlGsk4fpBZxmA+Tv0QEfzY6bkqFYXpO7XA88SSnXG1zAerrNNQVwwSsQJwOZHYFqrY/kOLXE3BTecNjIpkDHsqkzRNdGg/ggY6zPIzTalj1p+0ZdXVwY+S5+IjUOs0EZrzEbNMiVlryDnKvj8NLbkrk70bdgW+hcIYG4v5+D6SAlcpNQJVuP4Y7V/6zjsf5NLCy5rShi5A2/XrBrQeqEWeOHn3PMklUNAYpTRQWASNkXhET4fz34hNMvqd58ShbQYto15z4xfl9PGuYrPOJXFColVLOKG7gv4n+v+PE3Opz1lFuMYyEzOiXOVROYoLTghU39f6DPl+4iWzgp6mS/wJ1RNy64KsykgHxDF5+D3edeR2UGGnncwwI+Pwx6JJaXRYxjQKnxOuahJAMUchJEZTqeKKXM14mRzcpE7odmHZzcc4pNw2FK8gRYWcchHwIu4uLX3zWIJrnWQDYERbwbs2bCNELfXiRfANAF5DH8CYv7JhZTUnK4H7gK2IwsgaU5pUfL1H1a8GAuXwnzo0WQJfA4GFF5dQ02CoGiVm3utnOKZHEvYUdtDvp3ChqLPeRYtLWewxQv+7GaiA7QQd7kx8xTkDLARbFwCla+ERxH96O5ysWxqE619VWAOnnwh/COwF5cqo+KBdJ8jb7dtBeAMViz89HPDPX8VtuC0cSsq/KEbTwG1wzTnyfyWIMW75wpW6utO3a/xIpuWMew0JWfnSWygv8yk18nqIi+/7TX52JArafsGZw6iLQ419guZUvCReRihCzjm6c3sRIqdWWJxgL5b82FJwO0Zc1hAt5a/c9vdYxH+4YwGzqBPLppNPjVl1eXFz6MqjdNp8KzytZWuztGVe9j1xadU0HGFTDKaogrYxHM9JngIqUP8P4EcJQB3Dugyhe75Lyu55Tb/LmRLSrmXe97y3kNPqBqK1SHzNCwhY6MM5qjaROeMH7kP5GZdbOAGWqsZHYXPuGOUnAwG/3KJgE7/DhVqHITJOvBa7fs92Sup992kpzaWhPSBj8ZaSSTevsx5qMkmwc78kefUASkOt+1AEH2MXjtOuuYh/Cyf4/VZF8nI8tZpbUd6m1kacP6HZrtYEXv23s6sqdD8GExWznImpCJ3e2JLJ2r7HUmuHyBQhBLiRGnXhvdwqaWe3EAkSKDKSb3su66DWFjdO800zixbqzC2sMfU0PTq2/4AA5hD5eFbryTAWxrGmGBW7kDNS0qJcvvMls79NJ3DVEEEQeC0TFoQ6wZGzq1aors+1LwokUtOxKU4eEd7+OLvr4ZnQe55yt5+kXrMlTdJexj8RU37JfMr6rpQQabStbbYgRlKzV9+uwBVaI/rRtsG58p8U4p3xMA+Gl7yOFsTdbHoaEdlFnAP7c2tIFd6hn807w0fL4CcCkKln/UvgLmVFnZSOLNBTT6JLarV6z3PMMowsRhMSSlqyJF/oLj44+eNK+IAAdpwvUvK2uSyn6vWQbUkmK3Q7gof5nte8eSaBnFqXR1QhXDQYTqP6gHGS1ndz/5oxWJBe6pueCFnfyvuVXdMSrS/qPWF3XlyPtV6We5jeaoy1I3jZACcd14yRfmCGizuGkMjpJ6vvp7bo1TxAIa14lUls2lK7EdnWxSoKWBN17mz1TV0Gi5AkjBy/KnB1A8c6M3RjnjWN3adg4jSHPA8wEUfVICYOLOyZSwEGlN8xJ9I4rqRxWIF12m/Mo/cj8MDsQe1bhtiW9vhEQXoUzIjP5s6iaCCe3ToKFzadY2zG2/Tdbur69UGrNtqt3paMX8nfS5Z9iNF6MZ+RB0NAYWv8qeuEuqsTN1nsaI4RNnC5QzCTzLb+m2EkI9ySbiVG3FEWUr9Vb+SXyEQZ/RNzxEP72mZ5XX35/fkYp7hkbsHSEku5rpXAJcFQkGzWtIN8LuMplUH4+NMg8SD3O62r2MMDV0FlK30fARJY1x2YDxxYbF/4QBT0j3mg9PRmS+I0gcB9yP3KVaQ7NYM+ciHtvoKRIlXvtnZlUui/aqYA2rSGSlTsTRpwOEb5Y5oFgj1pIRUdzQxKfPwOeF60Aat4hESp0gDfdaK6FDys8xb7W3wm62Z4cW8BjYeD90hLrPZb67zyIwdgkOt6M733xd61ESuQvweTGjtAHeMjnxkTKrgk7yMjiDKcPt2oTEyrXmRx+9bk3VLS75G7L16JXdkk/759ExW50jKVn9pjxCtwaYuW6y9YOBfslKBz5fpHFw5/p9+43C3hduYEjC6c/oX3QqD4kr7R3sHE8JSSW8RWWQLnO4DsPwE87rW3pIQUnwvb7gWbwhdqzoI0GgVt/BbIfqAA4/tIbGANWT9sTRgPEyY3a5NERqVfrLeVih76HJ0WAeskYLo2PKYUqCMmi/8OqjdUlY44+zUyUi3EaNZo/+ZYNYyh0SIDlyuoG3JhSYsExzT8jyAmKC9lA4gArW3DRhgZwHycyMYg0UqlO5lHFDxSqhdUuAlq9tTth7LYugCOzIxkRyt96bk4zhf0pPMvtlpcAOZnOVuh4+B3WpKCwM/kuvQT5mzQ8cFZDnYlzGh9x907XZgjcfPoN60hhStjTkDidi7p/Escfzp8aJR+AG3XRKtMwm43sywXg90p+/YiznfKC+m7cxWf9liIKtK0xLSl6OKd2MwFQ/2iZiOvTBn8v6/sDCEBYJels740GSV8DrxeNs3HVT3B3AEts5nGbNeWnj5Zh+d1RZGFZRUL4fjKk5j0/apRzHwraW4V2MXtctnE2Fh7grIJG+ZhqS8c21SgZag4OpibQUlomFepyfTj4vI8XAlXAxlViK2uC7Y7pdslwg4cHdJZe2ahwcntqbm/Q7GjCeR3gjReZ+6m5W35G5i4z5PylQB6tx1R+mP4LCSznL3ysonZvd1Rb1kcHzCcWp1Ey8FQY3mpHbJ5oynnQZ5WYD18S2CbAyNR03uPDkPZ2t7hx61GEomChfS2kHwAdBRsUEUU0CN+e/1aBqWrf6G+MNAdDzCqDEjII827czMV94BhdnW8/k8j7xFdST7fqaOykVtFeHGyAoM8BSrjNHhtmDgtd+8vXu7dHEB7O3C82UfRLczWziK1duutbY8LRhPOM+0GC6lp8La7lErUAZjVjqo/dCocpCyBs5l5aDfiEksiNJin1uCA1eXwHtW/MtUHaIFtESI7LdcTFtplJ3plM9ikacuK95Um9H6bfIP03vULRYVLF2sYqS8+OEA35z0qfQtebu0dLl+OhjhGXaLQVJ3PQr6JnBBsuyx+ly+RAQUFroNHqF5Flmi4SrHxxjIwJH6oWT7vA8q8PBGeFPrxvspuEaKSii44wANSJwYtSsclLjI9xILDuvig1bBfEwHa03GN1yNReOpJuh7CSF03xW+fSJgWC+8yZ9VwKfYnchLxmIrE4raF3zv4aSoaNLiaPyiK3QuagqSH7fgPoD6vRDFEG08+OvyqR0pQMcX8+cS1AICC1UNS2fAp3r5kIThtTqLurr9Lwno+OnZimtJ/nskof5EKbRaikFueCZmZTU7NGXuyucwaH146hgYXShYKL2H3lQIi6VXHrBj+5J6BE1EonJyIlA6kEvBkGPnrnu69bNc/fPTQpwA6aWWmIAF8qvoMHKuaHBSm5qBw1y5O6fapeOYCtg6Sr4oTfdDn90leGEf0Jawmvaekx7fk5mZC/CsZKkC+Y2/uSh2kfozzSs8VvsuJnXYmuppx/utkBCbHLKxEkiU7FxX3NjtEgp7KAD9NW78PiPh0tj7MNYxOIRu/tOF4gZT2tgtH5sKTNWIsCMJitaoR9P8ZTcQ2IWLVntLLWVSQqNXOKrX5kTBwaBwsfRzQpRqvV+KrUXp0wtSLqOAVAtwrcIYHNki1/Sivpzf7z/JWLrrurmFhjWGgpWfVr61KeqqgAFlqT4m+7eY7SHkbvr+obCkmW8z6d0LXtRDQZ3qMJKUVIolLLf6jsIk3J+UqImZfh9YXQgugDHKZ+/QDFTMvrsAF8mkA7IoZPzK8xSJ4H+SfDWv5IGJJK6ewGeWl1BTb43DZ5oRftbJASsMRd5jWg8K9jQaDDK2QX3Z2G6o+TfpT1hqqPuqGAMKmnW5I5vG8wfGbAgIveIaZk7gVoxnrkLpMmsCpRPaaElgGlEyuuqDBBDHfYj3av4ZThUEGQ83hUHapwWSStY/tBOEzngWXkZ/HewP6hOe/43OvEBOenTkOLEzgIvnsPVnihl0GwfRKDBEXjwI7Bx2icpm3Mvi8pMwSeuCM/Czm7+ALbuGIFxmsX96FYTffdwiM7QHy4q9gKJwNLkAS39e4tZ9Nb88OD4jl7oESNbb8OFwRWec2ZwqGJzc9XwYDg7NmPKIhTyzNFl9VWPtumaErfW+i1zbtjlToVzKJcePalEzJmsWxkcDPZdF+0WQB5CzelGUDkTEA0crDoiEmi1bwksJDePvHHFJE2HkEfyp8R6kdMqIwqQJxV8G5mkUWW/wP5RHMVrAtVSEH9vzRb64NUhjS9uxAUazx/c+nNx5C378TRHjZWgNsyxxiBg72WJNJIUvzDnGFzfjHyOYYYw88ZU9hQfHDWmDc1r+AAGDu30gtFGdh0mWX71Nq2odOG9BBCkNpmwAHewTGaBj51xdN308Q76nKW9bjNdF1M1+CryA4UscqfUXJfL4XBD/1dIqJ9QzAJV4VgazZcEiHHsC8Vsnvg+Nc5+oYb8lDaGvaApItmKXjk+W3q4bi2EFDClHFqSl8GZ2TcYmJ9yTgMXtBJyDcgI7kmjzWtYbQn/kFGBVxs/9p/oGX8emfs1i+hiHoaTKEidFPVmANeOBmd22ZSFlW2Xu7rk0vnI+OaAoE9wV+WVH4EoKfF+ZaTMXcEVAT3enbdiCP/WuRGDGk0pYHs/18WEiDLZ8bdicnl03cWRHc+PTB7m0LiNOjaBc82CAdUwcw+Wv1biEywmArb+LRClZME86ngoyP+83uwtyME+yNazQMFlKbdyoG0ul8GLgB278aPhMp0q1jhrxAPxYa9Awij4wsj17+560K9ELzLJDqLfJX4y0+yS7/xhSDBriG1AsnurW4h9NmZ6miA8/8KwkGR32moi19PBOqm+dFtbqGPJPXMQqpPBNiVDGZ9fQ9o3EAJLBaNmDwsRIrAc30zzoQhLbYDCr7JG1l2vh+nSq4Nta4CXnovjB0Pxqdvi4BfS9grzg/E3RoFzUs6+RTHbrYLe4rKPQf9KstFUCZGS47ofh1lHGa0ukT8BrsW4bdF6tM/3JG81rR7/Ij7DfQzf8axgh0w9+rWqP2SxQOvT9uM9FigCNi5Rr8avBoGdjiSOju47VB3jwpMYm2ps78Kl8i7bhtT+7IyYuIUQm+ySqNtYethZUalz6fdVoPhEkKpAmQtAwhuRGMmXKJC0S8wkqIBJhXc41dfB/V904+lAJ7ghYoOvg/NFPpmRGSLeYkkNPpTBfDnAyrEIASaC2o7N+PJXB6c8CAZkuJ5Hy026SzKNbJ9RBt0fvv9CJ/k2pUPyo3lzuLGdkV1mItwd3tt7a8kZYoBvLTcAVyFv1PmToj47I1rPn4jfv0p8VKgHGRzeaAPDFb4pdwo0KcvMJk/0WHztLi05fMYmYJoJrWcgACJo2tZgnmGz+ypj9xfARxVlkdbktUmslV/oGm6JaPhQcZsiHCF8IX6KrWiEaVSOhCysOnq5O99OTiSVRCvHQF3q0C0RITRgZsRsxuiIoeAzPkpNnep3h3iCvKccS7Xlk2dIZm/YFSARsPcf+Omz26MNkEs5MNlRLPNnQ3HBxcPZXCtLCKV360/f16q9/qiSHD84mk8qyvcDUo5St/y388B6ApAaG5y04kufSUuCP5GVSFkGjjbpJh7CHqlejIAKGhJ4j+kJHeKQ9H1LvDjN8uvA7+G7Td9P9jaWN+02G8gp/WhKNWhTWKV65sWJNYuyaGV/VqmFrsn0AneVknyt6Q1zE4dd2IGipnEX+QJ8mVgGPf8yk1bfGYOzq+Cdio3qXbUuwqHG8pmScPfnBKhu0PrETNDbRnVNaeX96SvloI1eADg5DCPkJNqigovKbOdgVX5U8DOa7ESCA2EibwCCacmSzayRNy6DWiJdHoW7eugJe7wBzu6a4tDYI7rZ3kPSOzfZGerwooU1OYTl0gPZPDcgWTbPVTPtNsfJ94nw2RQpAVLsvEPGfnwEk/nWkgf++YgholG8Wt6BC1pQdLeqidwhcnQUdDd+UU2TBEqI3308thm3ZymkcDnm+lfO7xracwO5Ma9dif2IHzKZaAt0dJIkWL+k10griI4Tk/UN2w/08277fjSbWVCem5RKOBcom7pFuh7j532vOu2Q7rNBtb6OUlJNSLbA+XvHRBxF9wqayW+VuMeUrlQ5yfGTOj/ZU2xKsuGbef45NO+TGKO/MN7L6Nuh94brPS/r58xmRLS4jIMZy0LQIYQHFEQmD5O66Nu2YJxcZx5gdTwQrd/l83rZbLJZegwHHhH4gK1vRv0bpXCksey7ql7t29Bs+Vh7xH7Qkyv2z0cGc0Ye+WS3RYgLvuZEx020FXKUukJ53GejwjzFN1Gpt3mHhPTf2FIZ9AuF4bQAxBoeQnjTxECAndnKCN0yi57yPMWTI54x/vsBE2ILHuusMrwBsz7qwEo62HTRTH4wcUwUFkK8iUZvtyc4JeUlL6eUclwzGMOp2fb4RlnbcBZrvpg0ZVTdwW7whpiLImA7Exn7IcXwb9bLtkzot870zzgj33V4mnvmcQNTcZutnQ+gWhttjuMvy+lIdB/klXMKUs7lWfeIqpPvhL7hpvtNWi4+Lq4m5XqUcfDniEmlr0DNHEQNkjYfKLbSTkGis7LPDYccgXxUuw9O6U63+2nZ1OrhyVMa1aqVXfG6DJzn20GGMhw4QXNVIZotxWfyFWU3gvbBR20t0huPohXEPyDNbbEVAkzHengt6dpgtnr3CrIWLTrONmfrnd8PC7Yw8iVRaYJGB6QFQBBCVmQFedNrehjH+gsPi1Pv44jbflhJSrv6lfC8EKnD7n3ENtGSwH0gEophCBUwHO+mFVK/JHNWHrFTr4CMEJDVXeA8mWq0dF23lkA8ljjW4Ovx06QiKNkQBxIDiXUhO9zqIR0j47fEm/22B21EkfFzsqEQQQyyqA10LnmyCU0sqHB7u5hlwiU3JKxrkLATVtmXwMR++wzBkFde8zp/wBRVhT+6/0mGdorvR7xucS6ZIY/KPOs4QbDE+opxp5V9i3EepzEC2P4KltnGCRwt35RKodFIwAPbC090/9xp5/vN7vW1tWEAJkTjMTi8/vlbeyW1PsZswnqdSfgU4VXtcJjGoyy0DYFVLsy0Uakt1ZgIgT2Z54T7u+v2mcDEU/GHXnw/JjA019fiUdnIVWB4TKl7Wg3K5ZSrXPPXBWFbDU47d+N4PoeTiIV6VIZTU43dmF1pNu+c9sWHWAcVHshyROfuERC1sc6w+O6/xuhrhkKrBBmRx8D+5ySYJJnFhW4GM7mHtudC5eYYUhOuUH2E/aefS7ha7M50QJ8x5LeZX1vhWV1ab7Bl7TnMif+ZgBJqv6s+inQePH4R5DHaGSaLUuYzfYUjiKbAZCgvTEx5qlc1keRFu9PLc8v0h8Eh2ACI0B35dlUSOmbo7xw9LaU3kBlafVPak3wmveSVIwOtiK9VHcvRXWj8jQjKuY71hlhBYHuKDU++cOq1Ka71zWYsGoJTGMYGKHs5/SqYFzg2Mwg9f1dokYLEDesgWBMs3qo8RLR1WqAPKUDHBf748/LmjSBxyDpYxeoDNaFiSRoFsXI1sqm9Go26mV8MN8ZGLGklo46kcwhqPg1ojP//p7Myln4Pjf+jmD07UYA6NqNp+LdTfIB52V9bW3nSnLbdr3hqDK/BzVuhQTEvYwwrUE3sRYK7a7400iTmFUdcfW4XpXgpv3y0BolOy1mJHPzRk9rNvy8suIAmTxSE3MaXldzza0JEnJClE8mY3tg7pgzyVdGxXsMj4m3bTIS/+xDjpIaXrjlMPira4qnGvKGpknkK+oaBEL/JVAcvlPWP4qPPALnrGsmDrD8Aue7duosFvqDAcfE789L3HswIty391Y3pkM46lImMYfD37nlsJSl0WuHgaEh+/tsqb/Xp4E/PBQW6dE8d+pV+KoNoMlawg0QV+ICCbngFOyS1T2ju2PPloL/UmFPf+znXckM73qy03SYXCyeSYgp877Xq3NzgntJrC8ziqqX6QUfGYJExpmk+gtgXOvRXuhVy3PPCd4Yjn/v5P1WV5cx8mQhErRmeY8UEzIFPPCOOyzeSog9q8825YUdr+I0f72cFFSi+xfZU+tBWqdvLs8WPfXoIMNI5pd5xZOXhgRJsodj9/X+P0auMy7m7/Lrk6gqgxSpdckm7OTHLwJwMGfKwi3wAGr4jYmcAllQKH9gJ5Tn2/sxLngCWCAWuZ6CXifFLp65pLdb7fmsXeA+YYepjhoW+WUsJTsSbSaDyavzJHjvE2OzFI9TL5vLgPHU///0/3vLguO+SLvBXhd9xAqVq/3DfvNtNniVHVcP16SiViNtCf+4r14xmAkng6r6kq/NnbbWY2NvIB55FXnsdO4lWNDiFa0mM+8C0picWqU2kCD11FiJqJE4o7cnpjw3/Ta5EP3bsg3+N/JiW0xswXFxEFHq5GX+qnkn4/Y1oHhuvw3TAbTThFhdp46FdTwMtdhD90/dkNJJj7hGdFnp8wMhamBTAq7QahdBMcsfpvKQv8/UFDhSNGOSLKABL1CgkuGc5EOHjZ6S4Jv23wZzvWBtI0iHzxTPDq4gC6gOOb/UC6dlL695ZxsjHK+0s1JEpRpZrEHcZZZUEYoquP5Zp3n9LLQSkDDGCiVVwSDAFWypGfWW3iDzXPj7lr10RyFNnsNdWPyy9BBOSmbrgZMoSlAw8mwETmj6W29GBXu9q4sNq92TgqsRv6iylbj9I601gmC7Vvyj6h+3HkLl9eUSCse17TpAchbeAptx9lMEOKmUycV0fWHFcTaSLMvEttX4CCpk1C9XIN+nd4AcJLVsCqoDtDYJBR8HjW4NekzWTr3LwPt55OCXu9DkRDpjciXN/bz61EmbommRjhpsIi5+flfaVa8x+qabcqvcoW2p+mYscGsUPGfF2HtCp7qipfUPvYVQZdLryQWVaniF0Zn4q/cIxeUcvLtzCEhKWJJqUF1Kwfy/HWHZkYm74K+0NfG88p5JTy+I5T8bzxMB+hG6whCWhn8TJ4yFmT8ODtIYi1e4OltiDADKabVWdZRx36HpIPlOL8OjqXtEee/KWMOdgBrK/+/N5p253k+Ns5mAnYTb/uoPmnHz6DzDqTww/pkD8qq3zdFsB6HpjnWebIjG4WT+YncCX3FqqdY/uh3J3GMdClIfbuy3NlWnvfakIj+EW2L1rEW80NExgaxEv4z0qRDdlpAl5haKfdiVNAoGfFMLVVO81aGY5miEFXKJ6vPzRqLYuGOpisvemosdeP5HFVdkwTwVFKf6Xe90e12upqmTXrJGK4BEf/rQJVndp2bfgZPc/nK7urrReBl4OXZ5KLEvlmIRPBii1ZDFkrUN3cAAVCO3EYChnNj5AkMk6wB8C7Uv4UTOpxIQr3RyPEzm/VtIAvUE9WPvCm2RoWdmnxke73ufXvdmG69J9lTfAhaXgvzE+QRCtdxb5DRwtKHkDOlHXLw0AqK5QLNFzf7TQMDiA+MRlbowq24OG2obooPUteSFXoN01t7TEp3gHvQ5PhC2lGC+Z4epf3bUyADmQ9UMu25ywV6h/SpG5lNl8g8kIweXVl688v9DEJmXg1lurxhOsCAgCfYSPl8KwZidUWNtwibBUMbV340O+LZ95Cx5AL/OmU4orWhoiz/IRAQKxb8259DCHdIzBbXagCXJkjegEBZ1fh6pdbJNdMkcgu6qxjq0Ku+VzuKrMx8OCmWbyDT/UI8KNaZ1GOt2AePfF5IOgEB4JQ5JJIVpw9g0GSZCilSd9r5H8vC+WFj+tk8edT8qt6Fu4lVQDV56rHPrg7FqZakOwqBjEXkvqxdRWUwjoI8IS4qVkPv0GCiMXDOm6OfNwZGOlgHIazTU+f48rAwlHT6Y3BHTNtXzng7GliqlUH13LuMOCZ0R8s9IYWRHfWyPDxTygAvbv/ExDu/HF5N3PrIgiW9Jmw/0tmtWot4AMH/m5c4V8fhL0MTbOb4GlHkDKpY3EZ1rYf6la7zCh+6T/xtLitMYLtcr/vbz6ZrdVRU6IAN+cPEdL0Na+J2Xg3Yd5xM2/gx4Iip50xI1EKoyN59e7TISKQSCunNS2WsxzyCvaS40ktPMjk+wEcQXhUgrSerseGW4xL9zzAU7gFmEF5xYauroHarasQNa5vCzgdgyelUnmYaK2QX+6ekjArvEKII+Tfor2xbwOwOCGMjN/FJmXVTVzygBE19YbmsseaDiL1rOa4U/wk0cTCJT64jn6/EWLDYiODqdWw7FFuc0Bw9T3QIYS8Jj7keEkUbBiQtfQfsbZ/n7PorU+0D3wY9dD02jHug+ywQ4cOqavz3j6HwYeok3PPQYLEdBK/kP17RyMT1qwfzLpHFpxT8wz21W1rHMvSdWjiJxGqHLNYjzPGqGsFY7S+nAzT5Q4I/Ai7fB5PxBGFUJxyBnz4r+zBuDLsgz0JLFOBZii+hegVF1B4wAkh58mlpfcff+MRuN/hZsKWUwV9AfoNcroosOft3BZ/FCRcgq5zJda6pN+4WaTx3IPumpNQC3C0wcwjx19eUZaoVTYJVzRSzLewUn30B82zXledpy2BaOofjFn9QKG+sP3JYVNwTDrjQwvOHnXuTq+tlM4RDszaDeNgcHaWNO3Mtdfl09BKrMfL+6Ghu419k9Ps5F/L5FEFvJA1HYzgX4/20gR3k/+wtj++5l2a/ij3y3iY7B6UivJXRpVFKLwmqlL2jgQrhA7n4TTpJp4WTzuWxy4Q161q7ALfQtTKzP8WRpDHyy9O2C1P6t0a++FZafk/Bt599tlsFYHps6z5WrSJNKzSmFVvr2Q3lV2MYS5QVrbW6zDkp+/2JmpdsUPY/TlWOZfLEMmpJo/e20fLuCTgRphHW3pmjyyDacfkbIfFtbpF71bEcqnR6AU6i47CUVEPNysn1/LKCm0HheTjtvLUAjYvpdWSOvkJbwZRWGwXdsPgWQPSOVORyL+vfPRLwgvNt4Rb9ieMPZ0+A0Xb04hkGvGHGHqOV2Vv8KsygQfZSz8IAcQZDC5CYcGmn+LMBadO2sgcyym9/jSB20vJjY8SuAiYGyfX0Cz9w7pitCxZavT5Lwc/NXr1761AfZqVElT2jbYasJHaXK/F3Ss70QMMYNT9QLzvF18Bz/PcZKoSLwnxSyQmzJcftYqAy8WJYj+1wBnG9rJb7poqCNqscixDQ3xoNzreTAdws/ojsfoa60puEEBGk4H4cWfMoDGuuR0rfG3MSM7EDO1uvElFOH8+Sk1TEodSaXyJfmuSTozZAiaTKKUsW0e1VRp6QVhXJf6RJdTDOYaKWzzrvdcFiM2AB3OS1Et0d6aL5Y1Gjel+nA+Oc1ei5lia8tAYVobTxO7bQjoGPi6BxFHJyig+BenfOHHvvwbFmL54Tx7SxOMnCMkG5BWf6iP2E089y5mpM1WSIQ2paLD1k5kpJq+m1p/yzSOlz22xxSzRS61qh9Ag0J8xM9YnIlgmrn9vTlfl9xxdaCvK60TUrl1azzaBBXvvyQXgih4mWiwq2QOrRmJE3LaMt0EfXk9PSpUQklzkBJxOM67jQk3aj3H7Wi6y0IZrwEEQMNhBVXV2CNrHW+exMSWAj+o1e4bTGnK/hVfAhkTpRS/43gFqJ4OVMXGuSIIMznvsN+H0b2XDhzTFBUf6NlQdXwO0xCb3fy/nGPbrBGwlUmILgKedzdiOqvCvgNEFALlG+yZgrdX74A9nmwgj4yjrx+fG5/yHj4SZe79Raca/pkdiUzajR05ssGPHeFmi9p2XO/D1V52LPQi6L2IVwUTiTKS1X6K9xm9i/z6Xo+66P+raHx7hgBfRH5K/vY6SkKhHzgGgtqvwF9vm6gzxwDRXBzTlcTdblGewNONc573GBoXGowFRsDIx0JfaqCICzxvS6OsXDPEJXMOqRAW/8pASnWq3rDBQvDOQE+qBxjD5mZ75Ql1LWsaoqF3YVjlHAQYqW/HH6ZA5cF+8Mh6pKuUCY9MAcumhrRz2AwjjTwFqYZFTYchRGCGg0m0GMah/drAOC6b9ElteB5N7wrq1SXkfpE8t4RLcb14V69R0+a6HWydqfLop077hJcyDYSEAMY5QVjjP22+H+3Wi1NU0bmjytAgGyd3rE3Y3/QORFx3FbevTffNCln+0y+ode2sHugB9sJxivbgcKxFkqnJ+v+x+H5i+YRIEcq0z712LCdwNFDY6V3JphPm03UMh66bC9ptfy2lZrH40d2GYe4Vrxs0dfZICT+jWU1VNYsdzizGjrRkMY2GiEfQC2mtYwYLg1mdSZdc9BIfAdGFEy17faqbA91/z8S9OFW1hRdWujqvL4CGjl3gK112xm7yzF7dLHF1TfOS7ZL1OKU/fg/XAmQEcr9tdojn8qQtitLziaQhgQ8dGF1WHEEuaQ5IC9W21AZgW7oPuyczhoW/ty81MJzfSPYU7/xoDHOJjxo0qnRR7tV76TQrjKlUDXBQ1Vs8Ohuymg3R1sRWdcx/n7FnpniqRM+Orvaa8H6KjBg7cwMvS0cDQUSjErWkaB+ZrmVvd7REDQc5IX2ExaUyJ2o0cLBC11EWCRULSrfMXx2QYogCyWTkmS4cWtJjogmNkaEOA835JzawbWoDHF26bz5lsGXThTQV7awwPMHxpBwx+VEJ2JfkkGSo5SD/AdFZMt55T6oE9D4GXezhmkPHbM/7C5wDzRiXaqIuylYv5x/t2RAjbnQIWdMnzl2eYm87ICyxZgPW7X4F2zqKg0JUklQwRHvLW4RKn/SFYtj3SXTnJC67C+p4QEGkfttuDItMy0+pgfrsbPvxi8vpEOSrHh9bumppEo/JVrAzJIdkTxryGTuXqX3d2z25S0yJZrtVDdGH7ljEFh6U6Jth1FqLFt903Bp3PywyWhgRRrW2X+uoOZROklngElyCaqUDWgU0Krnda6ZEy4ygx0EbeyZW4VDDmicASxJ+ze5OvV6552rLFD+XdAUQB57ECR2CP24wbraGponbUhwl+grEDx7GQ3DzGbMlWUb+8B7jzKOlqqy1/teJqIojTrvtxtb7wAdIbMMcFSIS0so/W6W1Kej5mH+rGjTB3gGing/OoWGmb0Ez6E+tn8zvKEy7quEFjCE6jyFcpWf0NxJyf/h0tBAAAj2KwFF/tBrJTvKhbi+AD4uXjO5DTUAgfy/c84Nu+SrL2NaHyaIuIN+eErVlZHSjswOA62xKaxMaaLOYo/uApkT3IMhNTnrE/gseWaveg+PAX4brrEbg41mOq/0L+TWVwK8LdoqoGIEUsTlRlrOp9KuRHudopm9fQ3wwz2ikDGponoqZ2yJ5p4N1hDOlfq31P3xxvOAMDrecqZkAlrytu7ZqsAtTx3SY+RCuK50+Lm0npFEzqM4DKo3SBAoKLmwyZVl+I4U1qJDHDIsBvuWygjVaVkJ5D1+MATJlGZoAK65sw1pcAvQzzFjCon3LX4KSUYQZjI039edKCbcZqRDsAjKk/iE9BlnYPEb2sREQY5ieQdab6GW7ZjTkWT/kzaTEd8y0rLWMHwp7ojl6xM55hbq/wO03QwRXo5F1chgwvLohxvOSukdFt9FWb5GGsBtGr4M8NucAm04+yXJbAjADk41w60bdd4vouFE8xLxnWL7G3cd0zgDiwJDtzZKeDorEYwD7B1oIqzUbtYUIgWychZGcrnkRwM6/ijNgOp56TvxHkQVaxR0k5X8SFia8FlI2yabfN+Th0dry90Kdw+KnY2EJyp9DNOoqzQv+h1vY8YcFrwGi8zr2AfVEq9jmJ7xNhi63+jiCzoUg3Gb/844WOit7VJrU7eB/8iYyYdQIjTZoUBhDvHraMDO50GqZFC510NOa6ri+D6isTCiwzA7IpXCp65jwUz1RL8GVyZ2tqHUH9dZSYE/+aqqYcNFt+5Ft8rCDg7bBjQnmFk1RRwniZts80wUYLfC39D7SL9jztnRNrDwuhAjpFZCJqN0FeCs+dYO0tje9MFko8mKtZSwuNxfZ6halmxj0R06piVs1UZlWxIWcLkQRbKMs9bKGZLf9MrD4E7mROXkNLgzerp/Tf0hwOXYqGBEATI3Xs5D9wHVKukpAgJM7RfsXnzNjePDbkKG5FAy2l8SHntRPCfBMeZKFl6KJ8tRpJ7qDkS2t908g/8QKkxidmnfcyyXm0k5Wg+VzP3sL9IE1IYjG+qFQJ8sbaWmfuN4gSd5YMwEgeDNa26BqPRyvQOqFiYUr9lXLvxrBYrNidTJs+MFTt7nyv9g2bMI/f0/QpAML1YdSuTVeVDGXejXRLjPOv4cKk5Mioav+Np/2pEAmCtQUbfisboW9NRx+ZfrC3dqWedl6G+Dpp1c6Ygbjul09aHL4APJcRmYtcam3Mx1/fVyMkucl0Fd2ME4CKp01iCiPQ6f3vuhIHfgJeiKn0ZS3oZXQCzAvo4Ge1dBT9+AljHDB0ttMUUxrxM3YQi834aSe/IGCI2MlGGgirSefqkFqAAceKCH+L7lHAaIWqblzN0WKFBAzOhhMlLEB9wE8S13nK5D4Qq0iitv7hFgYQXMd6PYVQXosetvpzCU2skV9VqTrHXtjrrL9InUr8wkzEUWdhkGJJQv1RLqrUJEBJ4UAFgYLlIbjMh+LkUQmiiV2GC+t2dVy3K1VZSIv4TwTH6Gu2it+gQGM3UbNRPYat0/RPqDavvtbCUhsGpjN6CXR+JUdQ7T/920LTfbKnRFTbRWrqtCYu5WvBdLutQlo6BdgOIAbxpYPMzElQgzejdXt61cAhFpm5V/L8LUt+M4kvGGJ+RO7IPFMD3UXA7HOyMyx85p7YmY2S/OMjfsKbZyRQu4/TWP9xBTA3L9EU4rtqADLGmHBrHBzwkvkgZx5LSuuaT3hS/EfRTfwD13Bq2RwbRxox+169F0ARGvesDTq1crDbAx1F76Dtj7PHGr7rR1MHOBLfgzGL5tHMhVUJi1a9hWuVpcopxiT2xBpYAqRkEz1ILPG8AGPcB0Dt+ukQf5GTEoUQ+UHvakgFQEPJAqgIeA3rdek3bn/Q9Etx2huQfHeSYU44cnAx0uNxLojCWwgr3CMawkj8VMRlCMQqr4GJKP1zBLIeSpZOW0PkPqMBoQsFWrnKgwJvd27Mi7r1emiliP227eDSutV2tGUifyCIb/lRIzk3KlS6UNFu5zzZ4AnhQaCTHIouQikPLvnL/eLCfTdhQD/JbTrhidhp1sRFsBYifN2bSwt1D+8uqt/P77Puq+I0mpjDtu2kbBDXK4fzbDfmOqFSg57KJntyWrAHtDlWl67/Q3Gi5ELKzHspUIIf7WmPPZOY2RFzzF51cMLcGYNWgrjF4/0mHAoZKjDWJmty01GubC+V/dXMrPY6XxgFB1+S80ksxvMLiLCk+n5Ft7ift2hfYfnZp3Pdw9ipNMt4qVPq1f/rLRNBinXkwWi+ljiut1IoVLISRbiY59fUQZHcSlwOhfOTSEFOXO2I8GrP1sa1OkJoXSUfu4tUTtQH7l6aQjB+XjKdqvTuEoMh7n+VPfP0XJCXwfk+z1vAp6PX7Oo9H36Ey4cn8AFhFnsvKk+H95blzLZvFRfKMp6dU/LVkgPq8kgfJLLFSz6RmHvO8yXoVrcLvoiNrbnQm2vPGP15wdr5Vp/vm1Ymlc1oSJItr2piB2aicxzk+UkqIwVh99Fu2uBp9bSrEy353/mWdVw3sGCW0TEOGsAz2jzssmnLnFWhLZWPmuOiW2Kk6WlEl7r0NFYJXLRRJq4/pYr70ddcM7nCvj3op5pbuwdWCB1b9Fkq8SMT54yVWe9Csy+1S0wT5pQR+9FYSFvfuLYCu7us815kOhpg3kMmIp6anPDOFMv3Z8JTmUEfc2nRJc3w6XXVUvEqRfi8PxeCGjuSnR55JDGOqoJMXcQ/VM6QHc02Dp2EfuEHOERFfaCjXmjauwjJm7eFQRLqgzZIfBhClmjmpt0KuD0xZwAanbiVbIgYoBBRPZurhggzHhn03iELgrWQ5Tl74fQPMqslifAaeIIZ4kAtEwFDwx/vcbHHecmuGLVlvzdb87RNmxYUoT2Dmfb2G8EBPbw+wDiPc9YhcPfP2EnS3612vIO7/vf7DZxPRqBKmYVeVfbuFxWy1k4qcjSe92ZsE59NCF/9k5auvu09olzrC/Bsh2Wot5P8NqtYmWZ5He8V86IrCBn+5cfgmuIa9o7CQI79G6N3qJlcB/WxGe/cB5QNpLSNHd4felGAso+A6pCs3gY3xLOk9vSkH7RHfxm+uIwfHSwTb5PhcMt8vzgxtaXwPlGJj9UR6Fp32Na6kYfhzMUDpu8lX9hsGqQnnIrNHzdhwSV40UFI5/Fcs1Uj/jP5w5zqZNeS2n18JTvBcY2uQkimJSpreCFbYN15WOkMIXrQGisHktRGHwauTGwNL4KBIW1F0xFy+pbIhDGg8QpGkRBFSWDOgysGHRp3b0+eTqfVXHgO4AVvUZP+pstDyIZDXpGU+1mlPpcwcmDsm2jKPYt3HxblZTVTh9AroJZiACoCEsj1l+b+8eaTgCy/UIJmORddeozceC2stl1EVfs/CFi59s11X2pz5Iyn1OzpIDg/VVmlzsU4NnZWqzJGi559jmLJAhTr2hLcjjjqMOIRnoWxNTxizpbnoi9B94VkHI5uWZw0t69gonbPOlW8u73iLM6ha/WDTz8tU18B2+rOtZLX3lt1/HYic5U8WKLzkiVlG5Y/+s9nBmoRCjDuUEzPwlGAH9BDJ4D5UdKy8V1Hutln/dc/m4I2XIsjnBLNp9rvmABKxf9l3XI4hHN0kc21+p0nO7Qzry5xSiUROZe0JgyRhM0pkQxmPOyg+dmoARzrUomt0DoA3782taxKpUkVz+l4EJXMSn/gFjgbkznhRso2a0lQZexcDlGUEjGpbpmUsb6LKIXfY+UFDEs25N1LFIq9I5eqXDAXLRd75ZQ2lZpZhVLgr8HMkOELJG2Yj9HE43PHfhY9alvHet9kZCsEUoh/TBFO97Uu7nSiJBpCWybJFP3RVS2sZL+8YYhfiE+A5+rNgZk+Xrq9SYBxYT8iBIEUqfpby/ZjUPFBNEbl/YnPDIs5EtcE4e5gburTpvuod5dqnM1+Y/P/VS0jCy6ff1hNE1DrNTYAwnYohbqxuGFG8GA8Vw54rNaIc9SGr6QXVJpqE3TcfU5Ij30vJEIVE206x00vaofcj7CLHzIqWiwGJ5Ljlpnt9fORCTxyqN48FtELmJ0wsCH1I+IzA5jY9B+PNS2AoAouQ5QW4NFKOocqGVIeWj0MnXArkpzGvF/ewMNnKH0wnvB1Tym7VkKYbIwtZF7E+e/1lEFpjRit4xn2A2yGWnYH5iBwjCyNJNFM0XRfE9SNGvfc6AotEOU8tNUv3DDg2N6zikhnCIsAr2S3V13JIeUG19xsX1ZEBEnFxgEb12GpOOaaXYY7ZDnYguAMA8+SuNPrwBpzsOgK68o3nSEEtNtfgSoxVOH6xEp8EbbPBVFi1oITcVtDE1p81VZOwvaybm09EA2epiXTtAemd7UTGSSAiuu8JXiaWb3vxzfygQcCqZKj2noqzHcaCcwdRJ1SdwUmzUp63nub3cJy71akRfwZ8qsjzONDAF2/nHYpc9wzbZZH4HUpbIvRlsgn6+Tz/3JKfsMxLznYQGvTo1QCKQy8rb6kDaWqZ+iVz+SG+Zwi9bHkQgbhjKQJVSOPNn1vo29lcRvJfE3UmGLBk+4ITrUHqY5upcCGsPLF/eU1G5gtIj+g4tlqxHUQE5f2z42en3aTnTR2qmyERa1ly941h825VJDVXGygVLfhhXVkcmhcHfg/657d8Yk5JPu7r7EpuHhj/BLOzOIUQo/cvIA9B4xeyXqvcGgIRHfOOwP17Nps4er9P+PBcGlqevcAFfDJinX525orrhGNn/Dh0gZ1mwyvJXrxNesCouPNfBrd77ySJL0MSFrQEqP1lhCp48HNHfSBgza5go9jEe1NsVEwS1BC3bn06EomxSV/WfYuh8Gq+QL7oGgfFdNnpm4FzNhLdX8YfIZH1b2fSd0DE2OiYGaPT42n2XVdqoByd6WOCn8yLHS05VPREEtbtaTzZLk5fhPXEeuEVmWP6sJ3gHjkxky78u11IRBUIP8NM4FuptuKb3wFjsnjcH0R+QmZ4YrlBUGZHwX/CUb+HgfalKHk7UKJDVWAgtvEr3LuyKcizaK5cH0TtcdDLIQqnt6Q1axKf7vUrDmRLjnsSZlOLzkKpyLScEni+ALKQsixJ4HjZI2x4uIbh7QgbvnZODNYrO7wuWtFKrUyqXqyoMW8AyaehhTW/hJ7DtH9L7vGtBOz6bTTXUVRHSV8vAP89Ift/j0wUxK92IMfr9Z90/p8hwhN3WBkv69xBI05bK13xBaIZhNRF1qzwma7tOubdcLzhqt2g8WvBMmOSuMigtHoGB2fxyAPyiW30znTZ/er9NIyBzMsCyzZ9DAQ52+V1uAWzIHvu7qk4y485eHZDbnaWd2s0ADaVHyVL8vDOhgq5bkXUOBeB+g8j0HZWWLdxyzLA32MxY/7Zv8LicXIwjPaDj+lGXbvobK98/gGTMpmxlUcV5UjH36WbaPdm01E3z8uZI3UzpB3LPau9bm79QZYEl6mZkTfsagR4v31OWaGaEGrDOBq35YrSZYNlcfHWmhwi3FgqcQ5NPydV8aGJmsjxyr/l3R0YN7SZhk0gzf+TWZE04E/o8m2VvYSg1/5oU+NkaEqjz3jbfHiEJKDQEOqBIeIZviKKE66KPzlASg6Mf0Q/Kps+IjbmJeNEEBq3DApCc6vHX1yZceVebTTTPM7ANSeT9GQe1wXhkWn+BTyZ/8kqnbTqP0U6rgGoW7QMJ5GmHNOvdITUckbi8pCfxO9zmQLJRS/oIb19gHF9hLhIgKcPjEa541vX65qaSfBp0HJ06dzlXe3+w1/BhK185Oww//YavIq4w6nEtUhrsJksK9zQxNEBEs5jtwrOP31d2hwbVMbi/2TjXPq65OV6N/cshkzgiIpXGNIbmrcyNuhgS95Ege9ITISMWQGIKNMQ13sIWwCHDQ1CnW16JqgX/6yKa8htlyOW+D0NfIC3lZCBpS6ctk3eNirfcuH+LCthQpUYG3L/h46u8JvWULQ+67tf/1yKZh5qLf6HNmvRsnCHs1OVGp4lO73763Lr7Y6SCZXJTMyqD7eFidU+t/V+bjmfX+A7+vwCBb98/pX2bZFYtpHAmZIqyWZLDK/ZCdl3k8s86bP63vqoFzF0Pbo5fo/IZxhgzUcJphfDEvdrMyUps9Cjh+uoN73IbtqB8f9mYQoKkTyIkuk/lDR/niw4ohdxqYp2OOoA505lZ6BfJJTz69BG52xGgVtbz0uidd7iYfA5kMxRTTKQslOkBqQMd7EQ5ifJdrh2kl/peqWNlgaIGZF3xHgeZXfUHDDT4jkNYat2ylcoJRWIkTb9Y28rKRMytxFZBkwXIRin56kVNIWC+UNRU6kYGlKvEii4U1rX/bFkNh9NCEBmZOtWZY58tAuQgezz3X28yMoG6shjl4y8BBKxHkN8wUZWw7JsVxT4gHG4zcoFlln3t7hAvYLq9ueeIp2qoVo0kQJsPdbgB2Vt7C67zVh0kB4s5Msxk5yo7LIwCAdl8gbmvxjhD8dIyTzXdjI1KEbSwrGyd+ZeXEfZL/dkYCVmLrzHtp3P6ZlDPdZNflaJkgvBCwmNY8JFjS74w7KU4XDgnsOpruJ/d+94sghMJrEuWCcx9l10x+qYT+IeqXfs2TlhotKD3X+Rd9jGNW5PFolOoMvPRPHW8fo5n1HWWHJ8T4olFlauQpagH2xMWfZjq8fd5swd/jE4dK/kJeLWyeHtGnukqgEKkZOmJUjyiIU4VqepXPsHVlf7qELdPoz/a+UqyRHB2Wr4Pnkvdb1eARJm6V9Wu1IF5+IELojNI98Yyue3GL2mbL8jfIXNl4ltpUsVppjdQ3rTN6Rt+A3tIyrhaQ7hB0gsuiJTV4U6e9UgND0p7dOmCjOQudoCXZ6W2XGGjxxs//w3M1BaCsNf3o5YewVsR1snhYe9ftQVgQIExouKvLQaarRVeL/XBhR54940nt09gSJWfdNV0ugYxeLZzFwgyB4VeeJSBnrR+w6jr0UKKCJQFz3d67B0tM3uDVnrfnR1d0tOWGaYDgyrHW0qp9DVMMhMXVk75WND9YpzLK31ZMW2rpk95gT/VDioDjL5BMxAyjTTLZ66nnLyciaNRJJ7E3t9jspN7X7vmM0aHUiU2py1QXKK+HfwaG4EXAla7w4CeAKCHuHIYPV8t6lno9tIsccG7JRdJyZIzXvFArz+Cir3m7Y8a3x7tAGdWjS661Xow3QpUFOc0rWNzRVo4IQkf+w2EtIVRkzV0joxLL+X19/XELViOfpYIgdixw6R+kq4kuyjqOlY3Vlweee6pp9NFSgahvJdSYzSSQhQy0V9rKpgQCR7BPkPBKAyr3EOuT/3o79yiiKJc8u5EDSJN8cOBzDzjBtuKzU1tcGC2siS4h5+YGvALc9Bkk4dCpVyjgfSdhGbeJR35rk6BNOsksadAzhjfGzkwOvoXqvfz+CSHndh1h6K+iQ1E3OoNxiYQMpOVLaWr1bZ0wECnq44fFhdpo40KB86VGeCQtFaNrQzhCJ0646xPuXUXm3wjCH+mF/lIGEdQGZuUn4JwLQ1mpRCyKUQw6RUjCuB0mHE5I8KhCg62VHxn50JDDw3Sa9xODzjKioJExbdQSLX7+ZiZDjugQiB7PNyfUr5vZg/TiAhQRe08PCJPH2WEcxKGm0/pfRyb9FP6G8W3yBFRIOOa7nNP+UF5Ar8askg+mVuCDO5Wiy1VmlaoACG0eIPmii+7T2Zfj4iO+pJZJ8jvbb6inkdnKluVCrafJmt6OvkjCtS4k1rppTDm3D/wv7Ri39Ds5IIXgeaEMCdwNeV+8RGI7E0Z0Z6KPsvOJwETDUNuyxUk1CUDZnkOyOS+VMcDPlUnvCFqTft6awtaAq5x/FXUTGGGhNwn+6dyigclE3UtRjWGX0l5iXb4zYbQ/zMO6jlf6s21A4p0IFBDPGY/uJxbXcr9N+saqn77A4igfwBaO9MQdnatywSKpk5viAwWotBES5lcwyBMszicoMjYWmX3eF7VMuj7363vy3xE/5lv3d8PMHgGmvl2K1EYjaXRAPeBH7ucAlHNjeoI+LfOnMRO2PbYyj2vu7cp74c2JKpCEYBcL1kveQ0Vro8uoEa5UVIQdoe/qRqVn62PXYSK585rE89ejhmZIY5KOFKB+RTwYjoPI9f6v4hcElncttrz7par0Rq32H5NkUEjEe/8dk/ySTTM3BflBqfi9O+jpSxYGK/WqtiTcpNq01leeYRla/XvU/jR9Uw+0TvpCPY14Ykv+vaWNpkr9uPmgSoUT0T5L+iUZof5h3F29oudkNzEfCqmK76TIS/YNS8TXjbG5yXheKA0bkKmLFgQl2X+aQ1eHtypgekXszucGYyebav0nEDlAXbD3hstyZF7PCm8yMLePjt4l3OxBN1mK++HK+Brf0ef1UEXGy7ycNv3g4j8aNbul6UQUWLTdRuCbmH6mxRmCZdPobMToXECYPyM0wSZBbza+KZ9Ws8cIfh84k1k2nz4KfqKb6fw4E3xJPpFRs/7JwnFlo8nyjzf3RLVx8sPwqt5bt74+4f45VEPIh+3KI61289u9vHJpc5N234WcRVhf2OZlFqKyJUlyh2sG3vu8m8EGfZjpkMnB5BDzCl7FRCV0jRNt5sa68Chv/PERibhwGTaSc7sqt9MxjpDgHWkW/OJqvjtYwLI/0I907cNDVVIkbLeOSj7K/SgBQQRAHlfgXCvkgCjZMUYxtzwizufRRUPOxYrBRBpdMoLzGcMuNAgv7z01y1Pr8f6Wq/8i7XXkuRRxTtOUcI1fidwHGcIqFh6YXcCGTCzCDK9SIBbx0bBHhTgDizwg+yr8Llq/E3zvMInaC5gr6neHZXrscyZTU6TgSu+hfIaG2yd8k24XG6I1qmDXBELAs1/3tONKCgivM279ls7WMrWlXmKqH6ULqiHB6EmZxJ86hWX2jz2gJlDezbVZyP9wa7CDbBBtRuUAmYPF2Tr0WZzKVhzim2KhGS6VQnixzfVa0m3lBNd3n+ReTNJFn9TD59iSPGKoz74KgFq2iVF0LooQsAOqmySqWFEOPVQ3EMqCgtLdbCRAyU62P1M0uyi/aYk14/20Pu+ZaOlXAWql1BtfcWHU1m9ljYGuJiW4H+2XBnylNjxaL3f3Sfo3nqm3m48BVWt9oCt7GCE656qyjfIJOvquCMLsdjntixdWVBDgK0Sx1FWPznl4L5n/xFWvTCbla7YDVihH6Kb1a0A9oAjncam7Ob4yiFpDmNv0bKj26k9z+Hzf68QzU+VjImFjsbOMnJ9HHQ/7C72Xfq6ekZSh6+cphbndLmgtuTjllun9g5yReLUh1TX+Jh4/xneD8IZ7/STsqWgn9yipjXdE1na0E5fUKd61z7hnCkIglXSx8Dl6Q8EqyjDpxRJE+O/18RHllCldPHmLmodlh/srFFnkAG7R/LJJiicXenZ28fYS0viNK7UK4IdtgE6B6Ck21vWG2W/5XLhxAnLu6p8viRT4tDaqPaanN/Owb2A0l6IdFWF9OX4uIVwpKx8vfLkG293SARhcnNdOgq7Ufjr1/I1t+CEz5oCdupgQRpkEohU9pgFxTcumTX/LzkxSGMONuXLfGq78IBAZ9Ifsg3SGoxAwC4PvS13UgFctAB7dGWlyTxEi+orrBJZL04EqNCV2eNlcK1RMA4EgJUxIdGZzJ+LAfWiEx+Qb67a9UPlkP7UlrTx1v6B58g8XFHAZ/PgIIXmD3gGT71tJD3Dq08q7xFeWgXftm9otsagCTp+9XP2mkNg6TCoZpoevYtBmiFVZJK8dvo46yEABw1t03BnphRvfKyDxtdOTpPBFhmaOmgXCYOKVaefNnfhsSc1GO++ob3QDzTxoyAHBc0RktnqsEKxeMdbi3qm8wJe8291B7QoNzre2ihHGzg4uYkeP3b0E2RLZFfQpm+7JNRGCjnEdnAA8pWPbfwz3vv6AdWmH1643C/O/qYY8c7TZhZyfBiouJo89OgmtoBj7IGUYrWmRtoobgWEkuIBFgdvp2jf2VMEmw3zgYlhPwG4WfSJBEfEJvHDH+dNMpV5CLghk17FroOhWsr6/T8XSWACcLnfZb6xDfY8JI40djqyrMuzCTWc3xfdf/fGt7kY2NoP+Nc7PIiatYWa98rI8EiE/GADQXPq37PkAr+PU5CSNAPozJ/4PuH9UbBCUfNAxH75OhIIxuJDEbUFeDCblRxKOmPdSklpeOl+YsPG51Ysz1JSH5gaK1EhN3xMRifStuiAaoFLGIHsT8EM4KVf0/IUIwk1zACleEndR5+2bmlOoDRJSUgSW36gOUy9PWwXCBrBOSOUpgyTM8bQZmzJwcBIOXDmJ229I5uDEsF5jflYuvcWXDdlDlQND11fZDBLbVnYTDJ5eFx4ovK3MSW0sQcgO1AVAYivEch8smJjRO4Ivg9uJadTpjWAOixA3CAenHaZOxRCzU5Buf9gDBC9EI0SodpR7CnkzbIG/sWsrOVskYH/tMWNaOi5iNlLs4oiRmlcrKu+UZQ58d3EbdflKTNbCo76HOO1vpy2o/d8qugMoa1R41tr55VJ/aQOPLj6hJ9+srVUHBNMs05bKcvPmceKKAUJjdDjxTfvUxlo08BvWVcCZvPdE5wQDBM3a3+QjCGS+o9wakvAfsCgS2J0wC1jndw3Iwvf643QRNy5srfVL98vAKp0BWTjUa70jiC+x2+hN2ofg1vgP2SiwPgSf9pxwR34KcgWdcGATqsXF28vj4fhuFH3SRqwPTfhlenRtBNWIzNDg9fl6/mS4dPxJqpv5uVdv1PduE"/>
  <p:tag name="MEKKOXMLTAGS" val="1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False"/>
  <p:tag name="BTFPLAYOUTANCHORETOP" val="True"/>
  <p:tag name="BTFPLAYOUTANCHOREBOTTOM" val="False"/>
  <p:tag name="BTFPLAYOUTENABLED" val="0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False"/>
  <p:tag name="BTFPLAYOUTANCHORETOP" val="True"/>
  <p:tag name="BTFPLAYOUTANCHOREBOTTOM" val="False"/>
  <p:tag name="BTFPLAYOUTENAB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False"/>
  <p:tag name="BTFPLAYOUTANCHORETOP" val="True"/>
  <p:tag name="BTFPLAYOUTANCHOREBOTTOM" val="False"/>
  <p:tag name="BTFPLAYOUTENABLED" val="0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False"/>
  <p:tag name="BTFPLAYOUTANCHORETOP" val="True"/>
  <p:tag name="BTFPLAYOUTANCHOREBOTTOM" val="False"/>
  <p:tag name="BTFPLAYOUTENABLED" val="0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False"/>
  <p:tag name="BTFPLAYOUTANCHORETOP" val="True"/>
  <p:tag name="BTFPLAYOUTANCHOREBOTTOM" val="False"/>
  <p:tag name="BTFPLAYOUTENAB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r0lg9IPP9y8umrse/9AoLT5R0GKq+XM9pr/aTyOTf0wptcuHbHxeyqBm9svU01qeeEM1v0hpSHUgirOnAK/wunjPEhjUiUXcADKRp21sDU+MnKpFfqvg431dAjfmT6tDp1wm0JEHr9+GCsgAFdCxfNSFmBmE9Pzs7RluZslftOm4g+E15z+FZzywW+cg41+xpxr5O5CwXaM5siEMz8pBgqftkvHfqd08TIFiONxr9BqkjbtA+EzPaw07T/W0FdpGtg18l/MDbJN4bFknhdXhzB8tSNUgD9r4dyEalI3zbWoOp9VPyCmGYxasxMCND7NJ2MxysFYOmRS+WtUxpXQRFut7TM6EDOWl8XkYQu8sJ5FOpcJaHzBjUX8QLVeKURDsP4bp+1YgdQu6ddlStjkTkZ2okI3rOCzyPQlnEWQJmgNRLd+mzzS6ac5D6Blu77hsqWGE255KtMeZW+XASddCDwESLXMvbyQNApwh8rGafye2NmB0gqbSs5FlbCUoxex9Gg+L2XoQLzRh5+HHj1kZ8jDtROjjyJS7hGZSgd4FeXrGfiQSBogxKmOIIMMDlWhHIVS4Kq69wZ8lX6T8dqxz1y8PJJ6+AGe28mhQD7r9mWnXVHzXuBEpwoMGFocrUcAYlPHG982JmaMibZLRUqhF0Rbx/KBCQGmwK/iyl3WblJXhLN7rfrsExw+W0Ee+Ww3ryfDo1u2eIMxHxZahBc52rTrHcLDBjtRSQd2NvFRNy/TmXS5mB4+rHg7aaFeiWs/VPzPykGI8tT3ZelF+Ko6SbqeqWxdUS/G7Sfj9RAsztgNrbGB203H6wu6ogimz65VnWm1TtUV+SLLjq77k/6c1oDWY5f8HV5a0R0zrMvpMMtYGMogoAeKPBS4tJiMQcwqpi5e4unOnssnBwG+5d/RENfvkVWgdTpykbXVzBW3l4aEONaDTRuBfNW94sHnJwi/I2xnHKCmu9caFnD1WxDcpv8892T7wXJR/mA3o2X6Z/EGuClewXbq9ERyC8dlpD3XtwmHbDLLB7L+vI+D83cGDLAm5Bcu/J46GmgJCFodGU907WmQ7YbJ1eDMcwpdqcwSz5to4rbXoIS1FJxcAAGS8UPyBmOh/aEuxIvpMvyyI9E2TWXxSqUUmaKPG41CA8QMHO6GRXyYXBUG5HYalzunpCKWB8aDnx/KLwOUJYlz8W78OOq/S4eLwLDtVtn/KIlQAWRdlTEXfHjQCDZZE5sZXwqtwyP7vxhO1PKlwSBVzYwIZ9xG8oeIPI/UfxRkeMmhgqco35gpYx+kE+T9g4nCGnUuPNEPUOaaGGbWBXmKQDWT2Rm0fj4UWaix5+SFSqpXF1sNZ2vdramxDsWs5rou9PW4c2RHsLqqkWe8L3GEQnLcWIj9FFk3vPDw6SbMEizvJBpsW0Bt+3y5HiSWiHwu+/FdWwT8eNTZaUcZQICK/HMFzeB3j4z4mN6OGZ2nKwkHWWUU78cukW1Rkf4+KvhyRTZ3pcJ0SDTH11TwqlHo+TVEHM7QO8p84p6FCwO/q9S/J/EWZ5+DCBqMQm6Ju5hTVhdswPjkNd3sRkpN5Gev4KuEM4eyhw3KewaPpWITrC8zNi5qeBoWIt+hgYriT4mZXs8vHdBUpoFWIJjXQDT2Cc0XpQdzAKsZ0J29/mCyx08OxC0Cic4ADpF1jFIse0uEHLPxE0jc0JR/Soy05kkcx+/xREsgJkv7LEmXsUA6yIR5a7KfuGihJc6J08f3TEZlzm3NdNQgDXa2hJSsQ/TqTBkaj7R3PgjLX4Ml9shouiokRSZ5j38IINv2xgSxLGNMBtWB+YiAEBv84ldwqlqACz7PGNRO5uRpZlVdWHemjp+/RNtjL5nkRbGrXUD7EFh7L+pWoLY+kSFiCajXRq1dwXQ7ckVoRPcH4vWRwAKStD2ztYHKlEyfyIGnXDzeKd2QMzxRBgZ4jvmgCbnDjEDb4YT5S4FLN02qsx3gjLMmXtZ7i7MIZqJUwYUrFEu8pFWaEG4zqKKYa0x/B/bujr8XZpyac0ReqAXiWvOntO3gaYnoe3cqm7VkeGqhLbho5POb/Gs3Dq7OuWv2vRUZGoc5Xs7MKgJHEt+RmBwJ0gUcPo+WFqvqRRVlU4kCzvFasndKJYg61IUfiA4rcWFrlOwX+7lZkHTGw7hcXUyus92BmBln59q04AJ3HrCn/hycgtEZRKt6kstaDLP/9tdMdpb3ZaAQ35XkgBLCcdu9AMlaneztHUjdOsyolM8u7mTuUpsjk6v0HsZHrHmjeeJWb7CgGrgOL2A1izHhsvrQkqIvo0s+bsT+kg3bLJVIvnUch58a5c1197EE+HpRqigH9CHiPNyXrevlwUi2JuLdE+V6kMv2rzenQgx4rZ3a7irdj4rHJbiydCk1AOnjoyhueBdYnoUvHdXPcSgues2z2wSoE7na6RlL++QVqP9GgVOQJONgVUdYb42MkVA3nfQM3nt5mEoEHy1ZwfoOEUrDlFDefSwGiLa+8JnYj7DvbVDFPruy+5kh9GtOz0ok6Hh2cpkkNaScr4YQQ6laUdDQcjq+EOowMiKNm9JaSaXU8YTANrpMz7jVRz86NDYf8JtvWbs2DvLf+0rtHSJL3ytioJJvWbcvAKaVM8UuZbIkgohbwhtoV5fgZu4uyZJgJdAvEawchveZqJMeoGQN15di7cZVdAytWmf/CPKtjJ6m/FpzTwTISMijVlYeu0HOU8COkLksE9NGUMvmYsX1z7NKZzz3tJsWoRL09p/z4Edmiwhee76XbuD6Qtli181ziZ3VMGdKMkn75Wi2D1gJh9OtjhKHOWg2s8SFL4QLawV2VNsHQwGpZEAKVwXMrQKaS4Wf4AvDUv/91kGRBsQPg6MNYldlg1yqvogznl5JcUWuiG6/nJYoeqlr7rgLoIbEzUKzimnydkkQpZirWhVSfrYyIy7QR4+FmyJ0DiOQwYiUvboPsfH9+c1BFzjbprOY4RJNXYpRUigha6WGdUfUhS1aIVrXqX5Lf9ce4JqqjBGMUAf2HxFCvAgeQkNkZrXGp7iuTzpQvnImogrYJCS0zydIasSOw0jElegu0ELwTnFrzO3pRaOn+5StuGQWF5tQp+ydto3pn65V5mro5ZL02chdxA+bRLA2h70reC+Qj5z8/3oZXGmOMqDxkT0Kh0xAQnMWNvzJj0jQUSeToRSGdvogPLCi0xoH8fxEIWelR3NvIBmLfL3yWTy19AjXiqSCA6cUdItOqL/7LGkrf2LxJLIePdf/ITR3asq+x+Mh5rCmwcoAn0rv5ddcjUW6os2+KmI1C01YV9bGM91DS5l/FdbRWJv+FQz4jfodl0efZjhcecnuXLHG30rrpHoH6WOUtj/qSxP2HU4xr5DnF8idEuAcqheZ4boAhlF8WMkgLDCuvt4OCCdSL42BClAcivNAUGTwdBU1RUQY/BJCJZolqg/ZtDj/7njD68CdS+f8dAy0R2zkhms6ovpMbN8aS4C8rMl3vXBHKzru61oQcyCt2fKDQAy7UQPXD530WeYwDojqjDDLinOsxYZMDwHpn4Z+iEx2TjADNgyTSWBNQzBLBP0NicRnhdKM+zpr/yVxJNJuklRNa7DCbIyXKh6oaA8wMxMkiHa3lc1EGA35ULrDhZ7bXePdeJfIxap3Lq4Frw3+S0Pkh/tEZMddfyeVg8ee9x8HX9FZz6V+tQell6t7SU9cAeCY3guuSkcYKbys/qns3SBw80fyDgGklzj08Lu0e6aRPUbhe1ZBeMWgZux+8ONDi6ygJvQEc+duvvxTMUatCTtXG7BIxZzlapktgmRVC4NyAN67970K70KPTGF4ml92nv2+47dkI7MQ6zc8CKqFbnh2BYBJePYVFGhSi2bnlS8WcL35oT9hcz+0qXOhCTUz2tWopt87Noz4fdjLNWT7FnARb7U5UJ57AA+9LbHi3CunBOPStMp/nQjIBD2oWmQN1+/HdCL+lI8R54ANKaRELNfMkR57zBExhDHiOYANN/B9orc+80FUfpSqjnpXNw4wboio+BtteUp9g7yWs33GP2ihrYASzervDwcGLCD3twvLqawHZkReHTpIfeSR5/NbDcla7EzRWFwCvssY1jnotxQdvdvlOhezWRVABF1Rr+co3RMcXrgsOAkReWO88Q1iDgrvLOEOXrasdYwDF0z1GE2TZARcCWBE9ETFV7OFsGrWinHj6XovzuECexgFtbHkdBr4ihwSd+YrQP1D5xPpuuaP8qgfN7L9sSsj87C6TVVTBzxTjbB+0yafHtM7l5klrV6Hq0L3AxAmIo6DqLxzj0g8Cex71qXxuLSZV6um6cFqpmF/fo2LWa9NFXo6RyMsaOuMTVp6dTF2JYWWrgaNGQxF73GiCMCIUY/pB9ywh6LWwwNnyx7jgBRcCzWBWY13hP51Xm4HPo/OazcP0B4QfevjoaD6ErDn0cLHFDApo3uekbiyGHdxmxBB3R1/hk7Js0WW0hwQp6Z4tXiJYp3WYOe+VWBGFtgS/VZqVD2Uud4KkKqZYlog13vkAvZkTIZEwylm0K1nn/2X83sU8zzySksZk6C2fPJL0xfFFPQLaQM2Ns3PZOgqUfMpT7JYDPe92CMmZKRl/qpofJZL/O6SnZK+iH+Kg6v8KubidsPGYukduRQabJf41/IgX2BRR3o3FbV9VA2Bb1zEZROZpk/COV3wnjg57pw6YFDQqy3D6t+PPSDTH6ND7Et6yri+7p2FDDZZ2QbX+BKJ6sMEbDpdysBuG/7sXmtlvpjwUYpUIpd2Htxt25ZobwUc+UzNS22MwdIA2JGCV4kChywm0p9X7xC+a1WcgXloqme7tooskw2dQn54/e+G2c+tQPifjYc3LXdQndiVoWvjt3dsPC8vxZmFLGL/S0K1d/G/AKJp/OuZrNufQRDrVA93ZLhgtcYXuwMNV2esEd7/Ov85DPshrJ+0XzCbl9Ku18W/l9vjDzU6ksTi9IPDDJN1He0TOo+WUiWKxMdph7KRny8pU0WApEyrNyPWEmXIatGF7o/jGEuet7zG+VzMNStPKSYBy+kacZoEvjWsDIHtmFT6mS9bMlca/w395UQvgSPWUl/vxP+GmLdq7HxqXnKgskqnRVOaOdngktsmEsOIYURd33zUwVgq+bzZs0qChIV2zdVZS5CKF7G9+nZuryWbNZGN6xkG4RAbTZs0jKnD/MwrqjOA7m9R+Yopqe3Gd+GbHMna0Sb3mNewK9lEUB4hqFSNhuz6K5RTqh98epEI7LBo78UTnEPlSli8gascUIMVeOk/nKXXQsnn5jUDUQaeG6RTX+uanQG8f3SYrlo2Wg6/SK+7XSvyGKmDyrfxRUMlpo+10WieLHxzYkRQByd43UfVINHRdn4v+womdYacK4kI9Y/R3wDLbxp2BOFLDiEEjRt8BJDh8757CnY4ZKNP2DG0EAab2GPKdzBLGZHbf6KRyNCtUwzPWfKVlpcExfQQd+ZLCkbwM5ZKaceQMxK9LM/dY+fe7ExGGJWD4+1nkzRdwa+V3nqeYp7onJ+Dn20HZqZjOCc7uWK9VXYVpqCMu19lMKIKgoqw0wRm4527347wF9sN/JtBnFVXIC2CcacZsUFqJclDPDQWunuygFzSjJSUqST78xQ+45JK/zfgk7tNgo9hNDcLXNFPsB4jWehe726zOoDrlUk1Jyf65xTFKHJStpMSUuS6iLvTmWAlUSoV+h1k93pRd+iPE+B/0VPIyavFM1Y3BpWnT9I31tL7AF6JpKGI/ffS5woaz12RdqrpfxiSk5gHdJjrLHBg9esHWyMxQ6dEt8PYNlWiuGYvrY6cHZBm7PzYX2mYuStr4zLUmbvl8moBdtkrckf6lXa7Nmnb/0QqAElIc0cPSf6eIEAb38z1ZhPbZyUlGcw8D5rFcg0v+QtM1r0q9lGrMxucPqpCMw9BnGrZR7cNhjVfkwycbWbF6poXcOnuFX8PluN0lFficeKHcMJjsLMcD/iKWDTEhkKX/jNM1eoS6BvHCnbQDWtz5LqQdRM7vWhhWc4IanN3oeRgjJdAWRdLNq8Dq1wzp+ACufqhNx/tK04YRPYGm9TXSh5KAilhlhKkmoNxJ6vKUotBXkLt2ht+aPWQMmM0RaaPFtSduD6p0+eA5GQYnjIV1+wmnxrwriDhQsB3LJQx583jwqOWydqY5r96dUbYjt3ebvERPH5L6djQyBKWxGRX+oMvAfRwNflGH3yBTBeVpIuyMKHP6dPMGaU7d0DrlUC3otARxFH0AUJ41SELdIbmqpLjm6+YetXMtS+Rrc2XioXOrdp+3zRNxcnWv8QaCOVy5Ns2uyclGpsJL6r+PXCQWxuA7wKdU4YPO/3ZqADoXG3it8gGnONX94jM5wh6vGQmFVwGCIyqdmKwXdEfyyYgby2oSMwNh42ksSXL4WntscGQVgYlLq7VQr16nl7C4TUJgBsgXJuQ4SBHPi+WKlCkXKn5g7bzzPYDLiPBAZ7lTJPHTuJWaTkRdQhuzULEzhB/SBi7e3KeY41Ldf5k/J7e/nbMUHNRdjvvA0yw9NzTvghwYUcb7pItusGOQpkPTdMChk7pcPgCd3q1aM7Kl2prZKnrSgmxeXYFW2Z/dDU++ZLtoKhftNWAdv/9vupZfwHaGU1KRc0m737VrvG2YrQla+xX7D8cLPTvTO1U1hsGF4SC/DXL84peYvyiiPa6fCWz85qncfuujjmjXCl+syCGTVsoDRLpIZ/5n61g9OxVSJ0Yf2LLI12KYpHO56GPI0eQIPxoObRp1+zGhx3pr+CAc2G03Bwt4WRHcOR9YocIR/8Fe3MBEFDFhOtxUAmzwH90BM6PNih44MwFtEqpGrRUDijpYut1cFlICIoO27/dVtbj03dVsy3aPwR4gEKuC7tG1NBWM2GxVytVpv+raQYu27x5nW8bxAr3lAIgEVAh6cCHemX+H22y6nUGVQhIBRmDMK9s5Z7oNuG4obd8J2X+t+jF/jPAw0WqJ7HwlqZsBvsqeb2zehjRbTWaPGxBWE8lc3p3aVXeDRPbrrt+B+Soa11aRYncySSsC8ZeLQpaEMk15sOltBttxHobzKkWFfG9u0YxP+r/BisStJHfQ11GRVpsp/NP25xYVRufxSYiDAzc47mFuDE6NEO7PZ3AuFIundN1Yf6hQ5qgvqTDxKe4CuPssNGGX5IKEUpJjjzhlX4qCGC+oAYRUn7N8PCO7gETF+HvufNFFCr8hXURLoCuNrWyQJBtJIAa9mZgSRP5nrQRU20iobqs/60YnY7WqclPkzwEEMZTNfoAF3iVpLfEoEr4CrUfPqACkdCDOdy1LIOsNmXGBC+3NlkYqDuDY8DLAQNXDe9hiqnkYeM4aSnGCvLrZfP+lyyoKlVoXEsYPXKP3ie+JD8kCIqXJh1qk+bCnLgpaAsiPU3DkAviu4ohkLxHp5lByU65rdie2AcRvp/20u/4aaVrPavoE+u8cNQENi1T+iW9FjreoIoxB71ie5lSg+vTqGSc338Hdg5Z0N/AqklXjN7meIx1JknFtp2f5EWPhKjtlXzurmHb4JwiZ2cZ2GLTbCJW3SHibUzRe+gVXgNwyYVMFhJMaDVKffgANBdfEiPLRSqgEz9s7q1o7prLmVvgBYqiiDSQkVwV6BvYHB/WAsnay9SGtyGcb5xSet2SP5pTA9U2Nxb6DXfFQ7SFF7hcvUefdQWp1kwwXfi2dPCUygI863EMVDdQ+ouRYiDyDgJVBihybdX17goVlUv66X3zRIad0vdcWDtCGy2STExSuhduhNoaHje5aVhObY0jeow9Agxq8RpJcvBVbxX8AnFovIJ6rVXho2Dfb1NfrIqvQMaq+by3X7ME1UIvhy64XQEqVJmVAbRSYnR3uK/cg/Jy9gPJ7PI9GXYPnNZa3vz0qN0ULxCUyoGIjuGRtYmMBmQ1yJDPnbW4M1HYuxsAoCcr025WuNS4Ynl30bd9ymcw5fB55ri8vblGTpUndeXjFPqeqlZiNJBx7MPcCIoayaBwc5W9URnKTP4VKf8svE2BnMy1i4q4b533fFNCvEZH94wc5sx0SY6N/5EqrdgagZNmJlvT0LtiVqtDVyesJaCIAolVhARBbJcKB7r95I5s86CFqlpI6m8xFT5Rs2X6tdGg480ranZmG6K7wlE5oqUJUj0+X+ulBu3ge5ZWpC62I70/6vZzjOY0mIyPu4E5BY1agTFtyA3SacabzJy/vRi7EVXnExyaHZwPihwdtCjiUS3bNmuZZ+qvW5duuoRE35o3/ADSy7CuH4Isf/hxzpodFQnu4AWUt8+COWA0HnDtWBVGZgBz1e7ftN1DqfxseGZci1/RjZ84yoUHfckQG7JTyC2lrzWel5qxAzW2MpaMGD4DgUVvI80ljTVlA2KINqR/ezoX7I30tceRLXutYYh72Pe/iL8CI810RNGruG2MiW/rP+KEuCXXxTaXdpkKdRivN7Mhvt3JyLEDAR5UrBYPawYWiAcLYVzgQxaevsqzQBiIm7qtG8AMx5l3LzTV9G3qtOYDJWK+xguuwLYb/WH/1hSy3tqFN8imgE4F8iSKylYiLv6GrFeUdckEdlLSsToPinAJ5Mb9W6XZ+1e2nUr8EcCcfFwxi9lK/4D77yIVuA3f76HGQxBfHVl7O7CE4lVgpYeLfoy/0GdOReU6u2SBS2UIPdpEQkWHZCylO42yDBb1zitZ54NJiocR0kDIpaLDpONfooQ5Ji4goZBfLK5Ps++mbKi6CsZLVUCCEgvT6IlY3MGu4whbYSBQCaC5kuN6wgGJn6gBDh+Z9WXbLYpen5t6YCWZ6lrQcOKelNqeoDDVig1ySOVRaDV7XCIFGCGn7FjIktKUkp+pxBwQ3qERNQQPL1eeaDau9RZaCmtcPCTgZ53DdUAaBLt0Q74oq6FlO11B7MQ4v4n+5Wf8dBkN9i/dOh/M9SV5wh+XAVFgxnksVOhVLWksLk1eirkcIAU++K0oNsH1T/9eO7ogSUBdSdTimSzShqxg72zocas0gpWNQX0FQsCRfKml+Anytp8UbjUd0XneKscLp51AFIJRNk7FOiSEO/oIJFnL4LvxVRUEarEhazWdIqem4QuQs1Gi0JOenWPH5HZLn3WRsGxSswmZWEkXAmTAl8JNP6E+eMVKIn0EaUttPNea/gWQfpgTDXR2DvFr8S9rQxOss3eEArVOhBa8FWUsP0hFuFU4Xds4NKZPTpTbSJG8Z7CRqqBQu05egHmLkgKjIO0UmOJ+v19PB3hipURvEd2J4oEBXIJBcvLb4yxTrg7C+dmGr2Ad/lDLOZPqcHJ6kZDNfmc0Hk82SlQmv85Np5oAxYa0Wmm0XMwxxNZ7ELqDukSluf8B2MO4ny2nNwjGGb/Eh1hqAM9pCL5TeLlT/q8NqiYCUcJ9psGCOqFgGN8u6zEP+6GyOKTR07pP5yK2qLV+JExyjGnthaZY7rueHsH9iV96s08VuU7jX00Zl169uhlxtZDCQlOQWbRYs+rcDy44H+8RtW26L+4tyOyZUkFHZkUkT1sjzwpAOoH+CXrI2OUE4quxorxatXPPuy8nUd4VWW+f3doFGNBpgumaD4kSYZ1nHH5UXXAnMINnVhG7wQxDcZG5/4BqFiWf5/L69i4tKUCS7GzdDi58SgXLUB5wUpnTb0PWXxMcCKwBYtRuyg3fz8hNzhBHOYF+fMU4lffYLEjeyRwWOAK7AbtIh4p3WquKYd46hymOpYyAxqEffCMA0ppFx+JnK4of/9qV4tnzsBstR8xkqfNbFswZSy+0Sx3NSE4P/qIZLrON+Da/RISTQeaHJpi7P4hsywNOoSQk8Mxgr37MumG2NWl9FAPnGfAIoW37yyU7mjTkQO3QlixJLOZixV1UuYlowG2O2K9YpcniDIb9I3S1r1qAQ7YtlW1pv3KVtk2T42rdBPj6EUEQ2ogsAghBN5dWHXxNkgAX1r9EDwv7d37AssuwSu4MB2V8/XPBSXhxAs6LnX7y0xg1HsaGQUhVqBKSUWJnNUGKGFIb1RZJvYFxyNWltkdtBy9qxAFBobot6UuCzUD+uCjcCWYpPByd3sTCRBFOkoVuT8q39cBpa74rnY8tVk1lZSLle/hs2PbzMENWUOQuMLNtBCleyfPhR0p5rOTpW0r71HALm9Dg3OOyf2DPXTFWDVRURZ19P3pj8Rq2hGfderqn+xpNkeyZp18lT0L0xA9KTqFlqW6OvoMmSNqsUKcpuxPYbXN9wQnoKpch7CcjUvqYwgrXi7h3JklgV9BtuUVVDLC88d1Rr6a8dQ0GrqFTsHVeVxjffjtfEvUoFoQWz+/BUCq+wb+qag+lOgQ4pQMSSLB1I5zEHg8WBpIlfLFCo1tAFO2/8WdoDgvJZikENr/6CqmkRWY787GZ0r/8W6Phhj9en3LAeRAEJZWe1ZNt8HQ1cg9iSLOUV4a0CalNbRb9q6nQGxqf5nDyNA+MhOQy6gVxYhLsuFXIa5J94w22oeedoUvgzHxqDORiIl5Lq4ZD4cnm1XvArPIclm7n3mkKXlM2vxN3Xar1v7nfsyrhMELjWwXq9UBUAMZCrRqtckJI8eZ60wwJrPQK8BHaanzZsHPiEKTQX+P83wFR6gjYS5KvuYsnmqs3ui32iyxE0wcoxR+jQ3l89KqIWucJnsaVsjGFMuqu5NywONxtpfzAQmA3WIB28MU5cbxVQQi3jBJkoHwfXfEm2r6bThjOi+JNpOnGH197FJBqGscdeqyOtVqOeNc9OVJ9mHV2as8RXQYWHLROLO/IGGDIRuLZCiNkjZCyVoCcEgmpa0tHlugbwQ/uCrvfTYXbjWydr5eQXkQGCt9accaEJuuCQ/NiuHpocYwXPVkvcRaZlHqK4NzvkLv3vg8uPmGJ4w1L7HFp6eJNyRfoiSXsQpsXdWgmPq+U53KlATPFTtOQTqg6O04vNIa4B+DfNOHtwViQ50iwgUi9oVSE9/3szCG9ew0lZMJFy/r11XOkTkqFayhLh05xNrCcwbl0/OmxvJTb3yo24gaVevxNUASEtJGQYABn33kCnA2wYpW5uP4KJamk7IJSycHSaf2c1FgmCclGB2oWYVqXBpCvA2ypMeD+uSe3G8QZTSR+MoWMcVdWUaHw47jyZmRZrJYjr2J1d6zWVfp7PwaFqjCi0uTemx+LHPE2mxlhJMMivM6QRCa+3EYxmG3XW9ELJLWPiaH/zRKqaTFOcaMBU1vP9p9SWhJZx8tGuVdHLnrYpFDVEAkZt8ru9C8dh93glxRQwJjxUU7iguLX6/kEKU7PyUwTJdW3IHOQ3WzJRyqVUWnqVJDlf3IsXxgZRGk40czBSzqNb7SXXOZ+DmsGpcdklfuekFHocabTuSIauWKggUONrjmIZ59uBGTEjph0WVt406xM2U5xsh8qoV1UDnNqQwNvTVraHaLVXSLDaIenAMk3j+TxaA4tww2HgBKxsxnvNCOEsutV3R9are8Bwa56CBbOuGGl2VS4MZAr8YEQT2v4ZZ/mWjYkgTnpmZsjreyoCSGEei+pdbnrNucTzZDXI784SLgjVHIBJVb4VwOP7ikUBI45ezxtiBNO2u5oIx8rQ5PUkpzSucv2sPYoE7xvnBcc2X8Deyc2n2FeqPV1m41KM4AoD+acbV0fbgClvPbBegS2m0tMKPiMqOCApVuFhTw3sENhWNZtrZ+MmafTRLgWP8Jfn6W4WDvdnkBgEQM/ldtSzjOZdc+X831RQrFNn5KjFZvb1A2UYwwfeaRc5ITvqxsAg32KhRep7xVXFQ1Nmh9ZR4wKke6lCK/WTAWAZ7Rf0YbJ+W52zcwWT50EystTrrvW2jfj2SOoxb55fE0OVGY0kZt1H2lLfmu8VihDaAt7bIOb2MtiG2O1tD+45O0rVSXOxUffFbpfg/QYeLtWyAL07zoy2TZn8SlvWqHhIFzFw+KAFSWQPIrEPMA8ytGvDYvO8zQ+ZxA/g1UCseCtvCdUygaFrrQQ3nmU9IcvhFYH7YQLYGkIXq8dvOxZOJMcUZSqLMe6qOmug9pbjB0mkVCTXUs576APGIKso+FbfwTeKo/zx4prmQlMmCxbMNHLnmLmb4g7/eZk8ukGsFduNRDoXVBYs/zlfygbaje/AcpqUeF4UHjdmFYW7dV2dPZMp4VJq3IjtlS3UwOybOBs2bisgqC0vaK2I6MMLAj03J9u7srGteWUf6VndorpRAmAz2NrOBcZkeczIgoFC+NZP+Daat/oMkGp7q+8ALV/206sBvypDsYOHJZnTs3QDEpauMhB38eTuNJ0nlsJStJryuB45sz1rjadFelnjfCJAhNoqCVHe+WsolTnrne1EBZRlZq7F0ozxioBuRQgFa7j49lbWhboBZyocBA162S7OY0kJq6bt4BOpajediyJ0tSz17uMK1DuBhwy++LDrV1AcHtnkJjKIy4ZhLWq+AT4MLGmqHeu5r3HgNOVRFw3fM5BJ1EAXrmPd51VEVvoURKbjExVgp3Ui8stAbPQSwciCW/yFlsKNXQ5akm/qsx+gHiWolQ5UW5nm/Jr8rt4B7d0WmQ2+BnS70t+UmcG+dUif7lLB2CX/NvGXYAWYCkbcfmyPLcm74ErQWu2ABh7ywBI+Cd8ssFhkeQg9SUHt1RUodKOPh1LLzl7CJG1KUouDGd3Ac68/+b/P28qlepUA/Eckc2ETs7aLL92V9SdRajWXOfb9LxBufTyc7BSv2oQrICD7KOptteSuUGYG5+5zcP6OvN/mI7hBUDykBBDu+BToiDijnyD8F1wLDFezJCUQZjXAcWM8ALLa7eid+Lk6iPcqtIL6+artc6zXXGYNoYdaqViUQONwQL0NzGtvGnbuWlZRkWSPLwa2vxEYi8/cD44CNqwZEUe1qmJol6P08nXO21nHh0ec/Kvrbok7hYQew9PLEtIsBqkNK9i8Ov6G2CAsrpit1TsN1LKyAVIsaJYvivsb0Fen9j1YhxmlrVLf4lsUzJpI3SYq7+Ik9pQMFY1rsT3ZaKhrhhLq63GL+E8N2Cryi3mtU6Xqw8XbnKBLBuqg3HfvZXhNeGkcRjhuLLqh3fGAIZimG6boixzELEk3lZMOo5xbnxixs163PHTISPcloY9YnN883Y/5HWiQZjutX7g+rfMjnkRLoOOHu9mEuXDqlU39Cy1NuJY6Y3j+mSGhQnMuQmxakEb94yH/px8nSlOoAXBM3f2eQPAh2Ki3WVevP5Rqe+YiP8s5+MCwdW2ZTnhypTQrQ0BghPb5BGris4AWPta0zeunL7UEsLJaoEL43VTX18jr8MS2m1WzBa5AQbyrFUAvqOoQMVXc09/Ce6CrZnFrZj0MHA6dAAuqDQchIvlh3UTxwxUwSFtb90DwzVtqNcl0agr5kMmqbjf8Sp+swdXAXKGaC2hLsRi2Odlq2TrbeV1AhNXQGpREdXFgOyWUJnJ6+1TGq1bAGy3OFqy2dj+0UlyIfjSWVdwkn08R0WrS67Td2Jj1ipHESls2dakRNZIE4/Mswmmkr+WOsIoj9XrtAc227aOQX4sbZmD/k4cn7qp6tqYewCqnj+FUtUkNmxH4SZPtMAB9oYSLt/s4QTpIaoT/RqU0cj/+ypUZz7fD+riF+CExRVt+0Qa3mAKCq+5DUiiC1WOQVuZb9Lfe4ASuwoBGAh9fJwPqjBeFuJX2t57Xk35ydSnvxplJO36sUb8OiHwmkvlZDKjOKYzUBE/jxmt+J6NyHOwZogGg/aeAm5HEZo5nh3I5J4/v+/grNeOzhokLhZlOaau5Hyfk0tzof6dc6IqNwSnnCFVoee2JgQ0tXhWeiNYuObAUwfPUlmHjoNP1X/PJiTz/Eqd5MzZROHD81FHwXgOS90ufAIk4AZHtqAUnC8RwuR77etgDudVekAT5u38oFHK2mWGlNxSVqGo/lQiBhh8/Ds4T/XyeKS3rI03Z6oW9tOL2wvb5msO3imrSvjHjdQZpgogG6VKTW+HbYa3p9zx3M9nByVhVM/TMjnnzL/AifOB6w2YxIZFUPuuGJm5BW8eU1f+8BGnEKACK6vdr35yMBUX5ldcBtTndpzHR7WEQcipuDzMf/JMiWbw7nRPcBX43kp2UFp+qcfoazON7hnLadNJgyjpmRMGBqYREMWP1vNOZyteyjk4tu10WIQvLeYZqcbp387Xc2467f5Yu8djJxdlHeJRHuvbITna3BdaedKH+x1IWhWP7BexirXJlPRU7hMwFgZzcTxqWj8xEOJ5s+3Z2naSbT3MWotALOnDxUPMYmhmNQ1VMvUBCadpPfCM5uYVvr6BBH75HATbOzq4Z0+hxqB8ZH1xhsra2YfRmSbCi3jh6qggmsj4g0IZZv3/0YVnYNg3olEuOINRVtke2wASspow3yGkDX7BPP8Q34RwDJx955LQrKa9Zt3QdDtJwjKNKh6RRp/ZN/RVKJ2xyimWc1tMqk0+8oL38xlml1ErQuPYEJIkAi+3gfkwq0tbEXBgl1qtNExLMflWijE78kmpBJlgQmKlyVDLrIkQky+z6XDmf/tFQNjpAiD6sqjzJbktZwvcZJ7eS5isJU5q7XoLfiFVAOOI1cakvhrkb4Wc2bnt5/JWR948QC0poK/QWt6O0aQBn1kWvITZAHrAWGTbJBOpOjxuk3egY91gbXOZHxqMyBJsNAAXasS9M0VRz+BDW6IdIkEI6oPAJ+BvxD2hSu2urIaVTyM4n/V9QnKPBHcMVsOMADtVquvxMwR3AbZ+C7pBJQ7zWK1X9mUB0/KtOnoKSLbm4QBkraBo8zi3pZWbWk99tqyK/p7ruAjmWgX3fervtBVnwcBPpoQpDbvMkY/B/V2ajD7lbAP26BLec2Br5Pk+0muM49SKWcGSxxpA8B6zw6o/Dl2bTFDTCS2vWjGFYDbpEnKkDDx/q6BtuCUY/M/+u9cDlWjTqNXUh7Bheny5p1f9IOhrSHleAsbenh6i6Ts15kfgn0WDzboIAxS5f3IK/d+BIajVzF3XBGWxyoFhLfZ7aGVd/LVfOFbzyslASFFXZPhNDLLFoIEeWTe54Srw5HkxxwERtZGj1Mz3QRDRGbDGeoxz5AZS+/YlpN3vQCwRAcwOVxQ14uZ0Hxeod1TcVm0xAQleXmtPJHytHK8oomqXmAe8/vVyxFoeDlFK4Cny+3pUJTO7vZ/1m4IOTnO7+2CZWcs7bdrIsvbyq75U1UrJKsiLjqQHZ0FmDqC8xrlcYVQqXWsMZLPaOBLIQTui73SbIPwrjIEJrc0BXoQyYUWLBkzu3BZ/WBymbTC31A0BBI5zzURFUWzvYT2hJJiAeGdXad7U28hrO8/cq+FbeMawG2i7G/6V7P+om8Dzx9DjXERmQO7b/00Le98+oOlsSP3u79ISPWx1Db5AaqzZDQbArEa4N31Xj5zkNFRaxi943UcceAulQzIYGYDbeUjraBmn1bviGhvNalbDTgbIXNebLRXAGYCBgKgPwY6S6RpY1C40QooHNb7X9d9UhtTYYO8+hAwoEScLW0xGW72IHWodlCETAFkujhsGmg9LdLPF4WXAidPGhzeIIM1sfkEBxSVPP+yFx1cFaSNRKrQ3ahRq6qj0OXCH8ibx4SVi3gagC6reGIJwsHqDSOYoRNd3HZlTDWnjiuh+6xulZZiKadXaArKHxoQ18XIxJDLPp9rAtmJbstq9r/GKhtWFBwrPcqrY+ZXISeSAUyAg2geTkSZPBUAvr2/Tm5pPmCD/Udfx5mTvH4WOdurGi/AZW+u+jkGxebg6n66DXvtt5t6wUBaXZbLgTMhkk9xCeP0HFWtIYkahT5ExgL69dPluQOjkJRlrorkQmSfXSO2yVx3PKBXdahKreKKUicKnbzL/Vh0wiJkhdxQqobrTDYYsTib6CEP5EHbdOeEuwYbAxlkk01PHXjxCXtbwrKm1uhMd6BLBb3vDfrZDo/rAWWQ7dyUXIAdlKnNoNoAHMorQfiixoKUO2bqku3Z9lzpgkueVsl3lZNMihcaNsI0LUVg14U1gGrNgS4DN/vR0cijQOuFuZT2dAomU1P3YjNVhzKiphEw8jopD0PTfYsxOwWUli6G7wDx0XALoL4yM/EwPn5AQhKae5MDjzoNsT11EFjN5+zVIoaaE0hAn6TR6ek4CG7mzyGcLtdz+Ccn2USC0dCP4tCKJtHAA1FRUrfIB8HuffRkR/OYRvgA5RXY+BKY6KRBahZM6/y+A5jh8nsByXgSpLyZw+1L/8frN6/VceGWo2wsWsaGR4vFR6aVRKnH9/7zlJ5I7PKCTYfp8KTjqR8CQ69aJK5AfOOVaSApIhJ9FeEo2eBFwBVhOfBnxaC4+Eyl5MV2HoHQyZBaEo8S11uDEuBFY0estZlxpmmnCkZ4ULZJMk1YrTiWb5fOxtg9ENRU/i9CBJF1gwr/UodSuIEcm56QsBE+al2Pmc63k4WEqADD+OjONdwAHySPmSBtkZcnW5qSORx8FvHkuxeEtH1V8hwND8cwrUwZYE1mRaJ3N3xyCQGe4ivaUq0QVqKpeFPHmRq3WWJMPpDgFy9odq1yIWqJvhg2g3qb2Pd9t9SpwUMcQVFD7LbkKr47drzB1OCMcsrlkzDb/u+9euxiM7xjXT0vQYq4myl86vB/8oT9Vl3CHDfl9tPG4qkUoSKUtkndgOO2A42TFxjJKk+V4fF3lIujGa6O2HatTgvAAJRllUtitCFQButwbXYg41mShsuhIy6T0ZphMabiJaCEQgzKJOzs5SG9sXsV+8+UTZ18JJPLaQxCARREeKTovRLNyqi9gVLFM/71IbDw49Gd+P7KxF4/e0VZp7UIBHUzoE148U3rE1cPuNmKpBge1yt9xoprUVt8OuiuskERu2ZVeW9ZRf9ug61H4etuX2jFw3EmglqyTmIQIQLolobQ4CEMf2aAIfwGB9XvAkk2TfVcm2BMEP1n1wcop5TrZKYqWRhhFTb3bdl5G5oKdtF7mjfmXJ5iqMp0PQQyWROUn71xkU+3t/wH/n9kGCup14Fc5s43TimWR3nLwQpMxrCQJhAsFYwuwz9wpY3r0wkA9eXwuqKsPOniv6VvYAUmn3/22uGzGFUIJJvtNx2HwlA3B/pmtI5UWhwgcYRm68fVADJ2aapFtgW8yhKSffKBo/UzjKJewPYIK6aRdw9Xpa6gU/Kj8CVsTkeEsAowU2mrlnwxZ12QxfQFzNPvcLV0pJgVty/KHapNkSmuLPWL140UQGHFhn7gMMp5eCeOwfIHyRvIeoT7RP53JFq4t5oHOxgF+L3dLw/4ugWr/3ScE/Ygy6PZ9N1lhCyx1UtE3PEE/U9mx27VJSgTVfXyvNYQcpiBoEc3AwyUifpMaEHxik4O4ybTDDBXoHAkcf8xE/jDs7ytEjPv5aJ7Yqcaxq8viRecn7/fvFo47Wg+iSfu/8Eh6YFTzMYxbqbkRM6GO3XYMvJjCtZp60RkPWrrIBnI83e+7owuk6We8QCGUU59MKIN2T49HHSR0G+7tA9Z+h/N7+d2V1D97ixEKXiq8ERQ+4Mzz0S1fdl45+UBnCiLfQSH4UkvC1/bxGR0ClyJambavvQ4Vz3fUS2RnNW574TMvBaDMChFEZko2FOyFpxHAM/oanMRoWg2/YqUouSU1aro7BiMmDUqw5tjpFDc0XGiYAvi4v87kH+mhI8ypPFN/sMIVJb6MHCmft+mw44n00nPr1tJZIRLfTyEiYa1t4vNqzOi7kt+tM6kWBL8n0V68n3mY+8LHlgcomxauu/+6gALCVX1DwpxL9/JwD6OmedS+sZ/0IPeLJzUC1cdK5OtrJzZYNU2cua825Of7ZBIqcRWCDC8Y1Rc+Z6g6sIGhEwPrEdPatkKEIJDNGt/bANRXiZ//HU/pssF5GbrtwsebnpK1eHAfpSBfGc/VZrw1wg/mkPiyiPr9+0/yjU74kyF0pu5mjvKsmEXv1uxgMKu8iEP3h43TLE8G+veKSadA6ZNZmHxAaIBfMkSEZSlFYP/25MulLQV60yosYxHg6Kzia535e1avnOKa97wSvVePReY6iCJWF+0BsA+emGZ3SAW4lYc3JQVZq566haQEGLM7koAZnvlSSPD5ypc97x7eXvf6XoFc0t0ME8wB++lEH5BmKuovGo+J/7Da/f1YHMp9YrfiHjZXiSpSIohEBodciPaJoTlCVJkN/e15D4I0DMYWrvsYu6ePIOaKooCPZreshDsPKsefTCjsMoce8QLyYNGlHapmjuK/v3akrNnR9HILRhdKwBcD3wLR9pKGZWeU88yDzMM3FF9dlyL5Y/Tly8CgCvbDGD+je0YTXQL5jiCzCohX8kwDhHCRKSXaRcAHI8HuiTuZI1ydPjKugWIN8/l5CIn71AZWaL+o6ekiA04XB6szONgPGemIyu5ZHgZuKw/U38EALHMcOknOa2+ZhfmJd/Zy4PAPhnpMBbf8pOl9Tq99CCqNuhxjX8kBe+zvw008HtqwOi/5iQIHstTD475RNRQ+YcfXm+IUnaTxtLjcNevEjdNnzi7d0HBLM9divbAgu4a8262hhiP1ZK4dx5k6hCwz22MXPMUBA9DtscTa9el61ffjEQmbkUZxsgFIqgqSzRjMjYvEMPpgo+IT9e5wugRnqy4inbcWknVvRJqjefRMaVl4rLt9i0r7x52RQV/3OrMwMxEFkILLpsjWYYwg7wgbdpvhRlo2vBOOJVLLlAWa+Vc/ZsVhxH6cSWJ2ZX40oQO0xhxSPoflujWtLir3c1b0bhICc3DZ0UWX2ueEOke0n3v5DkjJorS68WCKx9AujE6A5f/UKlXgkTZziQfKXsZjYfWRtLUAYL8+Zhf5FVZ8783CcXiPwKLR/mbKZ1JV/s/hrxKa1sALBa0u2DoLEQrrkPUciglXgvWH5hHJanLyJiY2OoSX0cS8qbmV49PFpcHKTVOeT22hZb/XNRyDmj5IatH3FDeKefxDCVVoEDwTXPAH04huOUbwp4Lew1NN6XH3jfVLTpjIlTWse7Qe6dw0ybbkGWw2sgLAXUJYtIkGuRdAt4DoHG00fvdl142LHfAVzs8/qYCRUMuHsMQH9VTFkfDoCyWwP14XYTfnr76AlRaDRiDGXQcYgV3pM/ARm5eyE2aNsCLWAMtRcjRTTyGfalrsoB0is9B1PTSvgh5DYv/NXPpUA3xCadvRHignYIEh96aTwnc6GtTq9K+rS9tfFO+JgWsIr87xIarisI7aWWVKoXa0WOgxV+Gb75XBSxQFSPR0/+2+QQ08t7nqGEJtPqzVtSo4ga8xdvVXeYZ5qsKvtHKtFYzZR7S5e41I6htehKQsfrzBpAkrllhBeXCQKbhfOFUhmpWwvx5WLqWKgzJv43g63omYdn7jJRVMDe8WDJJKPO8e1CPxy5fA+uz28XxL8sU9m9MqWhZpz+gvumrVaTNeJwT4hkLV8Xj5Q0Tb3U8LeXsMmByohxDVM/WqGk6cAg5+2t3upD56zmva5eecX+NvS6A45e3jCTS1Rg9F3tWiOoQC8l8hQc8RvkDTMDwF9RIcUDyl33cOaGRRA7FtrmAOyN9nyY7VvTuPPX3t0mm0fsdrOIbjHgG7wBCS3RyuiQ1HmYE6bQPy9zfv2XS8ihkc2E0ZBctDUv+nfy6ZU2laaXLMbEy1ysYo129SxoN8nls7Aoy+8qibgOMa+HTZLvMb0Y2x/Rm9hTuldOvO2dMl19DPaLImcjvqquJw7MHDXX0O2uMZDt5lKfGRSszyGx6B0LAlZKDnerBVYa6ILcd/vd3hjmiz7PgMUBMEMAm4yL25kX6hTE0xJeukLolu2z5ttty6D8O0hYw+sRMuYBtLZGhkU4i/MtHhWE0a3LzrDPofRTIs8B6RHC7DhwwEIHTX2A8O5LBaShUdRl0zYeLgLMGhRoWJADDIfkJvhhHv47eliJ0fKzFijohBiHmCu64wOJlZM8A8fC4YjvRnrk3uv9ZLPZsydTTP6iFaIXK9bzgV9qngWm2j09Vaq4Oow9uxL6hS7e79/5JBBTAhrdKxOxAoKYICM4ItuvTdheDOC2Znop0eZ5BZSksA48VSBvA4zaH806+ibvo7AHAo8qPSCr8rKaerD1jJ/IcWdTnLZhG4r4VJ9umr03+C8hQtQuhMyWj/M5YmmP+3xwLm+GrrqIfxfnM+32ArAMx3X6GKXFVXcWxSZow1gg/6csKvUesyuQB/MBoHaFK1atwnaObZgDRQkPqpzoqr5EJcDO2bqOLVjmbwQLMvzVueloVDuHWVV84Y/B1oiNLOs+BtPYEXb5O9KWqcTwG3DEYeeVLkkYPmt3ERJ9GWPZ6BRARHIakQFC9+rW0tL/BYfcvpyY2wtToSI/HCz1UzfaXeCsUqAlWLAChQJ0a8T+FeciJXpHPBoYBUHDtFM1k/7bgZZENB+ayy3b97JU9/2XHS6HYMKp6Ue5Ie7NAzijlqezBT3ijbr5zPjQdBYlnZ4GMMxVXMZxMZXxiDnfWWLJj/cXGY/AWTh+hN62+EmCM1TW7xguLqo+Uy4ZF2HPqA0WOPW8r1K59lvhIOpz4eD9WavWDgt1r439SrrV37yoiJXd65Cwr5rgUJLSq3+gNXAer3CdtdgcqoviEaerg9rppO6hARsZbqOu7otpfHxuyMpYEbhsjZjkWN7GyHbJpnisVBY5qRDWE+ovmQp8weLKfbaMZUzQZJlI9L+gAE9XrB62sQ1e4SKPWqLM3b9On/u54IhtETqqVlvmYBxTgeVzPUEYvXzG5n1Lns3UNSdRok2qZgifIr2W7BiscLLHupYmqXIkHKUtkPvQ7hNDDurASt1YBeIf/wo3F/W5yUSdwhsBgtxlmf//qEIEWq8gT5wwmXHJ1rdZYafonPEBmjQsQ2QLCCTWpzxSVQJel//Fh/uKKtLJdYNiOpeSl45hSU8/l3QkiMPsy9LVrPj+SFIWUTEwCGA9TbLwwmqpHinxilt6hj9/wZaF0SAiZfb+J2XnpVSMm/TAV9KpUrYYNTMe0A5VrxLBjWqubZarL2QDM7DglObGCZKgJYP4BLWoZTibtAa9lNszMTVAWsiupYSTeZaP9UBMA4UVmHAhLrCfcICdnA/qqaZSkPkVXrjviNtOCNN3yGLkshUOQMQYwMRNW9CSULgvybrsISv2q4AA/s2uNWQQidO0xe54taxjHz3oOUgLCZhUe7aSZ3DlkhncHsqmfUlTKd97iYA/od8G/+KTu3diUyCkyu2JOxI6na5nrj2SQRDMi302Y4eVe2s5AX27Zx9puIZ4+yo02ksVclXdGmX/RRVSkIRnjuyoGpKXEzH3ga9whL7NNTzZuV/wGV/2/miSWXfVeLFs0Qv1DwyVej25DBe/OoZw4OY0bqBN2A0fegx9zLXPATr1o6sja/nYatIFYz3cn9X7EVB2PvYlLpkja7tcDTrwz4xR2VZIYK4sCLOoT8a+V23XVcragkeKAvqSoPaokbUEUFR/C9AgmKI/zN1Ze6L5c0fyXZextYbGYPkVX4l9v3Em/DSTf0VMyXdBIz0U0Bmzygk8L2zVlblJ+LLm2tMisPgd+6bh/EwxhgtKDneFdZJoe9BSv650R4yGeEl3Luk5HsEMDxyKRUAS47GQAwhZMSH90ZAEbhNm+ojfF8O+8A5uo1heD2h/B4/Du5jRxlOV46p8XZD461jGLyC+t0h1DTuAbhUQFkGH1PEQHWL4ee7k1XX6zi54Ub4RhqMIfu9F1eEeYQkr/Pdog7AmWUkLfFW+Ek5MPstKMa6GcdcfZaDAQbHD0pcqTN8vbGRfBQaXB8cFmHKOPVI1Ze/iZr0PRubi8WSk4VT2EZhgpyV8reqU1/LYqi/AU2msBN8+yx7EIcIDvUA/yPrdt7FnuYG2pLIdb+9gnEb3SQiKxyTZHNLuS1IJL2bziViVwSQB4VgzWP2czrtAp1BMtcCXWkQu2taM0e5+mxfxT+ryFgyaLmmtaRwpigo/AuN42V9Ki8ZSUQtVGP6+bFP8buhHYdeq6dvcmTA7y/LtIkaUpRohcxpFchx2IDJzH5cUvwECuOPd02L/ngU+IyNDWL9cgJHE9Adk6dvLOtGLeBqNx1FzxTFE4mibh92DgRSSOZwuJyUsn6qruPVP5rVhyTVyPHj1Vu7YPyxJIpNWNlhH/3MaWjEbV65jUx4IDT4gY6K8+BnFzDAJoPrtVyimRzYL6juJ1lEA0a9Mr0DFyWCHhqVDiyAQgquuo5CI8l2fGkylnDT8Dq1CPoALkqDkId3PZ2647qC4HxxyA98ZR3mROlKGyI1cQ54D4HbUB10rylmYMXSv3S3DUpGZbHaDSFGIL+xNq31W7apRxVIqs+72P6P39cbRnbpOZb2QXFKSWF5R8TdV/JhlNcM73SDcBSLBZo/vuP7UdZL0E8RBfKN/RZB8s+3wBklz/1aGz5OeklBGKDllIJuGGeuUkP3qguwuFNzqoWL0IeOt32D0/dla+vD9Y4RqBOCZrDpBATSu6JZL0GAA0bbHtoUvgVV9ginUy1o6MBh+LNK7CzRUtU2V/ii45jpVM5ejbQ8vD2e9eKcyuqlK0erMPohMY8RwxbPPUIsz6CBNCez8QJ3etpMCLkLkpJHawN1BaJcvx33STQjlDUAPsxXg4Dtj5ysd8uITYt/+PrkkWtyYapvJkrY/ktUqokIZKtV5CLg+C7W/Herbb3fWVnbtxyY9teCB00v8dbZ+DjmuMuaS/lkuJ+EcjYBKF2F8oobjxZPyD1keiz6SQc27Edf+Wkkk5EGzeVz08DMa9+wG3s4oeXWD3D3FdlRdM46uGP//JQLrkje7aFl3oNGDHp84CHXDI+okIdbQosDqtQ/ob8IPVgfP/amzS++mgJO/ZgIm6hhuEV0JbcFk0aB016dIN9ZVBQLJabIhXYlMesNFWF00DxOK6n+CVdz95SJhOYacojfU9MfH8suE65UwAb+ow5EodLW2RXxrBZ/eQBwVz4uskptUVlwq92NqLYUd4W5zxVKbiBW7vlk36n67rb5WIyxA8ZoQsAvJNJugHXXfRiF/jNue29YLWXB913dkqykyRKSw1dkpe9VJvbEePpuji/H6wQZHU8LclfWY/hkSXkLY299ap+jyt74pqseCJr9Rql8xFY9TtVWVSvMNI9IRoBs5VQvpXxefhPGJHZJOIJjvZFXxe61e+z94kK0RZRJCAhTo1e8UhLwWwGSvQyPpgTfcaCMrHlvkZ5UuCUjcX1iz61btkStK3/4HBjrN3Y5yhUPLfBNRgHW91C4q0I2pop9yeqNr44aR3CHCF7KHVMAnVJHY78zhIJzB92bByRnd6B64+cg+/eL0U7QkHnG7qbITlhDFJE2AzhVR6GF/dzfWgp5bWzzkJQqWDZb5t+IjXdlKtGVY3n8jArehEMomL91VhPoNdn+BtgYeXg7XtKe6k3BSs3dvN+Q/cE8FV3ZQQuhgZJXqNyuQd9gNNLxiMjWJjDeWAM/dBtMpI4OAgyQPB1McRABlRnTdkzvlxRsmsVJl0puwAQCuBTRYZfFxDx5MOH2w3eSxjdJhS1QnDq00NWlVgg345IdjAnlxS37gG5YRVqVI2xISkfDMc6tLjd4YoOZgE+A4LE2GFximMHw94NNcprDK3K5sKSqjfEDOzMiy03Q8NTvwoY/ssElXFfO/ms+VOAoOBW6BmovJ469Vzlu3QyQp3ZPZYumMFdRRqMpQShVgkCrI6GqX14VaRuB0g6OuEeNWywT+f/GlK+ozA6q5Kjiz9lw+X0osV+txB8KdMOowGQ+4C6Ikswv+yopquYI/9f+ASaN7PV2Jv0+cebZGBXfRnSWKaR7ib7fIqSt+sqG/cR2PAZ3zwEOiry+h+9ieGxNb4hBw0eIG2QHlSpd0nAUS33JfGgeL/6kh1Ml9ScKLbHjsO8HUn1g1xyXDBSqtsTIjIF08wtp9v+aE0xmJ6LXfk45ekpG2LSq6dhLOcDVKW4nunmMVpjWz0Uw80xfA/BfyQ72bPbSvK+KNMNGu4c+Whb27b97rJTIakg7h1Vcl8KxHopmeGg7hdbXmKBFIGSKDp4A6at9KwXyGWqq4mKn/cYTseU3vLD8mplkeQYFM+tI1DK7qtwrrn201nlAhCAIbnvLwq/d40CqAZsjE1yUmvqYPKuIpdTdR04nY46qeD9qGiuoWuiTrTkj0k3Ukmcdlft39w0gGRe7klazQnPngPMLMLa1LFDnGyZQTxHVvEC7qzzd+j9h/tJwCaERbiVJXhKnywrgnVVosM5sWqzMmK3zUGa5vVIe000LW1WaETYbLYsjB8igW7+fcx33Ka58JPcr2lZmkuwkpdagGIj+ghLcA1yn/EyrhRo+1PeMJpkbh4TCTro0++aGFkFBPIkmogCmIR/osL6+I6UIXa1R9ao28D4YGM6LXG+SuFDsdbdeDQgQCB1ns8aQpGX16VYmJcop9dizkM89BRatG6emopIybZLARUhyQNe1IWrUVPnwt5iXzMbyn1IbdqeXhrxFoRxtMQR5lo3hM4KukbQYSJ5wmBuDXixMU5PPapEbmkqId8HijX2Q4Wt9C5rMDzxRwgZfaEuKcoLe64CS798ptprJkRYgGRKV50uJqtelH/zoYoqJQhc7ErmT8H9ZHNjuD1fE3/5/CKh56xUptRh9jb6OYbblybLhgL+RIZUfPnKl3NSWx/tm26bf8t4QYg1XJ9TdZ2NWamWMgmbjoLisWayHUcCHVWOdaVFzdoCmv0t8021bpRIKQPawx7wjD76ey9lb7xB49pqudfXgEmfzMpE9gKHr8NPadoRPNGUUxYynrCOUlzhHfzTR6e07uh56vYaTjNebygIDFm74DfM4PYIKHaCbY/l7knSKeCB0PbEwoBxOZddTFRTtqVOUg9sJ5vfwLT2592y7Xnbib5QMIuspkEbnPBWIiE000LQXbEwvRpPAv8RmhVYQlsFCC/fsfEWoMuxAoErGAvd0+Wk4SwV5yfJHKFQZBmd8jbfdFQcteFQ1HhrRrivd7GinnVQUXOLb74q5N6oVLNqplK73d4SxWZQNzBBF7QsDKAPAa9Yzln40Re2w3zv1KZ0+6dRUUtjQXgDQ1WdCpgDtQOfYQn4wMVlkgmSvLexy9tgDNhSHP1LhKePXfMAB1nL+UaeFKgbdh5cY/9NBhta7HWxU78BPBb0QOX1LZHVjZzoELofRhs9hYIktdx22mO3Uyj9GrO037ca3epTTN2DGT57ztMYG3jU6ZfMPAQtcW+7oZpiTJLDQrN7BaRnOUikoQnTY3iticNmmxDJfhA0DXFtTxoEu/Qkkg37FULph6DAXhVFhpCwRvHrTTNDilruOd+wGFNHJzQtloKC5AV2c1OamL95QMXybOdd3Q5F5l4Uepct09HXMnkUlET46bX6i6qor7OOGpSnY36kWypAbsTURObE9soVZTjH1+XS2cmp1qwVlJmFxf+oWKLL1faiFF3Z+KoF/E2AIXyzJ5l620RxkZQDAfE2pMQJjfc3kNrS5WHZxdiZXUo5+re7Y1+sG5fLzHJKXytfkCm9yL7ohwMrbRgHGWTw7auQMbuVMSvXhFEBBurKcEW4etUi3ivDYcjXFwuI93YkvG4Pz0jeTmGucjpdIEGpoiV7PuXpUz3WkGtSoktyItkhGeD0gVYL9UBXLW4nJGUQLFSc33c1mt5D94QFa+o5cqz2i5M60RIapLE2XNW/CV+Yg/Q9BMv3BSRHvWtk0MdBw0tnAaDalxJjt964ZJIExHawm18BEU5JI8mEO6RUCCIbHN3iOpuQsce1eveoh80Y9tAilvys/F06N23blau1YEJAu3V+DU16deaQOUy/OYovag58lDzwLlYPod2Rf2CtDGPRsnvRB9wvyVmVEExTwKXTNpJCPelrys2PQ7UNT8GFWmlgUan+09dUnPS8ogFXdscBYPx98HtHqS/vhtCtVV36Tc11I4Z+KYKC9PsKguyx5fgcwH8mkiLuefzwoIU1lvInXUUOstPDHErtBMUUMY/tLx8aABtpBvwoTvrnnvw7aWSwl+w+W1TXWr52iBwXrxFeVDDTtN30o0aXiotWd9N5bquY2vgTQKUjpV9mGIuDfeigGT6Bds0JOb0rYcd00in638p/0rIywa0z/lbKHNnqnSCqWwEPFgNcTPrgQfpmMjgJys9QhH61qdpiEz9yeH7c9XzCs/kpSHMBf7Q2+LVBKuWhgMoY2S9nqAq1KHT4gggzW5khFqg2KzeVGxkvxunvKYoy13Az5szVMMLjUMgh6hr70GsEqNwRhk2RvcB18v/kjs1DA3zJQDoPSJhnfhwy+lLQV+e7KfQK4GqER1+Of/lKafyGCXFob3BHpGcyjd22SOpREREA2rRU2mftlW8YSFlMoyPBdlfScUfIWadGtgka7fHN0rk+lnFouKkjeM+SmDtWSYWxvxaNzmcB2Mb6ZZ8BoDuGSDkBMC4lYlCAwoEJ9IMWKYcU9/9O5Cs59r+ZjfxFFdpnx5hsqAoPkds0+xzy6bC1exUH43Q6dfsLGXuP6HOyjsd77I+YSjGfHqEeP54PIBHJMYl9AtijVQPQJl0FY1TWp8uXmgqz6KwDWmpbCVv7a9vq0FpgyDPSe6FdRSzWtzAMN3KVwH6wxVu5j/3RZ6L54kpHg8j86Tu3IyfJvTAFsC6o8ApgIjZMX5RwNKD3MmlQJjDYS4pyCtm1iN33w8qKgjkvMYLtjBLbvIcLXSsChkQyYXBkvhrmnodHZNV7Qb5SCWKTX0OZkN698U93cD56NRibkinnnuAYtStkhXZWWAwUmUrAPrBkSOgg3CBFyxYFC1NZe23G0kmA3ASlpsdlJfgppqHIeOEI3P00IbC09JyndKu7zCR++JLwTzdwPZfuCbaRdK9NuLusQ/ST54v0xDk60ePbJlWCbZjEgnoXYjcvQdberjIwoJQ5W61fF96Z7ubjUuj5U6vX+OojjhFabwowf9unKrywZiOW3DvbOsJhXK7QH0nvlJVUa8F24wQ3BhwxsG2Sl09qt+kNc77yfwDql3YU3+GwPaGM98RBq/NTuEUFVxNQJ/EpmXjodRh35X1EJk40q3Nqsv62KsvXY2yM0RL2Qj5/7eIKMbJGxP7VFD5IYEOxfTnL6vlL5XzEEFu8dlOhzOA8sKRwZLgxJNx6TBSGHv8r2HN2eJgczSblu/0UOWQn/FPmHUUUwhoXh/OdjnL17mPjtx8LEDE6ZBorm4eCeuHXUf/K04OLuyjVENjvmlyTq8nGvXBXEcAiW99GItfHlX9KdVm8877QDARSpll3gX6iV/p/M1gPcR5Q1IalxzOhJiH5VqC+kWwlpUgzGp2ArZMicRyZyKBFY+MKsNnoS79X1UYY+IlxPRuz/OUzUBRH+FENNohJzJTs1iLfRyRaiumS2BR1ztNTmjnYHXZQJX6WJ8h6EdJr7LQxUNs9zm9gQb8dH1pnVBbamOWSn1oJr+vnuCMTBSS+fB5/yqhroJhLZDVQTw9nNIqHItl3h4uOk0Tk6kZJGiHUTKVHfdieRsvYLINKcq6pGTU9JzGxRlpZhD6D2xRXA9nA1wNLLXw6Ltq3YqfA9VbeDBenWd3qJEgSkutTSnFm+iTCs6h0y7WTIvjY2xK3ZXKtgkfxrBbjd9wihsGL7DTfQpND2O8p5qy/YqathoaxOrsP6fRSk29TGlBz6S+ULlKNMblCldX1eqxQLZKhwEIXD4+ST3Ch6cjN8TwG87vmvNJE2JBb21mpQSG3OLO71dbEWDXecS77Iw9LjAjwhK7t4KadwbsvcHtWtFZPQidnnNzbte3jVWtrB2GVMbt/qpmljI/WTXHoJgJ4A5v5WK849CUDpl81iNc7BUTte7GNbFlMksn2Z9NfH7uOfT/NTyU2JYKVAv45hUUyBXJ3tox/NKSv337+ZJior3+uBOM4gYfmtw3XlfXpsEfinHWARG3RmSWkNW8qiWWF+dI7YE9hl7p+zUGWMPDyGdoqyaLIY6JsdCoEOxd0AlmNKtHRk1cyazCd27dKzXb8e2DOMXgLBS3C0xLq8HMDt+pxiiSgAFevV08RMon7JcTmEsoL2q+TnjPS7TmRc48HIMkx8RZMClt2hOfDtHm+8qaG5CP/tDXJE8RCbQkPH5ZZFTiyJQpjhXAmJERBQ8iMvGTR+0bUEv0ltdn4OociHBzsUBTBrtVAIagLqQ1d8S+BPkRDZcl2kVICmPlIw/VKAxjdR3OslIZpUvkC3p5WMgevbSgNAt1SN6Wy4gREd3kWdF6IozBQyDDSGGcVmDH+PBJovk0/ABnSwRDnIrWtVGX11Eu1Em5vPaI/KYTe1eDKyRaDQ22Jx5RqBuamaD4I7Bl1jmFYLMDwvZnUAjiUDsoe/F1UeraVC3MxeDJVVM4q35cmvXEjI9zWYLpeUmD1NVe3sXVOfetuwDilbh9oyelvATGcYGZQdg4biZcOTOXqAJn+/+2ipBsAAVYOzHhyII9HBl/kgh38btj1PrPa6iM0POf8BeeZUErIBWi2Y8uqm0WE75JpIeHeCMxR5RAwEqvLKpDIjD5WTyKGr3w2v7T/9FPdP34f8MqgcZbplIe2YUR9CHmtHqOUUH6K85BFSBsT7BYDy+VhRrzb5TavYJr7iKPiPjYuQGGqhps3Vs3Ketft1EQhD8gbY9V7W0a6fimjlrXIIjb0aSXsnEQhIKkXN3kkjNtu2A9xTo4FydNT6jG24GTXOMmmh/hpSM+lfHBbT8JozvqMxtfCzrWyQf7AAVoxziwDTyqP+z/FM8KA56zzF8BEeXorL6+mygNzTpdE/QzwE9wpGMGlEgMcLNfno6BXwkdnVzJA5LWAgWmsIzkAAmq9g8crezR/2ziATpG9tHxAVCrY0lHp527zHbPBe+KaKk34Abk+7v8OINzJeVck0Sl/BU8w9Mpl0TW4NPzd8zlw2lgdUb6GZB90T/LY7Ii4bGtgY6Jm0R4dqkm8gnJ3W3UbHhl6S2blJqHT4aIcRht78MB3GXD3KSnZB8eKblDpoQsEQ1X5E3OvkIp0c521hEcBZVFXqEYCzCwWqhEj8A0kkeXpgubWuoWDudrUpoQo+gxblJA7js/IYgbFklkCNXTXkT9rZm8vB+JLiPgUNMTzFMu8zDXsH3nMHsballQQ9pMBzqozO7Pfy12CuDlOIOxlY8dUaxnr/1ftEx4k5Woxw8EvbME/LZ5SmAbeuMujOdCiEWFViYKLXqo0L2hiiOlKwNRmSeEtmLVPvzimWI67hfSp8DoI2kS+tm5QN+Y4/sGByn7WaMn+c/B1k/lbPQEKCFHMVm83MH4cUklI/IrzcJZh8mtykU5nM0DUm/ff+xtEVlV/yl4hWnPj9fEalJMwrmdRzt6r5IFGNP4+Ez7K0oT3eKOI7u95gVNfFtPHK1/heAl2IMCSf1Tr9xXr7118tgi0Aut+WsE/u5e3/tIW9kHTLCRlEVEIpVZXIMLG4S2wbbOJ6htXLsBpej0DAUhxJ+wAYFlErb0ZH5I83ewSxYO4GjLVklpaz66VPRyZ/JBooCuhvr1enLuJP0vUA7n6dp/M9Tqe+exViCyt4YSSogHgDJ3Qx/qDF3r/9vMH22hiNDe6nPu5p1jBp05tnmjsPZfyyMJNrymRYWlt0t3cWuvunGQV7F9irltWt9MdrwBXtGhXfjSMEusBi3oR9TMHqCXIdoVQK8ai5GgDAC+t7dVdQT/3tkrvqWhSw/05TcQUpc5gGYJtbdCwmHctG7qu1ULvvOHCag2WVQ4wCWgcf7zlcOICuAsfja1kEK6YQG+RqCND5glQ48jvuLo/UmMv0RCN/Gijy/fwZIbtMAcr2lNlzYzQhw0sKzyKXaUR27Y/N/OV1Qji9oLhE69DhjUKwH05Dl0F7XLXDp4shVMGPm5s90rfOCDyRqLvWYOdwdzuijEH+sY7EeXx+J65bkIeYshxhwrF8X+lRH4MqMlvUXK+tOUMXXbc3QUeaD6tvmGST1ougUbICBuSS3urvqixy0HVXvkr8TXmOkSeIWTTfEQ4oneHRHLXCYUBi18LKnwZaqoZBg6PLp5CNwE589OZFteggs1KN5+oK9yhT5hGkAdaQF011GynwE3O9UT+/sv1KdOqJN0V2iieA9sqeib7fRSsSGEHk3gpSKgWZ3Oa7170kkb0apLXML9JhdPEOmd7nqw3j5O38p/xyD9881p4mo8qrxAwRGdsvPvUjQ1qXLNwuuYdtee6sBBC5UDpqY7+JNM2uy3Ri644gTOA5hAx+qOLPo6AFlBjVsHltSuDQgjAKHwdq5HhQjIJRJTn1utttXnK+TBDwNizjEp0xYpfqVCbryLzDGFxZlqb6/keGwHnlTezeZra9I2sfAGJ3vvJ+i523zO3Ph6jJzTeOerfmgoqn1/A2Kqb4H7Avfan/su5P8l2lIqd69fOLxzNUW28cVNdv6rG+RxteRs56YI2ao0Yye+U2odNd6XWGr7yOsc+zhb7wdoUpxcqOmfkGKAFe3TElfshIDUFJi8u+5+0HqSgFzz34MBBOqKynNWuNfrQ99OGXhgMC+piTBQoXiFpRVsKc86Hj6Hsbv+k7CM4ID81SQJwOa4OsQidnCWKU0VU6T1P0h7pWrKTJwYElaWcwrpwjTfLmdw87aZ0MjbmA83IEUXkc5cXOqF85WWs/zDFjhIVumJ/c65sq52fJGYTHY/lTxldKONRjYB76fMHj91CHspHzdriS1iYwf3JaDAgStAXn/QCdzd8Gs5anPS9QBWzHxVAwulCxO9kpZxpjx33qs5JgBm35zdh+fSqtm3qRiV8K41xgCJpHOJzMdo9EI8H7p1XHsTp79fX1IU3Wz5CJqm6Nks6kFh0ANORl78f36O46aMJYs11phG1NZO7wMo/1h+R2AmLUCBaA7PKr9civSMhOnWxV7PLZGJ3iIX4bCCfFgitluTwwxlru1D/GS17/dcIL8tjjjk/FWN8gwi0EgqyKDm6OOQvLWSE5VqfQHmBq2oDEdwN/bFcU2DYpnH2aRE3vODya2p1RP2iGyfZQxQ03nXjuZkMbnpGZx/4IXaH/ipxkhd6HyLnsRbXeXCOnXQonSXysHdGzxIZhi7JhWPxGYUKRErTS0pbC/l6Jd+L1yh0TyhlhqZhJR5UMibegl3E2oxXsmmljeBN9Cv660AGkynjXanY3B0Dv7WOCdTmhP0PiC9emuMJBiOG7Q144y+QMaXOTxCCjJ96HkniuCqPteoyCzUi4SP511wKCmNXe3VNEGE2KBwn94Infcemz/2GbR5B9M4txCOXQVGznDklCY4wpNgTJhO4876YD5+rZjBk5gyrFstVqiOKfAqCCXHYR1euVvt68IYmwkkrduTi4rmSkYHuoQgJdOhIDwcuky8uI5DithsVGrGOBbaftUARcmPPxpgPeut9oVN0lPhUWkbakjZSMOJV9L7totcSJm53skndQ3w72LsGlmFcgSpbr/mDsI7LJ6Bn1h9LZfm46xdFuEcp5frgaE0ioLiWey0ySlhF167yyFAbGHNvAPsfszSdtYdMfMIC3hW12MOYXNdi+vkMzeYqpq21AA/WmBkQnixXfCC/W1zudYSHAKlIMH0v5bX2AGGQ7HB62Znw9jaW47vpBFe/Ce/+bqqSNjQYtfo+Xqi2/9vp9Iyg2y1WD/KeTuw2v4nWpYlZBAeKhx+LTVHaXIimhKKo56Euo2JCdazishINn+dNuVMOBOgxxy3IRiUqn6bBC/vh0Hbcvgd+KdpiTq7MOrcKaBwZRh1rmFjee84Wwk6YOYCshtEx0RjRdT1/zFa4ZTEttYl9gtlHOOPq8c8Z/OQg1fZz7OMU4BxQLGZsk8t+OYIPcVvlbReWvMAwLA/NHb7nNfZmVWgCBOqoBZyc9bny3GdJ5hc4KR6WEDNZfkRRDOYm9EPswemaEwuu9g2qlehx1FK8XAHHxDbmvyeIBRUiyr0vRp/8TIjxUaGTqpiDzjDKnlT40S4CEQPOHi3W0o4lZi3peYOgzyyoCLT2V7pYzytPeNglNmHZbAMCZYnK/piMMRUHaOnnri+FL1lQzF3BomWuo4j38F9FuqeMhjPlYQPE/aBYb/giJLId1d6XF0G42Vq1+XHEv3xzgGo+cJjtLPY/TwHFI2ikYmlP1gZAzUSq0pJZrJeKC5JdXTxzzvsX3hJKdQkaSnp5iG/dw4qBYavSKVKwYoSVXWNwzwHKoE9pUtHJBuNOk+oro80VqJ4kW+fvJrebW4JfMAEnu3dMoCZpiUf14WL8s2hSNbVRisTMqQESpJLKMigZkd0KGimIkVXQg4EaT4tw1JKWdIhgE8AZiOq7oKbPW3psTG/wNnQxD5+2usXu7yB0bUX554783vS1AjYDV8NDetsIwWxNaibiA/to7IVTu6jyLRotUJJV4QdkqZyiJmOJ8NG4isMBjtLrfaBYu85Prms2QW6IVwKWFAcI1U9XQOu3I56oAXNtkpGH/WegZCWoyC8e6RBPy0VClstKkqmgX+9SX5FQy7lhFSL1pWsz5F3aM+UlQ2WIEWaX7DC7fckll54R9bPIjIX5cFkPx+9+0JO3NeRjukieeZsyN+0FxRbO0C1cj/gEn6fU5tqhmWRQOPEtmeYNkiVt7BfhU+AKOVRxGB7iKKrGlk3diaQwrfptIyF2GF2NhBQ3xj4FsLy7WehZwhLccy/L7K8h/0Mx8L5T297H4sUENQaPMWB+4NqUCR/qoHZKEk3uBK6PVaHPiPNNcDOZy9MishYgVMWrrOxwWCjr5dCQxlZZdJyfYEcF8dShYBhOBi8wWbhSK3YuxOBdJcWxSOEt2yP3NCwM7tfNQkweFZoUMpp52MXdtlIo0bpV8Lzxs4928q4R6GdOYNZv/J7wz3xLB5Flh7WMlYYi8pFE/RcTQQ7RP4bLbUGRwZ/g46n6N/OVXeKHVy/MMtpxwBhegqcorfbPTjL3d0lQedQsnXG3ZaT3UgdTSN3PJq81Nez2u4OY/Uh1cMo514TjvsSuH//6FLwW1hTo/3QsRERs0lg6s+pSiVeZQyxIyyO1I1m8rqlkUR1OuGpPqx/SGaL790JegHP1mYY/zRPHkdi7ponmRrnc4ytidtFF4ZrFe9W/9UxMa0Tb8tIdHBfc4TlQ141pDPxNeB4xTOtntIssnJ1GoebLV+svboC0NGGo1HtijKVpOOnOBuR3LtLkh/IWOUCiUxWlyoK54uv1ho7dfww0DrIpkRYM5IrtyVrxxram1zcOXatfgtbxPMbdQ1tFSjVWoOkkfubWV7BxvDl7L15Hsm5XXp0f/GxR/9oYoM+Ir72is/tbfVyXPjqWJwzDZQqX3pTsn0WBtXaZpIa1mLQwKt/XpUQRTVkJfc0iBLU6mdEiiNmanwbDXSV0uwOBY9GemUUDJ0PDUD2rIy+MY5eMYZvydHwcS1ifnbunwp3EdIDzHPtjdKiQ/z6RFKTT1cKXn0nFPxo0dDuLUp+Dyc663xdnMEJ8L4pAnRRlBdrtFpnlYlZBVprPF/SSa0vuuzBxfTQZQcQ/9k/CBKHPJBOgoRwehbP6cefluyQv2K7SDHK0uaYqq60W4tcV+reQcscfLiprEkjONsygHEpr9HsfwC8jYwr9tXmTyEeaGmeOoV6eJz6S19wCdq9YOdiLXbH5gpq+7Y3XvIe8YaII/bZUgimdmsgYvUrUEZneRwuGom+4AxhvjeAj2SZtkAqXBsYGd56PL0Fkj70m5hvxSibWOE/98NPDlbRNzFwULBH384THM9pnpcPSUkqu+iB/irJBETbIC63NDwF0TcyHv2rhFOA5UpuuejbK9bmHXWquxKfg8PvM7Ns4pKVyBdu/FpTt3VVWKZVFfhyFK0n9YXrFH8LhXjblrcmqxiqNXQ85TZEhR3a4wlfMMGWHqLOPtXFg/xPPee0aaRaRogT/iqMSFRHxhL7Hm0U5YLgYtTkAIR+eiOrrLaq17+upI10KnVulHepeu+ceLaspSIY1wI827rtUurwHn/imkTdeAr+3YHXENgjvpUmILWEKsPEmI50g/AIrMNBQiwb8zHssss1wE/OBS32UYK/jzPp/W6H4BHtTCPyHzSAHYoeXG/YhALqoiNMPco6lLcxM+2Mj3Uz4JrfHb9SUA1B7aZlm8k6yohC2VJ4TfIqyI4NimYUrwTLEU7mGTCb0wFGYH6kIl50SdjbB4hGIF8pVOCyvE/awe8+kR5j3R1EbikFrzrBVU4c0IFcPMqAvsJ0yrxKOlmz8iUQ3/TXcnnli/RWZiqqwiEIQcrSE71mzsJ2wy1TsSLIFSDdcevvRPaJdbZHpLTwcfg42ysTE4oo5ppRyqpL01NuPQUZTrNx0TIHEN68RtsAxbQ09fqfA0nNCmHPOp82MlAK0T/+nDpL9jUuAV1swrcOtlAFfDqp3OHqArDdZ0bqqnsEq91AbglTY0/Qpf2hy3N24hVxg2sVzur2siQr+f3BXkI4pnNO3o+KXgpspONdZOG4jhUpr8aCMvENMyehvdr6x60fAwlv3XYt3YBqNuOl9SpjxYLxnsBdgxfs2EXzsNeNOG9YV7kEwooowQqi95ZZuje/VAmrrxn/77/IX8+wmTm04/bYLJE7jPXLIG3mY/lco8xxe9lLxDiHA577ieMqDgL1zoB9RYXXwhpnB/c+MbKvSLK7Sqxeus7rVjhtzz0Q74/MLuPFNBASER7gArYxuHzVuBtAXCm5gcYDh1WQ7WP4ELFa8rZ1FC65Mp2r1BxpGxXtqZK+FkIvarRh4/UywxO4nNUbrfQzfSzulTho0x2cLheSzCj+rrSwq6Fqlb//93b9xY5b6/Mb9KzSG69LAlIrWoBhYfym8wFGq6wa82pd0puzQaiBQeWGQE+UovwB4YBRjs9v3rdP/2XRhuhaK/Hcvm/kHOA+WzNMlgxjCLSSj6tRuWnXPjFdFYpNbvAd7gABXcW6ugL61lhqzU3m9O774ThWrgk5FLYTneyVE00WfJBSh1P5dGRMxq3WeVCp77EJjfw7fVFC0EHsJNSpOuOKco9mIJjNlHV5y0mTRvvXjB42RYtNcy5NOrzw5UphS63VWCBilfpXlR88J3l3lH9fE7EbtuU73N/2aAa97Y/rVwcajKv515LGzeIRFOKDJZ8Uvq/KDaxZruBw4dZQCyUxqvaesAQXZgO4uEfjtgeYr1/6hmK+TtvsCK/nzODlPhKxbNrpEaNI3wWUjy4FHNu2z+EEmF6cZOxL900q10U4FZsKRzOnwXQ+LQnhKyX1z15UaHDq9qHFkZNz5EN1brYsoEZIVKlhUIszHPek+TUrWOf5jPBYvXZ0IDQzm6QtXld0pYUNpWB49pHLy2tVkethiRTN5qhU7NgjHPuX6Tpsw9NJEl5yK6Qqj+PDmY4m1La35ep4x6rcc6aJhuQOZQ/TXC9sg59v13LpKIbS3qAKWO/UBkEE3QT05gjcsF8khYBxg7YKqZCZJOU77MntG0YeKUoODHjEK0HKKNM6DxiXzuT7o00KLB75h4n5tdePxP7tp9Ef1yQiXNCvTDtGIpW49MTjGKf5trjSgEaFihZgssyEqm1F5CxAWK1DWJcEcv+FXAsM0RFhxKq46Ov5y3WJHskbU00zDDbn/M1MNvq8+PZmwwW47EkfcjixxvGIkyjWdIe/gO6nnpyxhNMjGfg84UXb1dx+tGAQz0oOSBxsQ9QIpRHQbgSElZdHGXvIRHl9q4xUclO1WpZ9h8L31Wi+a5n1wcpVhRol1OCzR/oJTKNjIIWx8Rt9o+m1SdQumCYNn8hIThLnUZsAmbB5GAzs0kK+95Ta8JcLfIeahlttJA1dnVGXxQW0EJXYs3MkJefba5sL0O1bDv4rd3RZlzPG2yDbRBFw4KwiSGco7mCl1YQLljA1y/cgsP2WBdReRD0vLDtFYW2qFKPYa+rE9DIlhGzYS/e3Jl2bjrZISImSPWcURqyI1Mb15+YEx397gODeDYg1ruvypTLstiPoiC5u9wffg8w2HJLJ27cljhyQvkT8MDdEqXD6TtON+XDYVEg4y6MD8yx7LdRnOPWQsA1LJ949mAJCfMOAK8FI8qMDlVvLqIpBAjK24QRFf+l2KURO9Aj+uIPN3t5xC9Uk5GExHBLl6/lsHqeZhHyYLybxrwZ7ihWtcrqccprKcIO2TICIhVJFnaZ6DB401nl8vjoeb8olK3oBan2uI9qkCsEFekXkW2S/iNByeCg/F9Ss8Ek1rcm4+11IhKdUUOj4BBgx+ZnmM0tWK+jnu77P0LUCdJ7o2iSoAyeE0T86hnlxwuwP6gh30MKyjQAx6tVpiBrxiIWJuHjDSIZiEYsK7T5kLIY1ioV1M8gIWOL/DNZAo2Q4x+sULCAS57oTxmHwm5LsV67s3KCI/Md/N3Osnfx1WYaPVLg69xPLz62jKuxWV7IB2g7he6Nv91K6WPuVAHwNUwG6BIph6PFOJZQOWH7wOUv2wO2eGO4o8z4sGDj/S6m5rJoq/5CjoyR2zWVERHMvKBc/8yzyK53rFReoXAQyTlVA+9+IcgEsXfpiT7ty7D7MJg9isSa0gxI8t2PgwKtDw4VaOq3P+Dvya3x+Vg1GfKbQJ9ZvbB6awkAPLNHok08GMYoRlvOKetv2oyXr/CrBUieJh7b2i+FcR+bbMxEHqXUq8oy2aKXuit61BefeA8xJ82hGL3RDlJhmDJQ0FrZoqOcfYDpGvcrOzWe4KJ0LHCCwCo+0Qehrx/3VD3EiAnWH4GfEOzi/UFYtUugx/uzvutD+epGj1RSqJSf+FF0QJmiWGMkBB4yXGg7KqV9cbI6boI3+HeQvPsWpMFRb4Cg/dvwjxjzUhNyFjIpRe4Zb1Mca/xXKoimEyBf41/wtDnb528H8AQ/IDrfr4FiJvKha5o84E5fJjOyPQCdKN7nb07EydR7fGl1FDeK5RcWGKXXnKdurvuw8qe28iJE9WYbQq/jsivwtI4m1OXKRNMaiHeFt/hku08qYMXJr3y/uIx/wRDhC+an4FcNa/lerLixfb3HwPkb0EuLnHB0QXRbf5LH/GRuYRi5tMKtMJhwKPJV0Lb7H1b2wP4n9aHWsAsUTV5LeEiVPRXIPI+M7OHdDSDHIdoCOfHFO5S/kDY0l7qEN32WDBEmi0udn9iiGWUdoH4ipJHC2K8W7eUzoN0+CVgXWBRKCHChjGeUpVAEc4uDoLvGO4O7svt7c2v2ZIW7lvXTJ32VbTNW24GjyZQocLWnupogg695SPD0zIt9aKdvxS+ky/+IpdAO1zDJNBaosOIkCCEWNdYzF9VYBvM8x3lbjeRKbcPZiSmVUn3WrIqTUhWJOK8bS9hIHYBoSgGbrNKu8eIjXvjUAE1yU7/Pta9GJS6GRyiZLVe8xdybFlq+TxwzB31thfYnANZ4/p8MYc3ZUx0cYSlnMJeMA7ZvHvMXyM0M+SYrvIurf4Kf1FAuhk5ch504m3hDTRySrOIM88L/yoC0obxn2MlGYUOaV5JfZEjj3188/BdwZ0ubaAZeotQop8zjRtSlDU9TMJI64rcmt+BcDCVWvVCc3N20JetXgXga8o+C0/zX5O4BGM53DHg9n5iXoENQabRlS6Cl9VrYpah+hucZoQ22yv4J6B4gJmR+PRHi4hYG8fJ9EZzKof6X88c4POJ/+wM8BvUTrknSVs1lUDaZx9GLGjt9cv0cb/IRr+ya9Peem8Dvq2urF/lhSMySqszZ/5jbkqD/c3FKy4luGfXiPa7GyrkSUZU3IG1fuugQ5z4fziNwZ7uIHzBpe7smTob36/M3Y/GR7ApgluMt+AE2mhupbYKY2xG/U10rH5XWTRdfCNlqGuKaFXfrdQL7d523OuAjEvFxd2oORuwU9SdjR8hzjE4pQpFGNgSv6RkfbZXNnIP2cUyfVf56+5uW1NXbtKnCRG8jrNMzEsPrv6sgLldxuNmn84/0iYZ+RUowrtoSAhH3N57w46A40g0AjmqmWKaS6POaoEmvStgmfupnXIsXYFBDjDBe5O6Kqw1c+qHHA7HZhaYLqjMg8B+4naw2QllZMDouUO946Y5dSCM2HAh/Sv7y5vx3yn9AUZZXtjKPECHPCt0qIREOkeVfJzZvZgT+w/vZKuD48x1GYeNjWUiIPlRcB8OirmXLB7Z6VvefUJr405HIHZkdly8Jypuq1nwvstSjolDR/lCNrdOdyin/ad1CQF9uzPS355YoBUDKm9TZGjXCrBRkS7BZ34J2sl8JkOzpLtAHS75yzJf+GKICe3h9AQPQVSwQLPUp2kMxGZkrZ4Pu68W4kGqzkhNm9pSlNNSfb46bfJkY1NVZfjftJMz/k3EEeJ7kglBoA7JZfbHeVq7G7VR16WO21dkauk7ufopnZ7u8KjLZz/eMtnHcBuPYE9ZgyUrfZ7M8jzDQ4ZgytWxo0e8DWEgTyA+FxK2lBUKEpX8x5Tuhmb3urmY2r06LfR4HdSAc2NEj+7LMss+DYSRRR4AVskl4ZWXfmZQ/YrX02lETcJe99AK8MoxhuA5gP8a1uu9Y9ZiprtuwhNA1Mqkyrr8b/AOMvVr09l6kuDrSgqdMRP4fZpXgJFJBmUFeRgE8S2taEQS9+svTJxcQG5JlQTVOpRyg8s1+f8H5kFbaX470dMGzWidkOk1w0+wqpyXl3qX86Gzk2wy23qadhyStopBXp/ejqDT7Wx5RYBzj7XWqhXlhgVeIFQaR+WHNcewg8vefwEJq83Pzswv1QgDMk+8QTTlW8sOqxORA7Y5cGDDIg6quiEV7zua9IIu/IAudJgnGO1TReDyMjfzy8+Pvy3PJ4/Zl8Hm4Hx5uTWSoVcstAW/1WZHCGZBpaFQAfv61inKzG7ADycDMoxegZOOorxDOBhP/Q4sio0DAd2mxT55OaU7nGQMOjf/JXyGoYzA8F4tNH0un71smkFMlEDs5sVj36Eqm3M6TI3UZtD5x6iWbBGl/k2uLNEDEmqA7+xDRyFIkls3QmfgP37S5KqFQjNopWEiUzcgGqB7ZjP5w+E8XZItiwu3TO5E7mUHqwrsFVrVTzP2rWDREdk9H8X3r/3I9lJCQ2JmyTJIk6nMoDkyyXIlMdEYtVhvEmn9vwcpbdOSn/DUcs2pX+z38JpM5BMW5kTW10SjSu7/YoTKCEUtHhnJUoxniEHH5u+EQgJkaLsfatnU4OW3ixgb0idPVJ5LmaxmwLHNumgGl7yG1Aw+Hos6mp6v4XpXWwLw7DaB40ehh9Jz2tckTu9jKctIw1ywa9g8xd+Q2gPSFQbEeUGYP/ovXS6vP0XoiB1UPnq65SCzEYpquyftjL1ilLUbK/rVpnBoWQiFo4j5sSV9ur/QJI6YDNbDpBlC5QOl35+TXF5eRz2xJNkOD9rBwbO1w2740zob33bYiGScNdVJlrOClOo6bwxYQOuP/yRr2iiynOK7qb4Fm8nD949Nekv2m29G9B8lTRMKIp5Jtfn2GS4eDykCcQG1zumSvaexa/3xYzHVPzRlm1DmWTQMHNmIjvnh1qZ66c9joGepvfLpbfPB9zvEZ233ZarlCnA5HP5M7j0aAFsh6TJW8rIynaGr+T/tK8GFIlycJ9rzUP/K2G7c6w4Tl/+W2rHfhPYHR+HticQCJ71824uOpI5+FQ3/t2AqYJ4GWTOGLRChoW0jKyMwHG6UNDV/kcnLYpPDd+YPH7WAmEpqlFbGE2dEoPsxG9bZG6u1bo0QNrBuv3+6CRH1mlMc2LEAW9zQTQOzKuqcpU7zFcIyPZlZY6QERoRvSdUOTqbsh9bhmA2SYLkO6CZ6sh5VM3WSUyCMGFz4ZCuO+qU/08dDR7cPaL/PyXMj7H4AJAHSSuEmzrtqFnGCna/gjO1JNr9zcwP2cb39/6nP3om01F33u19v4uKICgTqBfwp6YD5BDgxbpOY+qzgpQx2B0BzmYOM9oGrIKbWXmcZFfApmQp+x3X97OLUJZr5R97UTtcvtsdWeeDn0NsnP7Iv8DEfknaLysC7VFW89jgrNW3McWCP3P9cz9BSQgiRoUJghPLwSQI2r0AtekAgksvRy0TB9ZoLmCNNFEIb0D9dNUn0b8bPN2BNHiaPHH7iFSZUedcMxIezGgRvIJcp+3haw6tu0xXrL/OglbO9czgcPX2eCHjQND11D+lIAgJGAVgqiTD5YotPh9fftCLXWgc3Q7gZLw0urpvmgGFMG5u9WOYckGoJznTmoEPwEKDA4hOewujjFs6/YHVb0s76INlTqzOP3jE3AEZ9dqC6GliwaIhu0oCcA9ouW2mVIl3gtn0XmT+ystS4wzoWds9Tog3v/dtRp29v892NtEyR5lau2LKYqfxXpAhHjKwmlsQz2ZFyxp1V5xl28+zmV//ANqdGg+JRXcPf6vUMtz2t4i7LyKHxBkYXhG15Vey6ytD82M5ntXHJxWS4Ow/8xsm7iKM5zNdSajhEj9kYjwoXNqWjkmnwsf5JT/Qkb+scDYYy0yjt5uMezzpwFtxssIqos669y5bRmOwnLk5yVcQZBWQ93RsN/ROGCw6hkihyycE+wcAo+nM1rMyRXkk99UI9BhDcitS8n2zoTQIrux8Q7mExyfGchUuBhwMXU8nP/Ps2LWgyyuCoV1TAkhcPdN2QySbT+PTHoDMufkZqPU4Z4sj2AajnbscHPW9UMcRReswTid+aQzDWB0vWUAsQRlYlIFFteLJXaxklWhzEq3yzbM2yN4/M8LHcFRnv6uYV3bMRr7zzuiWZvkTx/zWJzXA+RZTttJrPt9wWWUEErlwyKxhOYmjLCcCSqoHHeDy9XnkDUS0HDElyKwsLirAMWRopkEtzTifsYF+W9jm3xyxn+vgmR4ms5QWi4zOXoP+kkQx+5g/wayNh40BcQGBW7wt94izJM3uhn/si2qbaheqtLnbT0pBv+HTKJJgc1qRHEBh6fTzTkCdxfZjb7rReHcPuztwOHZ53DsigwVp7dnq7clY8APXm+7r2iZdR6PJ+Swi8GjCbOPeI/NzpmNDXac5ZI7xKo5Yt5v8AjwDp9BqPLH5YaG6pL+pPp3pw2dcoNOYc4ac9MGJj/rMKqiVDrtlsJTcd5A3M64mK31GqmgzXNEEKHNLW+kbUwV7sDwUGM03SocXu4kRoslw6/6oiaGGHhNm0dR0wB0r4V/+wbM4Wa/27k7jORTA0Y1+MZeEGLE+IzJbP+BCXkh8P1ZYuvsoHW9ucXqdyoa+EETnUeQkYXMNL+zsCHQE+JvSEmJbG4wd8kLk/+7X7Oyahf0N6zQRgE48B4A+CnGbl++Rt16z8Sur6DTppE7/rVJZdznba16KZ1lhS52ntustJS1ZNMpjj/cysTuqb0v3mr2+f2iHLhv+FebXx5gtueNbeqd6hm3i79P3cyKP4iN8WZUUTG7/qKS4eGk5ORD9vKmFJiuCDjosdtysTbEjx0uSW8EVjFTJ8fzGqjkSFJ5zRJU9lg9EoEoWmgXUqyaPOirKghyfajL4b63HqqQ3XlMFnXsNtSkRnwnb+wTM0fSLeO9gc5ejrLzBO+l1qVEe/6j2/32DKdZJK7GWCieUf6NlGegipZZ+DXFPYLxw+UK6IrEG+iqo1H4lDZG1RXwgrERh50ZS3loBahQmglcvrtQ9oK0UQIyxys+TumMJxbDKaPScI65rMAvps1dXGGCyNcCqOFooVw/Du39IKSswaw9fcAi+Z7WyFsn8jvBnEOWvwll+NlzD0Kn5CqbPl7g+Biwpu21kjAtE/zcKtRTkni0w/5Qej4h/33bh4kIajiz8cuAwfuj0n/d07w/MokeLsWFbYlwYkintjeLCy/+w1nNOKo7bWB4EthqLzywjoqIqMbBruneNDlbp5HLHeZOo5q/HZ/KCRH5g/B112b9QeOfQ7kdL3LTKsA4xNmxqJqMJVXVPaIPf5d/pETQsYRe/z26E7iamKrHGRohBQmtTrDQ/QhACZmazBeJ8jE8F0iB4mUNB9MZ9QGM81el7yIolknAdv5TwLfbyl1FbrUBfO27GvriuMZz+/EiCfY2L4yJW0jjbd34H083MxVYW0/FiQKzg7gAY9xH2mBNxkkLt1aewCWNoQfZn/5REDJOFmQym/x8wPvCwSWjwdfE9w1DKwXxuNApdqHwBWuzaFchu8RRREF1HME6c+BAF/uNdMnNO3DOyR46yZ6XUNtdfy486T/qPI867imebyQTfMURPuwIcfQD8sssupeS6tm9S3Uc8YSiipggIRIWT+S9MUY/ut4AygKgIKth9WxyawffLD+71ZutOG/zhcgEZ3yTPPOutwmBMzzbzflsrgzjFw+FQ2Y9vKOGgB9jSPy3ksdvNcAV/TuI1KikJEjAD6tBi+hHfCO0ve//mT9ck0+ekVQrVEoItgSDefkvzneWQGXQlRijXgV9L+pPRgDXrlapGZmAsHVyYG3PCMGL3nzqbRPdSKUk9LndpKz767aH5o/ml6Z+28N3k7csCnBdvdMg0mXNMuU6r6RsC3Ri+2cAGEt7iKsCCfctbuGcp8/ex6ktri5PCb962936OYCJicIUbyQUyZZaYQQMUyZd+WWMXrv8d1OrSXluL38iXC36vuZcEbvpNP7j/3wnT+GaSp2vVmbld3BTta18qd6vFIzuXmvJKioKmoIoG6kDTB8A40Y/tXwqJo3CIGTmVmwUWODj7hlveJ+5otrda7ljmGbgrpnZh1IqEderbBt3GdO6uO+AFyZufi1/WvEIFZiaQRnPC6cbtiQdXwWj5CaJsyqp1iHZvA7THKgIUbRrUxR32SXN58rlh8LQWtOv00ts/ozXV1sp1FYZrG4hfSu9jDg4PB+O+3EzmD7ObsQLM1hRjMqxer456sPPO0FDriO+XnC6jyYJFMpIwYlFoU9xp1vvvgek8EKv5GJw4ReSlYcu4UmvLvDU/vm1K47/HJ0rp6yNqAuSpAx9Ap2RzKhK+25OCS+YWdqFpVlUh7oteOBmkpZQkoqylaG3adC6KE7ynEivYxZaniMPPUHZvXSR/m05uFHYrIM+K40ny4jHX2d786BziLGwF9fepOgtLBclgxMdfXLvZEa9zutom8KEen0qFtT5Dxjo4VjU1NskKit1wN5sCIpKVyQXCskEpKv6QoYYVUYSIW18HOO0Vrpj6lYuVEcaan/lMTHH/cwAAfE5HS6TUVnn5+GgQ7b7R8T6rytP7wwbtaIZ6NQrreFSgqNYbTs2qiBUKoP4LCxSD8eh0Zmqxtuw0z4zs7cDOhuYhtAZ8TUDRjRfLJI56TucyZKDjn5HYKJcLt7TfQ+zgxHpBtUYgLke/GAwtkCtnLDMCaENFgEfehl9SvYPFYFJmSAEDdmfcAGCSZCalp3nYimqVZjQ35YbM/jeXbB6EmHbcSsuGSCgDFOTqO3Ndke+uPPfbvDCCbs4hcCA5ECYjgVixeye5JCwH+34VgLKs8MewBsc3FdLp/XlbGPm4kngXEcaiqW/fgBNHBxXG9u8C7j4FOBTsFtteWnag5xwMysFjI1outi94KumRqPoq+AwwjzjZgvvxEt07XrWQGTIRMUyeSqgNWG0Y4/BpEmCpmhy6rMzoGai7Q++7CAw/wWejYx7WBULWQSz1tGY4IPZFJLXszIj24BxjXvK5gFggj7l9oW7ui1RgSKmzPHATDAUqmCdZD3rQZ+UW87rA6iYEoqgrQ1pNNt6srcgsiYG906qq4D8wj3JTU6R3ZG4v/5G45+tv5G15TXg90GSxf1hlWyUZZOeJLWYgQG2YINNvXKQTn0B0EOLcD/CU/4d1NDkMTt72+Hp5zLOZHj1TFEx/2EkDCboWyKT9sxmtwWln0HoEsXyjBsFkVjeSyQ8k5/BnBZbL24FcMm5wSnAGGNWumUfJwmqu5Jq0iKp06T/HSzEFJwvdN2W2ZLFv278yRRwY8caTdfDXfvPmV/Oq6StdRHN9FfW5zPfMqmowwq6n/T9Cd5yk+zLbfaj0rNXOAlN2beVcdhtHcxdrikhWeIkH/csTsyG0DJoIP9YvL98svwJBNQyPoRr+JFkRKv9eK9ghz/yLe0Zcts8K9qNp2kOEkkHpD3PUx9iMMAyl78VmnIGEPeDyZa9WBRKQrvsF++P3XpqWx6Jq5MGAyxOGQVyJoYWO7GUqYjq6g2tzl7r36TWRF439Uq0/yvh0ocLAz6jnMA0oCPlC9Op4m/vJij63wxDL0OcE/hRrmKSAJ5vXATfc10DoYQDibEd37RTIjzAK1HhpCzXvRh+zgJL6H4s3+lR08j4IUjrIhEq9JXqY7LWloBR8FPqkw3Std14t+xviOwvL3BlG8h3VwOyJYpM1dMD2rkfdi9tycTCYlv+NkWVMHnR8/0Kk9riOBcJlbA36Do12vYITSie9SZpQQv3yVTE/oeDn/AqyfFGx2B9NeJemmE5z/ErDWLXl1gTqVwyWfE2SAgwVuDuGGcMd7DJs5jHvhuWN/mOyiT0JwcpLg676TlWehpKZzaS1z2TZUk2lNe94qcE5G+nPtm0lrasx7BnOh51BdlULK+lkfvyHWoeuGf+zcNTEYWOlrVihKzzQLSITe9Rl3y22BSd0rzPoEc8WUz38eKTV+Odse4CRsT3fzBFVNziwwHGSL5RMkEXeZthxsxpbQiMa4YXpby9TrA8anPQknkFb/eMjn9NTRrJ3stsyKXnu0VY1eb1L3GoODaGO6Q/7ACb+HNv8ax3qhZ3oVwaANN32YWYyU1aZyGSVQrpBF3HXWIqHA/y3e8LoS6gmIZmPossETklL1lmWhv+dKbt0+qIK1lqk9XQFxVCiDpOVNnN3XIOI8Xp9rTGZPyxM7SfEumoo37T3SK/fvFXu3bMRY62SWdZkkeJFAqu9Drsd8v96OZnQlwNvOdSzD18gCq3bAMFxOydGWtzD3PPJc9kP54jiHGw3SF0FeP9d+UadYm8iBs2/lVLS3SSjEmN9LzBPH8eXlR9mA72hbmQhEQ3MYo2d8lDx2v/pry7rtzM+zwsAE7EjvFD/mgBjdV2mbWCIjBli03KBBgXJE/4F1PCycMIOzSvPF6lvC4VWINxnpDbVrYShiFn8/bCMa3EcGdzqbI4AyCKWdmn2HE7QlcTw1YAvuEd8Hq//HvxO9qZ60trE9Qr+NO6679vgOBqrgPkLV2XWrm5d8B2dYYE3mKjV2/4JgHxK6wbMAwb7XRX54MY8CRoAdX4Q+rcQ+1Ekl8lL1uwF4+tXkKhKlV59KnHEMxaPBdgOJTkEStSZbISWYcOTIr83mk2f0cJ/HCDv34FvRruTDaWPIOz5vqzYKO3jrjCBdC0XAhd11ernWu48wmFAF8WONH8cQF0r7VxlQvGeoQ5TWsr1T03xFo83MqsqboAJoGqteGgpIvxxneOiDRHfi1pu5V2FD3CcZudWa08VCsDJUUMCrFnSNdqF0od3vf6n1Dd24HJVDAPMRcqOLcgRQVhKimupe85XbODYNmNMY5wAgCPk1jcP+y1ABam90BuXTfS7a+LQH0fN9Og2P4YTtC0uIjenmiz3+6BKMpQ+QtnG9j4SxEWpi0io5FLhW8aPbTRr8lrP079yO5/54zkSMMZJKevzrWuydWYDgLbFzPzL5tQNhGIHnkgQ9BDMI5En9qgFgLSTC9cqiSAjMukeE+rOq9Uyg6MJOZ6DXxz9cQAQ5rgQU6Z3P1a746VpKNktwXRssFu0k24zuf+Mx5CRXRXi/pEoMi89yQMIsLwAefTj0b2reSqtZjiwA86MoBHzbcBz95ppplCzrJoeHVffivUTsIapu5FUb5kRhG1XYhH757JPTlrMp4de8pUVNfUSX15v6RH2d/WaMe8W+rINJlcoJbG5J1PrN9rxfLfxdl0wWHD4Ty7GhnGufMwixFqSCTPHWDBKyHoImaFSJIb9GzGVjx/jUGLsPfIRX022gVZ+Y7V+i7kWcyueLX15ArxxFTNlLZhbWLaR3bwOiBva87wexChD5NjICnmHatyGCBWD3rEUAwWbm58UCQefvIhr+rRdEzgDpMhSP5X+KRZmGvVp8cWZEZZRxFl3D94WNtlWd8Zfz/f/e4gKoRCmsgk2/piTInPoXIAYgGYVpqJDOZDsrO8At4tSvZ9dJJJu/1EV3P2WIxE6m398/bOrp8IdovbuJQg/cvKCk90wkG3cwukgTyBAP/Z8AZO9ieGP/b3p0WeoTnMhwR9p0L3wQdZtruEtUcHSp+uQiiKHBOM/G8hFFIUHt20SpUD16dcb9O1eQDpD6I1wbfTiCykWwqbjY/QDb9v2PyCfFLCTMEJxgT+6qrL64FiODEg1vTjOsnOxVGvK5Fog6Bg5Xp3wIAc+DeBaRnDORvWFV7owTBOn9681mlVWtvHeP/ntN6Ouudogm0d6DG3ZPuyBAamSjCsv7O1HUoh6o7VJ7JoBwwz0WAFDw2Ly94JhbIRsog/7i730fMdpwpfhPd9FraEG08GGuV7VI2Y2HFpdT7GDxDOHq1h5AhMltLH5Nkm6J/T3xDmM5lnTtgRVoRRr8QjcGS4XBSI3DpMnOfdiObbQBiBA8YbuzXxv/ho9EP/0VUcxZWQR5+2UfzRw72Fu33PBP7UjWiy4Y2u2rUFiLWkg+djKG+RtW0O3ERmrIRiWig2Cckppf//MyjwDnxwOxIViS6AZWlo085f9uHA6vTBUKDql60sGqDBXOFKCC1YoCOty9VZSoKHl37oBzpYbqbuPH2WOfH+Nf9/d0Ub9+YbF7DYYiBMKO/wqlm8yVJIWpCHurHdDX26ote8EThzVohdT2g/5Rwkxdfs5eP25Vb1MiUTlCE42t/8HzQyRwyZYsSAbvTtNdC1F5q97vRq7ruW2M2V4p4O2sRTkH+aMvGIvoaBdYT7AexF5iHJPr93AXaunj/KDb5te4LeXoGch2lwX3HyTzkdW1GTePgPFayaNUznUUTn0nX2jmlMzTVhCwSKVKervd+LLqTXiSHWtWIir2RI57EiHJNTrU4hyZTu9r1sXV3Ni5QguX4Cc3lUlQ/8Lzevsd94FeACbAkd0mTk8lKwK12uuOFovOjStFxnp5FL5zHzl+ErhpwpP9msQF+4zSBjALqgnc7vldePjuZvyWh1lIxn/Gw/B/LZP+qDxEXEhmHKQlfojo3xGoXT2XenwATd3KY9lPDu4bmq6yQF9wjE0I+b1svva15kYEgsSYwE7y+pYONxwcUsj2yGw4O7lARIw3XWP7C1QmyeAIM3n/1qbqvi/m9/aGbZmbOyY8PvqJSB6Si/9qY64Ke1bbOXCHefe+LqlWpmtG7fi2R5VEqJf4/1iR1xukbBltbwjn07zE5wNP4ITraGWTPpRuvIrYVYihshAolM+2jZd76H+/yigmlGD8NaQsAYloLh5Asl+gaQ5ntdNGM5Jf1/5Tdupgx56oK4o6Axc+DW43jU07vtlf5iv5H3zpjKBmmUtG251InoZeJ31brfDlQWUBIKlVNAqM18mii7o5tNVsm+GkUQd4MghVrui3eyHaNmlxV6gN8agcGROrqYP6mfSn/MsScMIOCKfjLLw48/n0yC3r4EhgHFUAg4ZGG/AR4nrciaNS+8JUNJgrXX3U+ndvTODS57sX9rmqj12H4MF9ew8S1u4WDgUY/RItVweWWHfgoYaef3BKa2jUJ321vQR0rV+6Tyv5hI4oSFiykjn9GMcpCjIBHlNRxwy52UKOkcMk2t5NBQ1MHSC116FwpM1lb5eqscRqJisEHMxTDfqYxRoHiwpu4DnJv6PCoEg7jqAhzAIpf/sNX71QwXq+0ylGzE+1D3bhgVGsy3TNRM7sn9XaoL5KLuUdWPo3ClYD2eOB7VNNptRJ8E4sye6j19WWjbZVDEYkAUMoQVyslWUdqBviOLn1CPRDgkuWEx64lv/cTVOEqTei6gYT7GhELpZxrdveBcw5zAKc0gA97e7neWnA3Khx1w71LV5gxXvC9dtcbdX5ITyqKwvPf0tRkOYwMlLAsnR8FBV+PwZCka7Gdc97vONQxAXfQDS9Vf0h9t2THpcAk6DMEFmxF7cNvTxV8a5BN2jc9pPcy2Swny1S2SA/mpG/c/+tNYLsbvX9BjcFOn5xABy+W6qtDeYLEGkWXpu5Ew/88WmkXz/oP4Ed/MVr2TY9BRkqexkX96O8tGrd5wdOcV59jq41Zr9noboNoH891/tr8uH0QJ+fij0ncExbzGarsQ3PhD5rIObroRC5zRAUysAkmtMjctbI98p9lfDFSkBsl6fgb7flJwrDQQB/OI9I14ZMBUTHV5roHKUXv6yLpinq7ED7uGVihN1GHeg0RHPAulX34La0YuQx060Eyyupc+LyIyFOxk6YGmpsIHIWo5HqwcYDkRtCIxNAHb4If+rGJDcjjN0KDaza5HhfrGjUmdAsYKoiIRkIwYFIF6l88AASXH+by6/U1SN+CVAsUsuCk1bhjC2GrQbcLDuK+AmnlbhdqlO4jkQn1SN16jIzS5sHT+d5usV7sWSpsz+k2s08P73p49QGIxM/F+LTWNO+xC/3n3eW+6qLNBCbjfn4X6vrs3fk66UHWs7vAxsap/OJEv3pViQLJL9iND0mMSf6eSkuUaXmEemuzWO5SAGQ3sFaVt25mcCU8+M/xMy2x+7Ztu8FLStUYUeXbbvJjvq8//RcXy5x7pHah2vkzoquGtOF+3qwqKg5BjZkMzFH9Y9PBGKfEj0AGmXOOW98fl72lhRGxrapJaz99u0d9kjA4MG2qGGhVVkBUCn9TpTBmPfd0E9fzdsKE70vV5RFagGWfm6kslEnZxYTRoWG0AuDB7LhSnXtn2eVitLGTT8ZQsuDN4lkQANpXSdKryYC2B+3ydiy5DMSvBWnnOg33fp0+8KeyquC1PDj+2KRuDeXFFvAxe6R/w6YK6uS2+Ordnjy1si3+UFFIzd6qRRFnyWHdntiicDNdZ2V2gigkD0Biz2dWdmFbRam7nzkC7krNAzwFdLm/PWKd71KuRHUpEfP4dlvY2R2jUdtI8c1fOU4K1c5SCI8FkOh+4fLI6veT9H3JDo7GYQDUL7s7uTBtIp4rIvFBIIcDofHnW4+Mpkx77F4t07y60tBDqX/qZWXGtSAk9KL9Eqvq7aeJgIcN4auFWxuOjl/LwCJkciIE7psTyKEVmetemiVI/es7JGOjwiymEkTHCLjEZn3Yh4pXUvCza6RkBxx/vDRauC8+c/2d1jfzQlVzLMu2H61KM4W39MngLQECrrOF2boHKZg/Ojm/9LzI+03taUh3LsD3r9tN0xbUxoVyWd8jtT6VPt2xQ5dI8agz+Iso+GRNLSnMx4ByBIm6O9EuXoTybqs8z6P4ykzm6Sih9JufDlKnEM37jTmAJZHMK8dlfcsGGDSWKS0ajUbV2u6GlQSUuuQ/tWi9mxONhgtaffXDhA9TeeSzqlp6oUkgAvhiEPuWh2JOnmmB6ZgkQ5lH1Ra5WqDu9qD5d0/PCBDAo8e0LBdrqHhsBXUR6oJahlCL0RZKjVe5jcAvTgn7kBuTFH+L8zozSxj345ULWUdjK4p2k/vFo/fInTVbrVQkub24bQFFO6lLrA3aWR/XZFII+UPMwD3qG99bKODjLEqURhC/TNvR7Ypxemftz1+PbJwtxaqRePe8DbMMdi6S3c0d/PVV0DFkxIFwtf05uDlxCKoaY0/h6IEHRtrek4z8K1KMzL3emwI0Z4bKtxSMgo6ulhDLNu9EhjGjEUITk3PqF02ojUU0py/igG87n/IBxbZPwm6YjtjUItt2/N+PS/+93FHdUf1bD5/kg0hgcsCJLIoXXqLUHj36cqwDxZjP86R4QNPqrX4m8qRNyzYJF4qmifO2nc3QFbNn+e4x5guXLKhqIvh4aBjDqWZTc6pXY4avQ2oUxuJJVA2192cb59+pfb+H5lLuIvHj6m8nmgQ9mGHj7ZQ4y9tc4EC/qWXAeDJYAv9Xd+0qB2v7SkeehbKmrJs2UHskT36r8xHP0RKIwo1u0IxBgrXNytfhuWguCPV5q9QIQLP6RSQYoWVlVdVl4ZJPeOOhmq3WlmugzCO1v34iq6glZx21Q3R2JupbPrqI/3oPDdXWL9eN8dZe+m3yGMctlv8cbmEEtO927jBrib8oD4Vdgjtc3aR9DP8wM69F0Py9dWvQKt7GdIZ2x2UVbIOAtepGn/Dkb/rbxviJ1/dccacyABd1vXHr+ybmF3tlDfzX3rT2UiVkaTnDQu5KumkL8CqDHGpQvP1zhZfk//Q9TQc8i/fChE2QH247+KB3r3p5stMgEvAawmbyKLf0An/b/Xde6cfsyfG0qIkJnqL4sPji9c0Oci6a26lFuYk1ptyu/Qbxpb31ezAqa4j54ZLDn95437drbdgYO00skRxubO9Eb28qQ3hJp8yvLKoTwuNKje4I6cTK5gAy72NDHde2ezzXeSRe9H9/BvnTqJCHi8ftOr6t6SHcUR2qonDr41R/wCks9hY4LXD87Mq7zWq2buT1G4w5cSmOhGuSJ1qHX36I7i9lsnYhmmKHKz0JnwUgS9VMLuLeLaXgYWvLndKBNJ83XUiOcTdN8qSGWRhpNFTOO92siWHLAsVuU4JKqfjIkkPtTIRhpSantz8twSu3ofox/e6jvpzgYlH4tCmQIz7dFukiTc4+n/d6MFjvN0cm7O/HAJA+XoBJte+3/zPN/v8ZRpKMZNSB81pviGz39HJsvXhbQ1c78PyadkO0OcGgCQsw1ox0M4pSwFK/LXmB5HcihgUJ1NoCTDtWAXQEftK0APvKhvvDd+FiG43mDK7q3H1mLVR2ZcqMbuh5DL6Yvsz6LGQ48geRQpfxPdFceyaXM+nCox9YlMcyDNP6pIt858kC4YZ4T2u+iqBsn3RJ3MU0be6p3k9vnZ459b0j5/qnW0df9/hgoN4Ocph7/pBolj3cvSXZf9IwnCF5eG+IVJxIPP9ebD5rttYV1SnTkTdDQJv3EsUY+bRddOnDOzRDYzIPySxQMtIjsuYjKh/kuJJtNkcXv+TrGycAwnGdMPNc3cXKW+NUrp7f6MUkmgZW+V0fFnDQzqz2YxzKYDnHeqRSzfkbOjckuW12STkzDL1xRqGPg5GnslUlFyrwyGkzCkmOYCUMS8gpGRw+eXD2v1+0+pCDGEDl5BADsPJzGeFL49csLU7qP5BelIxK81GQFCxVWKfV89ANWNAsR2E4oCvbA+CqNmgt04jvoaxhdHRX2qBpWJdXws6KBcKfGa/bdZQ57ff4G1Z/5lnyF+8U/HPZuvGxL89DaCASvprkfIowGGEY0ARotSs/4Pp7d0nfqn0UmxDU+i5+sEcWEM1z1LVqQu00c0qKG4lapqzpgY/MG1obDm0r/C43FruhRd4dUbsfbJf37ZN+eWgzGZayFwN2rU1FRBmXY39b3UVi/tzBlkKqDyONafJeMPb6CRNTc50wATqJMMkWw7emTtSLWdZoIe+YmNjiKAhmgF0rRaWazIkS+yr8+piABqcYZ7TEf1RRTRG+lGQ0d+93TcVLYcR6KAxWNUwKx3z6Mcfo2gy/nQEh3id5agEvNHo12onDjpbibw7VeVIrHevkUHooWBOMCevnOMjLMbcstKE3Y2kD9kNT+ZzzUXnUvUJMq0v8NinIzNHCIsR53iASb5Bqod67ZEuUDGvtL1pwHvVnS5DP7SMlnHKAjU8Fyfr/rT0t9+M9zUQIHzORIExABU1fNlTg7Eh/DtTef6wLo27wuYW0UcQs9Ni3HWuJD/KRAufs3mz6TZKwfhT0jEmjnaeEpOVmr/Tdg9fKG/AL2GdjEim00LC1Oj1kfdcu0PYExHQYvZS2+ZPhTUKxUWYO+A3A1N6n5LLcbUtNd1nm+lTB2BxP3quUx3EI0riX9rhaHqpKGb6hG9qa2PmpvhsbEbPdfgi8/tJWk6zrsqb8UB9sr+/d0oX5np6uLcJcN0hD0i0G6cvRwgjJ5Byt2XziwQJ1e4HFUfl7c3hfNpysKVK3YRrdSPHQiNA8ck1OoQ6FUm/mNRnUXQZSt5pDLpqA2TYZscRQ5tu7jXfhszIAzmBRJgMgxUx/7JwU0tWXtaWwWdRz4C383xOtPPttKTx9ZrQQR+4srwfbvm53KuajKA95IzvqCyzdC82NKS8hP6RRoJ8SyqnEUQ87HVQN20bhnUVvBeowcKEZTizmxYiNbDRZ6LgXRZ3IzfRoF31GkwQPoXzty5R+K9LEZyp/CYirRbHtxaxHMMF9IiJLaQ4LPIyeVQUhghkX7f0EZcp8l0Mv4MgrONyFFcLz4FdOp48vhSCMIVTHLOgeXTvy+bhefGSQS0AR9awmrajey1X56zB+YTMVLJNDRlUIL0VVXcHisHoIx8LfOo387JIqQVBjaLb5wm4S/jj15N74RYiTcSLdlWVD+nQMGzGzkfFFt8T19Fy4VEqSi22YJLDpf9pIi6YOFDFF27/6qZzkgh98kAstg1SDx6/eOz4vse4xwBSe2gUBGeF1hwVBeqFMGuW3O4qQ3BDufXjFw/s/aPELN43HY7UWx2vVICQMEO2Lyjx23tseEFvR0FAugtQNBLeJ2rmEi1GbRs6/BfXHYscCj7MVM6RLAk6wRRTwLTGOIgk/rVMLFWYj53sUz3hDDDqi08Yc0o0ZdFnHvgv/i0C7tsDosNZvl2b7zzrQ0i9RA0gL1t/n6mgqbYgJNQL4dga7FJBxOzXBA7KQXROIvKkrrMWBXnTtaUe0QDo3PdGKTFY6L+BxhZN3EbP8PNpKe1guVP6/E0OCYFpsNnMt41lJBpGU83KhJ8vHRJ7Mv1JfVoMpJzFcAiWcj/NIv7/WNL9l8CHPcw+rkF+SMvxbLrvrOFy9/Usjz62fJCN1esMlQjQ+X9GYgZB26PbGthJ90xYnUnGzxeES2cnWopJFTaOD7m4bu/bIBHPtZ19j5cjR9pbPKpiWC0MMXBfVk2/tLmFZ+HVqktmi301grZbEtTj2Z29YzKUoF/1GJtRo0eZlCucBBXDg5FwbWYqfVmYaOY+9E6ga9TxpyCqzhtq6GB9/yY9fCi6yM4/559DiaRcQNQvkyF0esgXqyPtzZJ8MnkEIarHKoMye8zfYMz9ZRIc6/Qct580QHM1ZPQ/RnMrVGhyMcQc4KyiPayTE0mZWGEyphNGnOnyc7Q6GXLQSDLm3wRQaL1iULxbtZUmoDtUpaKK0fgmW90Dea94CSmirphyOrZ+i5jpS6oFIxNtXXvFZyP5yUPLGPNeaHTwQYBoMuNcuFwkvb4eSL6/UWMB6z05iMokqjiqz+0yzcmO8VL2dXvmVO6/UKGUz+DDJaVxzkyG/6BCpycRmwiqHDCXljPCSpfZzl4HzTJaiSap+EZ8F6suqThsMzOwqyfMC0sxNKaILCm7moWRKUIyrO8LVrOnCZ1CA2uMAlQP2SojUKqe0bUWuTlKrWw/IXQiJk2pIWNrdAyIv4YLFIU7u/+3oOLbyLDC2GZHFQnoyHqnKII+KorqIVDsUMpTkPpk+O5i2Iwfwk0tc3u9mEvQwTqJ+vaSJAoG2eik8UfqbqHNas2k5vh6FYUBPuA828mQ8tyu5UcFNRoH9scSJPDkzosSvDMyJ3jYYwM3mxniO12QneKxG2MYO1j8V6qnevITkHvORQD4JyrDAn8F3GtCgzT2RzWVDwEOXhd+JQAk4B3cfGEjX/fWplC4IiXfyz4dKkDGUOPWCUZ7hYlLcFy3GLlB9gMlfr6OKIR9qT3jvdK4cN2vOAFMWesktWkWI315RRK/k1TW8duCU47h6F7hOQ56RREhobH7nI2JGmIhclmIkhK/lIR7iIKpMTLPm9BS+x/yJD49eMzB7elwPVYgs1Evgk2YHK+RvbFHVqQ4lVmksiOiImlhzLuCyJU+8ij/Og3340abYh5FHMAAjAGPaJni/9GHygY1pP0NShbN5kSlP+INXQACAHP6Wrilzw/GWWrxv8PxRG2yiJlLAyALIOMVpELW/HG3hu4EoOkIyJH92NULX+EVyX9+0Q9FwNe4IWWmZJ1uIdey609SqdIU0V69eOmEv2tSr7/u6wuu1WDqBv3DgcIuPV2Qsl13cVw2sq3MGc56LN35KpgJcPMQI/bXw/BwKElivvYJ9QqyN3NDx+UxX+w7UJen8oBfI6DwJ3hT2T7LBTScnLiJQBTRlmghK49PWMDWtPUTJWd9W5ER2mzq1O1evs8U6PiOJYRfBi+NVzTtoPSflgt1DT9FqDDytF0bikhQE+WwKtfhCOEStq+xt0B5pXMecetxXPepFHaZg8JTVLi0kYRqem25WdqoXiQALYxLRvzmORPZcnNjBAI+tYYGGug0XnApOxnPWuKUTqH45+4Ha3H/Ys0IWnOslKQ4zBKRTxiK/bsnBD6xeBTxcMkuGeq7bGjBNn64AKiBg6kFVxW2xN6q1L1m2TUCwFeDpFEAd8OtmS9Ddgia7CBVZzow6P56PGbQqb76dPADn6hdjFW0iBjKU9zqhwqGZPmk5OJ7T+vcEWi0luE+cg1/lB1g6qKNnDytonNq0OLqK8b5ZNUcm0m7nTy6fPAyZm+/Uye6QBHN0SNzFy4BvKfROmbgQJAU45kH62pak5D7nNKKWNppUhxOFRaJlWJUntidNid2jZZZAdB1AUYzICWbCJB06t9Wo74ZQzlnDZUcfyq4/jG7ZGooDtWM9OXNMXc1odBwxLUZSEHFXi6lR3XnjNYIyOTVy17pskFOGoRE2FnaBJwS1X+c6pzS75zBl9vwZE7st/yfv81UrnZncFPawgPiU2vm+cVjq+/gLJNCltp8d+x2PhhcDHLQvM4IRYsI4u+28UEhcc7e8MAoWXc7v8TGHthJPfjZYDdWlQyREedPvhsEO3XvnxnNUQzHH6uOx4lsAWxe/UerTNBzctv17YTR3a2d/rE0QU7C4a20zGHjvyZTXdsgtyU/wmGYxlqyrsd3JG52UT/fvrIRRwWavLGMIALYxftFY7ZmczHKlIUrhR95uyyMuLY9G/O3qbyjknJjnrveSp7/hX/6CQnBGG2xwempBi9g9aV/duSIndH+xAFvbl+Fs1vXWWjipZGJCISMRr1V2EfbgkdBexzxz984+Z/vvUYNF0vQt3kmCVXRLYPlhZ6A5Mo8kQfMdGyfM4iegcYzhjxdeH8QoU7qCoY8tj2BMJVjwHkG3RcLcogN1BuNAb5TKFf9+7xFmt3epEAs9Q4L6c7K26UxDj0HKKu+tsRDgVlk7++PRe0WfwBSs5brbF7MPmnhsoHIZzWjAw/Eo/I2eyMQ5aed2pu8B2mz+lo3dO+/ABDdK4n8pIpODpdKDdTju3cJXj4BCfbjLNExTcGi9Le3LhpR1Y9s5w8CtsNjh7vEQk8ipsqA33Itq9K5BS1iCBtCGJKN7dzwo62JsXxDfiIEM7FHDuRCaAZ4Tv7xjeP1n7EhqIv/Q5sHm1DHEqt2hrSl707heIrRWU+rYiKi20udiymmb0CX9XZTwQmrW1L0mXLg6gCc5MNVjsltU+GbSGN1irXiqYIgzw0xg/yc650y2BFQ2IZH4TJxRx5cp58iWRD9Yp+8E2FZMBbO1ClRMOjB9+FWRYMKCoavpnL3kXZ0PvJaBX3q+B2rJ8eaNBJUdjdMEvrupZ9IJaC4N5QOyx67YG31zn883OJrc4MQ2PXA6WGERgd36JFpeNltdaca6CwWweZ8gdGffTMsrfGVC2tBgCUhFiGKMeLciAsgg24uF7bXKWePrJU9LiTlvjMVGzqaDVFvGxNBCqmKyk+elrlt+GWAU0aEmK70eiCdlojz5FHca8QUpfMLIbctmNH8eKbIT6ZeXdFksGAqQibVBy/QC12GGpBQWadcTPzm0tVGwbdCSI9kiPWZLG9+qJer58BFbEfkmOwIy8JoHZfuIVWaotf89KWGweWJI08K1DGnw5BpvkTUohHtSeV0oXEbBzgjfbPiQfNqE9nEhIzJrzcQo4EeoU9odXDHLj77Aam2MrUW1ImENge2XvXKb7qzY86osVITiT9dCBqMFx/vHMgDFepRwbP+xeaKCCQKE1oqfUl56sPcFvYYwGG152Ly6fwF203jS+daE2j8FUYUvTQ69xxLc2/5JGdN85ZioyChVqRie3tAptUyblfSQLZFaS2dCvxo1/cTlpAzR3cMP1nTwryJhztQ92A/bEGTo6uxzYQS646mlkv1C37uPR6rpBcYHuWsXuDKCDRpnmvQR6qwQC0Y5wgxCh9oCo3qVS70JMDdMKQyyIWnWpZE85ml9JRZWl2hfelhUPBCC3ztNT1o3NGYloR4jzxkvz1wTpO6J3E3sO7JvxlqyfCnRSS0p2t8ZhVrzDcpF/RszZuvs0VQH52+3znFfO4HE1ysrm8g1hray1e9Si+cYUKiW4zDo2Y9dokI/ZgJOiXDqUVSyh4DwL/HlxOHVqIPvb+hoH6Z3LZG3LpCo8xNEZAvbS7QmLoKtFbLmjd7PwepFpMfTbs7+6Yc7KDJf6acR328DQcl4Jk+oHpKdu4n1V8i4Xyr4q/RjEx1o/TbVekY/ygpJRvH01Xh5avdr5+/O2ZCRYb5AP8FaVF+XfDei6xIWVZUgVlTv5FINDSU5kPrZ5gAB5f0HcVSaX1QqkH+0VAaQtC1DcONK5SxQDKGl+lLEGhpXIOgeOIwyhn1nH+WszkBimTyDgVXQj3MmrrdS0cK6JS5wUbb+4hbcw6nP56nHGKvqYhPp/vojg1omscWr1UdHZiG2HhM/qc9oLKsrFeUotZjcgsxkxoyt+oEroKAGY6LE1cpDero4WeNFi/hLOxy/LEINS/EE2xzrlDMgL3wLo7WjvqQ4ogW049hB5WONCH+96JQQXoEsDVRBtuOHzll6vzO4TuUtdOR3FUzR60MBPwem3K9SKyCj5SRRX3Vzfu+mD1Y+pnzsh6y7KX4OEBtDXzjuQfp1vry96CstkG9afHJL40jpUYO0k3WaG1P9K1OuHJqnFrbgle/0qgmOgbXrrLDi79oUT+BrCBMssbjNF9iev4yiihDUTW9+qZ+FpNic6F8YVKHnhtEHh2GIcknZ0teXWsGd0cu1FgPc7wpoc1qd75tCJUp9r1bZgIi04cVCx3hCcPLYCuKqu9rbfGB/ZURFqlzB8LXYLlOlL+pIIhI6U4CdRuzEfXwgSnbchvQkBPu0HGXG6JhC7bbxaQLc2p8smLuuBQZB5I8PsHUyOlYInzNy1s3e7EnXTqRPWiv9zyvUnd5WfBp8Pv+eIAxsmqzRLFMoCTG9QHwVH2XepYKrWKyVP8vBazHfAtnw0akC0yvg6ZmXuzrcKv+5KtMGZZrMQfwZphAc5NvIf65pfNyERD+XDGMFMzyG2n5UXmx3bmEE4B97yV9Kko806FF9Ww4RFPMEemUsTzi3gqKltH2QpomhoQ50C8UPHu072VGNUoLd+mBphQSYvRzLoG170E4R+M98/hS1X8hAirpyBwfuM59StAZG4Yok2WdrgQKbRCmlyFSCFLfZLLUDwwXfYSEZYd+z5iFnkL8uAzlHqVknBhRMu+DalX+IByJk4UJyOz61eLlLXALtg40FBQyaYiUIeDslRhxFzfm97NErJ269QtaNWTF7qpv2OXvQN0Wirjr1WCYkUcC7TKtqkurfXMamXQ/2saE6Bd1MyvJTlwXpjnbxjIIAKtzQrpCXZf1LLfqf/IoegHKEb1TK9hTaOsKoM4uQH15kBwGJua47m3YPFRsu6KWxL8gbW9ZcCMx0MwfktTjVfiX2XhrtWRUvzdrl86QQ16ifOTPFOfO4zxgYLZRRvTdqMOCtscG5AjSh5lQ7shi+YwOqe0ipsgSqBDZeEARgZoRe/zcbbzlWBmZ4AZh+vcE9lxaHS0I4Nhxc7TbvrOOB676jG7xygWWxm4CPtPJ+7VuK2Cec4m05tWxha1v65Z//6KbWSRuiCXazJ5K3FvMG3+uUaL//c/W9jSxLQvbnZwvQvhqb1pJC0LlFniu/hzKgGewJgyfgUkuCk40URRxa6byKb6AbqZBmNbJdzgHe1cnov3/Iz3wH1CIsfdlfikqu44SCyIbQFoU74VoHCl8kc9hjDJD427eerU8DHdPSFKTmN3JPLWYzubxUSuy35sSUPyVqmtnQ98GVM1BKoYddDdbbcWJneVB2+gDUDpoRQ+oXVk3DFB0aQNOyxwahVYey158U20A5lBgx5nqWuA9az7/YxtCwCWGzvxjazC2bLhdp0BJdvmgIRpHPGjykJHUmSmdYG5BFph1LGsn7K7CcjEcQciIvG5y04vilYnBN1UwTSP5t2stIr490f80C3I02kptOQ9tgc4Q8JZfd45doh3dJp2/fKvTmkQ+6qlPCX14DBwKhzMTiDO3IUhnwKyovi3VKfWyX4LdS2j8IFwxjtwUWbZJ4v6ojmPrTPy/XV3kp3z8sa+IoxRKbuqU90xB+ZwXS2ySuYsEHAY5hjlrqlktRowj6XUWOkiFSMj+QBYrth01ARPkY1L/s26apstd9761Y4fSNUXLAiSHX0VyTQoXZ2PUAd/BA9JEZKe7xNdc+BuMprGOOFFGZig4t4nqtvOMgU5/esImg+tB/dhKE0W03mgCFR16Vv3Z9+tR/EmFMbt20L42zUHCuKkNJ6f1qZuo+K6J0lfDtU3tCln2MXmWTyMa/LbqEe2cyJTSq6d16sExoZYhZC7i8PfBtOJUQcCoksst4udfDW0QHdV3IgaovY9IAMlA3tyEnH2dbzrJtom0fsrTW+KIHfOgKB8NeRQAWQHYpy0qziKKE7evDXCfhzPaZhFKitcQ5FlUiTyRFeIazbxQuJScnXGWm39wghmm+UOGzrDimwpFPrkqAmwezKhvXALIQVgv7IMRUf9gswpQq9Kl5y9UmtBDzpNOgypTacIdP8CN+dVDCrwkdFOjT7BsdkWeWsW2GkkzOCZ8kWTsZScmqaQJaLCnbLjeOgGy4tBS7uks8EOkRNn6Mjv8s/fcssWkFHHzpAgqJTvbJ18/rat+Ei7Bhr4jcX5BdBcN2NzEeoQ1okUYNjvvvZ/5DxBQFgcXy4jVMpYH9863NAxEuIIsZheuKU8agHsSocOnbmzPqLW64xFGdmFGxT1wh1vSRkvwiqSkcA6YWXXC/38CwnIspe4KgNXusVix5q5x2mjJCvHW9D/TOtFpu5H5pYjPdqY0rRPNt0IruqP8Euia9qPOkflVkoWzQHLKYHAwxGRt86LhW7jQJQ4LA8IEAKaHn9PS6fDb1PmOw4Yc86mtH1rZ+gisRxd7V+eYw4cdDe7sSc33UiFZ0p96Q2WDnDYphgWi5/Iw8i7YVUcSntobhIDnkmQweXaa9EbAsIe6TIuWIvDOTL4u0SQwOfknH2Or/qs72vgkJqNlt4ffK7v7hFX25qiuVYv3fSNvCPgn6mG+65ucsuYjAhOPvJ0HWo3XUuQQVFejJJLwigVbl1IBec2dun/HS8PGNKJLbnjbjVFjfDX9XUqafxBwIFstNRSTxwmUiB3Aw7rqrYVBk4qHOyTZSNU7o+YpYpl8Owmww6m0EkwXHW5QEngEUt2d3kq0tK+LBjBr1psXHsi2LgRD5j249hjLMw8DugbwJPgoVHq8kX3WbK8TuHyboPYv6Zn7HK+ojs1LNYP4rk+YAavPA//+5RLgdv8sVVu/qhNgH8U9/+OICx+K9ZZJYgfkTE+1U/vGszDjRVsbd6CeglpbQcEpdFMuJE4IwNJKY7VJS69qeMNTGZXguWp39EZwb5oIaCB9MB0nHcBN9Y2AsbHf/05JFt6NtER90WCfPZzQFHX16XfphxbrEXXMWHA+BxcUe5jY3kX290Tgs2BduunC8U1tIfmRi9qTN14pRT+VxcffQKiGmE/46scoB6e+DVyYBpiiHzsyHImgzoNhlJAyTc1Uh6Pi+7WOW8FR8YcDGdWNtYzTAr/HCEEX/injLT/2TdLMzbEAYqfoBtWcFUIZGkDj/QArl8lXcAXRMaeeNzY1LdouUs0x6Gvm7OTbXHD6Q1jMuffZ9QkGvSdSG4VEixKIaOrQUEMVdJKOtkwu6bwquVKZhViEXqWpqcARJ2gQAwrPNnCotyvuSXUnQuwo75Q8lhnzD4opDbIDTyei+O0dUZDphvaacbumDhvAgkn+Kyt0OxDUpxC2Tw9bveWf916h2r+DOZ8kSyNM0N9XQ/J0kFogkeeLfbOdLBgioKvj8ov+7v0pwjLqDYrE5QrKMhK+v6QJpuE7ynIolmZBG4Fo8XOl1v7rcXt5E/IQw0l8hjit8B74gpmucqQBeJHwgt3LuGgmAFyMzB/emZq4o8iFmVDhyjLoz1E6Y+EJa3IvbjjjRf7oZb9aK9XoL3fz+ssM/VDjLoaxymkQRmhZUeb5iEKH6VDsrld9gXySGJKgXsijgu9GawdGHPFG4SxrofmdJiBeRysFq3oditqAjDqamz6/m4Lmhbm2pNvTFRf2wuKAQlChmsP/+9y8eigDwOjcgObUpqIN941QI++eik74+k3/OkLM2YRtuDKfaJcab6SDeJUheUc6vCGZNnuKFro/5BFFxXNlSBCR3ADYehEpvGn7KsxtLtGuyJSDwSlFvKsZloO08RdEN688TKNJIHWodEElBkQfVd4sVW2j+YvMOaLhZa2XQ1T9IRKf/euWvoqekayHKdI8fwBPd8a6cV9bv8OfD+zlpTxHrrqZLfLiuNLnnskITF5V9nHeWnhGfOsMUae3dZP7nsvaJ2/xMDGLyWhl+OdG/Yej5iLb7q4iFzgafPMO9408LQoefDrIuouoVQh3xD+ZTNbw/Knf1lPnvjoOcTuMD+/joV0XNBIx/bycd8mn/0xCTKYGvULz79M22RqaSQppP9iqWEYydwyzav2ZZFL1r1Y+KTIE0JNsxkvKX6/omLMhuBiwTNNkDrbrCsNizjFEL5iPV2bbtCXjELBoEmsNurw5cmlTEovYo3bRv4lae8xhLLTUA5jwd1BJAIoZxLz+r/KX4v+IOG/ocC2Q49rJ6arl/MrHayXS4dC1cEAbTKKBqwFwqXudLC23Zi5f1/TJBvvowwelpONwuAHtZF0PI9WuFGZN1XemF5BVuttFjC0W3MtIir8XYkaYMZFAvU8QZWmhAmbCWLW7qBU6UA4us/vWW4+7OaiWAuXXWvf6dKtJTp4L4D/Z9GvL5ikVMiqv3fMlfXy6P2dvTA+FqQ/QnVEt6zF2c6JE/Wmw0RegFGjFtZY+At1VVQ4vm4Y7kYNvD+q0k2INV7DG1G+G4MTUckwlPXiqPN30gY1KRMe6xkVBe7W6TZAoH0mMD/dZojRPsEbaqyDjH1BmhHgSD8DdeCY+zyiAbrY0HB19geUXIMqeQLHpDZUYn+EYjiEv1aKx5CRj4EYkaPcVEpcFGD7Ro1hpNI/nZyMUMXX26GZNT+dsMPjvKV1IcLb6Ub1pzioGeCVFyPd5wXm7+2gf7duMIPxdoBSMcHqCp8nJwy8NgGWm4TCahijBgRudqzxJoDmHGPQQA+2dANL1OCGOww5QM+V2z2iFj5Fg48lnQF0jlXXhMC5a8ddtX9Qn5BBfEW3oYwd4h+YO3vKMTPbIIo2MMW4sBSVkUvN95A9DKLGzkkQRFqgQv4AlBDEFCyKrcbRdSMUfaoq46dA4+CjhulAoe/HFq8v3hFSj5usMdybGohv8GZJXNyyJr3kQm0QW6KkuS8neqBBAWzf8l1EVdN8tmrTXaPT+9D+mxai6VxN/bhmrJBifylYMLXDP0slOat5fgI+LaUp6Rio64z+7SZ8mFSbY0UlwifM8Hzd28Hw+ZxWBA9MkJGDvChKJxxLYetMtfWfN8XivGFoocqZqV8dgJFM0v5jlklHDHjLpxK5TZXRMpYe3z86iiPCYI24r3X5s2OqZfIwfYh86dEoLOID++NYDWuRHwdaDQ3lEYxWlBquPCZ2t/KbcUbIB5LPHffTTFriXjFlkuBUBnDc8BvEBmSKpGdJ0Yr2B2ZTF3KT09m296F9hlR6kvtI28ucJK/tKGTUEwAxfozcZGJiM/2hOEat8/XDxt8CEEncsK4b/bG7Nh06foEl/gAFiZHaFRZ3REYIwXxHmE3oRT8vF+ov9pNyFWFHjnYQ7XoZDjWCd9UWlBUAnM64uINzQqOxDMg6FUf1tCsCKeftfM17EGtCYFeflNOWGX+EoGW6hw439sWorbYSVxlJrFvS/2OPegKf29KGK7kUHxLFkM6dbph4i9e08UZpIKx/xduQwdK9WkmBXt+t4A7AZiih3zn3jha0Pry9obCtuMpLPup8xSFeK2uvOs/NwtLL6l3FS+Sa5Vemo4RjtKybgwH4rlczdl/vV7AlqVV/j1cNeOhVUKE5eipEHSRCH9SIIgr9LpTtKIhrdq8WCZx/Tgv2L0DlzLxVhuzwX6TyMTvwo8C25oHJV5bZKH5/SDpZfUHEg6dg0DlZuDBwg4iZBBZOifEUJ7bfFw0gqqklaHT4bqKrSNUlDx1e7mX46QfyEWZOZ/8oVGmt2sj4JslfQQ9nwNem8m/GErRP6wi0vFfmPEt+AyW/UihPbBDDgVdcTVwgf53kYvj/2X1M8po//XMNZpgEAUQXSIEdJm87osmz7He3g/qB+cpq73VppnwXu05gh7OQ+GKxz0pgmZxkPoJGa2B0NzKGmyadSXB2EHTwI2kp4mj607/pGJRe7j+xCwITQmX0KXvwBf35EQZ6ylWOsdj582hSbL9PknszpQHOgwTs3JyL5jOygDY8M5CECQ6NytzFDq7VkvamJSLQ6EZNEhdT9LV/xaw/zl+EH76KUn4rOFlwOf2GDjiVXpMIKtqu2TShSUEOPV53/vqRX0aK76ZopDRxlqaRKpXL/VCgZlGJ5Z8V447TH1jmptABeHwuwTmOOlEiA0UvxoFedf+WPuvNj79ElC/fOibU8QDtA14O95Hb/UYPgMZZsR9XmvhUr4qUcvZUIY3qLdCqmwQ4Q5BvFfupBDrAl76ZXBqxweBy96+QcntQwfBhLsz5t1UgSUcUJwds8IJSFc6ATYRKVT844UdCZSen1hcPvsuYiTXvqZok7GkKMy4zSPNftrUfDca6ZMUAJBDW/NokN4TjqlthMmNILKhXC2PN/Wu7qBTBxS5flL8u6fzpMyJ6TuzN/Ezwc4UeBRd/wKBdJkKUS1OhzWNPWUx7fN3Ok+NL5JeMgqYa2NGVWPps1lVwvkftg6BZae+GkYSC06KT23H8yMA1mtoX3IhoVupoiTSGNlwuc0at0fLrEDcMwE3LZaxsl/FANkjMovECIk/CxSNppME9m0PXnXp5g5Jp49dysa7F94Js8qYGKBxcyA5VPFRm4ETHZwuYvCRTh3J3bqrKgIPWxdS8l2/2oQ74++flvSLTRBAgthwilHJ0cMMgb+U7JAAurwW33HKsFSFFEgNl+rb8aed1vWs2Lv3ft+LNn/3RdH1I2R683C3zlZZgj5bK+M2zgMBxQqER5DoZVECaMH6uEk82MzN8t9JzzKC5uEtfE8YILIFlCwNKX31liebIDw5NSeok3//HyO4Lr3dUWngZDghmvQpm4QH7ZKCgXNJjuy+9NnY1R2O04aLn9FOwF5X15Q6OjDdFOMnrJ4257m3EeF00FGJkUKsh9Q55KQSeJDIbBfaOTMJk5nGhVEFDtcwOEpO3p6bjS7nPd6OWB8AcOvi7c/pbdR72Ym0y3XkpuBEUMhD7Vlhga+XJqNWchPPo4iPUkUJ7AIbuDY/WEUMLHfkxxwhE46BfQGwxHpb/DZEcyk5JPZRQVKgwMdA8FdtFlLNXAjgLUaVQNygW11fw9X4vZtDW6HTNpXAkN0WF3T47upCLQWk89XrLyPmc5ASnurFOl9BMxg8MnPdMeuXm0uz38i4zVhzjoz/nwSjzBgXKADXUGyT+qcaYzrEu8Vbt+H3foGI+XT4e6AAj623gjBMAchOXpPDtuUtn7nCS2H0QNOEjAvJOReofglZWfZyHKz1U0eMCSZgVR8RtTA/k1nwbPcg4HCqxrsCzffP17YnjIPjEtGI7EbLrCTLjOjUMOBzsZ7cbXg045UAEzSVXakExLzb3HUjDUISjV/LNM2HS5DCbe3Z6IIJV8QK0hVU+9yhHdaVfgWlmUNI3jMDUssThEolTcLBwDFUmCwYca3lbUdYb0sUq/lacqeDzhQMxBDOxIARqIx+IqMLAep8PWQs/ZFFOKCQLcRuzLL7mUrQ0r9F9/Qchg01q89E7na/2GyI05fXL8n9vXU3WvDLvV+F1hILN5tZIx2e6x8Axz1viNgiQ3waTgxpm4aJSNqLk8260pLvN7+eWAoBqOtbkS1+BfaZXAl5xwpqMw6WmMmt6l+AKKLsXonHe4QZawueADdifxz5jqnveiK2uOk0CpMEC037zhouHUXYU9qJcuiCOghgZ/aXIKoNNNn7RvcD29ohZssqlUx6nswUgranR+H6AQ81QMkKTJ9u01+ngIl7kae27gozEQKn13SRhiBYOHhXB8hEwKRFSMJjNn4JQh1PrWSb60khQiBP7POZ1hcNNUwSMkK7+QCgMLDgcHelBEw33SEq6inuqjkUVrCL7cQse47mABKtiQ1xF3/pNuKfGyLQ8jE/krjoV4/E8ykWst0q+bdgPZETCQ5M9+fYaiphz2NrZsKXdWdGNIMVb3m8oXQ6QiQt6RQr7Q1fUKGV7vkPiT1f2rBryU4mRdC6/l/Jemd4y2jJCkFKbIpWEfq0IYJSsh7U8FHaPq72stX54FvGwFhoxyH9+4gNbSHq7oqMkSZqC5kmb2otmEBS2WsqMvY0svJ3wYgQvBkXr95qWd/aBT8V57pJV6G5tXyXTL/FaRfAok9bTxtG8tG5xxEzN8NnUK9kM2/iGRm47Nn2PigvkDtaJxNLtmJz2YN1//XOH0hpK+bEij7id+ItjCRmKFWwOYslkgmzH/5EJdMAdl0cDlb5xIlnYmARDsakPmRCkgtOz9ksf9Ix2tlxk0zauu58VczTOFRIE74NZPV6a5hkZ4Ns6DiKR8jZgJ1I4dmnR2t3m0Xssfzmo4nOoNkvEa20ra2KCV9FNu+MAI9ZMRSo8/efh98WL8aYL/O8+Ri0G/TBRquGp3025wuxqhoY+/ARHxlqpnWQQeZHs5V8mdGtBLWE48rVTvUhHnkHLwU9adHit6kXKUIliTetyNlWHniDPwE+axMJY+mGQ0GUzY9bh7IXlVNLsPHcA8ueOGxRVPKDGgubXqloloeMEQoA5dG6T7e9E7KX/Zh/+uLfmbfcuWCsolFXOh8nFosxmt6keO4pe+8LHC78P2DOF4xXqCqDW+IUFOcAg/CKl1/l1pvIR9TesVgfYxU9QGtBI7kAppnKL04bTzN7JWtM8yAppS8YAiCSG9CA6q0QCopR0F+5rhWx5ygKf8fROBP4skx6eMeMhMuO1R5xD5GouaPvSJhDJAeBPbpGdkYkLTsYCcwMMPj+VWJ21g/eTSCmlJIAt/ugbnAgxPSOuB8Arnjkl/ebcMkVBEn+SP3gst4QLe4f4sq9DwWmBvoSu1HxwQHW6+cllE1cSCp/JiIXZxq9zlMVga+4rE0MLTmc/XOTnnQakyjUVaTfWkEeQNkQkCZwspLG0qQ8cB5cGrWOdZ8auBOQojMEa2phzMBtYm86TSGi/HUGiIGZsJf0QygiFQTYTnrZ5y6Ol/xOUY5eaQ55bYJDxqqykHDsp1gi4AB54mTbYjsbrA2jzXj/igVSJwAxjC2vkltxBlTOMg70AdfwS4ICvRBCuPP7JXukaQig8Y3jiW3roNeIJGzETj76S9sFrwtzblBfq4m155A38xpkOIeA3iQsgWA+QRlYb6/B5uBBSSxTFDdlshkwHoG9I+8mPB4qBTgdUtEQxcMUenIXIiabaqzLxTUq2yPpFBPApGhcOf29fXroY7gHty3KIT7FPK97Td8LGT9CjAW5Sac8x+88RjKBazYtaJf/NTxeYdUTR5k06HL1B44vbOSg0neld5RZj/Qr05Q1i97P5oLBfI6UVCeVVKeJVwO/f/WMe71MKaxQJHCFCAjVh5qmJjsQYkmKAo1Qn4hNesMnAVm4uOrtyBHEiHzuvXUISFeSmhIUcvwOauj+EIurRnXleb3ITHM3EwJtjUmmVnyiq4A116pEWdGs7Y9KdiHfwVhJcReH0vM8i7+GDUDyGBWJUn6SIRILxyYRiABEiDQVJVOMTJDEpZynOiT96wKKLMrp2zEoY2bGwLdNxxxJBozz94F/4pa4FBqqOAYUNkT01K42OtsRRl5B2RTbJVmPO4f4l0sQUzMlHmHNRAkM6zBOkcwP3yPGE2kZKwbYM7bJJuQ+5C8RkhnflL6xWdwm5h27Mro4mdQKWA3utYn+qMVg8OKAN5nV+ZW0BS9EUEEKOGgg/DRfzA/luRsBaZ95Gs+hGKIuCWD5p6XS9vFwjtcss9ir71cymf2cZgE5msGxZcNiF+Dg0jCmL7cUNcQpj3Qgwyx39RoFUPl78XulT6WIZ4Kkp4RwAS7iU/GTlqgLkQv/Qh69OInDQyL6cbY7ecYKsVsmu9vXgbNxH3WIftabT18gzbptWlP1UXfBN/kraqVXd7RXcc3GjQfLY71qMzlLNt7kk0KlCipE84un3vjIszHQLSUIeWAN4p1pmFQZAGrRHPl4sg7RJmId69aizSp1/nAXwN94xUBrPzQd/PwfSHAWegVLxXhguokh/NjTKOsgnDuIZ4XFHO4EsIdEjD+GGnwLCzNEpctl+gZBq7vl5JkE1Xba8LzKusaL3F/nikVnmNjBOTZGZnTsYImtXlgmWH5EsVcSRRb9aUWpYk0aYRBPNsszS/+hXY9ifQFtWDrd51QjFrYlW4pOxoKK3g1iFCQ+uI47pcLg9GaZituCgVy7iQUcTnomklPm68oSmKe2xND1tJERKAx1Bzhe9h5d2iBHC7b6zYvdf14NNRaNhxIoyV9Z4rsbjgESUNSx3qhblQnG4HbG+7FgH1aUEX8xnlmU5iXDc3uL3FNJmEfQ+ATwPPTitBKKVX3bRoaORPKQ7jUlA/ZJrTtkFLO3xWf2KGdB7oiHyYMKrwYLJ2oXPRW9uRziPr/0hCp9uXw7s7BudQo58nP/0W702/B1Vlmb6c+YtTeOzr+srDQ5B2/qLJTGAbnmB5EWj/PJWkIWaOhUlb+qIKXp1JIM3reGI8fV7Zdizovar+mv0aIl2Ftxe39npHv98GYOAa5vrpc1inpRYDKQqNUrirnFSwW4p5uJEmylt3kIaNLoPYPMX59XF7ZEwDNTX4K3IaioXfvAjDdX4oMHq3gkV197G2OeUCahbjzZPVWVPcrhHGcea6u3DsBiHR+rJsXaAvRxxRjZbsmU1AQunuoAPkLCN6xPxNiX4U5m5x1Zxfb8RQzgszoZkdWcOPmFtV8e+KXOulFzgctEu+fxCDwJRDhCnJmNfJMFhqhJI4rjXvO7PDuA2lUO84qya7vXCJ4Py7r+LaEkDwwLpyLI3BB4yFrnfBPkkuxTCT7TTHhlr9XJZtWe+mHIAgsjA4814jd/CwHkL8UVyN/Ukak8+5Fx3RIOkkN9hHIzsbFVaZ6WYpRGMn+nPrpUr+KKMIBC0Gvdy2BP97mJEnuDC2BQQzp8nU4I5RHyq95skt2ff88p89afova02759DzobDI7WIdKFPFFthr5+lN7aJylCClWvCg+jSY6pKDqN831qox2s2ke7FVD7FoNr3RJnO1hYRa3NWrytqUIptJpetvhJvcTQfOutWT92QguTZzZ2qbmesVf8k5PtGTlFiW0f0x7furYUU8htvni8t3m22xKcjqdlJxIGDihCKVro0Y77WN62FQBzf7O4Ct8aS9zwH9axuwSXgyVimh2l6YFYms8nslJsuQPe2fU9KQGvTQqXBRnpSfiERuzRbNEoR5Ohv80pgawnz3cUB2RMot2MkhhimF9FMINIY5ZRfdLMbUlb8wbANHdmLMorJfQfS3GQSO20sDmnmmzK8eTiSlRY7wbneVERxjH3IoicuFfLhF/BJ8Jx5os/TY8gkDc0og59fHwP/S5A1CE1/7gKDSD32WOSH2+kQCxOcWqtyigehortx5eaHgeGp9K3QCEClCp8C0w6FczcDAUXaEzCUrAkxfneIo5mo53mFrlekqUtCR4P4zVhhBdc3X4zSGiXm0aV9uz7wEPgg0esV14K/vt/Wb9LkP3vnppsEtk8x58Ct2KpVz0Izu0XaWuwHxHSoivIBY0Pn3wh3CodjlebAIqLc2zq0CXatqhFuNToHa/AuQtv1ewjNgaX8Up100VENZQSK7qHxibfaqz8e0CSJD3c8lvC4i8uGqbcxH/31Ys3yJNvDQAxrppHC7rc97IzFW4GhYtoC7kXOc28KEHwghZoXdj0joIgRDOZuks243TXagLCqetfoYNb3Bkd3UPSCyoadfCkTftpXRCPyHlk/HZYfz9LyzSflzNnMrL4bzZ7aVa4d91XVivypQ9Ceierp2QKAyDnase/s9z5xmVCH76paZLF5/q7EiyBexFU0sNsl92BlxGI957j6+EE6rMVlW9pxjQYK2+G02HZ+NG094JSLNeAztzNJ8QitqGPg/S/bXNEQVXyySsvRdddWTXwMZrqnc46kCTnmQmBJ3CT+zPypsBRmyS9w9Fa2KGSZUyQ5sY95PZd0oYMrZwrOmvqNyz3V4pP6CTmvraEyXYZL2ybqf3f+ARGy68vC26gknIT9ha2i+WEPje3F1809iJEiaqy7Zu8Xlw0Hdc68/nZxHehktb4MgL9TsYu222Is7iJMRi1ah6Zp/0NxQfNIZBEEem9HKspFdKzfw3RpW/Z3yEw3xquO9xm203CTyYDuZL3Kew0EFQGZWX3HOivqxOZ9NPwyiduA7iPcKYGaaJawzttBfZfMSrlopFEAz7b45ABnS+BsrQd2XJn9NS+P8JxNGZMF63rZWC8FH1aMebBr8KEGQTj/a8VHQIU8e/Y6Mcwgg8BcYf3SBg8MBu7nN827SZfTpo0kIL3PUfGk0+p7qgqxwk1aYRwTCwwI11xNbrnuxKewpkZf6LX4YVOXAmQckmiupf8/a7WGr2zBkqgUE10agVx6LBhxVjC6Lg+MS4bs6VpJqQ9DUUP//kDjDKkLUq2E1V4wpz97OS4IEDtKwmIHZr+ay2FYAsJdi2YZ6ox0d2wK3kP8cUKrO1wJlNv1D3KDlvP2qZ6PmUkibz5Xxe5F/8zdZLdGGfWhZ3PZx/LRs6piNX9Gokz4+B6Fo9COw8B1uPVJnpld37jdgibGdakK2VR5PZa0OUeu3NJkbs48CVdBLOi6qs1j+Z7EmecDjIIOG11hiuqF7DV5JlQX/KGPCvBN/m2EBt2ZJWbh/aZ9D9v8Hu1JDvKF3DotsNJCBD0/j9H0UpUNIBBRaizGlFc/S0Wsbwefullvfttdc4Y2sxyjNvoJSdyJYixS3XywlWopHhYdFU5ebOfEpfzAsv2ymCfHgXF3yKRh5p/qAbEQQc8XLU6/grn2ntVtBYoz5F4Srkt98n+tD0RS4yQGxDNvOTP+UUz3qX/AwaR/3HLOJ9EWsGSu/lxchbTD5pDiy2gS7y2jCMq1Nv285IHaZEWRqfMIQYcsA2P1QBiGAOgqg6ZzOSkDDtLLJasivZbZtlCB+HbOHOgU+KUttoJujhnujf1Hmyog8O+bG//mGBrd1p9U5VULlJq8yA6p3cyJLPHxaPl4A0eeF2DEqGWywh3hAG9oNPMkfJGGA9+ZZ1zDfn9OhD2kZhKHmgqQl0ikAygD7uJsWus59iuRWDjpoFsCkBARE8cPPNoBkZr3/tD4Dq239ERV3ZMaD1lsMu869LBbuL6iYX1tt9Wtw97m6jN71dh4U8bkhNVU+H2gGkmmfh0fM/MI9o+2+oL+rUx0a2BmLDYg6n8QdVi+VmFqC8Y0tO32o9iO8had2EiE4U1Id90ehUV6kdPmXS/Ku8hxUQVBf0avahZf1B5ASqxN9cG3cO0hpyyF9QjZeZU43Dsjp3SAuY373OfvkGdJP6UwyH+7DqZU+MgCPHPx9ar0SrxxGTqZnKH3IZP9J27kCKdVkZEZOSz9alym71PdszUroU8zqyWet4AK/xknCZphCM1EnPXFegofxPv6Hey5U41pqeoTO4weEFmD/4biN0ojhTEqvuHl9pRCZa0hF1hC6Cvs4H3gxd/OKqEYe3djseaGGyL+mNAoPXhFnzWs+vpyr2qsF6MNLlh+n8nXpzDw9916HjJuBNx/3QfJpoomKB0TDWzrFBxHsZvqZJrv6tEyaHnlk/SB1CLK8ilu1CWHJThaFvM6q54rBbKo3PsTQC1nlxlhinX2HDjnhUt7tuvOeAf/xNidEMKZv8Iy4vbw1MqQmxkGTwILZ5rrwtW+qau6OPoBGr9K7NMbzCIChZjP0eO09YcxAoTPxHhOlxqu0HWC4olbtWbVhflCzumQlMiUutQ657ofsuoOYTcsOxNE8y5VW4L9PEbo5BU4knVfVGguCoPGNfsdoW45kPVL2JkkfKkOaEeApeC5AgU7ba6p+M+2FKm7NBoUeDJLTTwO2hKb3aLY0lsDzBKj9qMp8ur16N6oeuM2bSQbEVXKP3KvSYB+RF5E0NSqPg5TxEVbFJwEygyoZFapMTnbfZXIUPClfKlj/EsSn1vv7yIoswDlNYQJI+DCgfQTM9dEHpqi21xyzwfCt0XGjsFJQ2lL1YAgPenl8nt0DfsYXI6dP3nARGmGLb3lgYKHHVH+Ofyoi0roi3l47jQu7XpA5q1ZJkKJ1nImQrkDffLElNic+vcrh3rzOw+F7vR8xoKrMo1+X0V5rPt51cvRsi1xe6g3/b31VSVAqNS8voZ2ejeHTxJoOHLyPA5gx1XsymJN+mXIxURZ7xiIAip3cPzqik8r5Ev1EmG1qTZnT2rTQoBv+KFLEn6TIhW+4Oelll9dQNfJiqPdLVr+8TMwiVQcnuxmdZD47HeaGeAsaYnf5OBZsXBpM5zQVgzSxCUXIB2ooU/wEm2szG7U9Bp9D6ks2iEbPkZFY3l5oW/8I114IBF81/kia/toQeUArCgi0XdUghehSq5k550HtMUTlBDt1VkabKkF8umxrt0OkI71h5clmV/dw8104d3hnmp15FV5ap6MMRhT0DjFsjYWz1Fc67kLRQng/gh46cW74JsZb8nT7m76pMMGrTc1Ae6gZ41aLI7iaKhrkboEPVObA7/CbmtLYkZ1NWiS2aJqmqTmS8Bh3XMGvSA0M2RSo4l8Kj4BGZ/5pQXsVBcQnqfFbMWdfDz6GXmwlHa7wrvo+cP9pk9FowqUQ0oNydIwRCePHcZrEDWjwGgf++SNJdJOl3ad4HZVCryFjWhc+LuI5yI2bJjwV76lCrbnsWOXt/kl4gkxic0JB36JldGQMIGzR8fwiFMOYtlB4sh7HHIFQRr2xraZMxenikst17L7km3dNHage7A3+iPrkF2gHqXHLSrXaBj7/fEM4je/Fo0zpuuPieDqI3ZInbd0Jys3wwXCAvcS+ZKnlO24sJ8ujAc4A5GnlItizoG2O8vR6RKl+E85+SS3aRH57VLv/okne18yrfH4q/YYnSjYVk8GvG+4v8GY0aY4WnUOP1UBYkYVwc2dMFPTSOs5vg1nJUsPNNOHeQ3mAYVWm//o6aNrsopuhSou8KZzmdRbtj6wR42zfwU4AWCrDnBWAhdsWJMvCSXDyTWPqqMDIfmZvVyEBI7ZqXN1jJ5Sxavi7+cDqqQDYf2O81uQmUob0GvOQqUzKCW8Rv9jWU7Z5gYzcYCRLUuLw+rvOw7peiEQmL2XTzZdLaafwIFigt8kEm5+CJyH+Coi54+QsHSm1g8rYvo36Pb5dHt8+BtAVO2IS8HQ9SNHOxtRtdh5Zj81YHWJKtsr+OaaFXKkEW4WfTMHeTcWik02WPpN4em8iQ2D8D7EaslRu1OcsC8S4r9n+3ejpDASC34u4TY3fH99fUCosb7DwoVlMTTkDjDE2vk+OVrt8NvWNuA7S/HfGmd+kZ8IApJlrhmdBK8N+gG7HgcUPekpLzHXiFGvxfEJ3hIttegjBFimhG2AOUpssQNbLI6nkByAgMm9UkkfxoP/xOPec8QiHy0LYhvb1rBmA7pAXj+ugaIOiY1wCdEqD1UzOmrha4SAoxEssB5TNPYgtbO9F7Bf3mCnaDum8fRbYCDguCyWjSHToEBBy6n4VY+/I+oUBSZCrfehHs3ZEkh2dkgJ36h7ZvadO4zkQkk5Z0LpaRz+rKC2ogYf0TfWhWMWXeEViAXoGOy52llnK5trFdOCouLKpdnRXQuuL4jP9UIxR8igyCDyiNYQCTi01eM6DpG6bZsjrWJIk4oRpJl11jB9lGXEGNS6rB/8u8I6di3N1WF2DPFzqeTsavy1/+l+d1PmFRLmlZeFrzQsq8zF0yxxBzZqW5r7EA++MdKUApQ4/KKjuKAw3GL/S+TN7z9WQP+dOThjIiGuW4lWB92ZGs8fqNpZT1tnCIlOzstB+Y8OcrbjuKtuftu9FFy5jSnq9GNRMpesvrQnVlKigby9J2pa4a1pucGEq/Do9BWXmuzyQ9+gdcFPXI8OEOzlUfrc82/ufv/NILra8uCQZiVTiI5dlqKSHHtwhL/4a9OWP0FaUnDgUE+Yud6pbNL+DCx5/yg1fK9ZcsojDqnJqGMixu+4RrBri88rwv2kJa7MY6vfFoGhd9QcZgizaSnBQvRIMQF+OUTS73X/YVWvGsBxzdfITkWz9DJvzFksEyCpxJAfXmJKzYItVjNfh/I7Bu5uRvZPbak+72JQu9+bCWp5Wn0phEm9VjcKwP77uNlE180stjau7Y0MJLyOJ7mD6vPEPNdhH0WzbUB8QGWYl96rjQkrgyy9gVYm7BhtLrMHL43c1P0hddGN9YwYRcBzL75bNXV3822MzZhKklppob7V6HgFaMPS8brrjZjZljYdYhKkKZ6hnoe30T3yJ6jgjMK3BK1ual7sXNaNwqGTeP2imPS2If5g1XRRj6ATCxXN6pRPpNU9F3gu1Yz/52MNPbGH36vfMvrLS6S0bPSE1TTdX+nUgQyq4EVz8x79CDPwnnYYqpk+Gpy2gYgLn+5NHvZqbaa2s7vwDgJ/ifLG6XMHNlp1Yv7VwoWkm6Gf9uw3qiqDjNMs9esn09CFLOn5pqONprXBbHs8IFtlIhHmBxCCN6ZsOSi7Cn4PITWadztBnTm4QOviLfUBxiyM/69SCKQIPFoQ2ooKAvPL8pod0eHjj9bYhtSEyYQmBOrbmFu2gU1rZfJ1FfaM8TppbeYkS73S/Tl5Lohnj4QNcLKAKRjsvF/3M91WPAMXR/w2Uzo/XAHleRlcBPQ1ejyqXgxxnFIOSkI/MWITHFtK08+T/kYitfoNeqoLx5rl4b0oFLKjQ2G7tcMX1b0R7H62ijnaGJs1tWHQmjW9yOrKobQlGzH8JsTBWQ+LfxKz6BxNhPw8Gl5ZFXWOCqjoyz2CnYoINEIYfAoHruVDyRSFOKfJnOVPaJpscHbjcrvUrffw0dHQZpyxnqirrkJYteno2GAMXGJLVaW5Mu7Q8+SFxS6GmmZX6mpZ5/5/QNUhyidhj63P/vLeKD6U1kIWf9+OwXDhZGQxmR7f973PJcMCFOUFCOGnlLlUNqmWUpOMiVb3+ryvCoHkyoCJ/WJbmTKPShaxkIbD8Cci71OKt81J0YPvdVqOs+k9Rxjg7eug+BpoEotc8eEpXLsy1puU8KHxEiL0QDd0Ga44IClbf+bETbZgMc4hx0BjrW4wlDzWXojwcGug2sRyX+o/WeUBCcgc70mD4KMCxXngrYmF3EuZU7vcK6h/rTnY2WE9DQ4Ut6dP3y+tKdYrs1FtnbN+TD2hslN9XMtSSajWhmT56+LwGQOWzrKCUuLMCPl8Cf1JartV9Hs5qwFA/pW+US6Ti5fga+zzspWuFuBThJPneMCl89AmgawiopcDURpAiAoRroSBRoK5C1L+J4tnYL2aMgCHReJRZxF30Y5bPK++oYDctSa+5Q/ZXZ2TlVS+ycPBrNxjoer+Gl2B8iqG58LTwqH9kgqw1fLRAaXsRGk5ik85DCTWWIkYBUfry0zUSlh9MOTxIVwCHbqG5uLCr4iMLttcqjgLM7E/jjkeOiSmNC7EoU6eMwFMqm47WfMA326y6jF4s8VHQy/LheOa8typ7W2xfuALoxcEWZKPtAQkmS6a/E40NF/uYXdl8w6JvLRQ8/tsXycxaCRIRmWG9+hKM/3mE2W1oTydp9usSqHnuDbCew9sDenJuT6DGgE0SGh8wNQEynUf+nRU4tMH/QC/yL6wV+qiPQb910zSv4+fiz5BD5BcWpk6jH8pTiegqUlfsTStDsMP7iSnsNmkv6kuC8K1XzKw5DunwUNTsUrP209QzA+wqMCoi0NFvU2u+6fHTmN6H128mJGqgdDOTGL8Htr7ybH8Pu8h/Z3HgcYSPlERKcD+nBWfc6LAbRCXhiyQOAGkdI5RYMRkmTUm2azhKjUCImNWjTGADhFaWLThBQMUbabhC9E18xWEKUtq8ERz4OKlUGCZOSofOHw2nOx9wq7s2CqbLudEecGh3AnOE8m+J/zwfGGt0TUD5ZyAnaN+OOhLSdY3gqcfW/82TajP7WGfobYrhhM7XeGNKbo6Wa6qe+FR9a6+kkLh0aV6NAbAN1TAolSWaQd8IQ/x/VhJVGr5KcI9qvwn21TLAtK6v+BJlld4+0b6naiinlC9n8uC/1Y44K6UgB8HCex7EGC5rYVIya5ejIInJTkdDlBylFraqQL/IMA7khU7Il3O1e+3+XuhSjr2ycm+oGYSBX3jgEELZJFFHAqiiYLmPutgzpF6+xjaF2Dl+ApeR/BQgIrqlIB2/wFRv65dfKwQ8+pGfrRTLdTs/JGsFSj2VGBrBdv0KP7hdV271BgXn3iZ3SalAuSJxS8FmRb0r8HAUMaeMH2NfA+h21/xqSEUKnAukDYWmmEr8/92IW6tUIgue+bxm08f0R+BzcOAvqKoa+XMteTZDjOC9C2Gnlr9iCS+wt4ksU8aqZ4rRYHQpesQ+l9eZXknGc7yMNhfR4+bbxMJXG6yYHt8qFZnZyoVYf6LW4zbFMaGfHUj5h9257VbOu6EJzebC1t85LblgYABT1K6+HvDwNxcJ4mfByW7fAjvGvpsoDCEN1vucaAIS3gKmNszMkIHHpHymxk2mHLDxfsOa461xKfMHW9Oebp451bOGHI1niqa5BYSTqdITWPyF9Z2WwnUB5PdEWctrA1YOue5Rxmo5LThgG7uYuHetklh08pfFfSeP59N6NzC1iikGQaJYuPWXHwl8dPDW68qcEmJwaApnwb99Q2m/APjj7t58INxhS+RZO87YywsyyL9SYILezd8TcKStMndVGWc5JV5//g4EtucSi0OH2dSYol5mvFQcsgDwBFL7HzXZRmLNxDrJZ7zFThI9wG/Ba3DHvoo5UitzLZHBLupu8jG3/OylO8p7Jc/yggtA8JP6UxaLAB+OyONh5WccqWi+HA8aAZ8lUt5697hU5KoxxnEbuFGcHADmL4F98rjr7VX6nth1sRWw6HhAeT3OUz8VSFblL6v+H9sDFrbQegJ+wH1EcvucySGgEbkdCPQEdzCCi6ksCoXnhisbDOTqX4/NBjhMAeXqzV6fGCwQRiDNQP3u5Kwb/Tlf82OKJrISa32MxYYOxX5Re9hsltggUM4ebToVBsVfPTpEkSLxACoc8fmHxsVicIwqdRsvJg8E5mYZQIisJHGR2EhLjx6zahkBtjLPgJpG5FL1C8leDS7Smzs8EkDg+G2nc3Zx6LOF608wQ9IuqMJVPAR5ixhU9bXsVF2ilGh4k/XZs80txmnm1aL96gqbhszonuA05JEqIg1nUwF+PGeV97omR7MbPi+XkJlkxBd1r6ctORVRnEr+ZkpvNdJFdI/SHPfsB0D0xoa4g6fpNeRCBWiZEpqMGzR42H4GEVNKJfOw1CDz0VfVBJS9fERBuRH/I6slPpRKb/a0dkZ16JetDzo+gQ7dNUR9IK0rG0kfOh+v+Kpyf2ahOLpdnjoA/I43nCi7hID6ZR3JzZ+4o0FqAXqjX2GBP0qTx5d1UjdiuuOvruuJvQWh46b7JQ7ZpO3dJgYZeljattSzvaZgZytwB7ZqaFyl7zSbY9pzBVfrHq+hv74Aj8LhIGhV7NKXYSLTWfBiMpRS9zvB+dhpWknUI73zU/HgVUKsVT2xSNzQc3LgivY64LgvlBPQLrVUFzeHgcqWrDCIVH2KiL4O56pgouGZXeWk+Nx+UicZJdhLHBV9lLQEDW6Lqz1fzslfkzKUOVKL0k3tSVoJB3WMY8lyeBTX6AnAXPNachX2MCBXvMZum/EnaVKlDmTxXUQ0+3Lxr+/rPXGVtLYprMU/3VS7GSBP4ijy38sYD4njBNLMRIebFjE3CZ5o6ipkZa41vq/taiKO0yPKE+vcP0auHkhxd7VNQCu+NjWVi/AFy0j/aPZKyiDBzr4EwMdbcmed0EZDDbyvuD9ZweHu+KATTlEYYWuEvPNbVqa7feB2MedXetZmZNRMEjzjAjpU/tW5aVog2NXsiKL4o7qM63nYWojNcm9FQdmAnnEFZAQ+/GFpsbPDC6/8VgUEx5ozf8agUL3+RpK8sn0ASYEZBgPQGfLEwm1pRurjhfEDBoKNh7RKierZ0eZjnnwYLRtmBKW20sVil7TkzK1t/q346DPkuWtrZBG2cMKWfjjT93h7clFxz6qNBFa1Ai+/lUcccE2+8lY/M646PmE4WOUybpcuxyvHMvYlGA8QrpKzXr+v5RvS7F6+iFj4Mb4X6Azovq6Qy4hhgLDLmvibi4VOafZa1bc9LnddByMEIvYMB8O44lqVELaKTByPt5qsu7NhxDBji9FnLjKDS2dOdVo2NfqJ0nIia4TzQRdTdJZQBDeub4ZXduTvoQnJ6QG49s5yIUi63MmaNXt7zL1IRwnVtU8yOKZorXsVdj3mkRXQqHzLCPGOjhSsjYtTBtKIqRuqEDFwegXV1pd+FgLcdnHf3Knn6+l/XR74iEPW3fUHy/8sgDMQSXoIGSDGeVZe5kd8Ipq9kmJt+G40H+8ZHpTRDyPDZ60TPZgL9p/F3/QPaCndl40bsXjvoYc+93mE3/DuQqY+ZBpC6AhkosYAP/T/A+gzCl+pEQLGlnekKvub62OKcY0joVbdjcIrm2+opAjUBfHxk3aj1BnRdWUBklkz8Qe/EL1qS9rqmMsWCjAXkf/pATP9Tv6oWKMlKEgnCnQAlQerW25uSMr9yLpUgh83Pkziu0DA/b8JO/JSlSwtUgzrZ0Tu9BRIgmkOpc3uUd7+hTkJv2WbTSLZUfBaGhRydHjh3NFYA/yoDrhfvxBQE5zeIodvzNZaOC6wqapVoiDr/FYlVcwJTF2iJDDfFh0gqPMurS63/yD2XC7dU5HJ5eFVkptQcsJu6Ry+ytxngD0vb79PoIbYay34Qs0ss614TYTt7Eb0GK7dKk4OwVXRGbvckOazLs2S0j1KOVtLOzpnUAky6zq75/ehzMFAjwPqS76kV7vS8WvT0Cm6XBQH4vwy442N774Iw6yD6NxLvlYPo8ycP4xGP+k8rQDaDCg+drepcNCGmdedd2x4JbsD241CW+XFh3GOq9noaeTad/ywck3CGsf49gxZczS4+nEQjbYu3TvLEBfbzt+9qeRdWlynHDF1c1J+HolY57F7hOOjDkQ+qqGfyT9gTQ0ZZObwsofNi/aZDCHrARxEnU/nkVyxtoz3ZHAUiyv/gM6Nxcy+E3F8KDol3HgcqptNN+VO0D0WYONcxUTF04p3sFX8Bi/2IVnLqmaGXWWw9L3HJaPv/3tTvHS1y3vOFvkyfnVAJMV7W0jFDREuKTzOoj8YWfSXGKpRFdlgOfNP6yysmzbVBzLRxWWlI/0SGV3yyilJU4otP0pgWpHpr7Leap3UMAHO/1KWuzX1bjg36UQ06avNWJ9xjnWE2O1Am9fNKBBe9Z6NZCw/9oWD567+i9yxaQVXNO++4JguDFbRPJacvJ3QpK/3a0SIowfLGnLnbg+/MZ7Clq8/n+ohgp5dZDJmN3iwaGmga24I65Cnp7ujCcX0Eb0KgeRNyhBHQxjk+hHXKC4SS2xbzEulvYQTW1IqvMfvCWRjmdDQ3Xuo7hKZ7HM5tQNb8zYgxIMX0GJwt5BL8pjCakpFE5W4/KwqSgdcFlHp6XCZ3x8+GFTosW3/CvjH2OMjWotDTTz1S2r3c6quSaSeF2EyL1xha6nd3Q+eULgsiZOHSwPs4GEMgEPP7ymzUG6f8is8KCiIZPIGrYfdFEGVx58zX91+IDdlkTN6BwK7sQ6nFQV09uM1lNIfa3F/8ia4xr68q12aoBEGOLRET/iRdHLE7AJa9pu1LGfLBmPAooGsrq0HG3JgjhcN98ZMYKJEKJMQuexiNMMQI0rNP+RjP/k0HAKMQCUvu8EdjCMOvV4+6FcBD1LnrDOMY7j3t+LM2EU/46qPODYRR30tJHmxJB7dNAUttYCk1wp8hYGzIS+weGQpgC2XdchTe03fbe/SdHTs4nXdOYELhzWP3VdNRXvRJFinR9ogbCsmZUfwqWeQAGQiEnJw1Ehk8chCPkSFiGj98NqeBrRvKKp7OnNKTYzGobdv2OiJxSQnqNfbjuTF6ywmvdCQOB/qu6Zcx+EivrIR4z09LneLAvxocnc3uSGL1TqURzav+1ek4PnsSZNVxK84Pz/WdZxxrus6T4tJ/84N9+mBIRMdF8dUtVEV22rLjSjPyp7ByMgFhii9FXIqhSrweon382sOJkO6Pzdcw+2FVEQTzMi2elb+13xYkxGI5LHEl4U294BTSqmlQSwzcm0OvNTwNA1kBFQbvNcrDlZF0qT8PhkfCnfsBbmGvywpWrMConixlReeQe9G/7vZ4XCjhfEYOwdehMCOG/ULZTcSkYpggejfRJw4yFLuYlK6/CN5t9jIIlRwo22+SvcYOdARwN+jvXJWXKX+Ny+E0DnWa3TFBrAH+A9hL8NKZdw0J3hqG5Z7HlnzdxnNNMkgkedLnmWm7Yxv66WdL5hDmXfVzwM0+U+VNX0DlIRtegy7hX2M6cSrX6SuWg6hw4VmDSmaLny2dxQIqfeRWHYTUTQG3iyM6ffDvWBBat91mGphKlJGvToIM0tNruBreM2wtKP9uMfuxevLZ3OKbP+InkxDfXWTO4/z8FWZ8mZmmhVZoo9Yo+F50Wq69kE1bocuAtMMRBIoEaWF89l3w9T5fd6iTqhO+OjvyOcfaaBLVyLumA6PucHTZSZDk9RTRnr+RPSHLIT2x3djczZ58VZdc7fJ/6YObYaqMgBivG57ezMTH42SCQWOpPX57U6mqfaWcWAo5zvqkK3pzJMzeLwjNHwcMwU8zrACv4dYwzkx4aU+Y2h7mAenV+5on6SzMmrFdwQl3dvltYRtPSczr1hjbEMHSG1XEMjR6b/hmDfIEnAU86xcPVxL44H5vZnT1ZvF/nGT1zdUrTfhqh3eMOQo71p0bM0C8cDIF4kNbxHjFTe1KSEpaNTmCsS2vrlpGhWNzvEmnHHcJyDe4KleJ/iFiQDH22WApsny6OixRVXXcSn/Otmn6YtYwcMQWTihLRRRODQb7zQjOsn5lFZMCEZiYxNLpR2AOMeHa/CrY19VwNJLW/jFSnB3RT/Rohq4g/LRfrVy4ZBJUKha/Bl+n7PKdL8rr2KB3JLa2XYs+YI7JJzBr0CLl9kvqbse0hrgXQWeWXVGAmYvwSNdD+SE6WC7sEHT2tIxgnJJhPGsTpvhijQz9hsCbapWXFhTqPjUYM5wbT9zirYHrtUF62NK88+Wm2aTjeR+uCl7SAux8b4ETmXJIFpoYFPz1XXHcPaG+vVrG6G7NrQd/E/R4r7qx3MYEV31ONp6i8nfuKk++ohUIlKpSbBXP5pKy+j+ITtoMYr2pn6lKw/uYkpOinwydQV1m5z6/xB5qeR5B0DXTPigBaxJYJ+aXmsOtH3RjcgV1X1fPMQGUKLjuOx9JELc2NVW5WnG5ptTOKUhYPLx3KS9OjTJ9vp1ZfE4W36mB5d24gV4tueMNO0qxQ12j/sBfS8bhCBm4yKP7lNb6aOT//UWdIe+v17FEp+9/0fq6pdOqLtIgPIf9rPoYteM2kxbwzraS/mn8RwsV5wJAniM8cPENnF3gyv4eEc/+Knl1Cy3RHSMPHR7Y3j6ZPX68zQrf87lgmTo4tVIzO9BaaaIuhkfntdPgBv5zM02dyyQBGZD40y2S5rn5VBRZOnlKsrqUG9aSomt8Drv/OJdEkzP9dsuCQtigZj6PiP5o/2xSasY9DTGBl4TKO2gjUKXAxNhsRLFu32D44a+3gd24f9mAoukZ31hz+SG486JvPyYrF9nPoP6lWaul5qxtM/O7Iq5fk+RrLoxgsN+sqmPVa8PgDuTtHtaqdu90MY5AFxxGGky2f6G3IY3EFVkpJWDQyRYGurzzsZRVDC8ukGtdydWyn7k6fE4OEJNcdzwB98Z9R94IYB16K0+WSIxqlLPHuYVFclFzaWSYwFAzvFRVU+ZwcgK83IpiHJY/0IIfG/PWKrp8fbqQm3FRvf6sfg2EZTQ0Xag6qSji6hBAnPU7Sth7OQvAMv72xQvAtI7GVC8skN5qNpnL070Pxg22Apj43LbhWBZRleywlBRzkNQ3QAejyEO7lsCXhTAYta4ITck6rEtPQ55Z0mcEy/NXOfme3XPFXVLtk5XMboZV9LWksmg691CLLM3fgHzzpcKXl4CCr0qbkgUyMe44BnlxVmWcJjj1uNPas3dyIErTGSOALqvPuuoAr5x/Hn07q7h4QC+/YKoyoWOkAnuJaYE4iBiyntCwIg77JkZvMzRdHos3BTkgnyke7W6yzPTBbY4AJudFEOViRbOPHIqm0U5hcwHMa2oIbyetGMcsGIDQetCC5lWzdmGbI4q9xsoT7AuQzVZW0HfyMj4KMhETSFomdtk0X7EgNm3nXTiQ6X3wySu4rBi9O5YecMKMFihTqcFGtn3l4JxMyAWCsSBXAE68kdvJWLEUdao39rqGv4LzltxHBQOtH7E3XDIjtFIwQXhYXtiqSg2FmA3V+3mIVqT2+mfFnKOCcUAgGiduutHEqQZRHjZoHKojA6oxHlErbP/eY25EZ1vmbH7lR3u3rZozvHUE/7a+ealKN9E7x3Tukmd/JM3g43UXXThJhSjc/rTRu0XVfHS20SGrmIFJkXRHh9CFqvNKgNRh+C+ruvurlcPjf2J83LykqEgz/qgztIneUNK9bsvQvhqoJ65lP6EE9YdR4bf2nLmzAcSAlvWh3MFv8EDDOG1lLsaBpNeycAY0191JmjwagXCYgsSYd9JOnct80bhUWrYFo/2mbgKjaSfKAK2+7NJMRUQ5Fp4+Sv/ZILInogWurF+ayXiT3DfLAV0rqIJL/iRNK1dS56lCAEvgYE++zxwEPcRhCvaH2myeDNmc21D7p0s0p3lQBbpMgN8sAHWP4J9UzuTxkmh+peDZaFsPnQyGU0iArFfs/BqmP3hXjb/3xwtCoJkMULjA4fKRz26HEBFMBHn7xljFxBJ+Xg7MC7u/tj6cbAq1WRfnpcV1IQXjZKV04OWd4ge6kDTNJZxTfn1lgebP5Dc5jdh9ET5Fg9M5oBA17gdYArKiMfq7IoNgQa5Zko05v+EaaWV56fTlngO+YD5zUZlS6JiOsGYGI02867OIsln0ot6HroXYtMWG6CsjS8eNMwrLL8rhnZ5fYuqQm5V0iTeXv8Ew8ltgMCxVIf2GfjMSzsGPiW7Z5RjMYRNPcx6LxmXvH1LG52Dm+mKZ/pPwOJyGm42FtGPmEHWzwbSSGpjhs+p5a9k/JyjQ18XxvwXNKVukPwBSWx6iGacQSB5CXh6/pnnxtpl98/bC1IkOMk0XlOSYgLHbpGZjwEQbE6s+PlPN5ha4xSLIlCOPenkNkH6m0We8x04dMGKB/LbYwcTZofFMCmSGXUVy/UDeVMzA7r3DIC6gIWp54tTFCrqYAuqG+8QFflWUWu3Zps/F6Z+JHul0rKejuhNUNxNGBZYJTm6UmDNQrMas65+AB9exNdFNUAgO/1mQyxlm5U018rvY1NKIF8idHKcRkD0qnOWm8qEGNWKMGvIiVvhsKEYmsKf7+xuw8IWUhPV7s4zkfUPBjQ0yOq/b0t+D5QMbZi1ODrV5WtFxUKjNbBvwQDbRMWFaH0Y/xqarMgyTLNHAbQqX9oi3NVAQSOB1JSJn0Euw48BVun/G69SWhfFEs+NjN/XyCqjnx9PzdCKLHdPAbw6d4xM/KW5pAzoQ/OAOXA2IKPA5ClX4jgNduFbmcDfa4iCC9HqSoi+P+Btv8oAdrD1W7kGqgnxer6fhBZrMntLZu6XgaWG9xo44bV2WyuRdblNsVdl+FynWbNGf9kZAXDw6H4iEAoqkQcUmJIXIyMfiGSIGMUD823WXNNHrzB+F/7+iZDm9x3RuxQMVGzM22QaYotQ8y9O6wlP0EnCKTVhR5tbF9SqtLpEF6CN6+/Kk60zTgScEQz0PeZGaWYdOqCMqO8x8q6lmMgYipB1orKEMGZE1r/WbP9/6DLxbGCizV3AJNQCxmB0FJjWd0Hi/uJxCJmJGDnKqTtVW63RP5gBry8UamzSuibaVmmhhtv8rvO/QbA4FZ33nSQnDBegm3AxoWzD4+42fxo8BoAxdMALvbIQ4EgdtcC15jeEl6CT1zvghVn3ISZXPGReS9xK8WBEJ3VH44lJ9uQRgWu5lHyK7MT+C2DKCOM8EjEuy24fXOk7NtHEIzluByVtDu+vy7vPPY/5jm5GnfzdIqAvgmpYifq7gyaMJUyEYNvQzxTythu8xfeUdhCrYwVxbEZqdC2i8aqRVfj6rQVKmwl/z214OxnYESTklQo2/QmSwJxzj4HKFgjbKWTv0xqUc36ZJcsNhXrj77NXEarAxPvNlBrxQn8tpjNiYPF9qA3zgdfV9NuCzrwlq2sc9KTUi3EEkUDmCbNmldSbX8FCiAQCyhJSg3yamKFah97kfbVkerj4ZRCYPP1O2Zt207a9zrzLq3sJXV6swOTNx37nDk3LEA7i1R2eurQxvYBv79Nc5++cRzyA1tg9mFHv7YJCwyFUwxuYBB5x0rsmq96oGrMbuTuB7CJrb4Vfi4eNd32rzqtbx7dNZNoyYS1BGVOgT6+hfgeMpOnI71S2vEaoxqQH2KFkSsylHBA75K7hXmDvjXR1H6dLP89r15KMcLrToADRAv5dDRDSotfdm16MGb99lNK6CfdZzVfIPDJPQcde+jPqmnKrhNWmmXOf84BQbZLybyE6hwh+Xrh6BlSOzJRmE56sswqhsj9toGxmHCwXWBNfzMzkxttsP+Z9Zf1rYuY6mwgPghGtvdwTzwy4jlH4LmOa55MzW/uaymuuBMhiQRPU/2ImGJ64AxsAiFjSCxmeLpbOQz+GeMgUatXOgFEkCfdpNC4xdAaeot9B2id3soxjtNY8mUPw+s2nay7kzezdhfC/4gn64vIOsvXfkVRUDyCfbdYnlPZ4EdBvcVWtNllg2BVArgjKG0QIjvaAlDoACxoLkyGm+pNBG8HzdSgp/hWez+01rT9Fhj2TmCY8nIlw0U4+P7YECiEcSDE+a7az5wSsNDdiDRCIjFiVAYbVD3661BGdgg1vDP2xLCMe0O7VhrjagVPNc7pSVUF00elmtJNJT5igbAPLFDUROv8c4zCGsmyxn/yYGmx4DbTvXV9xtcg8KHWoKVBfIsLgsbxl6xY28EXuBD1QkwDTfypeCoyoLoMAFswRYH847SFvTJC4SPcT681shxktcLsmewcYItXGCBDDWUV0z41+JTcPOh3ZNFkRcV+udgajvClS9ZtdflGX2bsSICCe7n/fEt9YDNlNGqqooIJAolmzGA+OcyxGiCbTrnEN4neSqUG38wp2DyyE7BXPoRmmTBtCFFdSfkqItK9qBheQinJwmQqVTBycllkliFsQonTTOGsaQ4/6shMksAAa0uuEVQduQyrHhK1fzvD1ereXBlv4Cc9iyhC/ZbXkcf86rRKJ8vYC0SEyCPNPAWT7+DCXwR/4zqDRyIIM5O+DtuiL5Nqx3aLoZ/4AFh36p8JToNjyYx5isqWMHCnk6mDvazzocsuvmcRvT/5JFLDEDSa8KNngWf8OTNl5r8/FE9JliC1mO9uswwAS1SvXZFyu/KaLTwyE/pBBKuSPNXSBl2vX7860/zIJppaNXdTAmbxaQ2BSzy+QZR/w7GdnwCNj6QJgb1cuz5IyeGTv8qB1mntE69O2SD+J4Wj9rXrBinuGIMoo0QJSyek+YkOHZTqjE4dKJXg39BiJQARfAo6Vp05mx5a6Lk5DklTPycnTGNHexsTpzr2/dCETgQfJ2ZN41J9RdLLvUbh64xnLBR15RTKO1m45R/inc5u1Fi6ahDNbEvO0eAdyg5t74bNkB+HiEAduofErZ3raXbglOM6vhdM5XAZ5gxFJUOWByY7kHA9Rf0UV1KkJTqnJomq/FhjLwQ52rysonNycxTOdj6Gwc+SwEMQ8imwtMGjqwJ2SSzknR2NGOW7J7t5huIs7shtl5h6EiK5KebZMkJ7BLl8OZ9t7ujzt7TZW2EuA3lKqEuf6un53CRUXpt9xXTsHoGV2PPIorNDOtG+vpaz800YcU3UrybyEO66xllyo1i8yfH8/PxvRrGGeVnzzR2x18Mmn1W4jvSQg4byG99udKQjN4/DEJ//6J2T8ORBZDInOuzFiCSwk3db6jEjV3101RGcfc+rZ7u9DQ91aVDqBWYHyeE8OEBk0kYkwlYqWkfSzMAelFzxOb8O5BSV1lqiGn2CZAX+jggr83pUhlRJKo/V/qbNPpTWgBh+qd/eXWZ7cQ8SbG7awN3rmx0OwUntHrDMgFOeqTU/zecbude862FNxrvBeUquk9d60bIOARyGLPFE5V8Kan34YxOOYkEodOOWCqwDM1BKzpFVRcodoL7QSb+JUCJ79+2OqQIRxkkyvRCPRehFNfFCHLWlFagsspSyLRLn0Ow2yTIfQ7srhKa1KFLvlutuzuxJNMSLGfQFjckQFUvex0rG3s3apOJkIWv+XLcg+MBTFyJJCfKMltnfic75cWZe/HNqHo9dPyzOZ86Y2LPYT8NWoK9IXPn3r4ebrbfGCM+yd8T3NxALtR23dBzrINh4SqlPHYLZx+CHMg52+fHHqj4/yNGvLIifIiIkSPyvXytG0vt5J+YiSPipkJPowo3vsHF7dBlS5qAEITREA+MiGDWsPkZNJ7YgIjwo2PapU5mAVNzLkG9+V3UnbcN+q5wO8PfsY25crmj/jGarxRFj5WcUo80Eeos5zx7Otr5nPwm7+KOlOAgnWq3wlprYFNkWWrfZjljecdv3kItWaMTcwQJBlIiR7CpEmOnzvchxoxjsQ+8jNl28JqkJR6Dfy0OicloipG7XPLFAcqlrx7kG9yDD0py9jZVfcWOuCCFr6uDwcAdZ2Z8F8aX2LGw/4R4eojeC5NZf3CDPtxQsIk/HejaVKLy6AlsSc7mohYsKKE0Jrgdav9BgN/zkeJf7zHkV4YD7Srv8ky/yIfSnxkr6rbNflxbLQ9pvogP1wS4J55mJN4BB+t4QJ1PDZuj8Xyqo20wLfy2m2BKYdkKYFYDvZvtIgmtzVSUmC+8OYFgLrY/oeI9hyPR7KdnAsHdOJocYg+OU9StzX/B7BiveLanI0csh4yUF9f4Cac3lkDEH0PCCVnReECb+JQTFrYtp6WdM6/Krwmf7kisf2wmbKejDWtBaqsRW3KAA4jlW42gVi7tPo38nujxfQTys4HI+D/1iE+vjR+HVK8eswZmeZRUakvmamJLVNcJj9e4iMFy3ne1gAGpR7IJt77AuAS2gq1zEWrt6zkto6UyuZlW436pV34q8KBdUi6L00GZ+5Co9wTL9e7TBbGOSlgf1cjaDfSgxBeKEqpVoW6L1swP3MS9ozm/yHQ0dzbvBNcXoCwGrmKsrbhe5t5rH6E460ULg9/PSJtjPejnVbP5927Ja5UGJfWGZVAe6TvPx5Cw0gVlxUTIfSUY8j8Bg7p/9EGNnHyO8OxSTZU6cXoDokl9405CzyeHN27bpCdqYRug6ojvaBDppWZ+ynmnnloTbAPXqEYty25q8oLpju8hjTsdm5+uqak6mF9CVRgBgjXAuOn7l+js1PYTHUIJCpUgVv+Z52qZQFBKNbZIeUN5voCnDFl8FhQUdE0Ji1PypzffORmcpC9ug9TEuDo+FRexFccp9LzRjHYNekjuh0oozhR91T/BYc+n3A0Udzah0rCU6ua9zJMOZf4+UfQODaOyKfwQGHaZAUul8Fb8RoIRod8s0tLpMfG8tYJ2t3Vef/Jn5xpqvzl+ZdCS5GDfGkiD12GEckjxVaXfI+VJhCYSnroEheMCvKHv/pM+7CwZAsaAYksZ/kFRetGAvrsOrMuQgYz36P14+z/7hCQsS0utDXJMps3bg/E5JAppoHw2GQuMzHsEtPw3GE0G48oj137r+yrXDoT0iSqt05/iLmQy17QK0UnX3oJO4nSxpzshKhwcbsM34NegplW7Sn/M5TQZ952EXCseeSr2cj9bFdFMAeFDyyAmymlZ6Bq3ervt2zW9sIAiWtqjmJO4Vexdsbep71qVQat1L7RcKWAPEyxCC/LBcEVib54/bY1uY3+E0Vi0eNRNo/+BDFm37nQtD/bzIs5pCv3NItjiA/pnahFac55gMMEmwlx8GOzBdKzHC1T3meLRYbIE5JHNLCu81guZmY3IVL1PNcB6Lo2GD0I6ziydRgVrKSEoE5d/nH0EAXoYWTOAaPTjVqjstozuQ2QUGc0zZ9oE9rzsJ/vhayUdSwr2Gxb4Z/NBcc7I+9/qnOjMgJPWWKwH1sdSwZW0kxlMOsxyTXWariGNCWJ4IESOAP0eRyGDvDM1bdmXIOhQVHbztyEJOgdowjvPfs0Ih5K4fRq82X+HyWCjUwT5l9zo4lucRhnofuzRwMF1qCURrN9BFZ4hOxQUFjHVxuYqWqTHtcdEJoz2h1EQXDc4Dl3wQwY/nQFfMoc1+hR+p8nUR/IQa++VlKwlNjMAQa0+4dfil62KANRjncjOaaEaIkbm1/8U9lWLmA7f3rpulvY2/wVaoYMJoHMIa0Jc/pCwVDhU9Hh/utcLpoj3zJDlssMt2rb90nOkk/VQ8bhN/JqTvO/AjhmsNCayZL+a/EJYuetZ/daT5NY283eiP5WzF88Qz1C2mgh4Rl0NHg2Pai7h5XlgdCQNgEFs+9k1xy2k8peni0kPabasUTxdv0ghd1UxM1RVF/ueM0wXkkPVcCdghZbBYqIkSQ51CDBXhESoi/0acEvNKSxcQVUvA9Ia858b7m3D7jDU22urM93oTF2kDNKVmP6HftZ0d/K8FsBPWob1ORBWKiJxiqj4HLRIodQA6oFqwlXa1GOPPy6HIezJLnD/JbMMMtkM6WKWQV71yJ3raPaHJ2Pf5hI+cxcHCXSW8dirEJuTGKU5lmVgtbbugb/BT+m2GqJ3S4pQ93PK+i2dqEl8DZRo1geZflPcdmdDTUw5EFwVMqYnAXpVtLzC49kJtFlrgGx7gOHGWpCgIeFkXxLpPQJYFu5A8boTUdmNdw/FoymuZNG/c1UeDxMNf0CljsLHszVMYyzvF6hbTUloYM84ar5gaLW/kIxTTa/1jCPH0nftQhs1S11/oVIY2Bi7YNw9HII+Bq6JZ5UTPNGN8BrJlyoU+PXsqvVrposdCmkWzmOlo2BkpKi9LVH/kXWhKsouu91RdSPufSzFomzOdrWoGnrg9796gUt7mRBvzTS6eh/mwX8duMDWbnjBkRNEhQoxU9a5zTf5GQbaa8Px6QdWqBwQLfHtYxVBDi2hbimVoXoVjOqMhlMJsWmMeypWWWtI0/hCWB3RXiD6D6KK17DmIzXK/YS0YNxKmUZj83Hn72W5Q4V5Z1XiTeLSKADAof7+LFzCvZwDJM9rP1GFrtKxJk70eZgfllzARuEmr5kfrMRUNsHNgrPRpTQHivpL1M/SjUddiAixUdPOt4rybq2TfrRXeEpo0BBCc46gF3qoAk+hmaxEi9uvE+9WPkzmXsilQkhAlCkPQmmRe8aqocHt9UDQXzwG8gKrRWfzKp2eSHz70+IeJ5LqwSCq0At/MfklQpVtw2okEmgLCqSkHm0UCeKYBgoAdUDjQ9cOEsTO3DO0RajsNKgB7/Ou62zsKhwQfu6AWgDpgWD+/Fl6ZfFmSCJFLhR+A3sSEnVkBO09bBbEW31pzRg8psjZaAXAYuQxSFsc/ikgaZaIXOyMnZ+GGJSnWX1EcoGCiTOMNFLMAQNeveWwfcG7SVG8xUs7KEua8Gs5r4yJd/vGh1+bBGLBB19LFp76x2aQJjZnIwmYHZddvBZavDp7lHjkARDzzmMkkr0jdw1boCoq1b16pIJGAmBuMPdQfo+N9gfmymNrQ7+1jk9lGn+bRDFW0QrlvOV9un36Sgy+E/eXwFCV3gxkimD87EWPzjqYfThoFvvFLd3+aH3DuYGZl0IeXAJdua9hJ1LaaBFORGtIVS4PuT8TxX8rlHQiXz9PDJ6ZVXGBLekdVaYS/h0x6+VucrpvTZLFYlidwjEZgVuLALJuu/QmWKUdRKVu5MM2gNHGLWKluLVEGA+o7m20zIvNGbN6lDCWSrwINWZIHGXM4+aZs7T5uGLvsz1AVpf6ioPZZBFOWqLQFaJtKaKXKVSOR0qqxcErR8cPfJgih0RbfRv5UYCx3V3VE0FpdfnSuKHg4fIoYBaHjP6HP+BMVVH1QQooBYG87UJ37X4a+oir4kbX7+ZhyRxoafPnEwcOBhFHvq9a+2/MSXISPMb97XWWxEFSjn5zCWCXymkHZAjv8W1Y3qgiPiImPfRnfqPIVnMgS/LnRh4Ey3/l0Kagm5gUNIT85a2Cjqi/bCKO8h00hhL51wtadlpWOYCJ4GaFg9rZwXgmmHI750AJTQk8TsMQteVEi/6cw9H5ICdj3hz7E9SrXHRxx4w67y46A2W/SxYaeOGUHEpoXnpdOQEaHQdXfUgumVcpWZ6N5tEcjguX/9vweRDXpmQdR5J0JClBGmj6SPVrMyUbkVAVAyDnkvnSEM6n5jtg306bHqsJjvCEBoOq5ZVvT2HuzSt55fRQjR/C/Aaaond2Oq/Y4tSPW7OcMcLvj4DeJF/0nNFMCeQp/wS0xhuFDZV3RjghAsa6g9hYy/WWnoyGf+IarkC/wNriZ00sirWpS+cUg5Btq73pr++ILIWPhMJ1NycrnrLFO32GfVq/MfCYRG7N0W2+rpByHtaJVWlKv2/yr0+Fqn5kxI/j87wV60Hd24W9er1ugqpDev6Vk3BdwGmJVqpkNvJd738GOmEGOygKv2BOTufuWkSi+g30BPsmcue5VpHmfJhCA7SYsJtXAyrIDf2S9V4TTbpxjk9eCLuj94nmfqGP5ZBV5wQPxBwSHJcAI4csgI/UrhK3RFRtGe4fDA9y01n1YvOFIA0+517z2CCdpzGovEPjO/CDjHiFE3TiKnIkkAtOJ8kAXf/chp54fsnIZFpy+kDc5l9xezhRDpi67LorKcH/+MFpqfpRoSTw45O3BEYWotwvEPapsSa1UogYfYssr5z5h+gAXjseXroNCRFFfu7SBPXUelkt3UtEbsDXqDzV897qk1llNVEDaTHKWI5dmpeh2CUXz4kB4aRVcqaK7kedJJ6osp9erRULGHjYY8aHiHJc3ITRqgvM3GpaI9FtOBD15IopR0+rg2vKt1rinjGRpxlxDUvzhL2GmptjzIKDUScL1wj21Efl59d1F1/jhH1odqPCw5NW1J/sY/vS+9ReGV2k4LaueBLG1lwnUpEVwxulPlPAZJr1DnwOPIWCfWk4dnf1HvofxJdKmjbwQ2SmAb9jVAqGABhMnIF30qOc0oRhk77oeB6Cx9HiDISU8pc/bM2tFUmXn9aTBo0nhYLoFCtudthKYhOoPlokZK4C02h9dhzMjR+soMOEBOHjl0kGJndFBeVjem7R1RJGG+OXMRxUIId+8wI4+mXlGZoLaOZxKXEn/gZIpg8qUWWETQCLoYYmbWZ08qO6NMHd5IPB3hW8YJuO8dspictxL9aDKwUINBtYh61q/HBrRhHxUcuUXS8/ne3u52bHA7dtBillWbCssZ7yvI74aDvEAWzrlImjgu11b2DSM8S3rkCCsDZC1HGfwsGQ++2OdBDV2h007TzdHjMSoHsSR5P4dEVpcXGmzsy9fdQ2JhxLjAUaufOsPaYhoteQhw4984YS6lQuMdAmuu3dTj+5rIS0YGi2iGtwU0JilCwfdcJ4KdvBdYcoirxsHLVj//GdBRpJonVzTeqeYqoIbaiwV1Vb8vgbj1/S9JDmdCCKnwzoC3K9FLo55/pQbV9PGPusMNH9ScDsfXVH2OpEpYkRXGK0ooYP/Jd9Pzf15xgvAKOCfGRXm46V1T3ThSEOxF8C/YcSV599S/I/grXFxwBniEyhlzOI66MvCPeOAXCc8ThOX6mUEP8HITRYrKcm0biOo61V9/pzOBjO0UOBVnEgW294IQcmtHI14c20VSqVb3YM1VqNb+S3z9fYuj/fgCs/BUKuL9aLWGh0GDee/rmn50d4jpmdUMRtbrLdCb/TCakjmCB+/MfISVTL5zBIQHWQuwRTHpeYTHD1a9ddBGqYiAVYN+HSKJmRCYSNB7zVCV4X+9etUHftYlxUWCrHl4+memIOPWWQ+z+LUrPS3HokJVQRUeouB63i/hQBQe18QkxeBZ9Mkf7Zmsp4PImZsdbCLzPJ92ob0EB/eR//u4PKEV0vPQ5mbmoG9ZXS0KTMtktnNnS90JL4+WkoKSefnsJl9R7Dkz3UV5hNpOz361h7rAs7QBCyrUzlskt2foFxcuWy6SewSZDlbiV86DyX51vAwD8p4kHj4nJk+OwjVJ8M1VKaANgNIybE8MRwQMqgCr0HdQHIp/iEnJI6YN5ZTUlfQgig4VdD97s55EpoE8OJAgGyJEBzCcVzjdVVRhLJu8e8PaMAkJADU1I2r3zSO5vtMu6o0/BlF0ECj3Rcei2c3VcvRjJ3/kHwxRuPIqMTXox43EMRE8cINAPBGTYR+hk3ESTvaVQK/iroZ1dkLUcKuwhp5ygmlN/0of/OAxd+B7DqQvBCrU1PCyDPDdaHDu/UgEL5+JKNltzO540nm5PC/TXERyTKHkbpRJAuXIpzp0nuloU06bmJA8aPV5QpQ9F6jtPCM052eXrFh49HsU5BFsN2L3IUaWQH/irmvURN7n3qNLMqhGXDjsV4StLoIyPHdsgFOsqVFD38GJnlzhI1nNGYjuLPD4zPDopmeGD+J1lACP5JE9LNVgXzw6FVot+4hVOGI62hcJbFbrCC6PFBxDuDKy0bQ92ZFrwUTX+I9onBCz66ZG7RM8wNVaM6bcb21yA8snKKScNOkfIh3w0vKnTdg/gLinA+peW6Uz0D81dhudGbCyrdJZLQt2xr+3kXYFANlYM9LW7CxlXXR55pn0Qa+tyzNvGaVbIi176JJgHS5wp/9craTbEJdGz8BH7YwlfElQ17POnm+aiAedNoCidBkup6Enrm3/v7Duw+StZsyZWfKnwJxSTvSWLQSUcfc69ZLHOy02YskmacSDJvuwkJLAjI+cgOfYVutiZH6pGiLJHj54cVY6pDg5c8VDhU72eRX6REJdvVP6J6N9L1sDpt7zMIf+Qg7bu+hq2dA4/jHc8RbqGhs3gsa6HM9hhbXdcR1mOE6avoE0ea0f8TWvLgdkkMDSLqc9E3VsatSJfbBjk4YikkrEsNdtAsDoHsw58PaaaeQhUoih28fLi5sfEhClT94KN/erainrBlwJ9FVZx9St63cMsJ6mIujRVcSYy3y/RAqOAQsyYAeiG+lRPa5FroFmQeugHsf6RlseVj44IaEYJ0zLq5HpMUPS5Q3M645mvaVK1jXvyj9yInHd/CtP6P0Z7heYCkqeRCNrQ8TrXVKaxhvNdx/vSGycBq8VmFPLZPxnkmO0Kt5SMGSCfwtXxG49O8ir+dpwJvFzFOnu3OHfAiojYU3sO/u13xX5dTmAMsfP4eYAqUZN0SdcLr8zYuJiZ/EWA/+5cUrSod1Ebyu5ghwXOoNhGmIF2t8hipGaMZ72L5knq6daAwvfrcqlnBf1p6jHehBi/Ssq2wOcZMsrFST3WQsRjQpvqceuFbpxFKsUNzq1lh0q7plqqEAtsgszlmNufYdk3AoX6tvtkYykxeljjeshcEj7JF/SxZw3QnPAbeRf1HBOlvGOQluOZUN28DQ4JpFyDoFMZaHyWbm4VHNBgcOa4xeCb4tneTFPNMUG5WmDmLy3wJDFfU7BIP614tknnmCQ55vPNQpiDhAJIuDD3qMKBLZ22eIsUiWoIvNBH00mXRnrbHpnVlEsyTgHZa6qJ5w6CGydQT3lX/An2VhdBDYCt2pFV5C6Na3DK7WMy1ct+fmBH6SCoqwwqJsLX3CPzkiNuX+4d+YvSj6A/CdK707LtcDDnrnWxJeTAN0uK107reaJWx+230FVDGrv89WCIf9s1b4U8Qwds4bt73pT5Pav662BniqALVwEzwGyr83loxao3rOSzFB4+CXSBzEbmqNAS+nk/e1284iCzkNtoB3FO1bXwAc1mq4eXksso6+LAp58bF7Fh5afmZZE71LBRYSOezsvfBIoU3WnTUBYE5eQEYFm3UyPrA5/5vilyaO5nvxKgl5QKcsVqflWoNVpDn6FF/4Igeq5QTTy7HOa6Jl1FXZ/+t8Psxjhx/j1HJ78lgKsFLD7dQzomdoWVRfY5GCLG8ZsWl+lapPX2B3oVdg+tzkpSjVxUcDalNJwAOPmQWwQBCQ7l/n1HSika1c7Qtslavfb4L2/wXaqsPHfJFKoWRb382HJ7HQGpZd1yzlYropa2sJhu/XO8UTx5T9ZY/eFbQucEhn996tGBy/pNSN9dlrFJ7KRSvauMBZEXuddjupbrEn1hqft+0xjTLRZJrG+rydE+ahquRClCS6oN5U3mOeRUIsRSvfwKm/sFJRHaQqcF+62/Ht+DFzFfLBaSg50Z5/UxkpcleOMAPy8hM0348RMNsv4aXPPePV6ZA8ERaFlQikm4Alh9dAbGAaMKqEKVqpBbEPyVQUkOzfrCnYTl16EAkMYczh56irQzk/BopaN+kyaCMfKPto3BwvrLA0mAUS/wWpalyXO9KhATAZo7k24bNfvlAFXgL5/FenQmeD34cebUjYJYTCifcjGCtkkTWJ6E+hRP1neok1Z2H9jJrxQU9IUj9SJaBG59eThuCSS+Q2S6KNMTXd1T+JyDOW4TNoqA5utcJg1CeCP1Bl5Amjw//3v/o8/V30RBhsWRD1VF2WM+OCWl0Wc348eT8sirvYGKpWWUnKz8M5EB+PeL99qJq7llf1rdugL0auvrNvmrHKf/xJka3gcsiNXWwld7VQi9L47wB5z2eeQK8mhvtdq2E6/K+DOM0qLPVeNDrRLDcoPT1raMBi1St8SQvdreOC0eO5hk+zYzhnuRDvooT7uG1pTE+5BVYS1K7VE/W3UwN1mM+FHeiHuFH1y95/0FH6MZHm+r1TCDzjaLHMhZiT5BLe+vIzON3c35SPgOmuOywqb2j+4usFJ6ydJ8GkV6U8ZaLRtbQc+XmK4OnRr0Bk2ULx366zY+GD/gGNGsCjuYqRvT3r3DJlLLK0OAzpak8kCDBeADXy4WH/FxgIdr4D0U4e1Ct4G7sjvpKVfi0uIAbkz1aCGTESBI/+tTlO1aCDrRE8KOo4WtzFxVE7VZGiQk5lPgseaKWJz2OrpN4mrk4KxucOgfqj8Urf+0Om0mOmND//p9letqNwb3doUES2CY5WbFrGCxvEVf1IV3lgbD6szic74BsEC35A1b1p4+7PfVjKhNRPqIuim5JZkHGJCszWwvt7EN42fWDMTEfB3Q1FISNv05ArEFALt6WDfR+tKqh7TANu9gZBOt56zu4lFMZuMiEb9kqCVbEjFqXU932TuQHJ178JVW02e9SQpkptNPG8bIpU6zr64qVilVKwmGCrqIjtkCxwdiI/Fg+apkrofKPhCcSL9LH+oA9hnnHgSg3vWgFrr1+LlnF9IEqp9exwa5pf1VNciHAe+tPiOHyUE6E3aju5eoMCcdv3dIfV7i47BSItYAJldo4XhHe4b/RKUVzjmjZqEIMm3d2k5KNCY9FsvDvYlo+15HEEN3kp2nwlHPnGNcACp4M8mqgzZB2rQZx9/6+bm5bFXJcQyqBIHS07zCoB6dBiZAPlMEt68A8vbfCEim6yjHXZ1mzXpn0sNcANZxxNskfkO0DGKavJyEMDKJkawyAD9ZvV/EO2ZFiNM7yM9uXuf7xuzdgy4nmoH6zG/pMwKH+j7XgyMmvZQvSHpkVNjPlOIcaPuGSdC/aROUXmjRCrEdvzo26yIeppNw91texIwEAfeX0vO+TDbu75MgXYzFHSkbv8IG0UEtO5k9/pvJhwHAuRRXFXxT1ROPFPh0bljBLgEjOfDGP0XgWfBNwOq5Ns1eZmN1xW8nHJx1oR8B91RwTf3YPvED6eikFRL1JcC7BuxtSVCi6C7dz5F6sZizEKAU2iKEGWNAj1XKwDGotvGLibyF7dDg/82oPVBXiS5uR6rxWb1InUC7UWanBeUKfQvkt48Gda3vi8nQS936dDYtzfcj5+J9igczafXZzh/57Nq7vujnZQdExom1+9UAZsM3lU9xo2NKqyYfdd5GunWWsjV9bxRwjjWSErKrQORjwf6q6JxyOZqyyjkbBpklUf3FZkSJfBjKASaWHYAf77WjazyY12jLf6Ammc9+PuuwmvLlugBJmBubiUHMkCzgQUo3b8vWuBbvE8cBiXLzgeG9J9kMYN/is+uS2FyUWm0eqqeDtjyu4f1lJBL9RBRkpq8FhFDc195/VWHyYqgUUkLpQRIhi0Va5+F4nJFIse3UNk5UrGYAZyBaUzcgFkkPE/kdew/jJTLc1R4YEtcRfqq3/Z9/R5OdFu8+MvR2mN7kt4e9vssZmozxPAtS2Xmzc+LAUeNwjLiYfGhe941XwWYEX3XnJQ/sKNi2MqUo3ejNcrajIj4cMYJGBPZRHfRrRt2BaAKJiI5lU5YVszL95ZnoCRTR1sh4Zst20erBLs9g24l6u17sw5fMzqB7fe3bCDUdBZryMCuI6NSQIZEnUd7o9u+NIDkNjzeIvXAUa1K1qu8aw5TnHFblaY5N36mW0Lrhc/uIbp/otX75TCRmloI24ECTd9Lj3iqFGFbImJlcrCx/KuuUOUKNqOOWVKKdEbJI+Xe8IrCha6WVal2Rq1w0D7SC90EJSIkjr+7CAXF7lREbBOlUQ2OhY1ldFfwqogKwAel1wU5GkNsAyGRoAKqvYbNqhYfj/tX3/2+G1nkzW0BKIWEgI+hAUKRuIBJS3d2j90kkTRWsfT2HGM/NOzHM6+/AvvhTA0jxrm0jG0/NPycPfe9JGnqQKluwgQN3Mrc/l4DQYX5xX5Ku2kmp2qC9zDjS+mg8WuAgYVzOn1I+lTvQPFxfnPiUobLPukcVnt6sVK0gQjan+ViQWGpJ+mhsCwFZmm6CysdmKHM8jNpxg7zRQHwuAD44szvabQSpyFpwWvVRiY7WTOqz5lo0yhBy93BoE9C4pQjyTRHkkAABZgEvEGVDgv9XW9i5wgWK/ZdHhfxG1JDjyFIKGCxnMP4lQR0hKkDmk/D8deAL9tn4PTWuclmlh8b7DoTMrjTPITEUiDloHtu5fmoao6sl0iwu4mI2cUHzlstwYQOt/17O5Lz31XdiN1/fftF+2qTwqX6+DmZZo/ZBc4Ot9qenbY6cy8rBldNFULMw/KiBXyQvU0FCl2WHddrO/To1XdDbR++wrUvp0wEaQokbXUqm3wG6go3lh+QBv2qzuxMivSEc4j7DqyNIUkWNc+MfjMPSLU8Jy1MBX1taHQlHlx6fTP3t4qJ1EUR19HpXGFvM4n+EzUKSfbNLFrgRJmtUtWdFHMdXVoacdZApx+GnGAqiy/MjI/wJVqqhyjp/6sVcYliez7whuROVYx3LQz0EhQa+7sOEx4xpnBGXTPNsvsCEple+MnzmArzMIFj05SNFht14ecNDnX/F6qrr3PL5vLq3+zGQdbM33ko5jJcbDqEzFzJlW7z9OWI6f2YuGKLl/QroU3gKRP8UAqC4g/9mjaVJ3BCJ2VlE1cUm+DCpXnPIqOOhvmpCJcsqnvI1huubStilLd3S8SK0sec0NrABIliqYPLmfVD1dtSW3/AXI0F8akf2dcv2g/hWJ0zy8VVMc7R/cC2THYX9WCZXIaR+neQ54ldDH0LS/mn7hpvKbhtCUGXrn7C69p94FzG2TxlsIMEo2B2w32QjPyu4neWYZSex/Tsbg1ps52+OuPpIY1PbHvdIEs7a0ej+N0o0WVNvkMrZtq1aAS6zJ7hhSO2YLOilB+ltzGkoquP2LFqvCdy6CMtkEpVN+7Liipc+/WWb/D6S/PbASsa8GqmB9tu24aooXxO+3vLYd6vzpcOBeIbwc/d3Kv7lx40hn8BVbkRwjvNhRyZU4r4QbmdD8OVNVwTkzLBK4GHWgdzCt9tqpLykYjRnJCWOqPLMQRVfH4GTR+uiqtCrcGEFFUktTvJXou3mn4xhZIDE8POYqE4iHkzLQ5VEbVpazLlStwG2e4v9y4KwiJBuXtHaE3A2EZWEmsn07utsf/vVYexAuZdmRgw7VjIMzEZD4IwqS6qF0fh0Ot2fxyQ7ELksBV0He41jfBZ+NuaILcfgA0w2IqrAEqoKlr97jze3ndOOvs51o0SxRTKIfMMu+FjgoZQWAahDFeL0e7t3qXvIStmpxkGAn1Mkf0JR3eDJETOvi0n8oxK3ZE+jNcAwl2M0rOEJo6ZqTYuwLHPFqecMTUyeD9GQQJvYd28yAJyse9PgAIQf9GVAOxWDSNjbPNGgtTsiPu7L92ScmL4Qgb7+BDVZp3aZ5PkfR7zeKUzyVB+sIN+eGzvgvBXq3hKeSizbI1oaKNuRAZu3LYFRjItYthIjLsMsPYd+4IxmPnSE6WyAAkAu22dzrGFw7zJQjzxS5eINVjwv1ldhXsd0/9s2zOSeXAf9PNjJctl+9WM6e/uf2fghf6Lz319KYXIF9+GXuZd0e9EUTi6oaWfRJoUwpOYdvApE8IcJsiwWIqUw0dhiMXZ9y79oab2By1JTmDbf+RHCUnLhgvmHJaDIRDbpMvPM3EkmfkR5sCQ1jFVSRiBkxoW1mvn1Tm8i2wDO/GblkDNTQAnYrY7m/tHRCGC9kGHRvrhrs6T+RqGZXnIiexBabBrleCpNFhjiSOQjn6pEJ7U3udrU2CfHhpDnqDgrJRpSft4NPtFXUFSyRiG9sFYdmwTNzLX7ybQjAC17qRj08oFXjTU8NfYVcloyOdl9YuRr7xlb5ZYlp21XXI13n+C9wrAcgQpFtOREqcOjAqwyAXfvr/LGBGc10CfcJ9YTnEzDrNtojmokcn9hK43ljAqmEzMm9z2mRf3qB/Qfp+m2qZ9r9GZfGbiOeDUq2LbQnp1+wTr6O2VI/tTLBZaHG29AkjcAWDr980cDAXnAszpGC690UVDgkVbAwEhtdwZ8Bbin//Qs9JpwpBwrBjTv8PG38UJSWJw7D1F+fONR2gYnSstpTdZ9+TK2QXYw/hREKcJsMLyr2mocqdk79l3bWOLfALeQrTQPyZ7yY7mJ/YTnxkj4UtwFx1XhNcowAuPA5skqFNrMIarn7h5kJJ0SqDG0EU3xo1zzZfwy+TLcD5R9E6xOB4wbcz7IkEWifXNe2v9nlmX2DMlNSp6VoBpvWFBwg/q5q4ntGzVYxi7QKFSYqrlyEeAHwFm0KXzKGDZ9OQni2EEaxgbqowjdUj3qCakhQcSgDHSCPlaJN8nM/YKkhhO9ZBswOKRf5todh1mwys1lwQQfLx42jBFjftVQAVjnJv1D2Df8gvu8CGVcjRkuvCIRVK4QvSa7uVwUmM2B8JG1XHfi0quhsFkxHNQa1ghLFcQcqIxQecCfJwS3/31qSbqW89zOAmPTkTYUD94BLhLFxyCEAi5KMxbVQIJVR8mvXQ4nkEuKLuXrpwx4a8Oo1mu5Zl+o2P9cGaRei7mUKJB+6+mYvBPz8IJPBTLHVmj2n5qzsecC0IJlKBp4Rvo/g==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False"/>
  <p:tag name="BTFPLAYOUTANCHORETOP" val="True"/>
  <p:tag name="BTFPLAYOUTANCHOREBOTTOM" val="False"/>
  <p:tag name="BTFPLAYOUTENABLED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kkRwkDcp+/igEYEdfT5g1hiCTa/4vblDh4TfRbgovM78rTILTQL0tFZUKffyzIT0PAvgszZF/RXENwUi3yLepH5WY0PybXn7gXKsk69/e2KUJ+hnzDSkuz3uU12pij9s7XZi6CKgcEKv3kQhtFrDVjpOhqNUlpSec3wbNVwdfiAgUzVYtXeffjxmUwZWBOMxzYjIxIQIP/RWIU+z4fdx3oOo3KBZGdlW9qXpcGkwnq4/28D0RsIZVF6+yKeIm+gBUBBQnYOGkfyL9377FL+lRWJLt/nXh5DkWgK0voAA8cYJvyq8HR/bd8tVtDOlZy7jU4F8NvEV1U6FzhUmAYf7mnfHFu8mWnkWxpiYkHQRATKTbp8VtRMKOtZvaiw0XRTjM5zFaheJveJBvG3KzsT7fE1JEmTXTGPiBjJim8vyylR1DTvfuQdOpaJCxoAusqQ9YDdLrFYXcTWVLSKtYxaitQfSyEaElOY9cHj+ySSn8AH8g0avf01+wOAlS1EtboL1+OrxICiz2RUV/JEuLKZegX4aTtyXHhNk3doDpRXrbeTvt/W2ajXYmpWkiPo0gEgjtbrRwqp8hOfyd+gkVZqhhhATIKehbzCa8Fso08BWmvGXi3Vs/fkYCYzAjzl4JudLOXr8T2ii0mDLtScZlJUHMMwZ0ksam6/JpERmOqPGK6R1DvxcoI8+Cc1ru/NETyDe6k/+83ygY34kS8h53VcmpM7pDmip1vKQkDLDzvzDFer6NF4MW8lNusX42XHC2qSEa+BUT6MVcY5rjYrbF5f7iqRah1D3tpsK5zbexsapu9s4JI+b9ZW/B8e+PAUMfaWZlSXTuB+Pz+3vf8FiRjhpzvC4VKBDxBdoEcw9JEn0X12ImqeZAin4c6MYaaQKTj1R99lGhrihgV5IIcGvpEKBkdtVRjtEm/ACGYupgzQ3YahcR2LK9Qks8TZb1v/4KkvYDFV0hTepaqeRz95HTVliQ/aZMMW/r1r3WRi7uZVQzPzf8+9kb4ynvfVUwlhYqlCp2JAIYr0TXWhCoUMwXyI4mp1hclgWg4NLFy7ec7CSQYMspAaFtfWhHp/vRQHq+LpTa3r2j+I2cuTSxU1YxrC1onEe6ATNOU9cFoz0XEymNs0jS4ebqa9n+VsalhUYsBUxSjWhqwL+TXn+gaHV9P/QkQXyEVUXPOE1UGzauV0wJFXylqrbeLElzgBEmeWz0YfxMSK2IByuHUZZOyyCij8U7+kXLL8EsUxIx6MuUrf2SAmRs0pqmiGfGQQbt4DNGF7siRJGhP4CYBas4+5h7//AUEi2un2diINnoKbag3uDLStPx0GzVg8BXZSyYSk7ZGRrH3Sgig5wu4n63ngYoyQF3H8RuUDF12uedxfoPdZb8yB203X2mKAsKzAIzy4in7taIKGx/ItSKMMBCPJxclh0RFfI+s/ZTZZ4Vuxqc4H9R5uXIvS/9/cZ06Srwr6ufff2BIUvlgMH2BnrpPkzyi2Ljrlv/840MZorwLHxokXnadLl4cK5WEi3l1Wlm8X6J1WBg+W8RXwyJhKxTB2nNoG2bPXer8/zTIRAOr6dk+OseyvdZQ00WniXlaTMf7aV52t+A8UDdXI8+IdnZLTURxVVWD75uWhT5qQrEf7vcEojtrv0LmB1ipr0metqyoRnFHBBdXQv3t5sa406JBiSeXTQitkdEgEN2b1/bDJHFzD2j0W0NUop/wtiGgtgfiYDGAMaj38Kjywk2Oze9jbQNJNRY2lhIlgRWGEQkeFCZkmV9wrH/TFsMn7w78rzWl7s04Bs0TlUD+N43OHgMdzWgWxUwUzB/7H3HaJP3/gsKS/0tSfIPjawgn2E0383BnrHYmBW0KJbE9Mf0JJB9gFnevXg2W92RK3RZy0H75CrDHLivhsiEj/f8RRe3qn/aZgHSUMk/KjAxHvPfifsq5T1g8C1+aNKGP3ATaWd4vqQf4iLet/6niKWBFlkTJxNcGzIJtEMhyIPMyOZayorIjwanjfXkXXmC+VYCUwflaDm1YnZknRNsdqPkDNZgjkgQszyOy3QbBr4pHGfvdAJ1Ifw8jdrT1tFJZfKygaZViCYVu4iymERQe6PJaTmBwj1LQ9bfy6mQDa7S3p2rcUkZhOuATZvnXU7S0njwqQqKNkn4c2rlm4SH1gjvt8dNqCIM6K38nMhYQ/2dssgXIaPrHmvmxlx1Hr79SCL++9dj8RZSZ60l1yMVk76EPkOXMOmhC838HVZlMBXWV9dZDTcvOqArCTj9Ppifrv5G6vOJbHUvCH9gr/AWJZ4fbPFRox9Jdg0IHjc3g4fYjG1SF5G9TuuYHtXyvTPzg8rMXX4++B0i6JXpbvIUVxj8eRptla9wIya9kpot6WGBHXeARMvh+yMQLiJ7uC2zV3hD2FicqrzeUVjZYCc4l77IEnd4Dw4pLiBdMoRl3ZPGWiyQERh6Z7R8u/Sy+41ZP6GMmiAquW2ffk+jqe7VU8vnIQnw63zoYD3/8KZG9uR3caFk6V+8Vphv5YD++4BqdVeF3yfgQSl44jyEQjipoZaTRt5tA5ZeBDGHBUpqwSgd+oXjEqxGxeya4ver6E5EZfw24esxfX7VfGMKItvkDHLwkfcPAG2HWbmtPeEDQ6eGdzo4w9Jd1b7jmb+BX/Quld3cA0OEVmu/Vomz3zu5jGlf7dbCDSKKI/6WcY8F893gMH48Cafl3j68m0o7+23SF95Xx+7DVsZ/F9j6XgqImPDJB23CGBA+r4uvFkamRhLiW02ZXZqmAcI70yRhHCaoDhJwlL2uhGkX58KDHQrPOxE3VbMmyJrlRddTGWYkbBFybYXxWhHiqhRcha0C61JMc0u66jt4UlSLVbWHPcF4s9iD9POISU2FOZz4OprBp16V5DZz8vmlDQIiNi6jXqxTB9IVQ303sLmuyS2NnJRUdXdrLBuS9xFoRZTiqaQXWRwIAVkFxgkD9fLi3ehbb+LIDa8oIQTL1Sf8VEwpvbTszGq1zStEycaaOTW/4VawpTcRMKcOJNaN0youVMW4NhObqPIRxrfxyEBJiXBh1aR/tY5qS8Wuun4FACqMxBsCAl5kxARbesxNllwhHJN9Tq9QSV+QMpHuY6VRHDkw24TrooBe9WkoZGn+5Fe9sfCcLP1FsI56WM7mYjpTFcm3mA06khXCT2NGvZDWVcTCx63jiLvm82cj2q2hehoIMY+ngJ52xVK5hyV6JFie+GbN3gqnlXfVLAUmkPuicgw898ShGs+bJUhPEh/5xy7xROT/e19KFOwiVEEEsagoUahmHkTZSS7sQeIyUiaPPuWUKPp1dEf71jNiFQkEU8WWN4hdyO3YuvfeW93WlCsSAfmYj/snRJFM8X6FDKVSmcGJeh4Aa5UjmkL7/ZxOAAv0sZvOD0+QrlrG0kC7MMOSk4akusZtzqmCOwvN4aOqgQOHip8liX6NUO1OrstZ21ldBCtqELeiQ2ZK+b1da8oYak9aE+IDTOyaGpuma+hXbUCm3v5eA/pG2ox++BXDfT9Ay5xRDVTelUrNzodiH6cLGSfNR0lveqktHNsRxyb5abOCulcOY34a4U6Z8Y/3iGv7vsaVLim/PwabT084ariOQC8c4fhDWTk/DiGNuXovq73mgbYC1lVyE7Kf442HO9igc/xHOUaBmZNtvAihNI/rJUTK5JAC1cV/1BC6ImhdvmYE/ohTCNLv5BlF4unsnrYxmdQtcEVKRuPCrclQNHAFDw1lW7SSLOQw9of0fvQ05BIXVRns0bXUbP3UvHiaUBCuGL3n704DPD1BK+vBsj95qORoG5TMZ/qFintJ9pa9aQm5Rba2a6WFE1mITSvZT4K/R4RbKphxTCHLIAywaybsH4i3BqdQGsqazw3WiioCqn8faeVdoOLwskiV2JVUE6PLitLtZ4z292S71BTZeAihru9Xk7BB+xGnIRPWdAbpBeGcWWM44Ojut7rowqWLq2VWXUmuP6pw9koBuHpG4ChzVku6gEqH4A4gkTPc4BeC5t0p5Ef2qjoybNVSs6Z/xwsq/IQl97opj41oBYt3ww1EoqohqGBkwd85Nlh5YASf/n7AmDJArywermD+ryqTadBbLdMydM0HCmMzD39VZsWGc7ANfufYtVuRS/oR1XHxvSq8GNyjjUpx0qy18SdVJbJtYASzduBTb/g9kdNPfYpLaucHRZX1TfaOo9lbk8yvGoH9KBa1s3EpHahKpgCagNFkh8dbq/1x7aaSO2mpoEZ2mQaomBAtlDrFeqvbQxd/F3rRG2TdlRmGJLjSOjw06zLHSrrTsgCj1Ij6nZYIlfkcOsZb9Qhg3YMXkYm958xX6cSy5C1tNiW60yJOnhsw4k7LVe77DieDr3HH4Tbg+W4J3GPgZAmjT1k8Wct6+3ihejniWz9wPeGgSZoikOscvpajxxJWIexl0hnUj6ZG1+Bz+OpohMb7VvMVH8zoHuw6FvwvDCVE4LJp5YIRD6om03jvCaEfXMrIISLBBCSsvhYYTDzUMgySYRLNbyW/TldCnulukxYnS8eifWcsKSPxZQhOpXwrCmHWu2vlaEYYi0bXSTLvE5xgIizaw5EKicqjsm81jBIpZWw8D9od+y3W0qXHsDUa9L6f18+jlipA4BisI5F2XP+YKTnGmtfQEelHhcA736zQV+D2HmZSRc5xnhhMLFWKbM1WtFZmvGn1JPYd0ClyF6R/mIW8EncWsd3r2CrqcE/lj1c6PYF+INhEaruVy0rLGl3F0u3ljwYHXmB4mstG7130ypDH5/ZB6ymIMLZLxM6g9TC/2kwtUqFf1K4xTgkr/lETjiN81RvOH8EG/K8lXD6MYrOIkjI7NnWUPQpXPFTIv6fplewgffVcs+4szkxRMcTl5zQZwf27s71CIjVE6YLf1vIHGg2P7GGs82v8nugk0Pvifj3KtPQoT1LYq+x/xvW0zBYwDL9sSm1V1metrIZ19AanvlDXrcGrbOny6CPsPUHxzuEcIp4OVsI3RNraBGi8qpsU9t1RhhGoYxJCez2Zb6fnU+dbmNRqgD7jMGmVTTaPzBMSUq1MRSzJsOsXYYfLl+72RjfJupvNdAEJ9/BewBTk57VBwPeWaDtkxIOQyIxswD9BquD428HzCZlZVJM0dKbUDGiBpfdubeNCEUdxFnoTcWQ+QwbdLW2D/ckokAn8AowqoCo0bDr4JwsYlwejqWqOZ9WKnb8jnJ/QoQOop7TYa+IU2O2ciyr7JAeee8zTG9+IlEiLoGsY44JwixRKw8sU3lzirpLf4p26IqIrDkYwXhcmEFzO28Kz3ti7TYeMT3iOcGd/JIdJUYW65XuN+3GfOWFTrVx9dhHXwoOUK5WrXHQzMZa4V9rzT8oe1++HFGLTUABt/7+OH9kdrTekeuboea5QIwpD1x8Pf+qYcKDR+4tZ3O+KDHC+ZIYMiNLoglt0D7ecbcWyW8hShsa/q+/b9lV7m2k7jrT++n26WukkXlAOQZ3m2Z7RoeRmEaKhnHolZJ3PI3LQDvG4MQqadEQDRsK5H2TItl/RnbptUj3ClPIInqnbXKlovWjIvVbpNBgjOdtIkTim2C8Xfovs86z0uwae+JPB95VDO/8nmYT+gGpiOIGvXhgVv7XvA2z/fP/QrA+EfS8ApCyOunQvqYsF2lo5R71Sb8wZWB4ryraIgwRywEgd4a+WZSt1BUDx3tr7kTYOKZZM6WJ5YASzrtv6zDwkCa0jLVVZZEeEw38pAacR6XvU55oe9BHDWuL9Ew1ODgjIGBk0u60/OYPpvavQ8dio5q7KQQjdeiXYUCZKp3QlH54ImkFnWbwXAPeFjGSr8ksNKLsrDbOvOZbvvdnc63tmhD3vu+kX9+fFDkRa3DufadnbAF6aYay63xldT+RRfgMtqtm9oUcjOI6R4QQgcBbK7+r2pBgc6DToG0SQsmX6KxLtm7K/7NWREC4t+yglNDSaaLNX8iRYOOli42/3M/b6gLuQIrspgJosmUotHw2MGN9YXVyFZi7/uMhKyZ7ViGZ1Y36Jcups6zCk2WVbQu/+lnylRpgp9qenMgoIB4l45PCmBaqZVZ45dlvB92qDITg9xNFWHKtnylsm7a5+Vm8r+nNO3V+FFtm1uW4xCu2XtYsSIkyZNvW3TQLyygnnx3INDMUjmkNYLBbYjFNDF+ukAEHKjxIFuXuX1bBaEqLlWmFZy3CLd1RPjY3XOOac1mOfw6VHSZlbW2gia7x0DxQfoNJQ6e5sn2uoP4unSkWEX2AxEB/qw5Lh/Gf12ILZ13OWAaQgvzcDyfuwk9+zf4QeJvu/LqdFL0eoqfIlC8KW/GSVvjN8OZ/1AOLapaGLh/9cDUaDdDwMT4StAkKdRxtwMTWFHSdhjP2b1Y8e2zO8LqaMm8dEaUha+m1GLnGUSpPWOSDhvgosJT/I6kgOH52C19qMoJn752uoSHQfycmJYp//6gtYdbdixKeAUL6lCqPBnJm4gIxf807JIMyzQQDQt3LgCbAYVvSeLw+Z2Xki40TOydvJyPxREosK2gnzdcqZ/lORU6843cMq1ehBh7wzaE/XPf5j8uTW5OjLfiKQExljaWva7az5UdonA0hD5jHejk+NDy54KRN4toIcNgG4myMQehPJtLeTt6vVAMdlUd0zd2DmYPLLAvJtEAdoHiOfFCrI2BzJh9xfCn7mreweUifo3+HVzIWOgiyO6OICiVooRDp8IBk+wrijSaoODw9ZzuBX0GFbkcOn4jOBIbUipcomVH0nlcqyj4qCTl6F0lR0vFpIkWAThCqRaJMGQtwcGC3koNcnYzcWOCjFACwH4kaOLzvPaGDM94870SfuzYzr+10x16REURVboYs/aBGbCp/cSqLghLpIdE6ox5+KD4Jd2RJkL94aOjt++8cm9Q2P/7PWhmwFd6RvVSKa19XCwD4JH4IMBqDDB9fA4W9gDclmyqcAsIeh1nxAegjnoGPsnj0c7/nn0HDDBWa17z8kXk4Ue08E8hAbQoeiDzprSYzzHjBnfd5LQfWWWam9LQphXXYurEY0BPSQc6VxR2IwO9RXR0xS9kzNBrDt0As1l7USih6x8k6G01ii3GNthuU+bLYJPEiOadn0RuYCXurytaU0qUTGZzD//PMHAFlNzrMLdmh/fZxanY7tVE5oOrfnO9qBU0MJWxR3e+t4tgvcds/QDxgQBrTL0FsgsHp9yWgsnf54k0lZ+aNNlT1mFOttpSuYgyDpSJKCk1Bgy/+zJN7/f/Gyj9hXefTeBob0GFyhYHNIqBkXZGtxAML/w5/qky5d5BQGwZduo718xRXBnAfNhDLZaPdquh9ACs5xYQ7f1oare/yCpBCkHIcbu7FskBjzzWpX/PHI1kb4X2ddDvdOc/GuU3V8pC1ZfqLpqZH7PSN6AlmFdxPnj0oYazpKVDJvOC0kRrdigNfaa5KNAGkofC2XwEKfOTNMN7kh/7k3YjIv7gjppMbMknXtp8bE3G2VjK/N4RUNPUbJWjyiZJHoN2waxG/MTndmmfEGp92+tg7kRe+P9SqoLlpkAfGZLZzLDEOJHIl0+VbIUV7D1EwvSAJfnWXl5/Wc1usOv9BrjFo79Vit50lWSSzo/EtXkLxsAg7bGYeVS/RtmOyFG127/dcnEpq46MqSOyOnmk++yCs/B/Z3m3ZRfze/LtYor+XbdxbicyV2rS+bw2LfcnWqeGpQXPcClvT2MELwZVbuk5BfQCOBAPQmskUnp6c7mEtK2ZMJIrrnH3egMhSMsja99iyDY4hGVFKuH/DVqrOoldgLDQUhJ1RMiWd9GrVDi1Ro64uegwrtPkVLFiBPPKXyzUu79IsnwhH1AX0ksh+Ti3HKiIkxk3PQM/bixj4gXBuP7kUqkJMlWPe5gAe07vU0+SKqOXg6G+lDnI0pIkQZNZCpssHSoYUoYBwWz8LdjHQaSShOiAsqxHx1xqBkqK4fbK42ajgIxQcG1YHo/YquoZsISUbG8OUvZUWVJvXFHQMopiUljWSfUMTaszcoHS8qfAkQcXhEO0BREgwVIovGxhEiSRLm8MfZ+Yzf5Ya2P871MC2tcu+JLnx1iKleHLTCTR1V9oUD2ehI5rSo+zNgdPqZDeT126ymTuaJlUHmfn26cXmNELdalrsdBMbrq+jCZaF9rUMPVtntXeRrcupShwr9NzQc2Hhk4sugJE3PbUHXLBe/w8HA4sSUXX6afbxpVoa11VIjtSNvYg17bpsOPUFNG1Bx012WiRpqEi00X/jgM8b7R0BbTfDI/yACPslDXhuFIdzJKWwDSyfdNJUNehhopCersxjkKfAgCNCEr8YH6z958b9aJIhmRVZJAOmGnWDExA3NkNb3bv5aCTer8dmKnsnKWKtYPRBgtHX47rv2k7BQy+xykqfJiUYt21SGcLtg1MYYDGGoP6xgz2kmf+0guhhXyzNy/9yUf3d7ZADx/Y//aN3d/D0yjq4JHf00QzCFXjv316SlcPteGKzSIdWA1q7L5l46QmgLGQqKJdWKH7Q+O1J5lIvHDp5xuCdkoZBLexGvVDiKezzXEalQtEE9Ls/9RtiPo3THyO7O2QhPRP1jdL3Wm8Pn8qn1aVPQW7B5q7t4V0bHzQ8FSR6dU8xMCqAWN7diUEo5s9zoRICsh7G4rHlZtc6+PcqEdUtxw8MuPEmprmmoZ4V4GMQQITPa+z88FIOuooEd6AblaMyEWsworSuahDHWJgtvKwmqJZQSzvXbHkKjE1Fa8gagB9HpIhoXR0RwxcgNfLp8Vb280nO9rfH5yx9Mjy8+qmyUuFctry/Mh6dTOYZ52bTGi8j43Yinj1hZZmUhi9ezTwTcnxS9Jndjn2KiNOkT76/H6IwYEiAr+Q0svhOzoox7l4ZJrQuDi4YU+MRmI+0k8quWqnvETRJWdNlHJaHsACMliuIZzQ3gZceRuBdQniNihbo1BmMARKGAEF9N7zlkZRHe6bNoy+JOseghYjxG9lpd2XjFyEved3HDJ//9aONWNtBI9XtrLAc7Lq8XrYA2p0ii+1wtvCJQJ9pIQR6AWNFhdMGVsVehORJWjMZEz86uX7dKp+iRMTiS41XgXiX2tF4Q22DOOU06oeRAvasdGqJZFD9gv9u6nsUt++RvfFL6rauh7JsDGcpiJl3CvKgrdpmZBrtEAhfyy9ZCRJaYIfUYAp6/OXjuiccyxH148o27tZg6P10GTyHktvK1/FhVKt1i+h0DPoLOu5vhdRmdaNq+6ZYv74CGuxWS/pGUCyRFpxuo8Tqkj82WR+G6xR22Q5XiE7/PSvF374Q2uRcT6pZWYZqVse/E2POdp08M0FO11svyjnZKT9eV58/+C2eqmr7wuV+ggEQfHlH7UO8sqyu315D0RcN6qLdRQVlayNQcOPLVD1/iZKdcAsPf1E1J3BYX+/ZxdOkvVjqjmV3eSAawkvUq3BmTF3DyKnOcK9gHXQSwU3C91l0lr1t9Y0pslJUXEbKM8/GX2Urnnr7/4OmwT28Q+jew7h/zCiYL7EBXQVwN9Y3WTDcGL9Dzr1LbdL7hgRQ1OKWnSqX0ZWhZO7MbS10o0aHs6jS8KwgE9OELEZUazflUttPizaKkuWeEhlPoQoN4HWKr4hH0o2itAECVwkzbQIeC4CbxcmKCvdG021RcXYpjyHTMTocwDWLjc/oscM732UghwSRK0S1iLLBywWqGwDlypM0F1OcsT9lhBxT3v9ppmNR4hXhKQtxb4Yx9M+IOoesiab4Ayx38AwaPlMXk3DXuH2HwSoOacTLsaffIOIe872cT5Dgyv7rcz0Uw2GAJhWV3lNpuUUvlO/dl0LTRW6PLEZEz5zEpSlaAHCNW4HGguWpMXW5eQ6VN7vB+stsK6QdxeVsjWX+OUW4KBJK/LsARmy4nCqHeADWJDsUv7a7zUGJDWCEVd4gPUT5MWX7OjsZ3K9PJY/kvyoTEE+ZVZxHuklPEMDGj4klMZlLI99fJDAUrh+LUTwtLKJi+OEOkDBofsPg2Rd5KcuI33Ff2/2OWVtPBMoWZ+qkMZShJhoJnDb83HBX70rvljzXnD9yrriL+3EkqLmkz9CpPLvPwvQ3xUdJhfNDOqCG6LNckhlh7mUiVvwTF3D7YBGPcS1P7OsoSERx1dqCGNOIipJS4TbpB3Y6d2mXc+u8FTUFuA8dDbLJQAdggcGqFCtYZYq6eDkO5EIbvjV+1JE/OuUuCH8o9eMML605DY4u/uuGfazhvyEZaw6rijhAD/sM9gjru3bSq33/ULDYEjHLT78qbmoH0/LO2K40XVWyN0IpBsJpIc4AuG4PVPxc62tgeaG+qoIC21++Hw4ljSGlyG1kpC5AB7MgH7SjSb2yMW7c82w/QT62c721q4g22iHPfJGer/g/xM1eFDxZ95grN2isL6HYWB8pthLIJPzGKlHDJSkjFaixq6l40Q5u8Bvp/0ctJcSWfPYHsSodHuY8Tn7AiFowgebhE9UaDV1ij45JCNaATPfGPbIfuVHYRuJMsPgMwgVMobk1uDq3uM2zHlhE2mCMDpQz/uYlHzJZ5Mgxhd/f+CpIoj77eM939GvbKKaIji02bjtLf/EI4r1/Ovvq09SoTQmsMVx0Z2VEjOFgwwSMC7j2OVy9GV0omY/Vpi5u+qyxM8voxvAf12Vt1OvfK5jPsE+9Fg8jSsNyrkT4JsP5G0XqGihQ1YNhyebx1H8PtzCa1pVf4dmkRVAY6WtL/XVk/ragV9T366+C3chFLKEgT04dhIbxM+Hju6IRc89u+x+hOyvibPiz9TIvWMlJRRLdtDAs5OIc5o3/9vz5LMuJMpPuEu9F+ONMQgNOE5KlWF2Ro4IUAYHKc31YXuMVtj8pAKyKlbKEQDfRdgx8kuDQn9GVHVryk+9raaCAV11PdZFpR/8h+so5Z7HuFNS3LDVUTGdVBp5J1jz0sPyh//Jbkw5kV7WBJlV4poVDZEp23nN4VqZchI5/FnaEeZwfb0/kof1sCbdPRL4jSizQyu2exbThwfgSgw0FbeWYFPgEdk6Ame0pJu9fQYkFRRPOPWbtQc0zmqE19rkB4CV+Igg0bLPVz9T776mPPeyFTTpFBSFU4r0ePmfhLN9XLjfgzFsKsexL7oaNkOUEUbiXtpJ76UrrnjCQTHPuvSXmgpZ0fW7XO7Jf5l88n1ney6ywFKLeQ/w6Yh0ea91Q4SQDzxWTa3Zql+fQi4SHvv13IXxmWzndaTn5BvSsAJPBG8dRwqG8mfroEjmKX+gKC1HMezZUyLkuBMYFXjfKo0TF8rSmq23XCTwsTokcnksonkLAciVau9PdxNltnh31tRISwlakCrhmf9delXdJ/5Oe9JN0587Ffs/599bkw93FHNIVasqKXDVeY+cuklRHUuG6/7jRdVq0UMQsHhufYcWD7O4SbQsFaWXz8hB/ZVMcOmBJzbNwvknjuWlN/Axgo/QfXOO5VedFXe23BNNT+o8Sq6G1BtaLNykCntF3Wmsio/5/Yzrda6RV5j20fstTAm+sEwuYXQp6/0w5eWlqZh9S0eizESwNble+F/8qNK4sWMSpr/798zqbrpFLaOdBZiIukry+RKFv2Jb50XgF04cEAzQJO9MoOzjzgiaJesGLJ/aC2pGjXKB/68bPJTTPYxafssUjVSiCD1GKdS5zK7Ma6dd2+wDs/DlUcXR+Tb/6ie6xwvC+dPXxlnGwMd2lpJc9ztXwE1ZgdYBjWIeW/mgsaCDMfObOdzHmWir3LAunlGrf4YKjOvHp1pGRwn2S3stP5LAhK31RYx2ZXrM5KgoFGyuYZa8lPxI+51Ynig0EP0Iohu9cztvdj+Xnrp0U2/af0rBr+Oq+SjmHuAkBcimHoMZJGAbyb0kUNhACNrQEANF4MvVRzAx0PiPpwYg5+g0y+CGhe35vCTbArW6XLilhrzmemeyukKL1z5DkVIO+yQ72Aj06Begfb2qj5/BGyITY8igEKTkalaoXML6Q7NVgUl/gL2kmk1S+UCW9clAdWx3ytRg1rTW58ZekF15YoGRvsbWMs8gRIbL70kDQxaTDIjecEFWOCwPTeowxLbH6REAFr2/j1uG2pnmOzwcoVg5VvI5mUPCY+u6ruDadzbpO/UKanyBbnyGLj6SFjAJDOowCbeM82ujvnUPBygshNY6hRR516Kp1a9KLsFUWOv9hTvKdDHrtKoHqsLHN/RxWwiaUQJHPI5MFsHk9f+MNFIFTXDTbZVGWlLEhebuqpA2PhDfhuwFfeVLaA/B2rboASRbdw0CVXVxxsa5uNVWJo/siW3uCZqZQqkOh+XjC11dsgTTxPqJ6vdeu/rTDlyQWiFytLsKrmr5hzTWSL98P4p0J+Ewu+L5CoLgvA7XYyCUtGFsV+QVCVuRoKwZgTsnGC6uwAUwJP0/xUAVmHc7UMADVe72TRMo5gt6+2KBb42KpIcRcNVcv2RyvXqhrZrNxpk4vEdTXz9JCEpRllAAMbuoHjgkGoJJ+gZH64umGeibnXRSXQlX6DBhCY+E7wUgoeujehWDi9Cl//2cCrXyngg2woud7fiiA7C7Fhv7AyjqmjgMVe6ejP5xIYeuGwGT6+KMN8UjkTqLZuxE9iNmMQ122MyzGnsz8Hun4sGf+tp6sR8fk5huarcogL77ObWyWC9RDzpWjIokcL26oreT3r3W7fDHhM89QEcO0kZw9B6cG3eB+oUPTFvxJLQIBeqeMNzzy0pRcY/oj0fHq3gk9XddA6TAGLTLVhDbBQIsIBhtUacrZCzRNDTYj5bbh8YfnAHbm1TprXmCRdd44+oo/9WeB+0oRKj1L8UsaG173NBDqCQL4hpBH/plOtc/e54Im4aSU72q+YTw+U/QRzdvx7eDwZU842E6Q6sip5gtjy5AVCCOVmFA+u1WB99RBUILRuWuT5dJnLAiNq97+O/0JVtz3QnQYNfHxaEwWp4VZE3OS7qp+Rx16WojnODZ4R2KNnx3SFZ82Tnop8CSxpMEW7lN8i4oo5aaC44hqzcALIsC1B07tWRPkwdxDj0FiU9uIsMD9Nw/Q2JEhEtenDn6YXvMMxG5JyGFPvr1Jmz1xyESTRXnGITRl+X7d0CPFkkYzLJJiOsl5P2hM+xe8qkblRA6PClJglEOlNzFy1EEXREhjlLWSn5MAfh+3elhULh/aF/CmbVX6CnJEJdWXzUNpeba9rpvTgIblqNbodkRbDONtgrZuDhGne4/9g04l4sYvpGN1W1DCjk+7GvQqII4dJNgeoRyYORySud4cFGfDBJez3dIfBMi92FeGSwkpdKmAzdvJWK/CB4QKcadVMTvJ42GGvjL4BWmVQgo5KThCEXAIyc+iJjvyUPLVZl8lzWSBlM/IvMajfDZQ8zuETxi5VHm5p/lgXoLtpcUgZGLfLqVSVgirXz1QigUG4xn48eRLyXuqk4oJfKTL0BYKDNF3UQhkSoZ3gD+24R2X4Zb6CAax5feg1EY3TGYbt6x5h16g3F7be7I/3dxgCpZc7dlSyABUlFjsRWOY/O9A5JCgtSMh2ffqa+1nFeeNut/V8q/N7vWl3T/OjsUxNfTilM8sGKeRdX1j1ErmhUSZwL0HJqHgVcJj/cYHsa1Jp1Yt3AywalVS+xvOuF+w7VlgQcEhfZwYVe+OUXz3U9mZm9nO5RHX5/s5i1wo7sHDpAd6bVzYG56sVCon46h1SYInSJsQniMb5KwJ0vwLtwGveiiJoWJ0NOjj0hgoMNfPHJweLPgP0i22owN41x3+juDsVdIg34hw3ybOEYtsGTfjco2zOi3s+vI8/eu6WGP+ZJwNeJFZ5w6eH5IM1D0NCSGapFKRPUpGCFYev5Q/RsgospE3wDqa18Ln0uGNb2gqH0q7E2D/QX+EtkZ/s7aKGseERKJJ703dEzKRhhqy3UwhDvdSWR7HOt7IxVxGq/hUuAnykCfeEcC6umIUARE+fjnSE9KZ3lAyO3olrVsAoYTv9c9Zh7SxhBel+dX21e2poDxlDQdlstw66fCcItpF4SFxWf/t7UVlElNpytoo1l80278g1IX3/jk9GJTU1PH82TEjpkSuDuUyt8dhH2NtBxnBqyL0DEEBwfu/guGhy8qJsbvX7rS9MiunirSz8CuhrBBUitN0j+vw4AtqBcYR2Q0mIZplK84lS6JUc5wd0Yeqas9Z5BoFJV+zvuFCCysCJsl1dgZrweImqs8vajgv8lPRIVRzTQL6fn2iher69pd4n9fXpZjQXjv3DFy0aLAtKPw5Gatf7a+2IylSn8sXtV/z9jOvD3AJ783J0+diIG5nKpPmJwd2qV5bjLEXeYCFrFVDQACMle4oGdwjq1N/WzHT0U29fJjK4Uc6QkYDvWKV5//gTCd2e6jWmV+IYutNCunbhyyMCiE2gBE65F0Amysei5eKe8KhQiZ3ZK3C2Q0d/kYZGODeDHYsymFX0jfFAsXF3nVUKK75kKPmshvBW1XGg8FkM+phjFjhwvCcJC6XzqGQSKTAwtKPTgh8508RrtXcxCjfNgiAUkHfqd0fl/DmcHentHRNYmRn4BJ0aPjb53njnbfgzRyyQCFz/LqS1nCgENA7gYLJz8Uzoyw+yLSLmkZ2n1zs252Vh3nJEoI96aTZ0uMImzVy3wxuuwKE+M69x+MfH13SW/yfA/lCGMvUCOaPVgH0xM5BflQk2u7oFQ92tW39wLk+4mb4XV0NTjSpQo4lFnxdbNs6Ga9+BP8mqaWCAmCeeRxVdCItnAw4hEAEhq0KEMlcbRQN1FAxJhDlBIKye8Hj8DccWIkEMRuOUWMSxj9/wrvSE1+fIMQkiVsIaaIqVIAy690LfFXasbxdDWT7yaEJgtAdWSxIN4Yky4oCTzcExl813ggRqVt1UA3nzxQrpuVQB9RP0l3HtpSwQdZJgDaVBye4rAaCkw2Y2QMys5p32CPm4sO244TpMAr2poFBmVDnR3WGB2E4nm+3fYZN0Jb1O9UfcgE96nA7BDyuuWoNp+d2+A2W7c1XKXQ8S1czxCc4NpjpZgTSQnlUTKyfBfVsplshH5rkdimhGGm0fsYpVHh7XozgkQCLJmqMCKGwpkhg+T084SH2hT0Yf4PcWBfPWPfbltNa4Ir5IQzNztFPhkb9ilEG9k0xmcYjQc2wx4GSFsaINdj2BsNyJgHcA3e+neXSrU1HlicTo9lkowyQGzu9bSnRO1Nm16Lc7Uav+ecSptIGVX2L5dkS2RNUiZkqZz4jqJElMskYxQjZ875Cne/hPlMRF3ufis1JqwkDpwAFJFamc+a63Yxh8bi/HtRwtVPKLkfRTE4h60nrnr+gglmicVXqdMyCE7M0XNr3/+y0e0NDDuQEOg4ge4m7hCzWHNN170+tTnePeqwma5aZPqffokHCE0KrwZ60x3NzBPiyAJW5rstz5G213KKI4lMfGBvEMu2XYP0MaLl1yjuBHNJqPZqPs/HZlfRTguou1hI9KPCJj0J6nAxMaQy7wCARsGTeQtwx27WooyHZE18NwpOK3SJXoKp2CwI8lTDsGg+Qzidn4BC89VcgQFjUsEsaonlXH+K5C3oJqBdOMrGjeEVwVnlkYRxjtmMe/4Lb3g3Dx1kLAXGl4D8b0D4HA6cxBZQlMtff3mo2D8PSittDKSyhi1buY2lT1/pWhPoUQ8yf1/Slf2mXiwzq8JTpRpGTuFbFW3/8YpvU3lRqEQwqwDhQyskVmhul0KKYY/tD67zhxjIq7TzE7hI1uHpfQb4Qrlxq2s0iMjU+CSgCcCKOtZVgv5fxWzDQ2KKPoFMdZ1GfW/AYwFwcjj7ljLM3merlysIsTxPPsTmG4OGPw1A5yR11e6wvNEhu/rXqnZnV3bOxJY2lxoGWA2sYgbv72xG6CyVmGKbcJG/0GhmejEfBcL9Oadf3xuHaONb5uVL85bh5QkV0yx12LBtqW4kKIJWS9kNBXidc+cZi6Q/hf9yeqJXKQYUne4N59tI1fsFpkcdJ5D6VeS25IrtdfX2gMNsxuqwzgm7bI7fxwTK4baFoWlY9IwTzqLrF7x3vUxPtlGQ1IhtBUHuk5cc0+tTb8MGIwGqVJb1822QM2lSvqYtfbVrVPqGE+NBwMPchlcnWFAm950Y7/scg1xMrhNkLtOfLssrKipemNtR7AorZfkps6310fzuFIwLmeLJTby+MLi4KDLu/6Vto01VbezTHy5+MAqpKmZfb0kV0r31s8sgURvsS1xFceZNRjMK/BXH8dPp2CmQHs4gKae9J5Mv3RxxHA1T76NgnED2II6wJnX/mpzpxNHUrej52egpMBTyCcYeuJNm6VroAAH94ULxBLAeR3qWi4TwleleopCD0bVg60ezBxAawRTIpdIjgRdmvjGSXD9Tz1lIuMY/BSwODlfSIiHTvByWOCbBnDwCOxKjsQD0YVDVmkmWGW7dthE9ry2QMDOsNSkp6pku1Et0cGaFJDP+6I2jsPlHGVTVUewKxqtZWUjGwcj+U9C9rT6fHx+6PV2JbILXO3fweIhZMwNVJ3cbL0VVXenumjBcy+1XjW/Ic+NY1U98YyvTKKWxO1SgsKJHe3ePeSI67gKpkn3pkujFebH5LIntGIn42kS4vMSc+ObsPD/fizusYtaqtyU0p7+WTcI151lUGSP8pU9qyisxOu9De58brbMf//8LuEXycosyOK+UYterhh3Pr8yyH0FXiTUaM0M5iFmtj7ofLjg+QYxUD8SvEgEWtB6BOkndBHWraBaXCa3YJBHyebFO4lzNY7iZePB3lf0Pp7IyiB75esTNdRzhuY7UwxPynlgkXHhxGZcfeW17Ws1Pp5szyF3g1/7GSLy9ZPHtuHCmKsHUUoP0LYetuZppTc/QNM7huwoIZlgjHGPULXWrA9bMqwnSb/3wZJWpOV58j10L0S0qtBYgl9e45b8VEZqgIf6Sr/DjwBm+FGOjTmeGdexdtbdOByk4qMSCWStN1PT4CVH+rvw3t7vm1E8sW25gy8wlbrXmpE5HR3My8ah2UnliLGI3FDUTbfuzsKEP2PrCFSSX6QmUHThHtH6WVe32iQAxmh4mrGSw2m38NQc9XQ6c8txwlY1929f6cryDbEcSdrmI4z14m/Rj4zoWhFbWK1zNv7e+VuwnO6d1Dqa7j3jfcrWqi31q/Qfv8NgcQa0ueqgdt90SzsnRVrfgz/dTuRHVIegWkJBQk9BPUq4iHgPeM1Iizv2++V1WBVJnwCGNL0zFf8WAT2gz0qqqYAHiFbpv+OxcA94xW3CA+4lChBZT2AeOps0GCIpT3EFPikoBgMs24VX2ektrf5tEtC/Pq2sMsSR4GpT6AHbM86VK1C6oLUWJw5lv1tcNBTXh5IK4c4ODstSm00AmZ2b67msgFYWf495CqPq+RHq6pxwX7UHJY3Phqh4Y5DgdYmlVT2vFeh7cGVjN5A1X7z0hz2mV3EKlSHo55gvPHlEdOe0i5PDCaBUtwThPcHZvxgRpgWMB9sUbmPVRF+Cohr8GHcw65Px3EiVMvT3joEXKPEmZcZKzrxlCpB5rJvl0MUIrLmK3UemMCAQKDPqmb3LdssL/t0nQdVSWlRGsxw6yRxi3kU0x4EDtlsPP2UUVdbh7QJOEaLWNjtm8qBVPQOTdGL+Sl5w6ZruIBbsZxnn1Cf42mP72SfafdpBaRANVTeabW2o4uTkGhYk/md8hCR47bhVRhl5vEz5AoPwzYBpKRz0tfDQGg0Ls5thWTKh2uSKr1GLISIuE7QrMVoRFD0R/nPWVE0bf20gZhO3iYrp5bdjnMaXASH+9bCin81OuIxgfvUb4KX0qCjxlPWwImIOMCpjouzo8owUaZbEBf9gW0kTRJZuNAflvmulab58AyfLM8WIY+Be+sWp7UF7k83UaDjaNtNZBtvlz/1Gn6AdKJU/Sa0Us5Bl9vuSdDY8jAW2BevS8oZv+pCzc3Mr8j+/u4tz0C2lI0o/dCQNuZ5V3gL+4kyrKxtiqg5pwDuVBjE+UdkbHtP1ejeH/GroYwFj+TU/TDIKU3CMfHXXc6unrTmO7h/6Ul7a7AkQbqKQTW28zv4rd1tOjaGxtRud7cLFNtHSTeMrJ9z9XeT/YTXP4mG1D8KO3JQWLWTIOmUOO8yDRoZjbUpRym/k4B1OxGdW9hjx8N0dFAvFM9UqpfkYmOpCgohkwwPeMRDnsZz/sXCjfe+CMuRneX2wjJk0p9HKM00nkfUKqlOxw3dAm2MPnZ5FC8vqdcB0BOQiZF6ZsMQVMO1ZTLYSKcKJS+PynySb+ju8oxknKQz8l3Y9wCS0abd+oatjDiJiQWUYXoSihwGWwDv2vqrGhI0o24dCAYCwMZKgBXK6YkF9l1lHlcJkCxwsyVA7ttGJiKfWE5HnvmtcmfCZq3+lnBtEVgkdDbF1Ny/58UjkVKq7DdD1UiW+FkfqHHercunRDN0jWtJSblfJccC148khwN1riD4s4SgTXYSHxqrz1WyD/VvmjMEv5GJCiqheiCjCsUdbz2nRt8OB+6EvY+DctE0uPiYJdkwxUOZhWTXTLT/PJso1D/W3j5xt+55IDAvs3BY7+gM+8/odysQjAF+9qiX3Hy/Vny4S2ohG9SpHOl5HwFhzdqIHedHxSTkPfuW9pwguCZmM145C9A8Jc5zBaSo/IQEYqkAZtcue5eaKNYJz3p+I4V8pKU6ByejX2hLNrijXPmjywYMLrSSesfiRcS9+/3syGH9R3D96nE8dw5d20JzpUGlOu3vZwnTh/uChi3ZsvLIQnPDOZ2vit0bmT49ucPWA6poLXotUWL96GkjsmKt3G6sPeihPgYt9aOa5swQG1xZuupf1yHued1r6n7lTRAjQEvSbxLsG7D2bmy0HXmsS5IIcTxdF3Olbat2pbMz92llmHpjzUqjbVJ7/mVlvoiaxYYNrzPozAyTkNM0sDn33o1vaA1Pi2oz2Q6MM2i+yQYMBlJkkCNQzK7nCswtmVp3RLklWJdT1MjmcqfyO6o0jxfpxdZyWMpCWSDeF27+eBiqaZtGZ35t8kiUx3lVl0DzeV4d7Umr1QPZgbdgelRT/HAxo//O1QuIY076xOP43eEqRYMc/WTRWlg3ivU8MMK1KQiduP/PUvY3YN3M8GVSid0OICQRHNapmJOiutOVAkSF8bFwk75lolbe+yWsi9yIV/MuE12T5i12xh1uLuxd6cG6RTXGqhLHbR8Hp1WsaNe1uKsHcNU+/1h7/MbX67kLf0CvlPq8gQ2orwfM1Fsg/igWYGItAgpj4S21KjVJy5chSS+1brv7YMJvX7aJMYgBb9WJ28RvnpCTkSN5j5u6z0481ePhoQuZa++nVWXZcLFuzX1okCU/9qmAeln4cQR9jWTExBe2MVxKHK2ph57ECT0/ZOpylZllVYc/vGQrNnQrx7oT4OUP0O3WlMs0AWuOp9vytPRC9RxNST+cJF/0wzPAbTmMWJC/em/h1g01e0J8kln1M+pQP43hueB9Vft0aJQ8HTIAirh7dkkMCcgv/1+siVwRfdxYiXuh0T4iGOCyfQBv7gGvf51grLeilsRxqmuP6iIbTDgc+SEFS1pUWlj4XpEYuu9UOSMmesYQMTuEhJGqNt0jftfUrqvln6ztTOV87p+CbQZE2I1x4aaHNK44acl8bVUmGgSYAVHNEwNaB8r7VlDpamhfZGJZlJAu9RO76IhaBapQCbKZXpnboVqx+2s85j6UhRs4Q+lbXLorAkZnvDLY/gJ59lc0ge3Lo4AtsydX8yRrA/4P2i4MnAXc+h8fUDdlpQQ21EEBIKJ0zWdNkl4OqeUspB0RB6krN+wzZ2E7mtp8/KVdr9LQywHricHjXEwj2wtbq3bl1JXnBBJKPxt/oiMuKyWAw4AbT9nuSqy0gn6sCE13yBhL/32Ct4ONz2fsBQg+i3alSjOvfSnJFEdzGpvRO7I2BI1+hzAOtRyQxZhM9uQwYoU2YRPwPvsv0ylWA4+oLjMRbZ6cWdH8Z4KcALPVJcDhs4dWYz57Z0nizy+TJs3H0ok6gRGzL9F/X1gyLj4qRC1gDIAqGqeKq2m9prXnEfnUzTl5QNXYuBxEVJdwF7VR47kn1IPFMNxUbMMreQMlb6Y5+STtdC6VJL0pumuObl6DguoC1YtQxe0WbZ9Opr3yckdvIpEeUibJsSooeCullMNJfwFVHQbbBHKEHOzdgCZHfmh/OQLeHoYwSpwK3pedgTvy3UE/dmRg8uPbnYjRxTRj210USZRlBpdyUljUA43MvAATcKipiqG4Tq0lkHV/DNW6bvnqgcFrSWv+gkhmziOGU/K6qmhliAAtdCkuNcWm4BEgvpnPkPEt0Jvq6s+r8Dk1Z8oGHf/x3UFFAFwS0SGnYSu7fUznUywaeQOLON+B4GodiOeyrsYB6WHXY/e5j9kHU+S/skOlyNesjWOYku+0khY6aBYO5mF5y3EytTLkxnfx9vtErypkk3e5Td8KMQA6vfERa6s0mdkxAAAUPhnWzH7SJFkdibawO2ZRzpy9GDbiimehc5wZRM5cY6hTHUsid+okTi2vYrfehYBkOj0GopdFZtLJxoHnCwpbRwAYO/EhMQZfI/7IkWHNge+9J7ArBwrSdNPvkZsuLPOGKAbyXycqynYPdRawFN6mEwch9Z9kqLup1Sh+9wq0YrTZFoCAqDIL4x8OqGo+VjXASFQsuzi2jDvWIAgt/rv35hLz07nRTZglYimA+C9O22fFrdQN6vlYSGFzwjI9Zm9sfDwvBTZjnT4YMmnJI/tnZHxgIdXsBNB6LlAePP2sQ0SpIW4SKXXAAHQfUFOnGUN22H2n6jOOJlI+RiSRhRnNMOgf1xvcKHXHs7KkjcpUHf1OGAetqclskoUTRWeaSFAq5D72VdXv0Q/DPJVEGpIengUN8MJNxulvgMRrpcwCH2//u8l8wEFWzVGfQcLZneUXiDY8N6R/6YWuKOMvgKuYlbbMYg/M4j+mEFL2uddsuvBewDVoX2/+K8Zb/RkTjCcXVNnRjU0zPiOpV02CpKvpJcSVqnUuigVHc6Az/gHwrKSqXy7x6i6aj5x6uFIy5SdyjbK94cpaZlgxbRoCOVuwHdwgeMIuGpMRruQgmwp1dR6nnzVYUi2sbMEmiwzbDgUwADp3plsch3zWSYZAtfzd1kEQNCSNPf7K/7CgBbdll4u6P48dOy3E6Z+IuolvzJqouGV/ehkQPhy6jWCCBMOkDeqQt+X479BHdvTPNCIPqPDHijRIOc6W1fAsFRufB6+UbgqwIm4/liylVPK9fA3jWM1vbjk7RgXY7PKH8Rrb5b6HAEgFkYglHVhRV3++EY2EVI1jsoghr62E5DyBVQLA62pkSvzpPBHRfQeKOb1jm1awbezva/RyF7SvtF/WIcJDpM9ygEH8dkDU5wfk0xYc2Kbyklm3+64/1nHP5j3hLBO0rdJpo7huyHNYNHa+GgFjCp4Fu5H7I8PI9STr8iP9w4R+B+Nqch6SaV+mCvuLZtkAZNUlkWQwE3+pYgb2aKTINlsIxJOTTFvCf/oRT7UAC9Ow/U3InQ7Vrhp/eznzhrbmYHcy8TeywUxfVtquKc9cR010N3bfvEEeoelEHVUxUt8Yc7t/0VU6QD9jtXUTZJTMl/5mozULX17vsPF8F292h3YopYIGs1W0fBJFgy4HulsVlvw/+XCmkdGc6/BHC9OojjkaQmD0dYVeqqlvduXXQimuJ+rgJZhK6ZfdjaBALPjLRAaasp2S273DThwpMELcY2AgyVZIjFYfLgdiok0VYz2R0FJ/nH458cdYpGlQyGsJKdfsBKuyL2YLQ/065bmFqQhm8ABR3xFelfXtIVMCQrQkIsyrkw6Ab10FWFZcNn6KXqzku8F358NU5FvODc/AKMNAeqRhBI1sxBWyIY7ds7I5FGiUoXFu5Cedk3kqU0AzwaLSsfhSpgUw6yaYBwo31g5FGBg/4++iwBs5MRoRmeoNuysOpTJjWhk++wXQuZISsNIpe3vdL3qWQbVyxLI+bXYj6EZ3MVAKzmmDO+VzgrenMhn5Ll3TXR7NdqbTeI2w37pnNzrPVGf/Hg5lWsVPQ8WO5Y86dZlO67Wt0cofrPou6pEMGFZrHk+B8fvNC9WXHVaXPjzLdKzNLv5getnYw5/wdt21dUc9OK6JrdeZaEsqioajNRAdIb6QBZb4/js9eNo1YWBdSKGGB+wlW1+W1QJ5w4lyq3cH6qp+RZN8CCE9VZx8+/bF4m434P98qMPGk83qgjuv9LlIyC4teEEqBzdg9JIOLBPdvZCunj9Pw6rSYbiyIU1RCGpant5eCt1COKi2Op6o9ZHOZAlxyH9CAqunS71/Miwxp4jrScrCYBaB8fx29JKbgyCXigWx4fVCGfdmRKNzRqhUduFTFCeYFR7R1vRy0S1KOG5q6cUtUS4pTr/pSPP5uZPqNMBQkJnpsc81nDfr7FDPjKpxG9sWIzby6gogNLoomhh6+EOlXZso0B666ldtR4qwcE1Njh7FrCHfOuxSuUoAVC99/FdCOyPZ+ESDequIA+hEPdDRqIt8GMsuBWKbEj7eOT/pAT+CMY0p+FgnAV+ypfBM5lFTQHZAK3pVy+i6VDut8tYFLvnLFgTNr+17kiYirgaOdK+oi3zLgc0uWb5MiKONC2zOgUnuYxRv5QY5IrPVqInmny9xRcA90N/ErjIY0HxRus9llpr0rHes625xJ0PmIJx1IXZ2KCtMHOm5R7PSHya7OYG2paaMYY1S0bIme4WQ24VbY8LdI/O3YY70wBUpy0jA2acSds/OwQdBLmFHI3VCTGC+X/YUszC7jhc23JkKAqyGWIPBFzC4pMXnPO1qZOZSSE4kKqzbGsQhoVON7txpm4mKnJ1GlgyEe3V070aGovQjZNoUWRd30azfryI7H7gbnMknpW7JFpmfmasgkvK8Gz4c+vWzJ2kzc/H3Bmo1NEiNEFYOR+irLxA+WNvM4qIMVNP4bAjDEuLND4K/a3CGfFEBQU4ur/fo5tlqpoaC4yuOs8v+0rarGMJY3hPrH2t8P668SkoCvJEG7Fx0qic7iNF7giyMKZXOXqjLUPcZmMiBwGwBxzNKB+TearV3+Fn4iTlXisbP4vQMMZPnU8mPlAFD4c2k5gf5UU7SJGGE1kqt6QdG3s6I9snNIOfEhuiKDTw40bLTWtEHUzDGx9lBNx/opxkfbYqA/8x4C//McxX85vuYlneVmfRZDqkFK59pjEx4H8HhiNNQqc5D3yLgndn+kaqQUvPc1jhlpNQeae2TIGOXhk4qmgOC9oabJXJ7cFgUwwjlg7j9tEjzUKhDSr/ppVCRTnGMaC7YdakZDVxXBDChmMF6XJPEbMpM6yRDx89KkIJGyGlmsk4owNzOdHl8rtV8iB/HnNMAPjLTHVZKZ6dt0l0QII25YfRWddaXJURZkCMDUVC1SrtR1Q2ek9qfP2mTNdJxZaHOW/OMNj0mTqeMp2+v8/9jq20uZSmbR44kcBpxtzXcremt2mMkI1bYR9ok1igLbOAk0GjYDtv3x+9O9ME9bvO8u4xteUlFzlLq/awxtSqv8z3f3T4GzQdhtOCXOVyi4uhfSNxWr/t3dOwjR0ABKnY1ZaE8BxrXysDhAZNtsaSrWA7ACmIXBtlgT/6LupWAq2M8URlcqeExxTchwuSUZUuOowEgfXHkPeE2YxG4pa20GYuqEVgxO9I6r5qMKGMNntlTUygQHJoWpmZxNOTwGNUEMDjTWzCMU8ORbnY1tje0p+fkhPYAsOeLVDm0Xyw0lwamTxmqD4X16Qz3YoyH5nM46+bnTs6C2bPnIfOI1ELD/rXPc++17BstgkECA0A45XG0lZNKqriW5zRLAg31fMH50JKvrLlCExzvVjnIxyIZrc1ypzxcRPwQ9A9rKE77BhkX8NFhKT9RnnZbg71fgXKJoywb/Ukp4ELiNjUSaByBTCdZhDdYo+Fsut6hiKnTCKPAcVvznTE7u0fn9K3ngTuC1LrV9dbCczn+QjXLgwREVO20pslvdxI3JEftPAty6s/rgews5YV2x9Yovj+t0ugkjJKTDtAdPl5ebAvOZxvR5H4slDhWVzTAHXAqQhPDunBy0ZbAyxJw/HIrM4srBPncLRPw2AsyeNKZKoDI0NdXHYrj18dCXAgFJkGm8S0RaJuwX7kdlgECnq/iRFft2cCTcmVff9gcD68aS2GPKDbuZhZArzhgdc2secNBEZvhrebrYI9aeiIh/JxQMVsDUZwjgF68cQTVe8Zec2G2VBurZbxl6O9b3UPy2dGBOg2kKEGlQULDXfbalUkGwnMho2c2hHUsaiGVeKBFstJaA0/Awjf2n58DbYlefswT2SNopd7d8cmc5Yx2THqapGY6MTz3Gd0D/GT8deTbkgsJ28Hmexf/ygYWo+1N9ij9mu5lBi2N9gv3oOJnIJA0p1XVNoDju8DpIawoQNQNfG0pzPGVDmDUw8iqFaUEwmTXKEC6dbO5xJtfAEGc4BZpeRtF6EWD8IQC1SYz8e70by0KGJVm5PofLppqyzdLoVHPvqkuxAYfbydBQi40Z8s9H4FajpoNzShaIvmXEIxDhDWdEX+qCGqxVJzuLgPepQCEKzNSt5lo29I0MBWi9KEg2dA/KbmOl5zcJV83K9MWMMr2HfuPkvj31cbI5qCUZxQuj8u8WAPBa1MJOVinYYTzf9hz1Z3K9SMNhAcTrYTr12f2g7NDnCpbOKStqqD49wP91kvKcsjMxMaK3UATga/sjL8RqvQXBi+ozy1gu4NTY2D8OaY//xj7vCZFrx2rFRWC6uAGKUtK9tGWjJn3S13jKqFYIJAI2UQk4oYTMvsinNQq30BqjGKeLByuxsntXwvfKu1cyOHcfU+otDVsdsxsjSPOxg59U0FKvQY/EIG2BVSE8araylPB1UaH3iUJlry69Tvt+7ezSTiOa17HDZMJZoTOt5XSmuThG8UL19r1h4S8jVrExh9lm/ack8NY71XoEbmvdsyg2njUShe1grGeb69qYOB5G1MXmjrcXYwkCYlITVbHJ8shVvEkHVIjozC515N8wVhWvUbuKTtFHKjRr9Vcw/b5N65ByiNHyDkgTCJfS4fyHdVLBtSaIR3nLlD2iejTS6TQP2PuwAA4aaxnvnTPi60t2jRzxYTpWxWJDJADz2F8IeVMqabow/CCXQdfsXSjdZCMj7bn1aUQGvXj/Fq5+2/XPpRy80IbOb7OvoueqxudnIbxBdlpsxXb+pBxDdeiloo4Yx3deewuBuRuBGXwkexb6fSyoUurwvUKo8fwXwZdzq6d0Oj8/hVTQJ7LFE1ppXuk+lJzrgRhawyJC/lAiXFHab4Vm9rCvlJXFxnJwmCSrLf632Xvyk5+v7KE7GpufvkJYclr2ElMHY4SnlJgAQKQsQe1G99ym5zlSjuP4Wlg9fdOTE55a8tkQXHaZhJvB1e4qPRumpf1wj1dnFdf9ORcpsBuiCnVrmxDOb8xkJ4E8DjmLEUS35iwDR0R7hTop/aTRgZp9f00l2zGKjSv6HG54AfNled6M9Fy0qwLf1GpowEh2ioDwQ3w7VFKETMkwsIR7BiptDJINR8q1G/pSrLzi4iuq5IFOpBJj74ku6cteVOaJ0692w5PKRCdu+Oo6plq2zueGDrfWa3NquI9GuE/1FU4O/4PBNYO7TzDbDcquoA99hAmA/3WuplKKbz4bF6XNFefMHUlMIXCMf57kpl1SOccG8cdJZBUXNons+8O6cpXor0OoWSH9IDl8f84IvO4zhFKTjtKj/XqFgnJG7gAYdNOrZt0EhwN994jLgfnomqWRhxgsAwQA+OdmyBnuayJiEMG/hQCQ3A19isqgRi9rFY/ZYOxgVoKuQyfFwExrwDMKgY82VCV7xg25+pZ71dro3AYQHsENPoWJwySnhuYCz678kYtXiwnNAjx3XLTEFHOpBnP9u0yLwSYViZ2qh2NSrmkwL/KNxTnKD52kO/wDWKwXcvQqRUkLkFkxEzwb4hDsNWZ3/Yzu2rYaVrYTAmy3j5EeP3oGykVwFEoGJ08hipFTaYKamlz5YrrBj3RkpDj+LMbFp4WYw5BhHMDmW//Av6BWibLYko56QEuxoqNCUsslW7Sid2U1AEHR7bRfCUXFzzO2DGJ3qyv7TL3+voOH5Dqqqx0L/VaqnJ3cwMW+XUfKpTvdBwKqesbEJIgpeqD73DDzAu2x6kwhOSMhZUNJ7mvZ7eeZ3dts/AN1ypU/KXrN01uE1/wOyTE4v3E0dNeqpxft3elv0jTkd5h0ay5fWWxEq4xik+J5ImZ9FVNqAMulzX8vypBoBIIrXFFfm3S6E3LWBsXje15cMerT/wHtMUNSUfyvRpmXuuwILu/KRYcPYiKYOjxizeDBxLOX7lt8Vx8jx7buKnAxaK4LhCH188/OgI0OfHehZdgTsFaOxr1DKvcRYCjXtQJ3lCnSiuKmuI3/UVso5BTKHxdm00nsJGlPJii9NRHhdPrUktBdsWxn21qVPYVZt+R9fFo0RvMWu1TZLeOTlbvXwOUzoJIr82xc6sSxbWWLFlqP6pRSoARjkDb313DIe3fNWbptCoBgq/EIfb09HW7PfcSxRIcbHLRnM9QWeV9fVDXxpF95pze0iLudvulJVKfC9d4X8hsVPlrnKJ9Pk/HY2T6p3gng0z8mupQ32KpqMbZ7ye82cLAThn/J07mdsegJlaEybnBqNOObf6h4GOpW5e0fegQ9PvfWHCQI9RxL3aIvQT51S/9e+QRsmPi8Le7u49IuMeHvWvOykcBy+gTHrw6IAa9h4tP4KZyJCQCdJj9AEtigckY1SeyzZbsQMiNlm+axAZF9Py/5s9Lc1sbpOcmLWO78DGHdTXeHkUqfQCK/AeI4Q52ymgtjhgfQjWkev9XsTPTFznX9WbqsKsCIdeRKP3o8lSSAF/AzuyOkLMuoUtAzZCfWylkph4S9dXMpLa2MhdKF4ZfB8hPyV3BNyypT8W55v3v/oKqPvPjhX0f84bV9JKhUlBmlbAl2gbF+lbDKuJWEEBd7DZf0aK+MtQMAHqHaCKxdCJuf2CEUzdZ5Q5BNtA0ma3mAon+melzNbNLZA+d1HWxe+ztz2Eq97Gla6137qDICJ2Y5Z/fSijAvTSst9eyRZ2kd9L15npiswn4L2Su1S+TduoLWajEgWUWpSZkR6q4697zGWBHHhSgFWcReNmu8JrxXAzrU5QNUCAJviP5+pQ3jTwessCt18LEIRD8lCMlbSkobCX1frFljnQNV9V82DlCUtYMllkmacUAJ5STTU/bEIJHHChK7BRXH3q55vU5fFFnva4uyLDh7dNdYhA7tIiL9RtdwUp+mO0CGZw8zbK6p1I7+AGJmTkgTX1OCXfZuMIeZG4znawXpAtsyVTYNaYKqaPCZngjqfnzBCuRfnzBqmABJvU8mVaP/v/dpxC6x82q30wqyyko07yYREVV5KqMAEOiRHLCug/vG+6svGFquFFvwFgcaB6QDWmYzwjFo9UnGMup6f2nF0ElHRQObj/gO3cTIyaB0knojnBl03wDQpiWlXdBTzw24MEqy7raohEOUeXOLRSnVrCqbX2T0eMCqGUXIutq9P2ss/yaTJae22O7uEv7Vi+NCeyugHL1wCTV9p+xGpelye8MVXzM15vV6D3JKrWO3zw+DGzWjID0o+uMj5qTFd33z4afNg0OoBYwgzO8YJtwEi5/hJ5dYipjVZ6ohTIm7/eS3fSWPBphladN7+Nyz/7/Pf06mRGFlFpORZF8mhSdfLaTlObVDJVOiuf0Nif63m2g7sQ7olLZLLy6QIzVWuh1zxb6K99HZk8LnqVigAjcHl94JOPVkHTD0QCyaQd4YEeTwyF/I+yVXB1ZtpjKsIYGfDWZQWh/AQvgwvCBZs9LDVha48+i7QsT8v2WKQOvTVnCP60oVWabcuecVBU7XryNQsdv9p31ySvxrbW9dQuK0aepHwbCvRZeNmDlMEbuzrNJ5j91+RwS7SvCJ8XN2t4rB3m3RqdFDIn2X3RwY7Y/cHsVS3c3hukEEhI7vDkFFU40f60ym+NckRoxYq8TNoEQycAnASr4L7XT9l1jd0V0CC2oNnF2PaHznJ2vvygUGbmGku0IMWCPxW0L6tRFbNzcL3AxYp4p8Ib70gZEeMYXsWrLHq1CQ/M7PriRWEX60UxRi7oTEGf0vfhGjzBxK1pinUEzimoxqB9enDH1VuV88qlenvI1Qs+pRXXNob3EIswT3vs1VhHC57wKj4TqxtOPHtJPxm3SoAoCS1WjA/oRE5tzPC7PiojTX+C6xY4mmtLYRGUMlhIwU4MvnOKrSR9+4OinNwWs9Uwgf04kIzG67xjBvtOpvnjapAvGQ88uqhbbUgv/AbNdLXVnxyi590p+zKHdk3VlMOBOnSka2cV3H6FxHNb3Nnk409fSV8bBmt8X+fap1iPCjRex1h8CzGJOiVNdiYFQEYZ0/Ok3gAgUQCeQFxSG76II7WMhBsCj7WTFDdwm2N1+aARUTT+TpVT85Q4tOPJdWOCNbJ8q/tVfE6TY+nMI0ttDwanLNGELBNiAqqCz67BfqQ0fng/nz6Ria+2Oyfssb+5a5/+5GSVYUk26ZHATJGmUfI3SAcM1bS9K9uta69m808Ud/4+RJM8xDinPaXEHqp3Sl1CHLXMC7/8q23SR8Mx2mcfzNFyK74KEciDSdtq2W6nIvmiGB9KvVfYWlcCcc7CHh/LU7rqEqj2BAZRqq3vD7fCYKWR19zAwC4nl2zWt54fKTjbD1msBkyNpGrItVTfJoIA8x+lqYEebbijS9rj5yKZ5lIxIBcZlr0TItaqlg3VHCCF7Vh3wypgnCVpG2im6Y9BCPkruzRlX+c9ONgarKQalesc+Tg8iQhWmFCb6LRqem/vtp3PTzD7kHDTBI1QZOdfZl28baGq3EH3IGKjf9E1TQYyppEs6NLytb2l42cbfbqASL5mml0jgVCfbxUkjlHM7/oyMxlWrDv0XpfG+NVbEVqNSRec9ni+QhPF/dEwc9a0P9hvASkTeqOfp8b6xE/2BiNFj8I0jKTDtoX5FcK/CG5rGcsi+ZRNN/7cHq90B+1ZYfEd96FTojA7JDXM09HSY/qtWDJx2tsQeD5y3bfTK4a8L9DvSQT58CJrDQJwRIM4xBwuvHMrR0T4nybvNfaTfFd8u5eSeilZaNk5Ej+gT47twcCGgEObP2JB3oArf4V/vW+lSTEcCgqXq3wxZmiO0uSgR2oSEg31qaUMJurdThIhaq9x1xKTIOx6B4jmXFx3Uk4rnz0Z4gzJjM0p/Xffn+r3Swq/eJxQmRXOH3NWCrENUQsTVJuIRRB9gwXE5dP+Hrg26ingllPTe8SWP/UC0vXQP9RnfAA+Lx+9GYmfbS0fHBG/hnLKPpHNbtTwd3lvHDn3Y9C/1LHZ49iORJJ2EVv/tAkK9GW1NsA4KQjAPBK5tdi5+3ltGFMjrmoWTyj/jXQxsSR6iEUEMcH/OlL+Dv6/tysMety6CXyMwxG8ne52nr3hm6wng29C4QeKKSX3eRODkdCE6tyHaek4muZ5dAtcofEGow03IO+KDJuXa4/cV0ldKezSWqknI0O+oizIKdqv31UNYwmsGIxL10utSgtlT2Zq2/vm4KjuzrX3/GAn2LNUHo1aDjUeqCmjbIgNZeyic/f+qnPTinLZ2v4MD1tSE0DCTsz0CvcjAPhI+dar4nHAoi4aEz3wdnM8ZdkkYF5cXTozducI1ZR0SECGEhcOrPd5ugZMZuMWo65cKz980/b0MRZaeXZB/h2Au4ySmAjUKqieDCBw4CsZ6Fj3jB918QeNYP2DI9n04CTvKYgLJq1QiL+hn7k7kHTHdz4zbADmxPIpi8jeLcDU851u67arUFaIKv56FpLhHk2EiMUiR3mHXotATTSyc7zYAhoz3X5uN5BdZQmrMlfve00fi5p8FIi7RVvt+FLZ38ED67YUnwDuy42+moCmsi4Bj/m3puPRlvLIm67XZ421Vm+0fTwleDqv9bKXFLKPiRV+4Tzqc2CBBgqrtu0D47HHyx63wfhexp2tdF+WFbvRSdn9gS490rbv8w8sVHXsc5/EDh6nS6o8rV/lY1doaJx9ZUFuk45mX1sZwn29GSTczovNg1BDaKCyWm8tM+HSx0fMDtoX7bwnnld+Y2aKb0YrUKq6kH5gXu+ms1vrO8WBqdzuah+a7p0lpNyRLNJFVPvke9eSicbsq5S7Nu0ngJ6abmOanV8wT2c9sfsSWiePOgCOVGmWU7d2DYZbgugWxERYx7Xm0JgOax4DU+o/1h4Jp/yQd2sKaTFjIXJnJFxD1g5fxQBc0isWZfnNn0qUeJk7bzsmq95zo7+40mdWFhuY4KmDYb91f8hCsZvjUaco9GbXyhQRRyh2qtUrn0Hi3Zr3lO3n+P+VxTVgoCcR1Y86B6XwfcZBZg918ojjb5/dahs89zr4EQGDLP0ginfXM3a45nniLEUqkPJ/pWJiXe37pQRCukO85Si3V9j5V9B633CVxrjkdIGmVqBCtSqxwuCySQmqX36FaB1jhj/JIt+DgjCBa5E1qE3ijNtvK8FrvwK/f7WwoHycPBVt3Krm/luPjPK6jSHRA1/rzCb37gXrYT3g2FCRla8psjksg+smOJmFyYTWdkrPvuOlNsqKwhLQwwej8nE3ehwqCQrhNZAruuwOpxbROHZc/OWKPUsSoJWaz9NIiUBB50CE/9zBLHYKSE+/QJ/ZkSoE4hYBHRiLBZ3SW0KMqHz/c5ang6Hu5Awxi668Xa4zEYgcuHzTNblCn5KXHBLGdXBZPiQidE7/YVjSnruMgMsW84+JK5wTGpLZTFJvsKvPSGVSjEb2VGRVX8oS3EF7p50Emu26WIHIVWHO/Fv41h+ER77G2icgFp088AUNaGNchNavyVQCDjYKzRLybM8ObA8e8+WM6GMYA318Hy96x9ITy7Nf/ecSGpCLCLCptyEqmP9ACirefi/JRPEjy6MWqfrMaHFtno0dLa4s6yW9JoJcPzMKmE5uKl9d0epX7nMlNAQOmUdp8GLW3GHlG7+i9DI82OX5HKS4X5tQYOjiEsY2wSp74II+yacPuTDZGGi3aglEhsWb5puZ1F7d8lScm1ZyncYchKKvw8P5Bn0/tSpHuV83Q/UgXdkssmUpXY3pkrqTSh7Cd5s/g1oWvBQDDPqilM3TjmpOyVVyyjK04qQBjB+0a7KNNa+lHLld900gOa/gpr09us/rY6Ea1J7tYcdcMZkRc0626n3Et7NyAMyD1l85hH1RoyT7N/GeN/Ne1mHAEsr/BW18bCvwnTW2P/KMAo8a/QR//YcQiiFQl+/cGD9ZW8w7B3ayYuCPBckBuA0KtolMkzL0QGvLAmAK8+ZzykRyess47ykBeRl9+zvhbibD88JP+jYL/TZIo5ZgHbPr8fNh7ghB8+0BaKoSdU3XW6qpq+7TWvy5dvjtg6qhy2/5wUfmff6BtBepiGMyVMBa54NsYzbX/oMEhuSdiQ9fez8+YlZZ46sENkNbiFyV9RmqQA0vzBaT/Y8xyBdOjNqv1VtvPbt2QGguLa9BkRG3WB0xAKwVBT/fAHF2jKA1cVNavMAyf62vnij2sgGCswr3KqakVfEyRbgHNvpiP2cTABl1HHAkT/gKpWzdHIgXlA9rm9jm+FOa02MAaMgQg98iBUkOZ9p3A/sU2I8Wrpe9PlcdbHP0Gnjgxdv+ALTotcTsKSPUWAFn/9twwk7E1pCohdF/EVJDDOpKNt4n9EJpIImEEuBODHqp+V2py8H7xcYiSBpmC2cKDRkBxgV8UebCjOKbqcnAiAK963U5ChD4uCBQ7fTRBGoLkp8TA/OZW2z4URfOYTdUhSvIZ9ZbjHj3BXhwgOD5LhkVVBbZOERoJ3R0O7NeigU/oyxaHQZ8L6DIm0GPCPEqEceYNxERfJRf59mT2fRFTu8XHuJ+i/zOs+bNb2Qpd1DKD8nbiRGtDiFIAFoVhLDYhwJbmlZgFso7fc5UKP6fBd9JUNZE9WZbeJmUVgAZivtjlkofVYro5m9lvaOjFfbJ5o3q7YD9CkXNsJBKCAYu3xvHQbntPtdVB4rPQTov2khyY4wdw3Hp/TE5LiC/26emvQvEPdLwrD9mMZiBfxtsAFfnvSwAz5utf2kEJEY99rIUFbcxYXt/kC7up0jiXh9hPW0ZFv5YRcFon3FvhxLNsFz5KZ9Lg2HkovZFSButIGMLelQT4kChRaszY2DNO0japa7//AhuK9p8J/+2WhwwFTjb1YfeHGxyKV7ejFRv9Ok9bbCcVN8EIW+SwLih+sTSCaYn/y5KENcEULxo6BmDBNXb4Ydzt8OdiuyRH2kmE5jKNFUtTxlVzC/CC7CbhabYqCsG0Snbhr7Bo3KfZSe3O+21P3oSPhJdVc5fJnrhLuKLvtrhkngpu4LzpYgK3tHLj3HSiWbIngjVQEzhswAK6XwEJMla/Eb/pgNPD8wCXi1DPGLki5ytz+w4YTNVCeFELxMDaNz61zkgdawpTtArwyxAaHidDW1Vf6srPBiIjRCcaDUkfmK6+TQ5aaemKr78xi26d+4MJTF+nNJvbXb3Ib+DUYgFVq1PVHQRqJZpNNDfsRrcuAMDyL8f13zt/ndqBvETbPRGuno+/U8onSpSCoYz+j+5srJMcyR7jKlbtGIuWqTGVBrpDcvzX/5wNvnOYXDENns2oVLcHyZsrvvI2x6eQsmkSgbwvp+PUG8QsWau8XLPS3AFwjno7xukqfOPkCJm5oJs2cjxPFQLIT89nVFWTNLSYB6kK6RNLrSe7BDrothCnUyDnJI5MOtYNB5vCgRMAIVDtNhNxENu3rN6WUqCHiaMrezsE9MyjLxPXcp0PB9/eTatCEBRD1XKOsGSzre6VVLEYYTfzAbAIT0DreYHWGhJtByGkSBorUP6cAoRshrdmBJuLeL9evZbBK4/e3yfzRVyTpvu5zbdtsjax4UHHnseayA/GCBfAkl8BL+Xq6fxWOssk/5XXDaWn55WhCGF0ujv5/l9+RBSjbA8dKVQdboKmZNejzZtEMz6TbftYe9BAgOuZIFygebe5xiBMaDewhalI+oz+2Zazum+7u6cfQkRLIQBuKIWmDPkNJQR0QqXG24Szak3qtXQ854X5nmLuRQK1mKDlFV2kDUoBmNFFxcypG/OfB7nMFqfCYfY+Pe1LXiNZIjoO79fFkn8TZdkqI09nMB7xG9gTxdXolL/0TE3yRTbQrlflrH4EAJBYpU9YZl8QswjlJVrchg1nrwV5PyJsrUWtG+bOTXOEPl1aTyhFLOnzE3xYzO/OcQmm6dvwkElIyh+MchRko6wIvDgoE0B0zz9lplquqcgb0c2k+iVFiy3SxKAnmamkUkhait2pHB+3wRoh4UeSHoniuqpMwlQ/OXu9ErDBuQMSs2IeZLOYQOY+EKVWmxFg1IFteDGkJWfslatjqD+LhpADcZlo2O2S2UstlEwtXLPxJTb9BpJS0ON2R5UqPajldz2WGg9tJggBjOyc0bvAmVtW2iAeaFOR8fKL/mikD41ZR5RhhbjTwVQFoSpH+3Fvw/iim4YQjz73sm2xUY0fUydDiKLG6q1SR5M2GucO8Tl7zSZp2SWUUDdYx258wjScLH0PDPdY3GJJQOLnAX0m8LJFeP/vOf6X5sN5PADU9o9tJ4e/I0Qsl7wX8lJr2toG4Sqe8AVcGqa7WqFA5L8lHRv3lszs1HzcXrXv2bObIIbzJu3Z64rocYsiL0LToYJhOsBiM6ygxtUUse0v2BbGX3bdvOiSnx+2Esk5T9kpbkAnYB69mXzprM4/mSqsuKYyXzeJEampERaw/KfZXPexLCZJ+D+clwaWZMNmVMgfFVWb7yrl1kh9DgICDccwj9VK0bTDsWT+T0SpFKM1+q0MRGtDIatlYR2aqt+ORKegjRaXqzoBp+CevgPCtwt80MansCcIFK2Lk47BLtxlDT/KTGHfEYYYI7sqdrQnr07zD3E2K3vWkbDvgH0zQa/ZH5NVV1C6ydB/fg9HRlfvTp0vOiFRdXTVyIHjsxdONpmJ+v96F7PmiYhaZcJ68TmqrH/XysMRkB1Dufa/lqPyj+5ldfE/uSHTf124bP/eGNwkejXrMsiI34ei3ZjwaKzc6fVyEa2RbHMccCuDhO0hWr4fnEROScCJP4VgFrlleqvGcNHF6Z/jjPYmPJQvupP/jEjFtiVvKKsB3A2FfuMBIGe6cDvJV4eI+b6jFMb1wLa5UsIc3NvsjfmouJ60fL5zm++RNT/Hgt1snLbjKpBQTD+OesAnsai/quatbGuzJbymXKdWtccKQonzoncWap5vHzvdsj8eelIiTkn9MMuVmlWonXmhwtL4vvjCHl73xm0EM+d5bswn6W/qpinXF0wo8SKfrOc6oQrAySa1dQ4oGoip74pDrotAyChqKxclKh+inffN/rJcXs+CSrvtTbfdnvw+2abFdJF0KW6meNPw05RwPaiiorntxxIMEL2i/O5sag8RVmbVeOvvrLpdiOb4S6DEPrZeRCFQKJMbEPws5QBM+X8ouKYM3HX1/QvTVYB1bN3zvFktoP4r4c56pL9iKQUmnNidega1F753xy5xpMXiJzBNW2g/TygJ7JLSJ6wuA4JiOaA4FHPDS6VJzLfS/QxQSMFwrXSVf5tmwDuEOF7g3WzSeSfeqlqVwwn+rPJi2zpHK4fRxceTavAt8HMJY9LYawv1EFlzXMFsMz+6kdINwe3PTjwsAjM8/Dd78d6PchonDFZYa6UwdRNg/ptgdhJZ+kWLQhz3YkpGTF38syLK2Ge31fT6BGAKD+GDqTkDaSa4kqe7wmlS7O9ecHp3e95kS5YShcZlXuzLE2uqiU4EIey+xLPA41AaSuQriu6yKpTUWu5vXDU8BqP8cVzJeBNqQlqoukhlVh/YsdliuPULPdV4zbCTKQVOhL1FuZfFQBpEJqNGaYsn+hWtJT+kOosUrgAX1p8T2Euk7k3oF2oDSjXtTCcmpz8C4ulgmb/pOLaWfXZonY96lORfx7qfZkgjlALQ1LmEkjM5IAb7gXwXhzr4ER6EAmiLztzQP5NrOR4Dg26UXcwN0nyjMybjpSSbqsP+eVrj6CscLtgLbMtRBGMaMeh/xF5VgtMo+ACWUYiJfR87LYgsneS0dASPFJKZ8s3Eu3X5s2UsgEHrrP22IrhlKXiwnYsRwdI1UYDlEfPE6SdRfodSkyrCZrZS7HkxPiDKVTR+s1onHWLKRpfdu2VK4QLoh+eeJ6UYc6/7olJJUU7s6DGVfBuvqvHWFMlBP5Jzey/f3vmr2SH2RWCdTvFGeScxWhgZZZVZATKTzWTuTzcphnkLfBdJalTKbffc+o8bzVaO1eBqVl0Z61IkRtgtEZuNomhdiIt4eqmzyv92JqkxYoWRD9m4vOgYIWZEnq6+buHMElJu+6dLeJCeIFgbVg1JvVpyb4+0vlxgoc7iWfifRoZ9U9ZXw/XQ+f6dQyocXxwJ4OSw5ADuzYdTXZy6ScZYY7kwJhnZ3NdhQ4gNETU4hDiObgysvFmFTDFG5LcjFTTv0gLCve+3RbqTJ6wjyMof9bn1zRDcvQJuQJpgfyq76swnLK2D+9noPschv+S8v4VAwjhHJUfhXAAYxZMRd4SRru1awt5ydUr6KJjPmeMlO2mCXxfPxPBMCckatjkxtYJoqQ9pCpHu5XEBsglivosHOe+9lLFepEXyn22z5ARM4p3xDLhxpJPXCKxAhCLOcl31YKAMoesld1Z1cMa/HtsVO6NpRKLTDVFBt0fyFXErtDJI48pcgW8UPbzQs/3ZdLN0JkqgvKKmomSc4rSXiqQF8t2NhLFz8pWLLD76AA2BjrkCuvPQ0MuLehT+WFINr7XPZsyaLRxp21qbSU/tlaG1+v35lD6M5Lqz2d1vncTSD5zLUDUh4LL/B1mUUb8ZXrzDd3vwyPHfUj7gqy1IrO8n5ncAzCQolcIEfvlvoeK+wO/rJU3ddNQ+h2g+JrJxtYiuQS3dWV12yucI2h0j3uERThsVAfbnbajUGTewtXVIHFWnN77XFf7AxfwkyigjAfufFXWk4NtmRpuUUXMuljqKgacpbn2p7m6ZNhfyut48MOZUS9QtOD++8URUWbmw1OwnpRPQy0pLqySTxQ7FmCUcpnbfvx5cNJmuOPTw7ELbzmqnojYIlrmbSKjRVq9Pqc6Cp3TLUyFuQzQ+DMLucpVWebhXRSXHPtOo88U2U6hdgNB+lmbsfQ6rtbwX8X1LLins88QmW5LNqzEuNJ+P5b2vhn3TFS0uK+PIdkjfvrDk/pDJj2TFFLNQOMS+cbABHy5RL6sxr/t+MWdQOChidA/bq7z0kRiYhEQkI3PS0ch1/BAUrJ4E+Am9hEa2cMkNwLlWT1Ej2Pruy4TrmR+AHA2fWfsiIM+5m5SdWO5fBM5vvZUHPQT4KmDsstshkv2DDrwJQpaNY7PD8zcgJuNt3kK0zrPBuLKuDh7MywcaDX0QknBBjGH+5Ji7Kp69g9+ZTbz07mPDBcjFwVrIKa6soTuMUDzCBNTXJDzthWe3Rcz16vMIzNRgULA/LPAuIsoOtIeR3ZV/cHYPSK2eADsZi6sDCu4hl7v0Z0kBuJ54aaf4DalXc2BBjhMx0ZEEgJICLSHzQyV7yO4yfeQoED6XXQ2XizC3leBybV++Q3O7pApYn/Io5y5LYX3arj4qbVfjRWQtqXiX5pqoOrGZgRtt3ptKGymlwIzaaSqptfk0BL9TSSs6JJ4DU6n2E87LTXt1uaxMN4XdtKVGQJiC1bXCZLwSS943e+Q9+OUx5iwb3h0+hE1PWKY2xZ9scvM/YWBRT5OYG2O6EOgFih2yotXxZnWaBiTDi2cLYnCUgHtcUQ9iAlmhBw8FkRBl4ex/TBXvLswSDhmiEe8fyaGXozGPA5u34T1CKhKPR8U1q55G/mXIXF5MSYuLQSFd0U0z75T7ns9kw54YmKGg9cL3frZpZpJl8X6ionh7eZKjutkAUx7KY6m3+knMvDGKa3v9eA+5nlPXcFvT9nABj/MgZpNwZm2XUtJhwE1UqmUsSF5t8BJflgDCzO2LNWC7nWflIQNOvyuHLrmstItzksJlf69EgjwhodJUSkipyDMSt50UZIqfUePBrffQQJkKLAaUbipZfFzYY07WMCfMS02sIEbiHry2F8YZnpFr8r8TDmCaKbDXtyvAW0XrUv3yWNqXX/FxhbwvA5zUjbEIIRviEnIMSVMq0MANmW3FnC6iR/Zkab6QAC6864pKqrrSAmy7eW8ZIc6iABJhiK+3NLbSRt3arAXCCL85DfFKB5Z9+3vmiMIQSM67thXm8iuAAkpauyIe+lQCgrJQ/lkBCz3sXQ/Pr9M5X1Wr5FMP0R9ib8fgcB9a7YsyYbX+vURoXx1jY0leP6vZFFqYgnEdr02SdzO09xX+cyQuqioygfnwEhgmiG0rVFg1Nk62auhJFjUuxUvF8g1hcypJCTC7ez1Ds3Ks3Koo/teVjL+0lqMeRS7H0zlJSWYBcS5NMcUJw5F4mNhFEJEieVMJCPZ0SZswyDOOFZY8MEMVYYKyNGJNycdty70BEIB4F/9dNgISPnzVkf/jAAeQGZneaSAzor1sqe4vc7u5eWIskgetk3/C84UlAFyV67PrNaGbP9HeP0wUaZFa1B+/Zi9XbvQLnK+B/nsHqWRuBVtpy0CSXTnWniYPbLadk/uC4nZBYBMaes+gLipj3mqtg54sefXmt4s+W8Rw/6YQpOVZI/hfquywCY4Dn/Qns7tGWq2wErYwzJcgmjG/IhTUjz9KLkS8TD+FAdnltNCRSwtLMx3+ar+s4feoxoD4py2hh75fU7g7/RoVtZTA+HJ4D5nshFr7OIfAUdgn7psEVgF7ABcY8kjrYu8YxlIHsLP7DrHr2ACicF7ffj1fRR7wrPnrliP9Ru5Tma9PH6HtDBdMMkZULFZ6j/2LUtIDcgqGvuSzPw7nAyacgCrV3I45M2vq7GC+ESKTUSihe9sf0EE5F+jD+t6ZUNQVUgAYsY62zlFXbbJSpbSHDmX48z1gCAKZyu0LbqTqgxddU1eu/VKYPOVcBlpzTh2650wfgWfdjLWmhxWMGSr627sPck8wwdjJKpWYqwhIt2+1Yea8WyLGY03s3k9I3P6Au2ol4klTKDft28vZZ9G2oqaqQMeFEGFZ+z5fAT5FmjmqUD1dZasvswU3YtMtnoWqrYoouI835MtmRhbTJg/S7iZwOZUaBLo70f+weTN2KfLNrHDw3fCctFGh496JxPbTWP0jTpis6wi6mPUU+oiyVfQInIbX1SoehSvB4+/ivqejGotB/BdZEXxCoobXGegl3Orn26j5vZUnAetgPHCeK+S+0dyUtg7CwhedFTevZbl+QJ/7AJRrhLDXUNj83Ixj3xj42k+/NovFyFjn61O+1I2cSK1ypLyMadH365iBJHDnegre9klpBnRjl1l7bdEO0J+BB++4jSpYbJTStyozt0I06+Flx9i3QFlU+4lzUP06kCa+ydfjZJQoBz8MTlHYUxIhA0txhMpZODNWYtQMxAudjUheKryzvjeaNvNba8AZl14O8Tzaoke4EENK1KJQPijbZJr9eVpmstEeHmf18Soah2BC/R8AHxPJyhFdn+ltgFE3MVEjEQqYEMd3oaA/EwtsyAOy37oY2xLadMkhxQS7bSMnqlWsBY1F6NLBc2PYpQSp8AacTFyF3JE3B4xhuEMgMQIf3686xYfSflfOd6YBZvCtMl0SIgnBWyv8YlFOiE/SCAZfhI4lZmQxQKtptmjCmT86NJk8hnDo0j8wvfi1aD+iPhUXwOQAMYt+BaMM5SIK0kTmHyiSGIwyPGujYoCmuGGn8TuDmOMw6DqDj9eDPVXSjkVTSNSX+Rj4kmY0Ml1rXlbUyCt5NAxGeFGsqE3Uj5jcyNx5VcAv5xQwWVlcJ1Bzv+HpPTo0rSa1aZoPs4Qt6O+enNQtJuUMY+xTcmAOoXcBomJsUaF98rD29HkKrrobL9KhbXIx0PqP2pu+5+6kie13gOZZp6+AXkIg/gIfuTrHNagtiBaxUxccduD3lsvO0lViTb+zGV+/43fgJiAb8dy1CEKuk7+mGmV/mLgbn5hm36V1R/kCnT5zn614Ken2XBIk6iSb0O9HAko+aTY244peHw4Ikjn8VGp/oev5ab+RMdcQoks3i0hsLhS4eE4iqn3ot/Te4EkFXRslGnxxpP4tEa8glFKwQmEBC6MEfk3XMj/P2zjIca19HgpS9Mn1LWzrY6IJtFcbEb7+egTD/q3botvT2l9mkJZUGddmmxev89POuw0adhtXmU/gc1aUeVYI9JUqHMWjI/bjlWyaJkEy+OZRjUo5froYh/76JkHF+MTgyMwH5zswUrUlWUuu65t49Afhsoqr4s/o2I75sJOyofyXaZajJzdeKf2nJ64LV6OHrrxAZmtUpd9FGR7m8ZVCbeO9CkJG6blZxBICLzrS6pPUs4HhreBO/ScaAjMyWY2s3yzipVGEY7oZ07oInC3zzzjOqQHTX+b7SAWFzB2x9I6dYvnpfA8AsAGPpz5SmGfsPiEUQHLXTSLMxQ9gwoiZb7Wbmi7zDypAk+kN7je7ycV8FuUxXSTox4kq+93vzQv6OfOA28titWRAQqN5c+JvHBRT62zfdH6qC0rJAfD4QQClvDBc9EunZ6JFtBvUIP8Gln/yM49QHVZyP3rW22hfSNSLFHPNULrMDbsYdbQjc9JOEZhRiXvBSkz4PsBVQMgGyfH/0DTFNJhswYg6vIBvTat3yFId8/R16f3MRVGTAQqLoMU/tqcrxDlbWeLYIxTCWFLYe8+QR9+kF67wFqVDcav0l8T30DAr23TqiE+FUJJY3cPfOPykQbnUBVjKhsqxgc+n+SGTyuZUM+OTMhizL1awyW7UjZ5zGfaukhk+nQVMitRLKJJyjr3GUBIn8xlRTubz9TUdxk27YMRAIphWFCoV6luJg3Ah27RHL05S+/Cmk272beL+M7SYk+phdKa49oUMjuFF/gKmXESSneGlVb49Yc0rg6Pue/5XcOc2EJ0DKd+UWNHHwWSrDJoFpNDMMY31APLkYLEopVDSK42sd23+O5AlBQ8gXjfFFTOb4K+UwuCuHdhNHL6kB3bJO1Ma7IELbrYuhK+UP/uq8CC8U7hd2jWjhfpiVlPq65EAP7NBsKOpWKiOX8EKMb6Ckp13cGpZh7hY2EbQnw8LjjRanywzowNEwQNPYS254uSm87Uwx3Th+bZPh5x8llVm4jrHYJlTVk5OylBZkcp+v4CMRqLa2BHwYXEiuj7bQ7GYHz41RmEvLji+5221Bb7KPzo66QBf5EIlBXo9lbM3srbzCmKu3O/kWEDwGGTCKbL8e5OoECP/khWzzmXtysQyEP6EOpEUEhzkJcGCI0nasQo39iv18UwLdPJEBauRWwuiy4P8dYKVLELTf7qZlH7mFxvS+YIN2CueXhXFrWGmrctQKFGUMUdh2mko4HJKl6QsuR3mw2xsA+q1I7dJ598iPrxFKBOD+q95k2pWTfAOJjH0LivuXTTqt8NYx/7fM4UfcHBqmyWQpa3fquUWAyyUJuglxT2R1PeoYNxuj7qEB7U6fnCFTPPsLLGupxvImt1ERN04Hy+0kI/L8Q1E4SK26gH1ZsKXElZRvT/ZLLdQasti8EcP1kxTcyXiPx/dv5PFJGVYOEXvjYu1BAhV/dQOEZELqgKGCNmm7tJhxuDCWJtvq24vqTABscz4jfU7UhOKoHM5V2265K7K9k4z6MhF7vnWelGEGX0usllc1I3KdQlgH/wyx//nWCDJJBObvDuC/zkzsZ29znDCEtD6Gr9u+Hg76gIk1qzdI43HSOBF7zUQ2De8fMzK60yAICoPce8WFfW4LndO6jTsWwBprwaetg1mq1pn5HWtwl0+YKlQQZnbdFmlEZ61W8/17JxPavlQQ7+A46TU1jwi3MAbHmdjrzvQCn2eTMaa2gqReqN8h8n33Px5QNi/4Zz05W9elT0e/QSY+SRV00HD0NlY2eEFivhkDk2L3kg/xTr5Hs1P5kyDoWZxlHz/TJtCW7nQ3QOVc5u3fCPVREgIjL9H5zPGIuV5M4SYK0JEtN3BkmJNtxNZJvEN1YW1TpfPtEWLacwQxL+Ce6TEL8CaljUKv9KXTDgtid+nhr3yhu5+JR00hPxeb1mL3b8Ljc8FI0NQRAORprR2GyZAM2fz/8yyZ4uhFcLVIaNu11a46WwLBVzKtcY3JLYCM3VKrZlj6us/UZ9TlSE9MxqevYz+rdTbG2atjV1ihp5IKEflC4ghbWarCy4jkPY1NrA0C8Is+EFMUb6GpaJmJdVL2BZPJdnRCg7i77nEajsPL/yjt/eSvg66rwq0x6qc2wTRe4yiv2dEkRmuB3EAJCrZl/EzVYreQNu2S5ma9ReTAik0L8Fe8rCaRdaswVTCwOHnIXOfFDLPdmu9e76B7wicuY5w5jcXDM6hORP6FnUGpG0o1Cyhm2m9B+u3rBvU/J5xDmpALNaY3wwPInfZRKP3vqpF1V+3onnl41wjx43r43A4iA96rXgtA38gtAYzDDmar1UOkvHB0U9OoGZz/BUsyNziXmwep/sSRoGnjjqha6MmZ070SiyUIcqJYeVo5TyXhqOhZXYrE7pZGetojZTvHTBxI7bZtc+G0ECpTo9n7luH6KE8Ar8gZpXlGTHA/0iZF4p/9KLKKC1/3iVoi3UcsQoa4CgNEBYyIEMk4IKtJGQQczT1xflannVo5tritpjlGYJyHgZ12mM8wHgDw/7bsG5oPocl1qOeHtw5L+Mm7LtbB0xaXH6TmoSkik1InYiXkTqOfN8+vh09SJ66j49nX1W1GGT3/82q45saL7I94zgkyb+c/hRiYvIvfecPV5JAR0RkL+qicKkwHQ+tU8votS4z4zDXfE5IuYpHZryu3GOJsmGlOZlO65ZwHTczcpJm4ZmWwIUK2g+iXHPMJthLC7e/pC/rAcj3ix2bjfEZmXrkAOU/4VSyqeSHAF1/SDVV2B9/LlYMFyvURgVksoXT6g6DXokOQC8EQeCthi0XKrev4E/sE0WmGr7g2JaygzfatwZkDyGLAUSdOLBn7v6lIYsMcvTnAY73Lz+YjKOdYpVkEMIPApitDlPADUUHhhKCFg4zz/RXxdymyvR0ISvPShWU+KC4Y3sX5f/jBhjN96Oq2pMyDqteH0bRIcAvA1vL6igkK70cwQbqkZ+JS/0hhhYeuRJlpkJSf/Gk7orqaL2skuvTJPMUEY7zBq7eL7hUIHWNCrutP2+CrGxO7XD5EHJsfLT277KGryQs8U6aqR01I9z83JQyDJhY+GsH4ayT8/f+7qaypRWus9Ew3ddzglEcF2xq0x14IzuKdCL0cojSIe4aKR0HNDUMYzqhrDW0AT5yg43v7oVgknkME17IUf5lGQd+SfgIX4pGt6K8nxYpZdOLTeeMRlzHQf9LTagAcGy4s3sbI0PzEY4DjuBvInSveUTrs3BJ+3U0J2Fp49i9LJux/li/dFW118pct69e2GHvxQug1QMjjtJGUY60n1eg+x1b7l5AbIkN3odmkhBAgv5gP0WBUn3Yq/lBLapZILXNFqbBXIlkjMz2gHN2ZzENI6WMsjzB4VktS+tzGiT9Fvngor+iko7jbY2r5Oh0OcSkVbSmwHYXJ/widtVZdb2TTlAVH9Jq7ny0IKRT7EZxLTIJWMHzxrQsfWGUv7jbXPDhomGdJgKYcxRmDBo2Kg8/2vTBwNoDaUfLBBFJ9V99GA7/3V7ZVOZLA4NDhDhW5b2ZifxCnZtRaioEroKNRGDbTtCmG1Wo7V4VHjEMLBpFSwecvj9B5Kcmc4RPCcZ7JK8WCfcZaXcgjcwoxfbi616c06rLIlLrgBHH1TqGr6F/oU8N/x+85aE048cMYKKTfgAG6XEWIRiLtfulwcJefPHubzfZLnLWT23dD50+Q++YvTV+lmysDAdqFb22xEK9vJ4uNZqT8xZ5gHd4kAoAb0qKqadonHexxlXDPABKY29mbkx2Mgp+4XExKg3Ru9t8/8n0IeNOjGV23/eavdRyCVc89NrMUVs9G9mHY2D/4Gql+G+NQyP2jSuqzR6DYRb9jkA9cVeOWwxV9Wgnacu+A1BRDjxUoMjuo29+EFBoymrjAJfb6YRPbLUYoXHzo/O05A6NvJVFT+6REX7z59yp+viqfvWtY52SY78++3xctcxxjjHW3s9EyuLwb4Li2HO9+iad7amHhmOE9F23r2LlR7t7HNrqoh7uflaA+4JuUcKskZoM9WPvXMXVX0ajUqIstgbGuOqyl5xiXbT9IiCIw1FCER3r7Iwh91eha2MVbt0hV9K1CfKJdSsHj9be4Ku2+nyRvw3BtdRxfGDRQFE9KhWjhnAbwnJggOFiMGJwCjlIYgfupHeh38Rf9RcLKXLbnRnKrglhSuoDA1RlNgtN7zReKjEi52pDGuC4p7r9K8DDXzgiw00Mh+QJzeFrZkPLEcG5gd7Ej1gnDNUzWe5tWKkmqHtV+hFXIawWZ4d/KYs8CT230ixwCG39aFaBgG5Uawcoto/WxqtdehO1KkFUOL3K0FPk7xd3OfJ9KnVGrXCDzUC+hcmm1htyrbZR9bz79AEH/m+ZvA08pFFE9ng4LTEbX5nPpu5pTph99vSwUHac0bRu4eoUTQNojR9Z53COgngH35gzzKrVBx1gdyXMoEayf80vjZ8N3DHNR/T2ynj4me+p1IEBe6tCFuIjWANEpLYRsdUtR7mclEmSrIVHCrdGHT3wqgpy6ALZglOZuHCTq6mAUCHtE3hVWKe28c7vkPlIt2ig07pMRuMehiRRUmoyh4IciWfPZAqvwoSvNnRNogqxmAyte/K53IfXAiIvGSEFg5hSGTWb0dtHcfcynTynJeguZQzBbczoc6TQIYDOMBiIKTr5wjfQyQRleA9AQqeCU8oxPe1l8kiqnN1iP5y7so702JyiJRJtb7L5uo9mtlA3nq5pvX8aLdtIav4OsodbGQNLNGIuyKE0+mDmTaiWTW/7YLXwCkCumkMp7GEuYpcmXb6aF6vAWU5b1HkXT9eED/GgzmVMFQ04rprd6yu/TRlnWKFMKim8GQJhyFrItSm64OyyIaJk7ky0MgAyH+trikRjFSV1FmETXU+9rcwikkNoYaCDqRn/tbUWxEyTWBU3sM4lcCsHz5AJw0+mb2aLn1hLLlLMPoR9hhx4zunBPOAQAV0EiyiVPbTl1MtW4bu80CGenzitI9DRb8ptFoWXrg58Dreq3gqihEVIPWVBgsrZWQXPMkX09q8mhAfeEB2mcjOeSj92E/uL51KdvLWCYkQTsdVhlObZE0cSh9MKMe/73keZK4EJg53jfaWpVG4ft/Byi0nrlYN/hW96bXl6BFlbghqk07GWA5ZLCVE72enfV2SO4iQ2RRIE6l9eDXlhK7MlDnf7nb1tK6IpuWbULuOvtjUssBY88BzrmIxZLIEcreekT0PE1r6HNjs+WOcUNK1mh5c22bKHcJ+Jc0nMViJXdiVHwbob5/I8wdjRirUp+hOpXUUAZgiBtQrmarCDG5Fr+03nL8k/cVLeZHp2dkJEUn9foqZ/deklwXyoK4tRIL00WNUlfRqEq31cyd/pTM0jESlPC/CEXpHvijttK/uHDOIz/6/Gl0wifDi6u67eP7khQy4yfx/DymNAEc3IWRs/gg1XS+u5rPC1QIvSNnEGurbrastbJsFLKvGm2onSlKbrZQmjQb3x5HhlwPDR0X0j8ZoeOKfZh9oSQnmPR/iXZU3ntkabh1DYpZ60gxtVlIXTpTylGkSUjNR0XZ4VI5RpQ4DAzjwjq8OJkI3JbbKUQdYbDYnmwrP2lyAqOmh1ICOGl2d29Qt/uCiGy8+x56IpFCN+1QahVZPR6OhcSyCaojdXrJczxnVmNY7FxcaawBFutGwdoyFL3ZxvisCmuqYqz65wG/3IXWJxMTjJWVj171bUuKLMpCv9G9COyzA4IfZzmJkZHrsqcddJJTsF09Jj1Uj0K0NL559u/7thXdXUISPfq5hZK8rSNtAI02cqdv5Cv6p6H7NlJWbZZcRQ5EIYAhAPxDLFrgKJiPtGmVOMpyNZCuUjiAo9eEeoPVgPMU0b38OGF0bV3Uat2jUZ43sPkDAzsTtaIZfEl55+CA2PUyPbgq47UdzEKfI2ZgL60fJNU5noIgEURon4zf3jqPRK9OzH273QheLfetHBz8XlI0qXXD22KmFSPIxyl7fRAXFNT2yWlOmqbmRjV/mRP0p337G0OfvI9XnmUSPDgulMopf3RlpsStGM4b5Pfs4rDowm0CavQnTrie5Vpm1P+adDsQ0yS5COficblqSXiP5sLSqkBcXl5VsRdpe/t/jAlr84pvLuGU+YSWnD7hM/xP4vdD7dqNAydewL0muyUGBHbrv6ZYUhG1vBxYDFuzprVC+q1D96a/jVVTwQrC0/G7AXMqjx3N3/V9lRJNTzyzAZgG4/pJ2QaOjVE6SkpdKyyGHIq4AaPJZkIGuQ1I6ybjvC67QT+UBmHPdmoba8sRAvSWA116eiTR7njJivGykZParq+wxCGANeskclvhr50Ukzp/RbwRgidqKg0avhOMB9qiVp1uSz7YVf6fGqmg2mLi+D1hBZbUFD+ZajJk8G+EBcdYCHb5jSfj2DMYW8VChurMDzBAqYTN93NK8yiJC/PMgVUthhMVD0cKZ/r+DP0Q+bPT77t3Z81slxC8xIYfvwwLWjkWab5hb17dFTSlM7kjXMD37u6fA1I4lFgUlRJdsXW9xbVVYP/sbyKXKdka5IxnkWV0DowOK6ixGRcjVeZTm4ub7K1HNwTS4u4CiXnq0JakbbbjczR07qnW2611458YHvQ35iWj8fyQHZ3t1uuVkqMWey0DyD3u9fR8dyz9ab6gPPq+lmOV6BWxKUA8020WHO2jz6FxV6C+Fnb63CcVwh+7ksq8xeMfUjusXz8ldmWFsjgahuJCQZyPjYD+slwglmI9AfX+VWYE5KRjXwFLa0lBD+Rjv2TCSOL5zdJktO6Fgczs5sb9+pDvq5bp0C0WivjoruRnk0zIrNrxY51vRQ0192RspCHWnzlYAf88vWm7pNIOer/Ygl0Mji1JQmwB7LWNqmNvlBDXn44KBkuM/Ps4zTfRjLnZormn6m9Muei/k3lBQ/tN1Bk+deRadL82d6F8QN2ts2fy0ARSU+9TBH6sFkYGlzjaGVpX1xrRGHJVV6ttYlyiihTV3jIOLEcsqAyg80lzSQCyXnddySPoh8zsBQWGssfj3Yl/xzRYT3UC7xZNersqg+XGU4e0LwEPQIJWWBMKHOXpuOfaiqzVehD5oV2DvW4WIH8JEe9HQ3gQ8I26uxy9dhR5DcoYfoIt+tXtWqRYHwufs6jVR60stJ3sCN0fQoDOWipgxVKLE9W0RnkVonM51ppesGkDh1uzjo7NCxcSF/utPEDUw0DudKpQfyv/VFZYJck0zPJqvsR5q/7x6kh+xJELFXTT5fAka2f9b0O8kwEel0WPgNzFbUHrtQ7JUIS+bI7viDWyNGhmjCJQ3UN3BNjuCRvKuLEzEp5dflD0ghBaTtO11eX6rlMLlJOrEfBeWPjC6NVoaEe9xl7prt/5f9cKdAaoxZzmNGmdxfELF3XvadsIFURW7aFUBHUh2BS5/JlCqYepoUqOeWgVYRgWIN18PsthPvxPdVz/Yi4c2C4/kzIobPJpyB/waGZUkDBW6OEolDdbz5pzBQ2Ny+aMoCgFjIhO7TwC4tFOWOUOB1mcryAQWnOVnnJE4kYNP1JvoFc3+rrC/t3pXYLG+qwppZpmHIj5XweUUvhIOa8t7a5gyoH+Q8p0gvs48BXPD3hrXJs33UMBYzqzP72a8E5P9YwkzERsGQGoTR8/OmT8edF8T2peBMM+ViT3rV7rJbcAQ9i+Fc5bdaLZcKTOx5GEkJlPYzeFU0XYLw0Wb9wr3pZfrXImE1MrAVkGHU3U/pOqB9DNw9wfRlcQsZC1huSSvvQPbVU0gA9+ClA9DO0cKVcndnZYSE3Fo5xiUXAeS8i88AryThHtwynIWMeXATSQEhxZizwhhE/FYXEJBat69jxbsJA+DN9oWnV8izbI4FEvJ8FtHmcDNUzvzalhB8dXigPyrjCGiTaTFcKRHaFMyVJBdV3zr+VOEs0hMJpgE21QCw2nkCB/WR8bNonvOuZhnn3t7l2FMBCA8M/w3rlPgs0N0DlUzeJYVUUF8HXGhJanD0bE+3NYp273lviRCVJ+pPAJ6i1Pa+XGb0CJzkkyvMHide8wiJ+F61IjVSE5WmFjmSkcRPkK9Drq/1ZbDNpOYXFxq7nqC7ERls8GSdOs1M5dnIvO/1fU/qTjVcwcb/lrxeAe/rkNbk9E9bJ3fM9VubQN9iTmf5T0f/ejHcV0l6s2E2q3TPXreuHoy2f9W5/7zy/bIDFvloA+dr8LQkJ9vZycoUdkbpX9jpXXLGiJ3RlXcFwNiTBLi+LhOGGO+5mAcz/2xeG8+HzwHLkt5KAv3khNR8yCfAcUoMzgKk0qcFsT1XLf2NWOOLi408rp3nCCFxEFSPGDdxjk+vfXcTnlOqj+Uq4UP8TMxXmscR3L4s2O09TbNQERbtBuNt0ODbuWsdC13p95XW1jdUpk+F15gjNn2I/gj25/PShTGIGQSn5zqJXPpkXMs8MdcjA7n5BVFMNdK8StZaKYbmGjVr2bYqMk72ARlzNH4D004zpYNG2QWd+uWSrPBR8fV3O9eYPrAY3odMU4/HUtFPLl8ViGXgPcsUv7qNMkoOJ/TsCnJraJjF9yIZIzgrl4Cc35wkRcqOesYkcVtfab1lDCOMri3avhW1tH9Wy0FUdFiEnSMQHccWgZTgM4cYJpssA86G4wZFqm3hc+X9AZpZ/uP7OgINrAcFoH1U6DXwQbijHMHG2dGZvEC+u1VAGfo+5pK3EpwJ9up2s8Ql3bwTPhDR/1X0B3LGNQF+BPc8FFFFN+W7VRng7AhNeyfgVQ04e+gyL6mbqlSnya3hVUkgCwbbqUami+hbV9Ef1GOeNqIZXpEzr6GUvKCJfn/pu99IQhoc0jAN2/dRROy6NidNH+NZu4h/g4SxsBXqG/UweR6skVCFt5uhr0WoznC6200oSGiVHBYktX3GVyDYd4OBP0ewH3ZNlXNhJkw6c+q5Uh+J+npPXnL07+uFR51Kxz9IIWO9P/pQyuXyfFrHSpHPCuAccwg51su9NNJKTu/uYlDjSuCOTV4D0Yv58/UC7h6TaJreHaxOORSO+Hhm5Y5S9PJQb7Bfp1OFpMRI/z6F2alDzEcTjl/zEMMF8jNFLZolxQs+YN3B+YjM4I0xQzlJ5GWwgWOqs7BQu+oAkxjWsu3WY5LRDlCTLOeyIoV1gObmGv70ae2rsaL4v/Ovg1QUNuKyNTvXLq1b8k5jyNGyKsK9oJV+d+w7423rbxBXK5K4T/HMdLtKbqg9zJvGLLPJLOs0yUxYH7mHDjxehoKyTWg/UEh8KNEkpG5PwFvp/uqvZkaDDn6F6cl/nAQwJT94yb9iIecgUMMVUBIUI8TU1C90CYyTpJJ2AU3l4H45tcYoppgR5g4M7PFoAVvPcQNi7FWDGMfzFRBmEnuXq8hBRJ1z2BNyTdifkwWL0Qm/SpDGXx1BFwPp1NbsG/zEGLN+7TCPZPdSUywTU1YvIMVLsANBy1SIM0ejME5oU8WUeNuAs7VEoJRAIVrORcMOJ+bWy2cVdnzndL9WkjjQOnj0OCN7he1e77f4HlNkRJXiXIg20YAs+X54Huj0LGnIx/l/3VvySx8OAF0tmqcoyJmU2BlZA/ayOtPdvvayzmdfTl8owAxbwIyxAKLL43WlU7sWz5AWgqsbMpkQbiv8HgEsWFvRbV7ofgGWWSa9CAjzohyl8XMcfGikcH5gcpnComxQFJSJg7QHEZC11jLpmmu4AgQ2QMFq/YLMSuuSJseDDrG9ntkACs8s60XfaPAtx0c9PH5r8+5XVH62DGcfhFNBpdoan2gW8jX0n11WOCEpEMdfBGgTdsc+ejPfalL393y9HcwoPBe37fdpfBgiioob07dKBZ93pV4v/Z4g6LX80xKeRiPFRXNN+VFZ3WQRqcZ2Tcuel0GmqnqedxeEwwIXOistik2AayRHoqS6CMgYKU3AaSq9BZPAZ7RkJ7QkZwa9UlCNSaORMm5dKmKOJzYHvewEm0QIU5Ej0AKRoQdoYPEPMWHg2oISGXEFe6WUgeaqsHxbxBXWbT7UAaCu6GjU07m8Oo2ofSeQH0xbb5sQo9uhDD6CrBOejDAMzcwbDhmJTMf3CclVPnxJUMqsGqWZkaUMLwA6xN/WoYhkMqKZ8Vi8Ieq3ngr1lx2nGzGH0LpeowmQigRzriOUp8fRwaAxPAMfFsNu6fbFTTuvjbzHUxW+Jmw4DBgwj8zPGOXxENp9pR9KVsMIDjZhgdYpWLeaXwzmewJrZz5PpXl71HGeE4hTb3/pBNuY0hjDJ0N/wDN67jM/90sATISRIAke7xaeZmPQRC+GI24/R1A1MrFObhVsXArclgx0YM5cNZ8NR/wNHQN5WnmhTCSfuji5K1sdnBxKXCAXkoIlTAjyfZJ+g42IPtwpuShzW+xK7M52oBjXPYhUU1x5cJBTRfJzH4CUCGyiDVhRnnn8FYqkmM4DCFuHQ3UQCADgIsM03Iw5AbYCsmF7oYXpPDal75m1wa8t3uak+T94L47pIV2JfqrSbPfJUp6YDQHDY2SiDwwKLPzaIgLbwMmaEForNJUnuMNW2Z1vKg/mfoo8KD7X/cS3uW9pQjJFVXcDkWS5SGOTjdjoGNA8p37hWU4GrPd6BEHOuHSsvAywC88QtVTaPLbtY17mlbqExs8pxqlIv+N5e+a/MYLIX8CnMdJtaG5ymj0vIUKdkWkH+iSLJhL22vYnyoCkFF1aPjqwWs32QOiPVD47/ZcGa6b4r9CCneFzBbeuyqLCwvLKXAA+xsM1JxAq8u0oLgY16qpiskx3q6OuOhI42t5dlG1sGSemas2uhFtdXCEklgGUO3np5VSrZYLUUa8EtvbPk4CjJFN6/mnMo5jlM+QUHZYX7M+qP+xv8uvYsgbBnW0QTlc4Z3bBwPnFk/yopkxL+RwqIXs/cqxexfG5dzNK020PMaZRqhFxFFqikNxlBewdbeChz04XjBqOYzC832pwWsUS0jmUlx5AAJnir2AflRocx2PkDTRdFwK6bjsuJ5SDko1qWjAvm1TZHmGKYlDxBp6K4qhkISfpQeGDu8gxQp4h1ZAqWzoCbIRhsQiud5SjzWfjG40vVf0X8EystfR9k86ACE0kIVwJAg8F1xl6UhfSgfPlbP5AEexXz6YIk0lh9oJjdnTtlbNviT6oOI7FDQUKZpTjx8miMdp2zf6Ldli1T1lKhXNKva/5qLYVTPhfLCTv5u4ovcfbo5cyKtaKBetoFdJZf+p17CEvglJgrtb8nWIwn21j8aOMxYMlL11iGYGL3BTK7c+nfVqI6FzUrGZ65z2e/joZDAO1HhZVGHDXqvAfUB1imWwcdPYQcgivo9lBjpi9YPxupsS5TSJPoblpjTUTERnh1ZTluZ00Rjal6qI1YPxxagrNbNBshGMz3+9c4kwlAV2Y68IQe1DsHBWX8u3XBcSwbYrsJsBLINAfageVLGTtRK3lo/d4XrJ1N0WFIiCxvFdAohjGd2W1M7kGYZC5+BzX3FkQAB8TQ5HT6TLWTyZmv8YoUuk/i/fucz8uptVBWPhWekoT/+J4c9uWjwUJ67WYhgwpwr4MiL4vkZEkMh1PvYFX+9rR8qESs4Dqw4o+O7CWqhwReccn/0sYfcu0SfDj2ofe61rrRYLcps+JaospoVyw8mRfAuVhQ8yK6ArQr1EhgrAyXqu4a/64laEG5iDQAN0I3af7pGGu1snZZ7AoOSX+X7gZIjliHHyrl7fjJpKzuEWycUxbG4hP/CAh+rugJ6jTjItJkCQVOM3iUyZUUXP11MK5oWnTZQ6mTA81hPF+fKMNHhu6tluR0EqnwWm02TQoR+iJNFgNhjnxArz9sOCuwTWf9vx1KbGoeqIx8xJFLUPPnvenvhy1bwNdFBOK4Lk03CzI70usTLJgrVbatclBUZ3eHqkkIt1UbjWDy2DP0aFlPiylv019Px8JAQiH53W3g2Dg3n40TCEJkB/TBVoWWSOiE9cYcrWGeISenEh9jAZXRrH/PLHdlVI8pNxANXuqys0K6Yu4BIUHPHB+jfzo9MOQspkveSMAWNaw1Z0iIy50DLaCiGTplUd6cn1PNZKRo1OdiweFT/qFIV2oBwkQ6v7PXxaSYDSHLNtaC0U2peVTdYFmhWziDsJJksfavpTKuqY2jk3KGSWWRW1iUkhqdmQ0ZZrhmtuSXJqvaJYyqqaxPo4bvudBY4jVJyPlOYXCO2KUJBl+wOntNvqQxvGf3bc5qfDGk+9iAuvtz4MSi0zLZ8nGI5tVdZ4vH6av87gqvdvDTK9K/c315BLrSAHlOPrvV0Ljh6FyJcF9rtllLRIQ2qew0+DD2cgvlsVRQnjf9W/u6EKyHmZqkTc3rmgFP43jDiAqd5Nd78TAdOzAT6QIsrPiwtqNFLHPJ8zYb2A2Ot7E2V5AeD8XH1IlXQajOuY6uDdbyT8z9jb6GnSK8OQLn6XtZO6KL8/IGT2wzNS/92L1dLdAgx9Fd9T0C6OyLeJhssPrSRe71oRhu1bdFGxWYrDskQ+VGJNcIuNoZ6qjhEkKnj8ijyQsEhu4VMIMTQupTJZqF7szkhhgyGKuWNQURaQREnRnjVAgx9izxP+U1qEl94vKca7stadGWYsFrjTYkWuMXgb7AUvCBmkzGfzbo3C+Glg9hH9v1Ndebz9oxdJWmmKO9YLS6WfXcydyDdjBCRwouBKxWOJhQbwNalPHDWT3SF6wgip2azFs8MZMNh/p3irf/vglVSPXmNrixBgprRbpLa4QofSdCZz4PBCeKb4BzCjak9um//xWNi/aJKSxttcMgFPQHqpN/rChHMPnpanYIpZpVDkm59DzVw7oGUIb5VnHESv3GUUDGVuZ1YRUJhL/8xwXWyt/1trLRgbWYLky6GjZOYRuOFxEwWfd3xKw4ZhW8IEhQYSahKc/2Lf3u9iFDC33es0SdNaSwckVXkjrGJo24/d13PShAMucWC7FWd/ybzVwW6Cgi9h0zk5/henSZfR6CM1V44gBeXVoqOlhVRRGTVwYiP2sifPxOEPWnN9GjvRk5oZRXUi5SVEiFjuySx40LnY0mehjC33BX1NoKOKt8yCpAFpDn/XXhxQMF5DS9tvrwSXZVI7/WlSxoqv5y5fy2/6LJiHya+Ntgo5M2+xqQi3qEzqUshKzjD2VvPqCExcTkDyIGmqITNfWPi6gy5eDvpYcGQsBRclnGeJ9qg7HOrpTYJAQPfAVwgfHPDpA7FJzMqFbCLFYEw/nCj+W36qfaJwEVQLUn/jKWa0V679pqMJZ6HkizQzE5Yn1G0BZ/eN/3Oq35LIMGVlaHNX0SDP9SrE2HO6YtauxFfoOkBT0H+pnrMN5ricPgvJ3tfzmiljZehLmoEg646dVLtB64wU/yZXbysocYlRj2lbAwgwTW/9Fr9I2zsMzUAymWdqBHqXgegfXWD8oMg6K/4uKTkgbBV30p2F8pDplU5+4QjDGTMuww49BBupFiK0/5UaeF020aJfcyo9PHiWZthBjH98ZxUnJocbMDYN5x9D/U9mhmqP3OZd+8o+kTsjwIjyA8umv7qwZuKIejySt+uSOqfHjqZZu/iwVQUpJM86Rh9lL2a1cy6QtJy5sM6QPaUzu+GLCXx13DkOKkFGXOaCgszmmcdol0DFPHKoNo35wj9Fb9pKC6siipIEr/yT4O+woTHOShLn5hAWsMQt5hb3caY2N3VaDPB3xrjWwZy3AelRAl5E4PX7R9r1XimTrXLsYI9Shmwx0u37K4cbXDevXUDLYorIdmWJJ8a565P73Sm95PEi7+OcobA3WtQqaEvX1Hve0+QUTWu/CNWIhnvNuY3xC8KhbKw6kba3pNmBQGUw554RoMDbAXxQ6vFYakmLOzPSELbSqQckkspPl4tv9zp8HjFmdbDjPh8CmRhpasYQEkF9wMUzhlJJR1nFXGbSTxMAGeevRaw7nGoAHnTFQxpAx0xdlSA1pEYSbnEQ40Xe5J51mh0KuKeR1rxFdBzgi0lp4NEZ/YdXAGd5LR2Y5EBdYya66gvoHd8lM9RH6SaUgHWmrDTHd1lDURV3BLthBolH0feFR84a9qCAeXGz/ZFipyuD1kxPhH6pqiHaBqGocrlmRq/85idNm3XiOWriq1EZrjfzS4D1B0uqCDVILCr6F/rDYqQd0NGIJl9CKTJdwc9ZinN6CkD64QXVbpz3Vta1lB6drWKAnjUtORS/zdojIwC38fcvz9Y6gBgJ7+8d2mIVDor7fZmAFtWegENci8ZES9NGm+E86stsxbX5W/nOSer5BfC9Dqx3Y9mp03UxDJ++0OAM0d8NLBAFwTjYxyNJQf+2neMa6Hmur4Bk2BNm+ZROA5S+VZkXtecRi10/KKslmeUPsqmkxrS45YUOqW40HGAwdXQKNJkqYiuciNIXF9w7eX4lyHUaqrT1dng7pbystRfwzuGvLKC6nXva2BXYuQh1so6BuC+nOujU7OTQOd9e/mYibLy7NDX2G5JRGcyO/K8T4XfjbhKuriI5Zvjf0BvihgwzarWpms74NBGgKCVwQu3mQ9piU/y/yDlvHsL5ymXNvtnzJwE3ONl7Tnl1og1ZD0/PSgwrdGk+V80/t5YAZLwCfl+o9iZeKd6zD2j9HrV7RUIJO7/8iJ8ta58DCUwPCN7spdNiFZPoBy/734rIPo1dLnONA79hL4Oalv9UzMI3QwZ3I7+rOcQRUoKXdp/VvdDEreh0JnqfLqns/7kselvjQ89QmNIKieQI50hqGq1QoNAuHUcWksttfOOu3+y9GxJ0LC6ZmPrdxn4diy2Nx+UeIZw4lsXGGtzxkNnbVMHFhi5abj5B1hnTMwz9lK1j8oV1mTvPOzXEQRD/ob37sVHEWCPKMhXY4HUSeAqs3qv1wdYvHT+3GQxZvQP7BXUSwaSFP54e/EtWcBInNlIDaJpJLEJylX2z75WknMzZIlumB3EO4FNVExw8w8fkIxejyk/bOprnTuo2zHrj0E+OkDFH1m+6LtRflMqOmFM8Wx2thJjVEPZmdlmbNUohrrKGEhwovR71pAIiLM0RKifhsP9POvOR/oF86WeXbYpffWjmTP+X3vUSiUV00pB3UWnM9+p7z7AYjLXl5+NNGpJYZrY7UqOP+SIugRCr9HtjdV0APSv+ZG6wste4H3Jh6kZh4EC1quA6upeUx546H+TyvYMbg8w2GY26w2CZ+/SUy9Z5Kg8+5rBD7IoqJnXaWx9RWDYCThXW8pTu9QLEiX+zKh//QXRBoHoTCboUIppUyVqVeAkb0mhdVYUEQXNpZdFhjjKotsMqVxBnOQ/MQnsrVyF6ZYrmnJ6bmD7YR31kQDKz+o8v5AItIzzcmrfLaxm6RNPpLB6wCUDL6m3634suhsabtJEhjJ+ZUo6qx2BIjg/KsUrdMPsnDakHr6w4tRdU2oi7mnKOY3y70mi/JXjYKw6ndhZXu6VFFAZekq01LTmNqJp+TYM8dr7Pxn4cvQmaFDIZaseyfaN9uocZ4BDDhgU+O03vvcMWiNJsJ5uuw+zVW7B9zi04lNEAF1uVBILTjru2kDDEXbVffynJdldJ1q2dDOjCvPytaPIO7T2cxmyBGspKAhrFLTjDAQPZ3k4K+eAORogVmUfZxZZ3EGa8NuQLwPVNy2TBUJrPSa0XLg7QXBs3K1KMj3T20v/RtaXtgp8mp5I9utdk+T4Dkd64vBom49vbSghNcVm63bina9T+8CLAb0pnkMKKHOnm0lwGdYGtX99JSHLEgLzVoGC5az7Lp7xr79o18cw6oGkYQ9H07wI+UGFTbtCCM20LQ0nmB6SOBrPTBYrGFZHKwutpy2Y83CWkgKyiRwooB9m3i6ZRYX31POlMAglEJ0vAlVTBj32FYuTULHQPq9+goTrOAOPoS8rn2whWkzBFqLSyE9flyfh/1Tqgsx0nswhrXDZUUKv1nmEQ/MYe8E0EV6Ly57QKm00S6gT4anlQjVEWS2BoubI6Ux469pIgpAnnxborCEjO2jFc2c7Cj4FYQqxe704gWLNfCERxKbvresY8DhQxv22uL9SbUcc6zvkyceHLPho2Zfk7rCescbU0OjnFn6HFnxWw1abqjPW+TS1B4hfobkk2CYDduEYhzaiXyQuJP5IjchhpyfHjMpj1cCyBgrpWVCnHt/GBss6vsadOv/6NHKQ2Nu7yr7wP9F/zxtxlvvk4H3el6GbTVoRBBDEWjGm1/P0rj4fQ2oKNpBDP3+LGYDgaHynXIeaoWDgg+9tlqVZYGgcQD0B5YcjLc7GMUwg9VWlsS1lustvZjUAikD02dU3zUj53jTve7A+KinHq4sJLx+dpnD8YpnWUFzotSSFCUkv1FLjuty+zYRD6VlNysdBw5Z7YX/+ZhZhWg43LSa+kLeS3Y4ie8zqPh0q3hsRBYaZKWfx203M5hcioU99w3F31gRcXMPAhBU+0xMBwGDlEIGRQOAHS6eWnu5aiDeD/0jHNz1m9VwC1xY0JIFOK8rPY2HNKhKOAzZs7acIz3yb+xosxnf1jZ+myFwILiV2BNVJYD6u0hG0LRzMEwLlc+Etn4r6ENvoxe4JF68AGODc27E0nyvtMDLvTkDn/+koqIUGAznECFn4/hb32qyibYFjFVP66t0P1ttfQ29MxcnSNZvrAn38AyUXVJ5leuwSWXGUdlZ6Mt3cjQqF0XsXD66cvygXVN3rQazpZQ0T/5qR8+JHZe5uDNu6wU3c9txEqR2c4HEUTLzfzoN4z+pmk7zskmMEKBTqTEAQBfGEdzqlQ4f1SgTGc77DNJZwnYK4okskFtUMSpdWkvFV6ussqHjinCagdkhtd6ERxqrq9WgFBqNlMnky5XlfPKPUKB2ReXd2ER6Tk9X8Bd9AkhOM6+9CtfcpF81XQHyCaWSSn4eqVkgNj+jzxv52dWAscuSOXUAufWBkVfodslsWw2qkidjsPCFy6bKpUI7kvC6rLVNUQOn+nMitViTQA+YgTTAZFjtkNizw5bx3JeNZBKoRVOebzr356f6d1sPWsZLAYO33Djn4QLm7e93wymI5k8ld5tYqRsXAC/86roOg9Qp9AvwrJFdVVRKF7nMZlBgMfT4UsRbVBdJbYKhyuwJU6cqLUyRltqhEbGcTCLKx7hLQNJiJfJdiQsM7FR2zqWfFh039J4z3NeemcTU/ZF/D106WT5U27UB2sUZwg36V1Ox4zrQbBdQ8eD6nsYEyM/2I6S3/QDrcfqOgjlEiq2YcTXFXbtzpvQ5AzN0bEGBhv1sRYPmgEuS86UVdVYhAm5KuPLawshhtbkPgXBqifDljtVmbsJWOGlF/cW1Rq8TA5qJ8mVRVa5+TrznG8gkIg2WPs6NWKVq15Io5Tb7BgX8gTYTyYRgrIpti02RFCFiPW5p0wp100QF7a8C58JiBYh1AkD0zsJBvpGAyTqA7DI6W2mRJWfrLzKH1vjtjM43GtvhU/qW6K2BNPnolUUs9bXccYYIm0UoJEUNHINzMGxpdwojvnrmp4NHYr8ThczGyZ/FVMJ4aCUA1FOX8N4BLYFl+UdzQAUeXzs1ujpKfoNCsCAeUvThHKHFUdA+6zW5BLpju+ZV53MfVRGKRWREJ99v/WSHBI39KOz5UbFhlOZKMv43nBNPwK9F8kcBzzFHP50cRSea/RofEIsCg/2acHhL+0y/WA6jYs/kIxETAJZhXFComhm4DyP4aycKv6ceieC39JEMZw/yPgkq7E0pYAFKJHL7qJLmWB1eoPAtw8Ry7/9bY7/KuNZ8zcODft3pm2VkRUVgG8Ij+YC70Q/ma9G7L75j7lDOB7xWoT7yLV8ajD3vjoLvR7A3OdyEafk+HDWPwc4pJNSa4+6gTK786mBdcadpWxH5o4zz6RQf6aB1SyXAnHp6CVNnEIxZ+dNvLCFd63bfpUjA8NIJMp+Pp8xuOoYFtrrN920yO/elNR6IEDUO/YZjKIwars5HQhWwXrCTrmywjMuh2PuvjrgRCvfcuXcGpmUN8ydVHn+RlZKXs0wOW0oOUynRmDH8VjJ1f4DTfF7yEozBxCIVpDtwinRPIt0BBTaU7DT7kI1n6NGmmGQ9hE2EuM2HjFpYpnBb3j9WwPIwMjjifAr0rfjjxypUxwksPbcQA3jYhPyjn3jmgl2CxqwvHpoeRT3tXY6Y1cL3vt6J52QRnh2oiFerR5ylzfvsO2Iaoe9koQPnBv2JRHSCt7rDvESPNCnjt9qHHUr8P3CT5mTyu4hnHtbdZs3by6DR0DrPlkKf5bnv3UADIKiypt9e+ZC9Eazo+8y/Yw7FbW8/hQHv7vubyWahqmoeasxAVXHjsKCDUQZ5fWRxzPAscv5NVBIt1o/iqAJnt/Fbu0Nl9cuUSMd6HLUfMRZvq2FEmB+bJZiNEur6CPAHJuHRB0yImjnr3orSQ1Tzq/S56Kpbuo8CJcaflD72kAXBW6j69p6d1ga5YGEMjAOI5BVYfz7i6xNn4FSP2N4IdBJhBomwbvn8eVjxnFzY3MQWuccH50Z96XbysayCfnyRzKWxxWMZBRXQ9pOdTqSHkzJF5sQXVMVkhYgF/SicXwwihSERB7Y6MGrAOzMOGHRZPSzYCe5I4MoxxOvfUgTjnBUBFLx9NOcCzujxco4HBrAYovexrPV/rGkFSNlb/C9HOxbSOBzOiwJ78PH2GJDp9SmZAhJrODh5Pb2LNrlDBqWPofuL4r1o/3ai6+DE69Yab+/pbPaHC5rpj/rINOeU1vJeKb1gRkpSUUnksoU/ft3wbNn58a3R2Q7B3MkOiGT+gFjGrNZOZUyUlTzYm7eGp/9eTSYbM/W1l9v9cUZ4f6uNFktI0x1C2pPm4mVAKB9D83KKbsBxJIshPDQdYusJ50oP65sYB+vOBs3pTsstMk7xdxudsOS8dkUDUF3E5QkMCp9rFJ4RdQ1ALuzguwU1GOgivX80xCPae2waeisldkGUfFeS8uDrR5bgVsmNvZtNxuP2lEZcNLsV52UJmlxG1OX8Y8bxs9QK16/1CL9ZzUOprOY5McuR61998BAuvDmBMgIWi8uNsn0IFGnTPlwEa8m4QiwQbLzoq5Dd0JYsaOYHrKoF3zWkGbBdoWtiBlJ0X4glCaQ5mRd7F3sqmqHPRkfC1RWenmFXoAfT+S4DZxlLY/3fm4avHxi3hguiBwvSWtAuJcFSgCnZpVoweheIyPDSbdtVRE4iljmbrQX3JJ/s49tivwe66jTzFNdletnN4Wp6dRIlZMjYhqgvBQ4DLe/sKnVso3c+3owSbhi2tQhZ94qxGEn69weD+h0knSpsR9aZlb5zscrKdI3JJWPN8RSDDOUNhvCMAevcbOBv7WYFNUd6raW4LqZTkjzFIrPulMUa4ySOzQdS+NXNDE7QBWJo72TF1B4Bi2t5Y6+Mmkps5RsO6YNC1yiv9P2QFlD8gLFejdIggY8YEYqJx2BWjdqp0Erz+m52WuqWdtUkuCmK9dNuhv2PqMmW+LkmKgz5E9Mr/AjaXPXBB8xZ7ek8t5pY1kublH2pYiT2/XmA8dTamCE9BRFUnmZdj0WoMoZzNzFV+nDdGwj1GqED3qz1Bbb4iSJdPkgex0bJs+d+piy/TKyVreJPLvUmk9xKM4rcscHe97rOb8XrpLmBhiGMI4J9TDx2t3XShliAitqt3grdZq1Q2cDoSO+Po1frcYDhbgFyovhgn5DQx7v+BVWFjjmFMtUOupoERNbJpgXdloGm1neTnh4p87QI97qoAO58xjVTzljZKHOZmBCT8aw1xtldTT87+wp/ylXonpYaWP2eCYIO6qo0PUI+1ADg3t26mbe2nZlNOJLEeSrzJSraK/KYFHAgWiYHda2nU1egDognnx6Zompxw72uCe1sagDgmT62R7r0kUl0zUc1TMlqDmpcb1MVFN742mCUHIFz38KkMKE16dSxG5sxJjOE2o8m4Jjb+DarL+lEzKLi501aRD5+KeIVYpTvIKzZtsAaoBt5AqIcQOsIXK/TtJqO5q3aRaBHtLVLxk8wqMLxgyI/REXsr4qi5IO68iBQsH3QuqmLK3s4HCPkwGVHp0UXLeLrykWV4j+e+dtB7EoSvd7GQIOkrD+mAiPq+U9UD2uuu0Fh8Ot4FhgHpvaxTrfwBJ+HbIu5pohOlj6cx87gWLI9T/NYSBaGn9flnuHUNq/bBUOr7WVnOBnbb7tBumX5E1xB/AmaJ7r/oqYKdgLEtR0MN++3hEChmbD4cRXoK6y1n0deGNDXFgPuvG+7gNkaSh2SMZV3Ofc2TZNaVGexIroJvrRg3AmqEPtPj2lAhlF9Evj/zFfUPgYMvnOjJL+ajuEy+BV6tNJuqLylkNmnpeMpF55rmf6l0gg23vnUqBlzJ2UEa2QDn+lrvaoOzE9zPeSASwdwMlAQKeY5RbSraMAnQBTCdhhkX4z7WDM2LLSxXnfbwSrYsXCChV97saRG61xzhyamwFISFXPZZjvTYlnMlX4Bj1JFD7fovPUgxEHeeAvjG26g5N3M8FWi00nPuiJXiEDfV90UPLbisMxyrIr3XcE/Q/jIc7lPrRR7gDdFM5otzdzli+z0emeaZr9ETLohkuFZuBSP2/v0C5MX8v9Pve+K7fdcp0vqu/N+66B9kJ2aZ6pbFpvpEJ/1jJ3q7Gt5ytGb875FHLZuVuoWJaEPRKIV1Xxp5doNz13/r1WMjDsPtxo8n3OzEv7HNx9+rZKw8PJlB0Yl2biFdwaBrVcJL1iMk6YarB2kBU4yGlbVLc2nzFB34pJ22cwb1myHYnIJ5emaulKiPCMyHi5JmMJ2nzBx5h8OwEhxXjHPdYqACmlGx6CJdnNbhnWZ6/Brvn060ZZdT7f4oe10WKJ/P0w3HfB9RIWPQTfoGpv+eDrEFnBdqheXGJhUFdQtlUkiMEif5fLyrgS6Zp5sYrmo/Pux3IQkQJm58HPz2dunQdwFLLjU5Qq9Dhawoklm8MQounsuHhGtFL0mBDsGq9oukX3XwPaXVG6ow221ifiyJkfLuGBjJVbZPAGG4r8aCjXqVGmys1ukjvlHdmOMD6RgjL0esjR+wn6OZMh3+baoWVUHhbHkBXBcZ+Y9jI0favIZ4OCg005p/dW4g9fw1VEHiNXhgTrTdJdfB55A0bRio2AQg6yoCK0dW/1We11iKVEUEON00d4zyKdJy/oN3/armDH26edIJR9ApBDJKCEfI0GicydnWQkPaXz6UAa7LekYvHHu7Eanb9unSo8Pi+2OonQIr5yY+goAUx5ksb16NKhtIvFoQxV35flphtk3pHbF3b0cb7nHLOu77dqjZ3vsIK/xqgJyXt0QAsfXK4BkyRoKzses54WmxonYIVQhtCK6XQKgcxoORuA4eYWTEvp3reN+RbHUof/oAPDaZFZ3S/GSKrp5lWUfI4ZdnPI7+YxsZ0F+CAbFzOvAYKK91l2G6FbtoFBVgGiE/UifwwhsaVLO8HBfOmUNwTosuzEw9I3QHEhwAspUOPVtBQf848k1JxfGmLgih9TM8Faa/YsheudZeaujf4q0Qz6JCm7jXPSG6ChuYbJ2WziszoQBb7guedCsjp+YjlSyabVB58CGt2vlyITIVGWJDC/qW/gPTJzhuCizvBm1BhDtrqNakY51PGR3/5ypcN/G7U7klHYIUkKE0cQXNbfPXxlWn8NSk7fVWW/J1nTFQOBZJZ9eAso1rLoUW9WodjI26hdW7QIr4QK6HVXwB2mdii7Ew3uI2vBpWCrSXfbh9C7INv0Y2MjSaInxF7ia0XMQXsQfF88G3NA6qjWX0dB49BcX+9Y8fuw3uXikoeWAxQMng3I7sHPFIN2AlDN2SMT0Ny1pvnObTdqJum9CNmbZ2ZAjtW89jVbP6f+5E6MrAIqN8SJ/PPyoxrpy/MbipLGCac/H18f1sqx8LNk9a1CCXRoXkalN7NpF+uOlfC/7wu6ASyupgzMiYUjud1+22f9Ml16t9wE95/JkPwFm2SBjOgRIDL3D0OD4ZGAk1TN174Ow+iLAFzUAdK8+J+PyVcMLaUglEfePMVff4fnWGLSoS5kSVdOM1PRMykMF6SZshYXG3IXHx3oOHTMNE6EwHyT6HaRcIJs8/ZOQ9z4ZAeffG11lkKQFzT2/0D4tQJLYa6CoS/G1dIwCy9o/0OH2sFwI7RLGp+ZJX0D9UC/Q6D44BsCK+X2v7+sUJHw3B7aIrwlF7oJQzeNUXEAhMu/y3MsSqL54bOTimHwP5EVKnAlcF0MAgEYQWzkMsKKjEucXdkdM/W/Raw+fStff9SG20zdUt2DU0gAc6fLDkxt2lxvPL0be3ds6s4sgzTd/bilOWZNfL0gci2Jf+I8/v/7zCWySVkMzDMgtVX14FrEzd52i+xKsvmFqVpaiG6xyNhaV27GjQPkdn+QX647VMyqNPzv6sa8MyZnJhFn0FVtNcHadJQ2eEzqrQ2avkAlFNVnLgo9PTq1OJOt4MOrdmsD7ewFe7PKoDPA8IQdGZysVcLtDg6uE+nyrhg/Ep7Z27e7PXQKE/HMGUPjvp7PjEv71bmE4psUy57ZncVnsrxEXm7WEr98nhbrK1wug0mlditrJJWRuFQoIwVBd7hIH1ti4h5zr/OdEZQedcjTUS4X1fAHV9gTZ9x2ZhOVQrZdsgo8v1Hn0Bmctu9XCKCVTypEJTTbGM0mV3lz8qGkLkM9+g02B1PRyW8iBXsCoXZc4drRxH1PcFiEgrbIhNy66Ya1qOuQkJ5FtE1aYIgK69bLQN9+8myY6mgeqdy5V/0rF6S4CgsatD8cGep2yVURN9NXgjHEYheNWV72ekv16C9upqGMmW1knbZM42D1gsyjasvpRFgWjhLATkwHiDPPXjjvsSketxvhqflE6ZfIb09QG4V2SjkY/9b8rQPFz7jWI2yaMWFXV5NqITPKGfMwBeaJezAE7I9jQl66pBG2Ssy9grh6Z8MpNnpyHKRoVnanCw04eIQuAWtemxlaUN9tXTYMpbOKUiJlPn4J4+vMA2Tjv/3suaScDC0fHSiAAMbbfG/gZNcCJWksYRF17RvPurA35h7LeXenxRR2Ao9KxoXC0TTFrxV+Usy1SPl9hejtTvWkANmcISDCFFUS7kYBk7BbVHorsD988BMkYxigNLPgBMdsyjN7PTyAC6TqkmBuYnijKcrQ+vzgd8Ly9VGBDYSF6aZXIN1IMt2+Xi/IavEwbdQyS9PPc5jrCyg3ASBrZMlPOx9HYcQvH5DzWJw4yYH52ljQYRLXHNmOAHkOrLuQUVRJUqkJnrHZETd/6As1UQP3wE67IaMXiYbj5iTSpiar8bZcf7Dlwe1PRjhjK0+s0rPfozLeN7u9bm3ebr2GkghwR6DGecrF7d3M6ldXrG7i+jM7l0Nnpky7SWepz1B9u315O2Eqa/civZw0wH56zkj6tmd59OTXbh2fu8pAuxPHSdVKfrx0kbHj+4dyXoJ8JKp4HhToX1Q2dQm3HWXlWdgJH3GYxeRuw/C9LblJF16y0+NNtCuBIzhw7AWC6LMgrofXoZW/D2+m4u/COp9JiT7/Wj11ymzN3N8yDKsTQZ3MsRscCbQzpyAlwYHeOGStvqPlg7C/UdIeLaRuDy5w8THAZ/azpL5OYEZQyYM7Pieax3DB+qjWWncHFUt+0NgHRRLhH+usNR3Oj0ZEDerLaRo6ktZR1UDCY5RSsI4S8er/WOoW5v5YYVnGs0ReP7w6IEJN105INrrEzZg6J4EbYdTz5WxToLvX9r5xJ8im7f1lm5op4oQzwzVvBBDel0KG6pOXt7LdJz8LgnMp7j2LqnBZ0INmFf08mrQJxnHqtjf8+vSK/fIzj6cEpv4H/QNKbJtMvMjWLY2ss7UCSVpUuKJfuDUvnYR844ALNe95691/f/UZpo4ygUWmI33o/2p/34++McHJQhh4YHyqrI19G8DMd3ryB6Z2QQc3R+53elOte380XSkwUsebh5j9btoMFowKgzw6KUIakrT2pluksOYB0QodphQyATvYNTg6TevDm9OlIHBPwNBGfLb6sqMPBXPcOIQwesmoLhxR3X+zOY5Jcajhxijz2BQdm1I5OAsLdP533T6BEn2KcAfzDwKfC0UwZ38n/VDcuFW1Ua0lBFZq4Hd+f7cC2GJhLCwzCk/KWAWABFSygSlX59814+sS8CPtKUH7f0DCzJRifZf0x+KCm0Utt0HQZz4CThm5vw6+0XRumxH4j6OQGuRq9TGnfEeqha3sHpC08NXWqlLADyJyY/mn2yPVnwREtc7tV9luwOB5UPZd7sXIK3wrAAkvA4S8HUjnR5JAg3htsYudhAYOC2JId7eQyPjYjMAp77VlN5Z+QvE250gWQM95vkhXk7E1Jwvcpt3VAfW9ltMO+OxoJ0W1jyL8wT5e2VjkO0luKKd0cNrdreJDPNRRxT+0FhA6nSIcMvHJP/HCHGG5lgh1HXG2SDMRnj9MSLN00Q+W7hQPhaZeDzupiaJ6U8YvjvgjwYDy58TOTpgWaYY0vo7uP63TDy1IM5U3Xo+1e8oDxCZ1QWnM8sN2/S9hRF+g533ACkwgZA/1P135cSh+INFi3s7cunGvq4Ox4cVmxl+JdW9MRjpOnoKHC0eKDTBWC3oharbf/eBcXbIqiW7OU7vsE5t0V2uBG43XGRiVPiI9opSyPw7+CzfIkO6YoO7f2Omy8EqpLwwhsxE8PJvmN/Y5LMziJKOgRL/zQUkKxkwxT/p/C4WT0P3JcL/0zqkXghqtOWOZE7IFZ9jQFu+yRqeZDoXraK2hvb0HzCDhGQ2fPkD4ZkooQoc8nnfA6SxKTR4lWWj/ZGwq6Nwtpx8Ix6kex87+Ordw3jxiNkyTR9kimYD0HO7NFg85oXebFk6lJWvY3IxaX3wVtArPfLMfAsb9g0UxwzBQbNiEVkTgXi7gaGx4FEALR1mEUyXTIm/lo68M/lIHgntVozTkCzOAliqwPEtWpx0sJUqShGJ+9373Ifn/GNDu6wLJyrMdM0B725u5mjKoqCSDTsGcLtqByPSdXnsVLFUIRdKU6Jk0hxjVC3foQ91bJii7QHNetE3CwlYZHRTJgxb+/crpmT9LtglhbjcrXpj+ISBeHXeToqLTR/zQTDH/sVgI9IbNGdbYPkkIq0L68o1RkF5HRAQrgT8qIf9bkt2pecCah7k/KjA/GSqKfOtHorYe/mB8a5ykdWyHdWxubePGUynKQP6zx51R4del0qpmYjGJCW/aHPRHggaHxCLppKjdYdujdt3p88sQ66BENtSGbAes4HU/JzAyuOVRZtrJCTuU7faRxNrCBdkhDXR0PfIcTNbtkJJimiWuXPQGy+dQjWkVtNtSrVYNuWvHBFZ/W/jJEehHF1InuuNiJiibErNetVvSQR767ZGwgSM3mYFcNArcIJsPg0+zGrUA++XLPIAd7HRTx9z5OOxGD87aeyTvi6mqy2RcJ0MO4iFdh5zavtwo4o+M1VwASJCjO+lzao4H2ZqCnRIf1yqWkV/5H7l1/KEqvBp/qmrbCu8dTsERLMJvbHP3OP1dLSKyYQfIlNzgnkSETrFA85nekKnB0mXoKXC7190FtAVgpNtzV0ifgelvUHjK5160O5WOt5/fe0LSYlkLD+MZR5xuL+mVKE9GWDV6JkoUIQKBLpU/mqhZeV5wGJ7JUDBusEldc0gEJbP/lKgS0mwRXmodq62QJGGjLcjXgvYnquhtOh8ZFxEdT0NsjKJzheVMNXKoWHCwKTisLut7vkM8bg5gOzcT1xjI/whgGeLRWcvL8CBw3k9uur8td2MaT63iObAXjwm7yYa7fXn+NkvCxbohiZ/9gSML6tKy2msFuSo22/oUhQgE+dJpE0gHBI6dbWnmOdrCSisS4ZHcIM0bZbJuAQMtoVjhumsSdJGBXsYWKLis2VasyEZb7DXU4sQkyLdsv2+CzVMTobfBDnfo+URuXvNtA1+ZeVefChV/HHj9aisk/jBHSMjVidleMMdFxwYnhz1uNIEjRHM9kBMpGPvAXoxdYMci1dLEOnWYJOzRhMGyWv2cuZmFrH42QZmGSQKNVcTLTvNFH1BeMP8nmcaN8FjA3/18OPsaUZ/HzbtuNTsQsr4cEloYi73oAMBjOTGjWJNV7WnjOJ2I6PvmampCz+EgqXQYBTKCxRzLuA0I6m3ml11gi0CS0bei42ZPrHRRyOSX1ErAswr5KQYpXwgWR6u1UIQ3Ndlyd+4aS7qb0i0nRSU/HvjkDub3aE9+kNMZzIYoXQMPbMJ2KjsXHYclbyOuF/yu9R5q/Z2kL5vlS3H7Is5TrJQPYn28qOeyn3edCTGllRBr9M3EnyN0lbA6SqzxcXuKWXWcOL7QNGIVWmH8EZ9UIuTnV9b5WKRi/xog96Njhlw6eHZWFBEpg7Ad2HDnD3nW+3hezDBrPFiT+pws8lH3oKHf/mcTD26TlZp+Mh09hYSDZMcHGrwXleN4ZMFoDe3Viu4NQ2U1hErfiquK5KzHePiyQiXMNbXgBosFCJ9JmWvD1oHQ5vIkFtcvaHsP8NTT+v10yecYBEhjV3woIhcDovhEY0X1kaL02eGlPgpkddthjDJoIR2riw3wNpjjqWbyr5Cfaaz/Id1Zzpm+q3t8u2RKnYTMNVZmUZ89I8eL/p9wJ24hMlcxfY7H/BqT5vORxA16R6+S/TjE81EgStxhMKfrIbTXr4WA3GGxCWy8UT98/iObjfneh4AfZlC73HcorsNm0ZE9aRhEut7LsYSSCE+ugiJD/7eQ/UyOTmGNuVJguV2ddIu1xbWkaqXpaj+qejlkjQxbGK+tCrx6yC3B2WdfEvW7aZYivZfVhkdYPx12ySVAFUBv9BRmx4qtLKT7dYSQ4hgvz4VBmAe5/j3z2LHyQ9yeHHrrCVHHai386pzhQkofqoBcYD3h5iw39TP/1SBcnJZlOj8b7Ui5dSrtQzb4/uaB3jMr9onldUx3a1JTAz+QTQgY+cogvB68J1FaH00yzzJVG4XsC5YbYggmOEc7hFJdR6bSRw+oeuWw13tDeXNMdkUWy6kAo2qn6o6TAjtgC7WV+XoRYh0al7F9Hi4N1CawfyAea0BAngIZyhM+XkZ0CAjR7vPnoGR5nuzctqZ9TQGs+Jlpmt1jrbH+aH2Y+L5mG+/3488CMwIPc4Q42c20w+n2aNC5T3PtaFCtQQoHL0liLEGg4rFhVGPtKwSSGQwZiaIUCRn3oxPJUOvCfI4W1R75hbSjtT7GUSJU5vB7agYFxJBBcC2h1FtwcwZsLLjODqbn5ZiKbqSFr+1/jxaSMkknfQbxqfFmFZpmCF9XvOuW/cwWq5zPOXzza0rXojam1G+CncHplJlfwwfBATBQHC+m30VOKmYondWRmuBt4A3EAcM8PdfgjgTfrmU1TVCQ5kcfPkrlwIIJur4BMt91BsKWypJhAmoEqyjpcsAdHIPxml0mGJ8GiQ0QZhqMuYudqhQizPQ+PoxjqjAQvg/aM0bwtIfsvr/V1tACUNqPor5wxSF+ATyz8WORvWdrympiSnK2BrRjJsq/kDVilsQ414S9XKRUnTUN15Vodb1w+jiydLhW/eiLWq0W0iNIcmOBQtSfnbm13WooiJsEvwu27JrA6ivK40PKuKnfjLVvWhn5TYhSFkNpBu4YC0DWNg3Uvd8RJI7ttEVobGfS2vrzDEnb6txxCey5m+mgdViuqGePcTY9Gy1hV7F+qQly7sruETxcQOYpibRv9za+A5vaSpPhoYHagIupkyIAZcdf492hW8qvUhH1iQTH/M9Ar3zIufo7S6v69CmTb41XGJKddv8Q0zyiwprfJ5KRYBKRsaAjVeHJcZCy40VWAxTPgAmEjGfyrA/EMtB7bfoO51w/1FccLoM4uj7E06KqqYy1lCdFQX74yE2QwEJE8BGHJQis496iaBepW65bEpwoSQG4uRZWp2u7i8HObNqBrktXgsFmNdQg+jP4cDHxdoZCDEZXtYxOnTRBVUPnfnWJVOK+6Qh0r3Rw9HFL1VL5qNMVhT1eMbOTsv3iFPENbP2kAvEiC3hCl3me/F0GDefWYsmNVQ3OHhFsIn2CfRXlVcQ2V7j1POXIbkzJ/R4krxt+qlW7JHa0UKoZNmrAjzf5F3QlF6TZwHfYd3SIIUn8I58fCI5h4RpgnTRISyukvi9DMBwTZn8lxOgTaMj9FyGBrYg6Elw5mvRnE0HY+hoEHSBNisJSOTTYi991P8rJkF4To5THlndQelEyvpYtrfV+QelxNwCJbv53rMdDQy67w6G9uPM7gJJEaAHInXaVdoioGZRFNwk/5sQY2ZLI7rl2pPXWWHkEnGPLTPXKxrDt/cJI62+VxI06eWRym6+w7LseWN0HCjaD7nG0yBeGl3EeIye/fQiTIaKmA+epuTLwE1x783k1e9pW8RRaUraiHkQ0Aykoyt5QlZF+5hwz9jHjqDIs0YSFt9xRgEQzaxDZmNFlcj42XdDqTZIyA08tBF/rVZOPwPgjvwSN+d/2rJcCgRN/aUYEwgS8luznPA3o9bOeoLDvC+cX81/V3RXaRPQV71XSu55husBwDZRr/8IxIC9YTDUz29yHFZkGusf3URFjVPbd7Wa5C71BXK3Oyr00BSDUQo/g/BU340IcKkXU6T+PGxc3r5IZ2sWWn47O0NFnFrOETi4iXABX4HY2cdl6NV6n69iq0K27vYbTXEfpZtg2me+uNszzJSKAzeTQeiSYN2jksiLcHA8aHW9ZWHb3v+h7i6i0uWV9tjMTOTRE0VLNINOcVe0BxCFD/gSMZThhQ2fKnXRAXN2fmy2IFoi/olG9W56jHj51kbqekMw3rFucHvfHMONf/x/KMqb+oFeYCycCzm02TfCcEtwjsH+5Y0cS+8CtP5Z2/lelUS8ePdEU459+NHfowNX5w2sjS62mFFU30kT2/DV6Hg2aXM5lnOijrLCU3TteS4iKBX3xCDToztB/AomYfA3k6OCmTsgM/0raj+lGvuEYvCiLYU2opowdhUblAdN8ii58HMgpQxGZji3J8fKFPLuDJqa1o4MJvXf63rFd+3DpbSDKRgO+YSXa9ThnJxw/KgNc1CVaw9ZHpSCelKJhk+wVm1RBXCpPKhuh7ff9fdsSZte6fctJPU7p1OpSzachFhfBZjpBnfylJ5IZHUQmFd6KOQpsBDEP1U1mQFkuMxNR1v/HouccvWTJuCgDKrxDS0W3otRwv7XIeru0CX1clhRo4KqyyPM3wtC3MAFdnt8yJ1OahAOKMqUbBuOORdkF2HiTrnn5MHCE/SiFXFYA1Qz57LNo6wtqO3yK5lPISauY7RLMNjbWxfaRYAvtGOm5W99RkpzhoHCSBCQZFvMzBW87sRe439rejFJ8D71GH16do9KAlwbi3YAWcVsH2KHSJeVn1anIfs30kBWJ/CURRyNIAY8FE6GEE1eMjkVj9SsUOG6ox/QFLE171woyOcsVRtUS0phSU7VVhHgEFFy0HxYXo/NG7p5cI3x5zc4bR9MWdijj5Op/TONQY8XhIRxhISdHXbiCDnc0GnlKIyeZWiNMMLUZy3v36cXkBIiUC+Oi7emkLRXvBSnqhgk7JwQA7imUd+xhOiXDxS9wCFds21sXaDOwRU4DufeBdJ2TMh3lLBN3IA7D9jdX7F2Rvn5QdNhA/8byOWf3mvQ2kTY9mPBr/YGzeDq9Ku8bv9e6xo+gaEWZO3CD04rDSSMW6qErQtMfyZSR25Yy7FqChYj0qmw+XiIh0lcOLm54woAn14jFq7p+aAi2OzuvkjczUoTHrJklKayYQ/IPTLUKLWdIckLpTsHomOdl0oGfODbz9pRvXWyNaUbFDNyYsb2azXmBnf+GoVCS+CzwzQWNc8OIWXDOZGj8cNxFQpzPAfdqFzozGYHBZeOm+nuxpZs6UJ8gRmVG45YWNT0g3zvFrzXse0P5JaAbqzxppxl/e9Vmpc9WL6oZ8HL3ZVSvqmKqC1rSwJO1oVMzKu2RQh2WSmjbokHhF/GwQYX/Pd3Gj0kEx74Y6M3qUFKPnCqB+riH141mYlFkFKgd74h7xUzR05mKQ4W8kqBWWxiUIPjHDWlodwTlvobmx7WWk1vHiui5pFkF+CfnYJCNlYjaucdyMGhOhmFqqMTgWdjhk15Yco0nwkMAnOU8QbznFGjYb+XslLXmXCEZYgNu1FbFsH7//2M5p5oDagGcrTEiXOZWfyw8OWfYyr1wc1CGtAfGqwk7D9PkdkYYtIDIneqjxvkYtht1+KNLykYsVRkT034NyHKTMG75IwuPqUC23W/TeoM3XLMqfqp8yKGKHsBh0T3/faTbmvXc2iruJs+2KRB5EGOPNfxnlOGXblLyyo7samzvZ/jVLuIImjxzqLDzl1LaktR+xQovk+ONOHHyu1eyDrt3VIceZ0W5TxoT5a0bZSy+MNrCbl4L6X72HLuWFlUbzSGSM4pV7BNLGP0mVYnpSFJGezmQATzgu3KJ61KLkyUoifitAcpqYfk93KmmKpGi6lAhAqIpktSeKjAvU5ONVp9y6mi3b/Tu34a6KJYTzb2uYfiEswoFCOKTw62dx3m3BLX/q/+rKOFWo8x//AKC6xHEK/WzmjknAYtubV6zB8DHSIGQVgvZAmxygdE+ldNx+UyR+1y75IiU6NHSGZtUl5MfGTx0R97B7E87Yv+26hQBnCWCZ8vU88tma68VF7ke9QpJ/bOInkfx1LN3ixzggDp/hoS+yGTlB3+eMIh3FVmvJfeXkHNcileRR9SFy4NvTGZpOx4vBmMd7BTLr36A7YkaaDwCuQ+Z7gzFal5MvdflwI2KCn/AddnK1LoofezrZ0DOgCXxNgSr0Toh59BsgybRSrpXFwKmBwQ1TK9Q0J5NSpEuXJuPyEXrg/ageoNZ4gnRbxpi7xmoHiOA8RyXZHDysbTSHfRFGp0lZqkztBjfMbxl6yKePUHaO6vYe41xEi8Mdqr3Aahz3lFvH4hhsI9pS60KFzDgnULOUgms/lwcdBsycXYw9d4QJ95FUOjY+H4MapsNoJrUy9TU9fgrT0ebPzZoBr7My/nYJ9LZ8CdSnY5KHGJSYXiVoZsVsiwQEZmq+3YWwdRRtUaFMgP8MfVsXEg/0zqAHVOHAIeKNOIwF1LbPpuzVoO6lYdMYqHnnkuPTQkjpLFa1ut5O/3x8p/kMvCa1QKTFRAe0GjfLxUfif8k/cj73GmgR3VnsLV6j0hB66SS77FwV8cEcq4/YKG+i+CZZL1Nz4pw1zSr3M3MAJ6IdLqNIrCS5G8KoY2qE4Fy7Vmu/LTO+zTiDgXIngle0AC/gus/n913jwyRB11rpUe6zXTaesqLwrEN5L5GAYj/jDOAaEUOYStLWtrzvUa9Vvo+22X92QIPaQ+/l/5ytYwdZadDlLAq9E4wdDOOxCtaMfNBsBqc2Ia2OHbNu2Vl9r5LLaFdbkqqCAm90OZqyfDcs6DS+uH1G25XQ9hAmKKWm4LDopas2/535DESzsMhXn3D605nwZsVpRj80PBVsK7eYqiSGyY5vaYZTeKKD7h8MeQ3WGtK6mPgLmKyD/Jq3akyjfNz80ifRKHdv6HV4maaDPRQ3kC/NWzMv96SYU+FtgXE/Pgz/QPrE3XFeKuRnL4X8PtPF4MS+ApZnzLWmUQ02oJB7+xGTXxwnJgVZksbUPkwv3MqxmbQ+ubzBlYYqF8Ocxylsna+W7WN36fiQC8lwVxN4Rlg2sOU/AZUytJWNSeDgN7nXebjJT/n5JShrrqTToD2X4G3QoMfKCesa1wyJNtw3SZSHiTEYmns/iWdcXBjo6M+F6jUblEWcFAPOUJIUB/joUoAHtbt+YEmdD0ROdU7+vBkQqgoN/juaSoRRcrPFTmhFLJjgkDaS8abM4cp/kfoMeV/d846VICd0kvRm3CMu9zgNouwcfpMA+VlBbVoW1QV2JJ3ETu+zRPbaeB5d4mjCrtUBNxwgaiCT6sz7CLeKgJJ3wTN8ZcAi8iJbGQC2+xR5GroiVxxT+ppleRSMmMpWO/2sXZO/X7AGizg9R8JeI1gclsy/6FJYj98vgDSnuouTRW4yt6IdYb87C5Sg+xQaQED12ndzVt72n0r5NinYB7NvymT+Lkeb9BbNH8fPVy6B20eGclN9x+e7WCTQVSQQe+UsjX2EePlBDHUiIhrVvJx1H6J9xnV+235Q4vxRGLGtGtgKHSsLWf0Kd85i90wo573Y+aMOXPPeHi9vdLwSHONjBd8on3to9CChLl+o9eFjAEkSfkLPaCftwNiHwpZwHZi95JzX9Lr3St2soOxFbLDGr1+rCcvibAbW5vCs6HllrYOX5L0q/YeiHv7VSzLOv63wX6kQYd2IafjbKjj3lkRC8nnzu+VdNnz0lIOuutDdIpV50/a6z/VkEr2ynEsPoQmLgn+kn869AyXj4jY1R5OYAj7VpIW3ZmRQ23wXFhga+22vF1rbrwJm6uMt4S/5tjIzsj46AuLXhJlKVS0eMeVUb4Kl1lb8J3knifXOLIcc9KqxFn4Mn7oHkhh+lO+j61CA98ETWW/yYceECXFC4LgkqITX/39pqBIElYcqBDRzbG2zOXLHqXLJSLHSYdog0ym2+zBzHklTl+zbUyWV38uNXm1ciwDDgL7eCUzOh6VNetioZWDoNqvu6xh5tGpIpM38R2Bncnsxuy7WZmTFlFwXF4icn8wk6LEcxa2m/sLYvH0QUvpxWeKHg3zI58O/i5Qae2sjJ3m/11b/ajxX0vm6nVtNdGyUGmK8ywKX6992/BRrKEyDv4L7f0+xf+2KCuWarpl3GQS4P7OE1Ssw48fYmI3LAo+LzTHsSp24L+K70p7NTNK8S3DWvZ9v4apqakM1QyN0t0ZHOontVfce4XlXIDaxibnY+WBdgLUULRDfjHFPHCDthqqsmTIBkAmSXJCDc3z13ieg49f50w2tk/VDrgt086LTTwEGlRNxmapvSzibyBmqBrQq0h8bDVpXXv+RdzyYXHRyxZbb9z5T1h7GXD870NXbz/gmgbUps8sXv3r/ts+w1pSf5deQyi0QZEL+j8W6Iyk5k+C+ADED9ctsNIl4WTHFjSG/7zqfpUxkTsqGMtJ2OfMeOjrhU3f6+w93mzJUjGY1P5UzasMs8mOrhW0XUMipTQ4OGNqfsBOyv0NrnyIqGjWfg3QauZR+0BCZ53N7qPXVTYMU+M1tWooLWC82LkVqE4CnFwGL/zUb+hsBn0DP5w3XA7QLhx0X/wXJ5Om8w/EWVK9SjCTrAAPA6vnkU9P5rmJtsbPCmynhZ0PCU3Fxfm7cYzXryzdS5pnYXOJUrUEsIxMbomNMk3NO7Uznzt4MLgmsobWuP26m7NThRwQ5OeAN/7j966JTgyUZLpAUd+wX2wVMgNxerO6Lvupe/y3qrPlx/kbTTp/ccplH0QzlUtKfsT0hGKsmYYMCKoKukp+/OUQK7fwNe564tqtigLlvEIRauWamvfVfuacfQcUIULgPPes+61SZLM98dbD/awPJZWCd11mB3DIOafq+VlvAcLd2V57Bvgs8ud8LjLlGdkEMjuStsl+lk5n3MakdropvitUt0vyYsHQTLraAFF4H1kFnZ9WOmgdC3kuuiYtExAYgb0Ke6uch/XbvqoPPIgfOV7Xr9D0e45SLrS+0ayP7RjYsNlta6LklD+OnRyObTAZGIp2oFSpkywCVeubfK8xWunNZNR9sDeN8bpeJy2PH0AZg9bFZAmVEZMWQQZae0UQNJOxGw5wqODb4NculBfuZx7TgjkLhNA5S/AEDeHvXUNztAenm/0ub/K0wde+F5bldhf6Frv3ETdjEB+GQXPeZTi97xHBGUb6PhFZMbwT8np5LeA7qlFG8jpO/k1VpEp7hiN1bqYroPQ2VjlACgEVcMiP9+P3FXqH7V+me+T5soQLKIl7Ea5h4wITq/G0XkabMZISFyX18iOGbiKx44Vmvu8u90cCFfH/8dGwJUjJBDfJNmoSLeACERMYzTxmyeCx7H8SU3ILIx/mjJ9c4veVyg3CHPtf+vlIV4W52JzlqLaJkAkFPDI7sf+8rDY4Bc2aLMhANqTGsOMNZAH6ep2eSy/sFG9vJS/87yqyfQmueQZr/vKqlZ7aB9MG3iKA2CBQ7CZ98Ib4HaFP1XGXJGHcfzwf0tPBxBDM2t2qOfgxtxI3dliDwKy5k3YDfESOYmXxGtzkxqgLL3NuSNuti5BtIQN9HpDH6RW9R+EFv170XXgDrHqdbl34NqAYabuhHXwYeK8nO9X7r11+pDICN1JLhAfavMLotL+bHwZ1+wF/F8gtEdsYMT1fv3u5Rdovbrjq2Hr7arEc7Ui0/J45A72Gn/EcTqGl/N3FoKatPdi9R+542zEDmcWMR1SdhrEcR5luSYb5EHFeCYmDaL3Yj5xoysY/Y1Ib7Wb3hLQCf4XZGtQKljPdFeOkHfd54Q6p9uMWlN0YlDr3E375K+f+hyeec2tbBxBlJGX0jG/Tw36NvoYP42TXlpFrUfbaLIwC7b40NisWTco+MKvCAutGRsLRSRJQzQUoBO9H4p7N8afcfLTJdF6/fIWBVcFyWmfO6x8VWa5Lf4nBZHcJKvoel4lhxNlxGKhSRrFaDNJCKnMtyB7ozA2aa/R2FqUVBZUBHs3zeKgu3AckKdEZ8ETBcEWjrKiObAtrcbN63aD1vBzZCPemJGmMkiVZlBVYZ34tyQDazBl6+Q0wQx7wPFS5p8yUE8hlEzAXBQg40Z19k07+fMZHtK5+oLjZtV+9RgnxyX2bxQaYe5R71LAgUlFeo8SRzPaJH5azjJ4je1EMd+/KvJ+2RPsoajz+zYC9KXG4XsWmaHhuXXWYAZpuXM5KFiStDjN8IWjdUsc1DyVUQGrEhV239qyNV5B9BOC+ZDDdfv9/7+aQsZBDRbIeBdhtp6kateHt69UsdaB4PJ5bsQFZ5pwYlKhkd7U6CwC9+qNxv9eTZUN+jwj9SQn1PvfhGrK1/BNzm+3BNTgEl/KHrbIXiEkpEaZJ4jf4nMn00Qaigkd0KgKnTYxoUklxxGh9oRqFOaMXyyc/HVXC9YA4WPvFlxBsS6DOKIUBSzBoOcLuFczUNB2h7XIpzn3sYNST9dTNcTSHSleynWqtBnCf8N1f0CVsD5zjuSaWNjGIzTCouCdBQzkLwa+pkuxm4YZsdOtyez7I0F1GjEJTjG3IyWu5dWD/GkiH8h0Ys4Tmft+JYYSD280OA5OXtR1ppnf5Te152lXxZblXJql/HfmpwTtPqIXmOZZWY429WiPdOxtwTunQRgCryDVtH4w9WQb/mYbC7iv2kT0eiZ+fMJRM7RlVBiWZpdFFGuSnLjox7qq1rAPX2tJfNoe6FyQpHOhOXM6M6kjdJD4EJ7Y6Sbq3J1RipoMOf8aAKDNKqDjBgn2rdsbIf1Mu6DlYIxwgXFtN40bN9ibBFii7JNtiaN9Y7AdZd6Cv2TAJwQzrrkKtBc2nLjd5vYfhP9I9llh8rV9wkglA4Q/tZ4Exc0F2BT0UvK1aVTI4DODWYIXzUa5y2T1aByvqZA1o4CJI+Q3H968hNATK1rthVvhtlbdCoSpmHqMdlgPvAalGtU5cKjQQMMSixFLAySCDnmzcoeApunp/p9/eGIh8xmKeNwIlBYD/h8JcVWlpPr2AltSKAARo9o4/JnPAJR1RTNV9gnY0vlqhi7Wr/B3iLPCvQMLRPwZmc90KfHqvwio6MO18hHlhQbDGqEpeleJhEKlTC/f7HjiV7cLzRgAJPYq9TJ+kH6MdAWLxsoXy69k8Cf0/V1csz+dKhZPpebKNS3ElWHuDzSHCyU1onkriNIRdekFLu7XVtRNnb78SqJ9UP7tb5VujVyc+HW6eERh1QuPC9TOKDMf0IQ1G0ey2LCUWLAJKiwtwhXQLZSmUiLC5ehIiWIFyFncZRwpctooBOIYy5t2Cmlh+u6ilAXxu9ttPIintIyjSufSOF4hV/RwV9qJgChVgDfupWXerNM50M6373rnS7xyqcTWRuzafRZmNRH9CBQkgqn/tT6ZfKJnE+q21bEIBOYX7xMOnKQOv91per0Y7f/cNr6gJGB3Bk2xT6aOuuYSZYdyAJffDn1pywy4sQinA1bSqYW+ZhYWEZO4cyN44DqoWIJd/91GV6ZaK3WTORGy9xwrqySjAUUKxjbc0TZS3dgqIJJEqqxF7DQAyvdDeggJEAkfNum/jKK9lD6OisBPY8lP34VzmVjq2WKXxrdG5z/5rb2/VNDRRR6exkDT53Tj/PHLchZTd17l2qf0rFS3jHfhleGEN/rj889qUryDgqunmrM5fE28DtqiQtH2n3Upf1kjomw0CgNfk8mK92EE5TdWyIir7SigW64kEBlmzy0YH9wlsTofSncqz4c9GuKvpmQKIeCRWC9oehRMVwFUcCnmvc8KfIdqGwZ1nCnZO4E2dbYaCzRiUv/94ia/L1OS0sOS/upMefibLvsu/Y3en+nG9nbFzIqMI42aWBNiaRWVOk8x7zgMvY258t/KZ9X2F9uI+a/JoP1qs+co9w3+iATUM4hkFJDCMgkoEvPG13M5HmYS4vjRdAXO5GgYsMqo8/61whMM00p1lynA35I5oSJIZMgs+aOMfAzBU7rt3jqKzrFNsATO5e+y9qgvn+rPiHRvygLnIgYJ+SlMvIk1chjsyi9b5AtUis7qJgdPElf2v+s1G24Ymy/NpLrxJ2Qk/lcb0TBUfdOrmEfVi/+DzbhzeHSS+BayLktVRM3KIC7xFHELimf3YyI1A1i+x04KG1uke5WZi24UaIa4DIXyceXFmeAadWLY7FxkfpKOmC0/2Ho3DHrcxBkTmOjCh0AKiAtmEhdhqiX5NYzXWJ0U9v4U3RUDoLv5YcIXqrHDkfqdLUFzjsVFua9XhYkc518tiKOEdbz7cNW7h24BQGjkh9PbOqqFWDs7WEfqLjnPT09Kene2ZNhmlsjlqwseOntBPnpgsYE/PHhLK7VbdLU5jik6uo/eLbzcALlLSjT/rBWzpH71RSGlxp5elF43ZTLrKwyOlriMRnaHclqjwsr9WL6WjNhR7wjAeT+JEFNHSJ7egZesULPXJ27VsDbmf093K2G6PJ89/aI1NyP6/dqxFYxQiGwIrpGzWCqRjNnb4W89MgWNVGjJFPZQleup7tntnS0XeFvzFtxrd6zLSwC22E5xwZ04uDWQFxc+QJsLF2XxB7/w2iH1SA/Au2cQPZ5Q2A5+ju5lHxyR5ztEGT5/zaHtonyLQw4FtRJ5YDTmf59NfmRmnv/ah/rdIlk5ewZ1gVHFqCXx5Khz8YnuIxK9wiU9fAFQqJPqSBQpY5j38C3Bez/7GdcpZiliS8LZ2wH/FUp1dgkcvTJ10G70cngo0CYO/iI4KChmKu38sQ1nfUabbx9JT1zws5ZrZeHgm2KhE23RSdlScHuLph3NAoy4TQCfJBmt9V7XgznX3IVQ3Z1/2K6+lEeYh8oNS5Q23KniEbHeWg7uHed7POQ2StUjKO+K+CCpfmVN6w7fNhn4/hmMzNZKDnlZgLqNeGtr00c7zb3XbHzZ4eL0KShLBR5fP+ss+0Q5yoadb1uO+rerIgDfOHqXNbb9lBh1m3hShmyMB6rYFl5l30CzP+iD0u4I/XG6diYhDvfDbkMMA443ysHmQn71hTbp0ZCLHPe/ulH/x37fQJd7phVpQ4KQ+oPjSHn6VVd7lKWTcbuG4ZWN6MaRP05Bxqa/YM3HrIfagwxw9edHmny8aCYqfC8IgaM1AfJ2LOfK3wX22Gh6tuMHGPEtWC3j69sC90jsqXaa+rvL5SEzQrcplD3zRpGytjCBYgsdpiqdwonyUcpSKkhZhgkc+G6MpaSH9pbic+gz7q9MdcoeTgPp19A4T9tDg4qj/E+WkaBafu5GOw9UeC0Yk+IfD4+XC9kNKKcRljkgoJN4jZh9BECz7Cjqtbu+Sx1sRb3xCYFzU/U5Bnu6Wj8EqJ6fkBtZ+avEnkQJUCODJcwc2YwHL8/pA9KfNOCBimsdgheygXRrwDMa5MJBLSHJdejyyLPexUdSyIWAU/PRmuqvLJ4cXeunj0iXQYbx+GFS4J5PrtJFee+gOefpw1488WT2TZ8wNJZRUI6ql0UkC3igDXsNmvsNBaCgz0jWHZXkXF70Yx/ILSH61OfNh8OYpcyePA36QNDRXMrQ+kh2LmTsrfF8GgDMPIfH782cmd0/Li7zPz5Nt//HcSe36PeaUFQ21uNaJv+iADUXPu+1vbGIE/kiIsYAbrfYSZLv8KGNa1prem9RPX6Kp9t42I381zhGoPHXr8GGv7cHeo5vyA8reUyaQyMlHc4unD5kOnmpHCz3R/+uyZF3CcUeMOC5pd9oczWk1IkZ0y0Y3yyZzSwOkX0Vee02SARdWAs1XKGkeOS/+WBtY6SzvnRiwurZpPO+MrpUquDit5f1vKLIy2fZsIOArLufIIxo6xh3Qw7W3EhLK48yvgR+Cv6pC9qefHu+73/spjimRSSeCDzgG/2QwyE0xiyBUH8xSdpFiThrSThTwkLC6Q7I+bng50tpRXtGpm98Tc72dJPLjMPTgW+2ryXlJtwMVO3CzWvMw4DMnolnG6RXWUX4+iGJ/SADe76vxfZvEqzsQJr9RbONsqCAqs8D6Ox/6C1JX6+O6yasyHeQ6/yQORN5D2s9V5edHcsHNZg/aqfWPaXciZ1FU+34bLZHDnbCQa/avwFy2MGaR3+qF1O+Vx5HfMTxHSpSqg3SQ1ZIi6vPY++k+0d7gifIQzrwRJTf+lnpLt9eK5srrv74gM5PTL0cvKIEnRzQNcQagbpZ6dZah6FLn1NaIc/dm39vmY6JBPOaI3QDyipu/agaY5nexhoQYJMZYIs7L82DIHJJ+efS5JJ2vqhAnZZX5y1qj7++dw9H5XrvdUZStgZTkvpnu81EcDYF57J+axXzLy8nAkjniLYiy2htW9r3oY69kY7Wc1xaIamE84hxjza/XsF0aNQ7uGIk8UEISoXKrrwH7XslMNdfObXUQ7f7xtlm4zA/K9L+Kbb0c7j/j1TgNgcUX+VE27RzF2furb9abL6FZljNHfBrduGTxxhCIaAo/KC8J+IEDHilIuRSKkFbVzMR09g8hftWNCPVqm6jwcbMd+BI+W4TWyHnTU0G8XaXe7e6lcZc271U/z1lqIjrIhdqAIW/KHxcdUme3F7N76O12vtE6uu7JriGemliRVW8nVe+TLG5RSpSLo+85tpARVocjVZr7X2d9c8Z+WSMn4q/oLumd+mp3erV+7foJnY7cagFNF8Cl7BK514gHOokobZM1pylzwuHiGyxDGQhbbtdh13ksBevQ48oE4nrwxuZycg5RMBXTSNd0jOKBkULywggqckCs13efU3geBg+Tb/CC00WCTKDz2BqwhKzQEL6mwE2IHMfD7DL2cfe7w3EK3CjZm4V7xGqdD2gTSHGpQhTnnYh7ZCZR/HnZsmz9sICP+8s2wVoqqV11iDTluOGmZKGqOLZAmbXQz/wNVWtd4lDRsoGrpXKKaLwfHPMgVzHmk4En4L0engahk/n93PhRUxnO6OH489a0wWRNoyypqmy8198VK3pYAX57HzeRk9YyGbicLwFMU5HL0cuATxwVPsoowak4opIW43JBGjW+Y4S1pPY1BPS3F8uEDliDx/Q0+tzNQgU/83q2udfOYdyzXUorKXxSB6A2zh5p5Hl6K+XEvqr3zjoOnP6nTKiYAsRGq1mD9s8wdtQMQgiks+KdHzt37s6gqNAAuXaLB5ljmGAB3xZ2XUgc0zvy5ZVjlz/TQYuwRYRwC0v9DGVDpj4JlFQj6P8eEK/TMTNIupa6rFCVF5vENtRm8SDHWxezdYhl19xzYBdbq8xFjZMA9Q/WZ/qkz9frhcy+15pRTUQgvJ5uMjCjPsDHzMKxMAx6FS+iX3mXdNRzL1M86qpSecdLqJYGqhiFnprqQdV9Ae4/18ycHsEAB4EYad7yWJCxwQq3VutJPW4eEXS7dF9Wul7LZvLo0qJMRQYtS8pgFHMMqyW9QNJaRerQxldEqeGz5IY1zdykCKOQ8Q2qfxKsKRaxd4oPkKpk7qrCUv3ESF+IiDHSq/zGEW7ND9hEZ7o7mg/UPdYTnI+UyC0ChmxjbcQeY3tijFWo5Q8zgLHITInQ51uhLucFNIgkwRpzmPkZzzRfebBlCVqqRCLUhAX+Up2vNXYUbFtEKADa8rdJw8z8adPZmQ8Rrskf+kV7vBM/2Q/k06B1JYLC51EfCd+Dh1LeUjd0/YTNoBIEWQ8SU+e7Kgd8tgxkDysat25jhsZStJXZrUMuBgqTKKIsPTMdShdiobleuEQaoasVUxXttynhasU+4ZSRNB9X9TkxNNTAoTZrK6IbFagHfO16pq7EkrXsr7vzrr8RNP/UYL9S9iwOn1mHrXSO30Cd9NTVEPwNkOMa5OENayPvO/Qp+mQJhJigAcfVV55x3EKDNvd05dn0iKFocqkZdGh5A9+rxSgovQqlBnfPOOYPEk8UohQx8yBbk2E53ed5S832d1Z5EcFM30ZxHRUchREPhlaFIMedh1U3feb7HUK4WFbK3pyxxAb7MZzhKNlLAFOmYxGQ8wUIj571F2J4tRj3X00drZd6tTRXxivItuA4jdLx5KkZ6LnmbKaU1ww0tlbimuy7EGB2whhO0xIT+zpJl1hGHaBmmLHSC+B6VyaHGIQXwIqpHvcSB+I1LPLuI3gEf0CA+CUnOf/7Nf07CVBYSK6+ZiVTrw3DBJIKNhN7IsY+Q67KX3qK/d32fcWayMZczv/HXcOgILUPIk+X7kJM1Kqsx9covGyiwDWdjLNCt3UpEYxD3N3FPpdwmaB/M6VYvQOhit9UqtweAc08078slISQoEftMi0yrTFIaVzdH/LlU9Ddq2sWaoqkPw6GqM962hLGfc4cfFqNWsolSMhjkSM5tWDncXViMMXwx1KtZgqXZ8tOyeAZ4LATRBqkb4pA7EdINDrR6u9sNPEovpblwrMCxHRg8+2/GG0WmokzCcUrlyvk5mLW+gLZYP5PQ1ZURSKpoDgKOasihB3Sq2B2bOpY0IEdZsMJRLNuZ/u/dbBThgORMj36qBiJk86TCJyJrxTtNzv6eNMuOI7ERkoihH+OiZGtQtnx8gjlYwzq2moCQAc/cYThvZsP3ctbaGLCkrC5PI+30UN07k9/cFPHYRo+iuJQJkHLr5IHHQOU3SQurt05dvccxudc76K9I3YdWYxe0MZRDbdKv8qqrs8xqeEFYDbbjckE6gxMdpNcsKYQO9QNf1TpSGQRz2s41A2luv1ZX4Q0UO/4v0ZZuW3SdcsNP6GK5I8L6sYUFEYOj+ZQmHIL0F7BZHY4kG8J3/j+P/EKUzbPBNu29I1vg2ivBKGGQtuIYgNUpyoM2oscfhV0VxYP4yDEzpjWr0oMQubknwg9oIPB58vt/0ZLiC1rT99zF79X9B8afyljrIpcIYelfcMCHJNgdcHx0jVthxq38DORNcUkWn6bEZ/kkU70l0FRjA6qPvzL+wYKlQ9j7g1B++5htOcwXWX3H6khF8rhJsxdCQBDvbwI2fphh0Wuby9nqvVVM9tuWAblvcAD2mPoK3wwmb5wVCNSdnNuXpoR5ecXD6DsECVqwqWzueUzWNCRGXg37s1I3trU8Qd7qOuP4RU6OQW1CtaJuXnHvJQc5swwB3ee4yKWfNRjb4NS6Jwc9zXkzlGLCUwlLWUINRzjTO94VjbaqCIJgYf8kVeGB7E47WuLQ7EjeONQS9s1uh9GdnfRasLSjHTJ30b5b1HcB8m5l6ok4B+anEr27Uyxs7a8ktuoQzat+DLNIt6fdyME3VFpJmo8WDAp7sYhpkByO+TgGjvLC+bTK/ONN7HZPG/pkby5oVMtHLVdbAvCSskO1ifJ/ykLJDY6UyE/IK36bcmxumN9443pwKSXidDPBFJ2CqbI5WlVdGmemMVed/5rJQZohJuYl3K2KmeWnt1j7ymMfkb/8FS7UDrDZgDmecP5cb4bS4JekZD2PzyL6o4Kc88gHI+k3KR5xoICgQPzB4Mt+QXieILvb3wsdiqNNtrGqFnZok5uoeQSFQlfadd7VqalYvczx9dc0jsh43ZSB7UQMhW3MFziGuscnJvA+RWpF3DG3i8qBpQpqCYtT3f6Osc1NvWf8hEeb5P7K9gJsLJ8W+WM6a6C0dm6i3v9ePU6j/7Zxhja2ytxdb6P/sFZJA+2z6tuSQSoDtF5a6GKjKL8GltZaXQBUluhKr0Vn70Pr2HeeSyx8aFMX8SltuMpOvM1nWJy5bIIug2yg046M6taWsGPA+TYSAjMSD++R+MrvifrIrYoQBubgnyFz6kCsnvwD69xK860RJGF8s3ooEMME9ef8EfT724T4cTfrtp+LVOSrdyoXU99GpzlbtyGYEyZeRxEcRJcrZYe+UGHZPmu4c4aRa8sVhN6i5t2oOPn7H5GUF+waDORk8Fkg+KEVftxfb5ChB7d6LYkVzoho/0CSwzS/HWb2evF6eYYYC8dFFB2byD8UswN8ionahSaJz+X9PHOBqXPrRIhgDBBiojisv/mqOL7UB3w6fv1u6A7Q7DNm2gbeMhzod42XW9fUOAxyeYa19LLG1uU7grmS3xzOMQm6cGBC+i9aflE8kSWEkue+fZrT6UbH/Hc0GJe9ntAyUOW8Xpv4OGeWVeHEksbOEaDCwB9dNFle3V2iLvtpSuEpUr/KigPOlLyvPU7rvv3cvjOBFASoUTLtGIHVnqh3mMsXjiUXnK343F7NjxcXxm6KJrtlkqWfW3Ykwmbkv4gMBExyuWdvtu//eN2iyDpuB1kFpif9fp7Wwl0nMBHgp+gyag4Qtn2Sjna1ccN0sAmlGyCe5ZqoRwSre6tVZEOKZKhb1ugfpS39sfRLqDjOJFIVGxGIa4Zr5vPmFzWa6ErdWXluwxDgh1t/qJHZ24MpujpediUTrok67M5mDco5JPuigmBqzDJx1mforH4/Ktsv6ErljDs3XDTVCnlfkPi9TkZYLeZ59WOygzwhgQ/1LEfnqL0Cjf7WImuipFiUvCoSSE4hr4MRAYUZGVN/T8LnyuV5aRhAH5fWkTwliXJmaqNr0q+ntRmoQVc0s2vhDTu5nYRod6H/rtWII3UCWPuWT0r2j6pGJ/XKVji9ShFaKGlCuPUJ6OmLugMuDBBeVB/ah3dak7lGepbpwPN1GrhlLYSl/e844Qp0aK6RkUqdXGcselJPrzJsa21ph4MdubRtYPQ0Zcs3dWwsN8EKbDvfWm8ufGbixCG6B6WQ6CxF/uLpneLzpFQWGNm22Ix62mMuUC4GB3wQEm+8j/89Sufef+SQ67QOK18zqti9U1DpdkjSBKDN/SuwcO2seg5MTtPgqamtq+lgbH9V9LCsX/driCoXcbtEBSIUJsxvf0GL2jT7m9OMhnfxtcyD3gc76ePLL+sTLZY1wTpFfSPeIxs2S0vvUVipQMEtf4YCIR6yc/BwoTcDRWP3JnxuiQcdERuxzLr2OOTHVosf83d5J50jBONKuTB+wBYNvU+H3bAfZFEZNJDjp26MqbW2xlmMbwneVqoOeVt5pN6kckji4CIQ7qDTgHRY86Fh0A1bCTAEGtwJwcPm5XAdq1DR3g3tX7eNIu5APnHb8bOd7SrvHvGiWCJH3Q2N7uglw+UI7HQpkU169283TRjjoUY7VRXWKhBj4Ynp0Lcwob6G34dS/gTbBWAQ/GyiSiM24Qljkd1jAj9bFZ6Ww53qATcxgvgUEvRPtDa+D7dtCBv3TDSKmVybYZ7QwASv6wta9K+DaZix/jOuh7lMj/39+oFp/awDZuKRZyZeu+O4hN8SPTYqjotII2nCphH2PiFBNeXnYQYfIu8vLTCbfRq7FhatsHYxMwoYf2pLiiiGq++PChHBD7GN8/zP2bPqhjq3cYlZEj7fLzJZ9aeT3zE7YvnQpRRtitd3EqaD1aiG9TD7NJ2oNq5Y/MwBOIgV9TCX5j3CTrFBNcJR0tB0dSyI3CxW/q9ukgqH1AO0LKjxQse22ISeZSK2Z9aWcnJhldDXicjsjEuenot+xkQNz75iPnGMaD9ZxHSZculYoFItNYBK+YQ9owfirs/ngerwZ94SrveMBba8sm1Uo/O8BM6OV/ISncJ4Baji4ZGArNg/+KT84rJIKrRq9NmRtGzTSFCGBqgTIp7V4BT8ZDOJyrVYqi/CmWAVchqgSYxliGlmLJrSoirz/ozM4qdLmYYWR+W6cpCjoi/4OKaMjS7w82bDBRTo/jVBZJd5OzVB8aeA2v0YkNrUFOhHzCBEInHLSIzAFzvxmSF2opunGoJSADeFXX76MB3v55E8P2OQieapZYzbAeGZakS81bxXoRGDtF0Ltrqk0cj9SsvlNxtB0+xMc2GIrMGEDcHfMmS7F0cAsW1l4odLHJEzHD0ZKRwht7d7v0vFAscR61aENmiv2DwUt6gtGXfoVWMy9uEGbmj4lPQxwl4jLVoWSgDRgBvrmWv1dV/cJ7UkZIa9w0DmW8S8QpX/fPzwlxXShEbn6Az24RHHc7VxIV5uM8tYjj4RNLmEv6eKHGFNGhdAvR9d/qiEGdPMKo3GYZNX3SfnbZSxtNTzzGsOCBsjLxz5kIihqcl9z7TEJ1vc1/1NJnK/iPUVgkQTUbPVpEh9wFu6WTeUa2T1B1BRd2DjmvdxZh/MaCHrqQrWCepoRCAm3y4qaiXZyShAH8mGgUpIw1XoLS2aCSnBreSwQXjQwhOdvrRYxYRsS/+loVBq2txZXOK3pRB6kizAOlFnVkw5Ui6Oh9JSt16nY1j+e0/5eSs8IBDdDiD6NTbhH5zMIJYY4QhLN/Z28xbyBntYq529XKd4RRtQsLDNq8MZrIf9ZHeemG9hDnOyKPfXiaW0X7xLlav7DfGPP5rBGGFFxWGDurxPWwsB1hsIxxZWL/OCBT8NSXZAU3VK7zALDSscE7iXVE9GPBxpuLo/i0CnFvfi0AlBHz4uUnxCUQE05RV+KUxwO+edaTlIg36ydNChQCBxagVMg5DMtfYAEylu6plK0JDz8LTi/63AvZUP5Eoyggoh5SU3dKjJSQff9LXh4KOwI8M8ZFdlRq2F44WEb2cdPNzEEynloPHf+W9XQsFapfjdyYMhiLScntjLR02x/gk+QxEx45SEdXK21u6ug5uqXwuYCZm6cG8bVlwIH0Zfp1YueFOpdL81vFEN4+NAbBdmhljg0a99Bqh1QHKu7brXsNEOdn3wJjszGTLaf4WO8t6KmYDwtMLSMjkxnVbiwyieYTiIX0v1ceMXzQHe7qxrsdVhqGBTKAOnyqJmp4W/Mop3L0ZXWhBRNjMizRsIoDjd2t3XkWMhWmQkReEoEz190d80+mcZddBZJM05zZkhpfT2gB0mK7kAeG3bK8mXfvU6VZDlycmQFt55p/hzSQXP7H6d33D8dV0AG+op1DFAaR6M1YLys3cFowvdwi8YJ7emmXIA9reUrXuzQe7EPYcudMgkqTWV6zN+grBPGb8wLLr+PGI4LBQHeCT2bcAbi7SMo54/RMHWruyWt738QPFcO9OG/1flwjE83sZnt/2IN7nKoGjG9Y3/5KWloVzRsiHxoRByPtL0ry6aNtqy7wVf2+9r5/aIibcbpZuuftABkQiOLrIbH7bzPKLF69WIxls8YLbC6Q4mDf6MsOsESIXcSimyA+bYtGEcRHW7KVkccqXuW6TA8lwnMKcB/PV9eSFjGkFwbQma7nVk92aqImfiUTarR6ejhsIFjiRk/ajC2Sw5Esw2yzmqgSdq+uBKRjrlSBm/U7haam9XXP4KmLVRQhkFTadRKcl+5HX7f1t18qUUU3Gq1xaXKh65tbTP/nY+9iAa3My/7kRzTo5dVS5ol6EHqwmEAfHdPHvHfunWY+VfhRCpIGyAQtjUHfUR0xwk7ErGgVYvQ4IPyTMVZEsUZhNtzcutg3fqHlNflkIHlrpZqmCswwB8v1vd0ks71S5FlrtAn+P3PdP1aeWUMRNPwMjxxntcdvpKjLOh5ha+ehyWNdwNpK7STKCcUCwGSdvxHvqWtv0i89yVWv+hrZWuHZymh4DY43g7d4bmPiNY3TUmQzQtoyHElpTPC46QwzImyVHmLYlw9NOke1kyVtH8i+yI6ePVo3tJp7yk64GFu8yF2JF1m0vCqgdFDynD23kuOSJ3DiWRCEWb7Feuem87M2/82AnE+cK7FIFaRw8dMNMXXv9ordeNZh4yLqLj6KCkpuxAIlH2CU9TmSIIuZ3C2+AezmThyqUlBL9j45DHohb4GaBl9+UTnJdpvpNvnm5VYwmFjOnRcyfCmoGBhAnRV6/y2CraFo0HTmia14emNuSUXoxlCqOgMVy4grBj7K0PrFHO2bQwTyxhHB9EBCKiNbTPuPk6lCRoCp4DncidJ7JSlNkWYy1wxNab8352ReXGeQMgwTeH4BX9BvbeoGFNdCWubcOeGBf+NIkFJ/b1O7vVXeqTxw/KUVrtDATO7rVGlMrn5XmnRgcQWNpCZvtsLzyOAEVqFr2IQaSuIz56IXWtRkRxaQ1Y9powJ0O2yFWNdMYJPY2hyP369BIyyBH/qVT0JRJKUOp0y//YdxbKJq7Mlqrw3sm72YgajU3TKNiDqERe7LCOzR5ZhJSD0QyV9WWwcS4gzAkHTIbvDybiuUzcba1IG6ne3BZzBjADuV4NdLAvrMe9BBB+moNnrRf+dvSSsBVxQWf4zhMvZM/yWsdOMeht7ts90kvDDmg2pULglv830B7A1pSqiI/7iKcIE1uBjqRlTxTIsMimmkVpdLxzap45q22mx848pbFn2xkpAhtGwnqLOUdlf/QAkN7Ts+FCbHjlpZzlMyhVwNplISL/RD7uB6sDaSQ1roqclwIHTr1lTqLtFeWXn+Bq9F0RGCPF6kyOv3lC5i9GvOyJU+9XhNCPcHNI6mFK0dHs4vDkl1RX95l9dCE/dBZ7N8WQ03OS/1O/aRjRNhRGWBnADJTLpQZsOQ7wjElp6L2YFUS2WJNcB/GCZ1jwESpA2/UvxQFkGJ4aTN2U3L5eNTImuoJi3UTQM/dYsFKs9mveyna6gzwNgQblZDPsWXNcwZmQLQxQVto99tqtCLZ5tmWTBI02puKIP92d8ZIwd2fOwreTXMLKsqKP5HmZby34h/C1zeB/uBbBIyhZdA0eCjLHpgKSwZoQMS9XxLGskrQpeMLFLjSkHU4d+l+Eg/0X13fi4wImLq79XjCMEhTtL0G0yDFZXSU7CfPF0+4T3sJgHOoCIT6k0NZfwlTTaSAlcD/o9ruxLKA5NB4f5RQ+wif2rzsjEBCP4h6M0snEu9GrxgpNz20A/l+u6/2SaOVe7ddV+38ZtGS1OHFWSWyuoFOMC4HIpLsBI6udUcCm0y7mye/I4/y/lrJYzF5/AwNLkQyoYpc1nY/jb1AQB7+k96Efbohd4BNVnn+Ijmq2ZywaaKH4cbWaJ6A+xS6G4bpnzwcsaKxqqx8SFN59e2PlbYj4R1UebEg2dHDhzSe3BLww8Ea9NjHIY1eWuh7XQ/4kniXnBQime78h5s39ccrgD/PMF4FbFsK8I2QX6+wEZsHWQ/564VcZeH6mZaPCICZqDq3fwJCwk7urraQG7dm44S+EmaTzXiHLvbWqbIoQcCtrFMKSlXn0a623dbUulq1o1ciZ72m8hGWZjPWcb09w4u95SZ/lzlIsl3sAmQzju7PaUMua0sGbnTbnG6d4IMhXQt5RuApyne4cj/dU+8oCSzGOqcpBuRV0PKxJ49waZSPeIvjamyCHSUsz47dYpkLDeWq35SnEJ212DcL1iwfWTvzSbcmijXvG07SzfLKUqsaGdTqQHuRmxJuW2igfhOrQczvEQQeaSCjhH1jnHMdF/O6d6JIhpRAn2DCkQ1nmYFJc9OGhwJMs0pzzUkuaI3TQBRObRzpvvKA5mjI/Kpqxv2IbDaTh4h+rr4UjCS9A3Nwa+XL1vvIF/huHRKhFXp2IeYUh5TDu09Cw2gZrE+nC9KGdRhg5bGg6xtbnT0DMXI8qbGfJwTUzUD+d9dQ3QJEom4aSy099d5z35sBKoCXmdL0ekegVjmIB7D6+ZC5cB5QC/n9Ob1OcNFq7tjNtlA+wCnp0+vbXQteE/hBMYtaXOjKScq2zj0BIXCOOMiJbFI2Yce9Oy37yyMkObg3EmQmdttMIeD8uXj6/qXiFLz/yTcKUZ8XGIQJvuZx/3cePHG+lgkO5+sBqWKIrs0oOKDIafub5k0FHw5IQs1SF9sbsVG92dpSRUAUgbSM3cgK6zqugN9vULZEQ1AMlVq9ZsX0Qs3sbyD2KV3naEEi05kPD+CUna7Ev+D6zBqt70VNwoagXkXBpqGOFJTcKkdp7qxJTWF+9/GBgiXT9v1mXohvy83C+jzvXWRfgYdKdfuxApMJSUe7zxt7XCi7/Otkct6SJo21Ugx5O8Olqz6MO5B29R6zd8L+yD5aA7vf+crG5c7tz9vHMyDfN/cNWmUijVRuwxr2zcMRUKvRebRPBHXW5NiCUFRQnoJ7+P6qBaAd6P5wWQrEmHRqXFPa9qb+e+T3VVxswtkE7XsJi8Ca4HUM5Od90eqmehVPALzAL7RidooYcAcElivvvxaEZtxElAHyJKXfoVJeAPt35xe1MXshBj4AwjsciacWpKALXjzBrmrsouLXuAvi4VPflt1LmDMshBNQYTkmmVoRLa2Je/tN1gvJM2kN9ejeTbSPuWJIDTsNv2geQyvw3mQBExCg0hXy8YAJN/5+vdyB2Hvq9cVmmf0jeQ6YIPEKB5QaPR25ogMz3BmOabb62/Ev+E2h4DAxWSa7ZXukAkhvCQzqHdbP01sRcWgrea6hd9j6y/Mnfe+8eVNGeWIuBLMb9fQK3goJZmnLJ7VkT27tHdUiPQgqiIJwAeZ2JV8NQTiS8tNk5PJWrWL/wuFKYYRF/tS4dMYfoz/QdtvVyIRrEyD7S+O/Ktutw7sbIKux28MdtRmhW3B/P4rXFJi/p4EAtbFsx56st+sG+Zo5sSCDDOPwdAcZL1nnqHaglbH/Eg0+gGaYV+HMA4P7jO/y3rF9w055c2++zNsofH4DyidFNlzbI10eOocxRSmi+QuA8HMDugRHznne2RVsdQfR7lzeno/TLvLQgMI/f3byDSOzirJQ4EqKMkKP4ZJJqcv1Lq8AWPafI5aluZ0I1zEBMiyrORZJyVBE4HPOsJdqUD6jswAN2SyeH8rFhn+d7RtWKAPFxjeXt9kxmiDkyHrv/x/9skR+icgKAWYqsFAa8gjzlhOceGsnh7xHFj+SYH9jTmJiVX2D4cZvj8Z9QFK1UUztrD38PVXpFWr9MKB2tqDxjrj04oVNVlmhcRprBd6X39QLBOFUW86YMQH9c9zRjC8HzSly69iIhLuuo6WU69EASRGhcMM+azytENmfnzZ+mnHJBLdFAl8RkY4atLL6ElC/SbIPr1xBMjwQ50najZui9rNDDGZ9kWVHpT+1VTW/tA+lkuH4FYyJg5GIuXMrLb+nSyLO1R23MawffCytWGJjUkLli2C2wfixU75jOlhk/mxi3YI27RCE5lbgIvfaaF89n2wMx9X5nXKp2AyFEr/u9rba1Cn7ztTFasP1gNZgWxeO/MoIWirxLt4DIGn6fBUv1K8TLyeNtIDDabrbf5SDYE8uhLCzYLW2jAEa6UE0rov6gesk0xxUqEoA1b4JnIwi97kVtfZg++oByac/nuvulfIDUGFQvdxqv8Hk9FlTM6IN2FkLZYRi6dC6Z544sQh0YTc5SpBf0xqNJCszNzyX7jagRNWDsuiN0r6d5WG3+cH0lQ8upDkArXNVp6giRDxH6sqsLExR3hSrliEHw6isEC5iFr9S1UYcBpWeuT6r9n6sy6j63xsOqUV4Qk2rHPA5DLd2Inrc3WjjP6XLID9XUV+aOnpdG9E+4Jl+JQ3pNnYOQSVer5WgJk1+5S9PBDomHMt3svVm+oKdu9I3ryXTiF1ll5XJkzc745UDt9nmtLPP8MJOZ3NumZOo7tegkvntt9+r1SdhBUiAI07Is5e2t37vxMpdFxmbgHwqlBgIx5LphO6+moFZOZkqikg2bh14fz9T3PQPrUYqMY2na5ZFYLYL2ZwZ7pvTEgktg1poJFkY9nWVz69ZyWvHJqT19KaLt8q/qeVLQlEhzbFEwgxyjTSQnf7mpANntseZALt+Qvnyi5bmECRhzxBHGXttn8oJAfy7F8UnooORDNFreyGBaCl+MEZTNXjHJKB+eHlOF1s+jiOn6TM9b4Test+mOVdq61UJKobuhn9hNQVh7/Ort1ilCG5cUcKQDjharYFEusVineFsKOmClEl31SI2skz/MyknDLqTm/VykMX19/XUTE0XjPEEeMBBfpdRj57Z+wOsGeChqr10kj0krh+degU1na9D4wp0AG2+UXDF2z8Q8pP6p8lhPf5esaEYZIR8G39eHkNnmhsW0zBV/wkzZIJvbRqhgtxsHHDgxxRA04M0w3TKhA/c2K6aYx1ooOMkjIYz/2Dfn49oMN6yuO0tpjjHR+5I+76X6ZW7EyGmaWzRhvO44nn6Z4om+P+rnw/kNanjffDN4XkYJnecFhPnziHU7dzZCcZjMhtO6ml/fDq4TiZ++2XH98BVVAproVFATWbox7JtrgO5puqy47cLYGoQLWxk3EooxuGHnDK8yNwVuIbkhmB0yN0sk6QCzuc8oRxPX6zxkZ2op99nmMGS4SrQKbOe//bObFiYn6w/sn0qFYWE7n8/pbysz8WRtuS8vNEFwjRgxLDX2VB5zEx79hQpF+d5skp3v4xGQ5h4tvR1x6GP+wJHmsfgAsWVAd3Xc5oIAoaxZycCEGMYYoXqmWL896w43aEH37zqI9WWLfp98NtVCIot+GIWs/oy97fbdfWM/geU577u83C5PVAcTad/YL5Z+GzWF3W7FYiT/Vm4ErY6+HwX5+ZDtMjABTby2GaatramS0nTG0x5RDoI6LXKKs+IREapItf+OfmNSXiYwdbGSydh+dx+6BWuP3dFHGN7UhF3E/ijmeM9uPeykmP/BrsMkwKO8cQwmdO5Db0YR5K9jJNmYpv/VeocrVLzupbU8+v+DfkTrZkP8kf9Ek2DJGrpbITpDOOBEYbEhgyQ9lczKGLRK6SvA5EItDD95wxZ95MKWk9WzHHu2J5GyMYZ5/uA6uv4BoQECsi2LxyAi07RaOCi7fwB67LHBtYcLDrpb1wp14HjHVC/JgwUk1NXtydv3E65y1UW6OfNMFSkL8HaxkT6dJEXPuZSHftZ0e47rvAzcudrSX4+mrK7SGfQ8ltK6cWtQXmt+nR7x/nrVFe5IgaoFdTAkub/HKgvMzUwS+9gGm8KpjTCKtqULGfYNAzHC1oBtK0M9oAbb9bZoRd18ZKt7ZZ6EHPOErHqrrJ305DsZzOmR3kWrLDtvcoAQzwUjYs7cDb559nN7TbKn4ZTE6SxEkYHfWRim0MEmCv1IN8ZL8jEMfX1xonh2stqkzWpMrnarRatQT6aCAkuj/4ObV2QH47JP0ztFI4VCVz2/I2VCni5joUOH0F25GmcsQ/1CMCHmbIwasSMUrM75MQOiKk9HrYvVgpFyUB41lCoLOdvQSfxyVf45SoiYR0nxK7nEkLu/pAS5/L1fsSviQRIEuPKZ1JyaRChidFeiD83bpQR7SqlMPbxXsjCwjn6d7DuRolsRGrCBEta0JF7BbfRrEMmeEVRZjQVJrOsR5nvXi/4iHT012qetYxpKv/8zCOR3bUJzX4s8NscWfPNTnDauZVMcNG9+axTWxetI6azWowOt2/BADtY2xnsXdfKUcxfj9XdzMvJPTS7gUKlbgPrwHOPaCfvDnwuvS6SAf6by68sfGkfOvUyP68pqL3sj8iSqdli1FCv+DGq89o5ABNCdek3eNecm3B7SRyqv1sKvXsfnzd07fSEbyx2aWz2KP6ObtGrc2U4CBnVM1TjPLJzbX4HtsnIs+7ZBoxFn1AOb6aQURBI1JD/riRVBjxFfYSQE6e/qYC3NXD8fRmoep+bwjhG3+5iWo8xyTTjomZpyLiAKbUT3zvDST/t9U6uh2zW5zipsQScPku8Y+NOhRajVCfIGr94s5i3/5XC1EfN9cl/vP/4n1iAiScZwzkgJqR+FfVmoORWMBTyptaitZ7FrgGn4WyC5NPKWLC8MgSKTrhxfvPDfGMwC0XEzug94iY2Mi+y1eqSpwcfHfbyIY/aPXS5+PnolnrbOq3x87aEnCL99lJPg6tYbIZkoKZuCccv5SxGUMNjAolqQPU+RENYxoCGPwwzPUdmqH3bFy9Mg+IrCOBJNCk32Xi2lu/yD23LHDWOKjCXtbBfRUCWIBUTpuDq9ASsH7y8dKt8iyRPPiA6/qTwx8YWgxzvhhYxkNYr5o92w+RfCWjsNFgOp8wa1uxHr7cGn8IP6b6kaJw0IZa5C7/QCbNuZRGpe89IObPqfHoTfEwev+iEQGUIoTZBTCBsqCScIRcgbyRRQg2PyCiNpWTtGJ3p0mXVV70HtqyrsqWFB/guANnFXZjR9XTnFAubID055BgslasQIQAELkfK1Vce5bwQqnEyCeHoyHQh42hcejnkqyLE5Gg44ufdM1RupfU9TdUK+TevJuV7F4bA2auZpCTVGary1yTj7kvQE4lQLmFz6Y30RY8eU0MA9hpNAgEgW/iWCj9rqK4aG2scWn87miXYNyHLOFoSTLkxpGnae8e6N1/eufAexk5dCun8PheiQzI5geP6eijx+rj6IFuHoHkODCfkGJ491jfTKVw4BwW1gDTl0boxfl+DIfLciEX3kFa6oGaCNsfknvfSth+Ao/hvfzsiQf/eiAnckQgp9ND00IrI4uxbR33gJ6I5hjGaQC4OZ7SEdtqZVYLHNnHUdCKcsfeNapY3nYU+0Mym92kg9LjK+gmdWtUqQlCfWL2Ig73xRZabj0PtCnQ2M1IssntKGYSXele4eaBUKvarBoOeDXvvZEgFLrAvkjtvtCzK67wnCrSstJBOtWy5gf1Tc2QaLf9joKg6i+igHj6KNt0C8V9OJm6aWWV4AXsUp6IVCZQcC9ypTYiypNi+AwcZkUyd1i6aDNeUIXxLP1uumuwQIynHQFYGDftrnuCTuQgt4JSab71tRc2SGe8wygHnO0TJBCiucQuLI5Zsdro5rMpegRRfgz1tgaV4SOIY+vmL1XnWXQ5riqrT2sNxsV2p5iWOZvdGpZoTm9AVb5NPYkdaZ0VT8CvM+9Z6qP5MMU+t/T4CJfsf/9lZOzbTXmQMR/2KGF6AnNSTKK6NSbu8s82zoj27MGp5cRam9mrdW9G4MrDNNMOybN4BYreK+EoPb8y/HyP/7XEus1++B28Ap7HYChEX+n2UccbON2cdg3uquiPOEa1XkxSVJhI7P2Y0E3fW6Qekcbm2nmB6dHGTyYs3Fr5PydsVa+oyL2VcSqZjgGlyW7p4X+lx5Ry+NYRmh8OD+E5TjYubgQwGJ8MYwyvK/0AGQyj68clwdyv4qhBlWIEjJalwJGWlROMWuE/ACUPULCvWA0hVqaqcpFkTRsZtdEL+tA+Pm+9bP5XbnRb6cuWlpKaCdlR6L3FSEbUsdDL3YvOoNMt7byQ4G95XPxGTmOjG6HNfeFv+i4wXLgkZXNbShK9EwxpsRFP9fcYYFNYZM4AwCHtoV1gPOOD8FC0qF/5SHX7a+i0N4hlaLPPvcp1IwAOqfe+AyCnIsw5v04dfgzc3XvNC6IrrFtzXXR+H7axxmlftsTY7rQ+ZSKz5dq+WUs85Mx3MQoMWPo8SP3mafY0paIzsO6lUD/RD2PrU+KMEMo1s3gCc+eUwOtag6mZyYHB+NzNwjVqn5zj0IWYnByKbkzvUMTzpfo8SnpUa6oTC0xwOBY3Da2wuEmMLgqv9MR8nXmIKL6j0G8J7wV3ZEOhaJcW+Xnebc51548xWohTes6fXDIuqvVkbcOFJZ79CNGtjvCmDZ1KftSP6aUFLoy0UD+UGvBPap7neqdbyy+vDlHZqkBprj5p58EVylaw+W1zb9k3Q0OWJp9cfyfj8jdxCRVdFu4Y0kAjw8XPR3r5K9OF8pPczU7N7UEfBxxnivG/41xdtfHAoJ4V0FGuYGeFbHZT4gta0BfKw30XGr8jixaZqc4H++qS99XvB564o+Y+tLctqUlgMMy0/1Dg3m2a32bSaYKcJGnGCzYjMnWZiau1U+U34vIrKiVnqUnHmRzhje2miQeTYAM13m/Y3MilunSurhIdQ0jTeWsnJMwSrPlJm3E/PC4IMQm4YkDvgsADN6HeRWugcI8fVOYXUwHQRB8BSCcg2xeiiS2GSMPNQpVwXQksu8lfBnwDsDKKchBJ2JLXYgMV5De55kYrMQ3gkRmAjpt2dtIEh/1D7zaV3DLoQdVYS2nCasatEIBBbnBnR8thLdl8B5KBrHjQ9YJRMCWqFJx5eMhXJrWSX0Jtad6+vEHNgVbHU376VLbdWSNshrLCilDLEifk8xlwPe7jP6KVKHnng+140oDnOFRjaqJe2HU8UllIvjzgAI3p0areNLNQXkvh99eK68i4ZOv0olYuLIs25K0AxcYx2luHqHJHPQbIiTeQ1VyLlzqmwDxVKjSW5dVNmrXDYtzgedbMN94HrDo6sni/qwoS/YqKCOxHR6HNAKxVN+lJQI5CBlaMULTXzO7B8jVC+r/8Mr4UcBhDO9PQVPH3i5XUPukNR6Toihv6UirY4YIQUViCzpsvyk6PpjfqVh0L763AdVsCIsWo676Km1RC2QppMW5S6IqSbmfqa4lE0VsM4Sw4M7uS3vcA6U3nB4w8cb+O8HoR906BVtPEjCfOhKxv+sczUDIoZWb7DAkNRHjTZmtUDY/rpJlROzOwh37wBMOi9CGhsRtZgNX5QDKgrJRvR2fwTCNSOq4A8lDOWqFfA4WU4A6ZGDh+OWrDsZnK3Ro6g2JQOpWd3KrfwJAnYzkN1w1HBQgfwRU6Kpc110vH7VW+yTO75QZ7t6RcY4pMMhNEI6pJKvlub4ioYbhUFayqRWztOgK2gFobt28CZYOkeLGET7L6CLdj8hRmuN7HRpVZNbZOGxLjw6inddfGBZWCZ9kfFWE3TqOSdSpOOqfegWkchWcpy+gTP4koa0+BX2dk00WKlbgjY9vPtBNse+I5K5cTnecTJNIzgvwOWHI+moBJNE8KQ6vuAuVxA8qBDbNkdRh2SSQNjj8AK5zUqafMn5Rmd8w9djxrNfkG/iCeZAHz67WO8y/ltMmyzJqUQP9B+2vz5MjgS9T3OU+5S89p49NjbQQ/vvyMXVrQqPB104T5WIw9ZMjDDW2D4dkPwhFC0swr1JZoh7JM9XLqHWOh87LE/gGPcWJT66OAEpBAkJ9EhZpzk/x2QLMq+LhtTANIv6xF9WNSCqJtc1BUa8MGPQb+r6tWU/3mXocZIN1MP8nJ6P9KXMtjhlEW6K50ikjFYuAk8p0cafk9Jb8JUqWS47d2AYP1QNFaHYiXHp4nciid7y2ulHsXeCLRLYi6ujgGMQBq99YQ6wWKLTNu9PNwYNzE5eUbf/kfY2e1hysT8dhQNBQdMUOlQONGoCu8B2se99slE54gS7/qQSlNICvn6iuSv+ra5m2V3seRaU6tXdwOshhA9srQQJUy+TEm3zxuHlGSxQCthZ4+TniwTMQbX9ZNi7qbOBaXS8C31NrIE7b+yAk9sf/nkOU+aTkY6LICLgieASknMMWCXau2yCV9iuAMAszVdYYHwIXYQ18ZPfv3003SIZOn2xjeB2tqpKUHH3/Era2KeFC2znjBDSwk5mN2lUX9frD8ZuUXme4jgRRbmnI79EQAVOcC44Jr8FiX4w8dBeW+NgBb3uL80Lix1TmQjKiqkr1I4n438BF3dDhSjfzQ859nYh7YXGoP0e9nqivk+AS6pomPb+FgFhTwV0r87btqneYmTDhH0uE6+z1QMa+JtoWh/HC3b9hLE5w/w97Ongm56IjgAuGs2SWU2QX1pb3zwIt9ApYi1NYte9fh9yF/yhsf7F8AOVbbRPjOzrYZoQX8dKiItatVV+fPPV2C6HgeqLWJW+wI2jtycGxujN2DqLitF4DBwqSPYW1umms4jfU1AL2web/FWe0hVfOMSYk0B1MmHbdE85kiANDq9veHJ4/QJqkooKC9jIgY9rdjxR02sgn5/yfBB93Qi9LCbIDwyfcRi9vf9zQ8HUTmSt2hMz1yTNKyVvuXzjEVWYxZSgG/HtG2rUIgD4ODlFVrVs3peHSReJifdf2eeiQ16JK9N7KYSQvUNlvlKPQ1JbOcgV5m6e3KqPG+ElM7/GhQKe6zXw/+aY/rm5qp5apXjVt+RUEHoxWzz2xmi16u4simT58MyBynAt8c0ah8CChVqI8KGOiNVfJDkGPcyS0J9Qp6uqzZb5sXyBOdAPqoTDzRpx55BkcljJxOJCFWSPhUumAecU8xfG42Lz8GmdNt9ndYcvGkNsncyuqdufKbnE7ZBXM7fYx74kjML07bdVkDunvE0z8APep03ZNwT1oQ5mWqMlLmYhjuYgWw7jA/qANtkFGKwAOQ/5FtAMooTSE9JtRCwFf0pxkmgp4HEGcH4ND6y6iyNFMB3LPasDKmDgIacWmZ6axFVthqgI/OemQ4xxA/3Kj6Co42rx+0Tk9ACq5xuBAwctWoZ309ADmCQdi9PUrY/t6t6tOEsW70785DkzPBm+89QjWE8rdB5H0G1GrwKLY9KZH8sqsmGWFxLxYX67KcqxxYnQRkVdD2yua4YvH47ArqxIlF8Vb/sSkCRDpUq2nDKZp+1mL1DMLXTJeazP3NAkV7KiZoNiYVNt4EckovkB0/9/gNHEoRRtfa1olUwP5voYdzA49Qsv0+zPRrbDdJHJg3m0Z6zUBNoMfIWJ3V+/1XOfgyx5vUiXmsC/BkI7qSGXf+ETNo7/Audz9VhqIxonTZKKQpn68zUacOE7qxxOGd0CZ75qH/zSwQp3r5YdL2V95KXlsgrssGtuI4ZprKqXkScmknT1QNwxjCyDIWnDiWtPMcprhXSQ40i9xVy3gPUbj432MWQEmWy97UmzM75fWeGOgijS8m2MzShFPA71I+qPdWk+zPjOvucRTr2RghoYQtp5EDXQoPU+YtDEqP356vbGe/gs4sevtZT8pJDpbAULk1JEHfwewMbtrKqwYP2wqaS9uldjWUUw/BjvuYfFWDsgEQ3RS2ivChLTPFvCeWz51oydR/nGOcBHSUotv79Z2ApFiDclmvCfAt6mSJWa/4vXHgmv1rlLiJiIdb1GBFoePAQdOPz1hV6wmgJDL7nN9fH/tU0S5uRU82sHS64sk4lL31s1tDsmtISc5S5SdfgjhChcTOUmXB7x14RLmghxVaArn/PbzZHdzRmDvZI0gSQV9IY2DXOohZH08L4V8XsIcNX9H2biOOdsmfeKDJY3Hsne8kWnZWa5l9YVo+vtm/FpzIhDQiYrUOunCyyFQv6L2C2IGvDSx+ixcp2RF7gzw4mkTsH1Fz6IjFJtj/bJAsLOgZwy2cfXQfr0ua3YULQW3S4l2X6dB+xOjBKB32iFtf6BfJgi7vliJOYcGqOjjfr7kMQTRBbEaOdj2XQco9zXzCOets/ef+Aic4c8TYCbsyL68gm5xQzN04KkBJ/ZHpgEi1MF8s/HBIyjKAcTisS/xm61WBq2vQTTX6Cf3Rc3OKSu9bGMvTgBHpZX2sNpxznDbjcjGbeNXo/RGJ/GHVrd7prJjCWAZI+FA9h3/7zi/HdGG93yeZw9FJ8EbLWmOSLnwQ5Rkh/rWi/8uEq0X7qXvEiRxEGvA2ULDZROkWqNqQuxC1OVKDlGPlwPSv91Cka0FfkxuM27440UP/tXoqPHRr/WL0+bBXi1tzc8pMUvGYID1trQNKhDDtbMK1tZr/gBblxKWi+ggIkfDh2Tb8CxrllOs2cWscL4i9vXyuIdulx7McA2Pc6O3Q9Vv2/F8DR/So617DXK1cvUWqL3y47qioAybmtGSlMRMJ52LwHqrXeshMpbvmOSsSaQD/Mc/ePGKb7oryZkDcmMbQxO+X+uv/yvSKFtUU7ZMMS4CEJn7d0pMo6ZlS7UQVVNywx/uxpc63713qowwjOhuiJ7L0rGYDjZTnD7B/eCc/Twb0HpF3+SExC1TQY/vUCDuovMGzsriiuzaMMwO72dW3iOuREy45wLLSEdkMWpozvgrUNaeYb719FlnIpeSD6v9BPR6cebd7PyQzpKI3AaMuAsWJdWJaAewnYU+tWRZsxjFtgRhLT2LjWRRAaOzQ8Fom1wpx9XldxBcahkNaTJUIJTMfbOw/+snpN/cuF2Y+ZHZQ5BitC8jQ9dlmMfwU5F7LGuoavG1RKaN+VvU7Uj0CR9ygieufsD0w4pTR80sO1PoYH7IiLS+XKUMwg9hqADr4UtvHv854XCyOcunHAE9LXAd9kFnx/RnSIhQciC73fxbi4Na4YRh1o5Z+JFFPtrHabiTKFGw+uo0DyyJT6vM+tcRK5pgrgfRMIcQ+1vHlOoMhGZVwiXYbexk9X3dy1gYc3ed8BEItv1Z0FEp1+rmu5jBsDqp2mZq5rtSwvyS/tN/PeRRyyTH+D3tVSuypU04TaeYFeqeVIrBFD/XAGPuABq7wc1FwF6T0au4OTNnFkfSpxar82YUH0NJhJQvnYobk/Y7Qk3tQfWXE6ZOY9qe2jhgYRSCQmY6xVq5sQtz+Xhps9fcJbAIg0y4AItsxPtDHV3hK1NTY7RH1C83F4MDVA5Jf7JnqoKx2v/bnUaV9swXyax78/3aebERoRSKSi8I3rNNqTPFx9YH2GKBACbl5OAErOqDo7uHXSjw0B+O6PWAeQPXKpYIITQ6LIvNNR8+vDWk00lrvtNvdcIhWmgxCU8S1w5h+r790TpaSJgOT6hdF/mxAnu8+RoqJsNt1Xac9Dm6jVzHmfSMyyKHs3gixiF/oXQJq6B/uCdRk0q4e2pxZTiRVcwThb6QfyR4xXyb4Hq88ptce9v/xEBb7Fc/gjESu71R1hyde3AUnf3VWFWuAvT3hvm/jxVU9KRjPQYCYwUPvGUD/imnrfOzMqIJTDqg0ALHx/yNbDMEi3xwBOYhRFDN30q3dcuSK1qI43VMxFdVIxRXJwFUmYsuHZYNVsTakvE/DN0+kR91kZc9E5rr2B9lwqNW0YvvC7UcKxGwqJwZCCOdxdse/+oMabp2/10RfjwA8Z+owcsA8c76/5UkO6+vs4Tp5H8HE5fHPcWTe3M5K3LMVDNLbHsPky+SEm2e0d9wqg3AAHM83MwoOf7Ki8gF9cTSrotMmsEJYssiG5Jxrn9BHjQW8RsZcEVsvv1xb8ExIJFMqAy+twi8r/UXd3Ea0OoN+ZmWACuaGdBCuXvGaQ5tztCBN50x+FbxDRGyafcEG35f+prRki4g7Qa0pSngbzpKnO6bZq3/nmd3J4LVoNiNzfdoLGGOwO7mdGqFbG9m8VVKiBub3gX6jzqNrnZpssdw9rQVYy2gWaFWpGrX+l5Mz1n8kFuNv8WB4HC49suCV3xBkdRcPJ6jmzZKmuZTGP5fjUNFqveXzAZwwL2A24vSDROOIXAVMrWNNAmyA1xwtB3W6lB86al03HEobb9rRZJMMiA5cwNSV8lKjYoTW6F6M5wHuzVGtn6n2sbW+na6haTjPtjVYQv3ktHO/NZfwp1KTBUIS14SrQPzgJmVItgG2KlRjfMRN590XhT8TGy91dzzxKOFjj1e9q+vhmhlVldvkg7sHyzgu2Fc6Xfp0O4Puydft5G1SizEJPkm3PTIGah1UXSUrwgXjeTLFWMMGRlMY+FDPcwqSu0uJyx/t+fQAINntOce9g/UbixCyoFaMJ25tthlfrGWVsAqekMRpRNxWUnFmC8Kspk/CLkPe0vRxGhILagdgebS0iFRyfE6ULAtwCnSmHWtQIEB0mDCKyWvMbotwgjQAMSJIQW/R/2DgFr2tBesu1jykSaFwjiUa2XGaZXdF8V+9GTFqKRgrLkd7MYhcfOJUjTM+4UAKmET9nyyj+oTm6FuSFqY218sfk0Ss0HeEajW+NRZg0EScplY0JmS0WLFLq/7YG1970Fkefq1qys3GEJ34uol/FRJO+TE1YmLNiLg55pGxK8hoTH8b+dbliGlMnLctb3fPhYBRZlMN/6QS639LeUAsluHbTagJHkX+3vn5Xhq9pY2HbPJdLUC0C6eAThq4Tzn8a85RsrOu8SlT++Qw8X9ARqdScUry0b7ydIciDf7BHgPXmjTDvOVs84y065uZqIrFkUC6QoGCOKBeLGSDHiPJR0zO+u71/lik35rIQ2KFRb23V/Ts3IHDwOkBTXVam4bfO2y8qjeUJ2eDovfEOyhKEGaVO0+V+y3VGIe8XV85tQcYuj9wvDZKeiTIiOH2iNM8cPG6j5Das1QaiAskClLW8KfmGuKb9I77bgQVqhpdoE26ty/+ApabNJmWj970jBTngMorcMVECYcQNwoUbxP2p/ftJhWqZ8BjAk69vFLeWu/u0cPe3DuQfmg2doyueynE7+BddA9jZTaQTM+LW/upuwlsAeT8vRKbgaYIv+t9apSIeLn4upeXelADSv8ulhMdc/S0ORzvHLvPKdAJmItR31wkdKYdjDAU8oE/rTmzOXeA1xUUKKGf3kTbyoGEi9JhBbpSHHiOKDtkEuYCxggSSODsm0VHxc9XJtJEb7mMbD12FKIjw9mJ6ytO16xROUNpdb0IRpADlQe0dJJDCsXrUu4rRhFXoxIfsXZqNisC+QBnKuJ00WS3tWTYYKsncvxc+Pcke1Mt6BQz27h8SGOEGYFn++ngiX66I0lK0297Yf8K8+axBoK4xLsuTlKyTd1ffBL61gTZTUagTSNaL9NjZh9gvqctdVLZk6dr4PeX+k4cE5PQBcv+P+GQP4LiwxLvZE+gs31A9M6bAL+X/NhVhhBUD+WZHDSR1Abze/88RFaZPteDdKFA2r4NpCbsinlq3oZkanhlOOcafhvv+cQ/ZpexHN9i0JLwJqysUm5FdRnqtCQqImPjo86pMyRgHZ63WUoi9NFVs9ltgwJYqm9vqLsDUZ7gNsz7p3RP5Ien+DYGid8HjFq0xfKgMsn3wBzm4we2LCWaFDfbdzp2TG+Bn+Pgy9Z4XLXbRa0R4Sc2gPvgp1DHDDszSQV0admCnrwjAvl//3tYE/YO4RLSQrhTti5tzbPX4hvCk8bsXhz07KFSZdcoJXvoC1DkYF02G5sNMwYdBEeok5EjIZt5Y41lapDIR2kpIxTeEiaBCEExs7LfnrN1YYadHZuK+6dJOyeH9vXGC+OLIojWpgrPRgR2xIJPFkN/9zPIW8y7QC60ryADQpmnzXpNp1H96bgOSTaMsoCNPHvqTssc1CYn422vpJxe1pu76ZYXfpkGViIu+AUnf0eB2MyJIMDt4QaxRIru7rH5XNTVve6wfCVXag1JSejEcDqpbBc5FU3pYmRXxUv8tIRr1PXbq/QtQxWwo6dQOtbMK9vHuAFcQoG+6nOHI6wCaNp6EdBW4vvZMmdA0YPQd9vjiurHOwhcmSihT/jHu3mdmc4V+vSqLkCVhMT9k12RuXluMKOFL5lFsuvzfYpVVqwDlmyI3f8q2MvTyJhw0Pq7RRhC4BKZzx0FC7zSMbRuq5PjDfdxxYfX8WOCty+Fw056sofDSkDVfzYyYlahk5awMzaKitqBtlgzGQAxu86mAp3h7BRwsAsfnTbXOk2vAaQBiM8fxi/TKCyxEqfz3eKSRB0SLJKK4VwSXbpt+mk3m8H4kN2dOvQfaBxdXAVCdGAun6bQjqQTTwfgZgLWpUSx81WmtD8nYNzMC5/q/vWDFgz5ClkbyYZIPIrgN2EusH7V7yKxgkZyFBIBxiwMXki4RHwP1hrSb6FqplaUvcPTkryNg2Stik11DnPPDd1yXmRknuSB3x9zTgT0A1q/mNwXjNtTlbVwA1vcuD/Ln/nrumdMCI4fZIV3lRsn0WgGsDUYm/mPJdSQXdvp7gh2TDkMSVN9Ctx7priBDZ77dm24n7PaWNKmVPAqs/GUJcb2bl0mOCdhWceijPskkLibELv9JD3OxAHfx9h75k4egU5DUJLhrU8soQQGj0w/+8B+lr7ucZKHeEKJ91egh0kTFCNEHuxVa7G/hLeiMcEKBCnbgMDhmLAF0hLX3xPVdZl32i5cAQmec199jevyHgHgiBhOcvl5svMqYa/J7dhFrfzq1CXJdneCdqzBaK4t69hLDzjQT7E8kQb/2iZSAV+NFvsUA9yNOsMi5K+BDvVG6kiMllcwMvq1B2v0XH0wpunxiYz1PlCuy27Fuc89Er1Ubb1ZnjbPgHNxcu238v36bw6lOwEknck4FluipjMTyElY3+WtMYqQSHXXezpoXOA/CjtNfFiE7V0A00AcYvJUYaabpZxJDGfYCvl2dHUp+1hKiq1Lq7wtKRVKna046dATYV+ifsGnAfzMJ2hG1G2k0VzAIGHISDxipBAC5Au6RVfGLGeCzaywhoW7sYj9PduGJbeEzrE6dpaELubkR2DTzGKfUjMTAIQEFx9Xey/DusRELVbHh5kl/jrXuggQYbYwj1Ian0+QGQMlE3TiakiQNNBOopQaHtXLsYRQI7Tt1Jp/2KysD0YuU0mZyysqUY2kw8R1vKnL1tGoK8GksSasQ8cGtjYc+GEpIPiZsQqKerwR1/kpxNdcsdWa9kqC+URS0PB+gYJjV5O6WbXa5vDguIqIspWgTWBGSWel6uqyMRQzclwpi7jmf8UDxapK5Dt6TbEykYwor75HWbMHxDyaejOHgHksz7LGbP4jVr7TijZ5JMIDr2Ou7MFGyvOvs0acMSO3BE09vTW4QW3k4cxrBAw3WFK+FGsxXPeLGtnTk331VIjjvUqsPO+R+qvVKWmdiKRfuP378YhFrwmCEeEi84xUR5HXdNVDe5v0CB9tl9553IPLVReo++9V/mZI15pf/yVOkStwAYTC40PmKiwRvJ+owYHSqCJoHXQbiCQfoCSro6jTcGlLqWoBDMbcGcLcOGPE2AaymllWRF1zmOJS+4RLsI7HLwqU4UFZ9aH5/Xldw0XVf5CtL3DStmcQLwpcU2w+5x7jmPnw4fqE6Qyg+F0PJDZFLCtYWNZ3nDLq+KIhjarf3xi+liPJ+PyfiEZWuULmLJr0i0lvMtplid/lbYoUsrOm2ZhwHSAg1n5RY67KYGDcw+WyDQJ9zUAdyJzGJm4wBujGAOM0k/lHK0bcKYBRjxsRhRC0VarUG8hD3DMGhuQs2KrNfJGIdzoZGitReOk+LZVI5QL2WX1Hsxx79JT1iN5IBz9ispaipUfFRMMD0j65aQHe3IBWC15G7rDXq1GruCt080iDCHu7hj5RjTzxqmeW3ht/t8jYmb8tixMhdQUx0VWwRPYDoUbHxUUFPcNk/TCtHXAlrBbPe1EJZ3Ky9mUJYriXQvApw8e+lAwtem8xdRwTB19JucyiSKyqeHp5c0CdmU0S/jg4SmIkXcHw7A2MS+7wIRqtIDS+TSbk5jRO1jvERnK7PbqUc7uynKBccbW35vc01eY2Xd7q0mKxIiMOm0dWd1DuzegMGw5aSMGw3lkSWtVElelqoDoWgfZecx73zbprkjCpwwLFgf0jPC/DgfZRQzPVch3BoMPIStKm2gllrObYiA7cPjmIL0fQ68PbA/4WX0cB4DXmEjyXP9GTCFRDRIHoout7Dt+r8TZFk9wkHpFK59ohz+qqVj+02AHp+eEUY6pWxi8hqhysJGjzw2fQvvEu1L7FoEAHVVtUsbgkql3gV101fUnCCxhMfL8+Yu9nC3O59MiX11l/kbUBBcG7ljm77jo4yhqqhqLix8yOEj2Z9UceRqOy+WsEPbCGA6B+o0mFIS3D7VT+C7N3ne1Vt6gevl7U9JAhc7+VG7GXE5W+zl1EOiTiJVPL88iGghJuXVbVshxzh1CfOgRVhbIR1WD7kGRh6dPX6DUH2yixhj2SLWsfWDxs3XDyEwO9aktrfsBIKdeJt3+a67nWi8wRHzaOQjnxqx3ucQOrRDyhDdoztkcULGAf0XunlpkcJ5Gxf8g0P2BcTIFrJAEYmGXJsYWYx7auu0DOizZsCmSp8V49s+jwch09J1ZjyZcrLcPJiGjScUDFWC0XIj9jQ9fKnz48dHhGcrkmcxLeFIGn5jjmZnvJICnNYFR7mR0lwRXaw28ryj0xkt1I01xp3XE16FinEUDkwy+mmEAA7mZrNki6ZQhN6ieXoWm6KGa4ni+W76JQGDg8GuLbXXJIDe8wmBGmGSw0GbiBapi93ngEo7JlTtJel3gLxpAhS1QJm0ksFP+HilnUDjkvBRqyShDqQqMvWsqvwsqh/E1ESEClklk0p7TNSQL/UmbEI0eR4zVZ45omeo8resC+j08AQHoW3EbJSbwQ9n9bUrjwjkfux+1P6enRmttcej7hmq008de9rbwm/rSPVr1N+uhe2jEXzJ9akDw8UFxrYewaadIB7UMMP6HMgu1h6DpZMEy55aYCsnZGoSsV26A9ZatSPAXuDolWCkUDkLiI4Qv+2CXAl++vtTfgfZaUm3/ZYjX7Yo6XqJboCl85nPFORY2SBCkuEsbHfzxcUM7Qh2Y9rT2VC9jL0oeOMrrwROpQie7aNBKOX8aNXjZDMZoHmJXwKSas2k0hehVUF5Qw8xgaIjrSZHVM/t9QJ/91Ir2xBix9j+FHtp0Z0IT/jzzp+IHmNVYjwg/b6e1qbfUWvA8zlya5bUshb0gTSaUqP8GdT4mnlOVc5frfvtgx4surBMlA++777Y5Q2vtIt80B7P4TDaXJjEh2i/Kli6VQMzRLTC2LkLcXSYHX00zOG8pL1MEIDUMbhpYoLEf9T/3ow2eF2R/LubStyL58It0WgyO2y10OyXPOmseStBqiBPIxfwYMNh9Uc00x7X5SLwzLDwBARr9DdTkh4rk7DFf76MmOVMerVozAWDkhgt41ncHtK4ex0ttS5KdX0kjOolTmYHfpFyBWFchHZFp7UsG1pC5kOYclaB2Jv6eRSM+0u4SvRFG1wW24dLwqA0VOj8HfeeUCVhwHDKzeCGxxLU3/O1joEYPllJvL8gtRkrcm2Guvv5k4VUb/udj14pdTNW1XVSftBg7u/B7EWW/3vQYLNvbtCvtBQhzGXMO6mZ+r1ompKoSCCnjUmrhpLdlHWf6ty43f+zPOYOjqw01hBOXrSFWHYaJlSZ2A8YEkKzNmgQtd3fpjuo9mh4KUke6fJnkgLFuQqxr86W//MV7pelT8vbqqGT42Wvull7gZBZkYzA5tlt3wOBb8eCeoPvNflIGmZBwnextd26+kYfVPuqIFZyZo61qIx+DbAtfER8NP68BttsYqGhfO5uX9mUByEVcQ+FtQf3EDO+sSY6D6gJaoghzeyxBFUfmYK7p+x6iKoofuIaz6ATkvtj45E5zsCxyyvUE8w4H/dkyuztzzttfcWi6S2AS6/7TZfm9Jn49DDuZNIXTI64ByxoYkueGj+0lfcatJa6BysD4QdORca90/bqq4AGusNC3rqa4UxOAqI/SelAGk3k3dxRIeEbvN9leDq/w4ufB4jtMvL9C6gvyXKxSxCsEqxMocxNDE6UeAekhmNoHsO8Vl9FILzYYGRoajOsOEZs64EOXn0ufXE5Pnq4SGnmZZ58VdqUGXGiRmnTTIFf92PMasXTM7euQiP8OKitEr/hbvuOXINq0evvryKYiTteds+h4BkJVqR8fKRPaJAvs+y0NzPv2p5ou3xHX2djcOmYpJeS8KAahjLRhl3zhws8dfgOrJ6d7CPH0Q8k2fVguJoWIIxyZLNUO4n+EkRKoI5OAtuFgQa+Tg7nToEs+vd4bYRCHizHBn4v/4kQ8fmw/oC3uz+3iFraaNl2Ki/5Nr1JgEW8hrKxDlNrDlMFOCzOoOCW38MshGit9xp4gFViS1WmvrTU2KTG+KRMM+H2vXOf2xQuLAP3HDuoDH5Sbr4szfH3SylP9g3MGk7Czgp5YJpvQ8Whr9CVsfMJ13Rb1r7C8jX3jmtXSTo975YJic4ZDuiUotje6DJSFDK0/xE74vYMdKyM1+eQGB+PdO+gabmFJhxUfGC3aci+BwKLAraLvE0oHVVPfVGoLBFngjeZHEwR/q1voCd5trg4K4nG5mGn25Q5zhKLrHtwteVU5wcXAFcPeGBrH5gKWx2z6SfDjtbmQ4mbrnM7AHr21CASeRJe3j05MXIuALuJzGabCYcfPqxxJYVuTXWN+GhgVNTg4US5MRiG90Iyd8w0KY5PYaPwWZ+Yq8qI3sOG+Q0iliT6WMxxGD/exIi78V3VPedzyPLIaXxyPva5KhDrU2zITvcUrImWCBLLEPWJSIyyTdTkoHibm2gJ30uhmkJ6kKz0QVmg2WSf8aRJde1KA8Lxw9DnKI7wsH2SWi7o8dc4QDsp1cN0OutTmjBoYifmzCESxWaGcKxTyZDG5uig+8fn/6tppowJaz07Gf5V+0CWwgy9ofdEOxUWznOrE6BY6SajoRpsVUz0gQyYnUgDlESijspEakZsY2xVwaFpXu+in8qr1K8VWBv3svSKrngoK64jOh/rqsYr91b8Aws12IByP7OFAPHLpWKa3KgTeaByUjR9YC0x3P++lr89C2EluIvJrx2C3HFvb42MUwu6BMKBhpc+S5vFCs/1KgWnZCYqVbjKItCkPGUwOMMJEm726QzyR0CGJdMJanITe7V60PPZ40DJL7tUkfRSh68+wARc6yN2F4GUksRvlByETM/7XpxWAT24NTnECMOTyfLYo36addyFeaZQibhPyfFE5O406E44rfDYFsfVi7fKhx3wuOeQqP507yIAZ6whJWJd500h3yV61BQyYx6K3iThSu7uxBO97WjX9RvXQvz5XdLpmA7+5CwayZYlWoK6R/whqao9fH5f79WuyJEaVNU45FFmyRDGc7I+n6uF0CVpwAk1qJgPHO2urmPCEalJcS1l3mLQsNMnmgw0MkXm0e5i130q7PuHh1+Q8h4yP/UDFWgRQ0D9CRpJ7N+mIsmMC57jvajA7eUOvvHk1NSBPIgWXLPpWht5Q9yRxxAG89xkkPxFv6CSyCuauqxQTbI755vF4qgPc+RNPD3cbUg2VEmufHT3SqUG48xowJSW19SrfrXXKCGMEzMMkcEHHGoXUAEv7Om5mdtMs7omXzMRQIvasraiifypY2yY40ZGoP2FffXwHRMR0Ceb35oNhQLopjmiyrr/4kXZRxgX7Se/61Si8gLaim+/h0xDF1LF5GpecHElhTB2DbvgGZ8pdXtO7Mg2XxrUavwOFp0/Dpd+ornnhHssYtUwtz/a9Mcs9UeTrs+IXNr5rPZ3NwiUr1IYNHdki7h5sL+PA0CH5b+8+ouuGUNv+J2E47Wh0rOssAd3PWGuWy1IEx6sDM5y9DMA7YJ0RB7yYGHSS9KRsDfM5Deop3tSjKxZY0KBML3ylmTg7pac9kHOhVZ7/dzYOEzRDHjDxS06DxnoBEgtbWfkE+REz51ZFnm6oo4uGIloZ1QeQhhJU50ZIgbhRaoaIWq4BuUU27xFjcmEyTadJzfBz3MW8bNuogCs0XvcmfE1rN69PI08Zr9Nf97q8j8QvpUb8h9lASbvAcrMK433DdxQiRO6rODc/5WKOSM0Xuybcuw2wogEpjHlN5rV5Q1gUJiase+KaECntRWJ0wLYA1kiO6cGEfTghVNrbAKRfS6jJPZvWmMGQhLVdjLPdeNcWeqVuDLvEf4by85atWLyZvwNrTYsZk+PEUo4TvOYHQ7w+/zlYwpudcTdpnyIOKfTZfeCMrxuL8evEDhUSe2hsdzDOScsooH3YhWcpNLebwYjPlEF2NGlFq2QtzuNfAJnfngXfzDsRNiUqjieZkbHofNwHrKeVAYyfENLmIZMqD5u7Wd9Uk/YJD7CMhSYIM037oQKFrjpEmYs+9vBXXMGMPbg2wVhirz5DrUXbv2sPJrr/IO/ZttAtkgsJKsRRGkTgXDKZWqsShQFEbut3fLf7PM1Bj+p/ledl5qpRunvn+/CvFv51qqpUZ8PG+Yc0LQwzEHey3QP7c2Un7L1qdWDyQSbw0PdlaMdNIIkkKsC2wuKDfLvq2ZVWSeliBoEgYp3Sd0Aqh06t/coDawKNlGTLqkHvYJLpTr7+OZxSn5g82fhBo145mCtatI8wkusaDDrnBK/MoQuQsNlA5YXpF5Hg/Jr6Haqvdx1RBqhoh351N1KjWpI7p6usPsXkQAsM7LbGf7Qc17MzIRsFEVsQ78JjIzpAK+Jo7Mnb1GPSO3uxbrddxhBK0xQm2XxVIt+wcXoIv4N0omuOJpl+DoJMJn1VnoGJhkXJcF6Hkj0q76ja/CPxCpvTxPp3mkpFKx2kTbLsLVlWr1czLhDfTSYIIFgdQc2o8JcT+dulNnLqPKJ8uJqBqYyhN8b6VSiTLma1qqCNnS0fSkTTxDICloplBTAuPzpC4UsYryp3NZl1xxocCc2LIabIfsQPm5m7AeNofZw7Z7RRtjzHAbswBuOQZprttB8x4m+5lxAFBkDFDk2RbcdBJajd6CjMOIM38sn/I0xdqxTP4OBZ7NfQ+Uv97G2SKASRYOPSrVa8DTRe73eD6MzXmVzpTbPheKRIknhBUxXLSJ6k0h8/6h6Agv1hatrci+Hsc9jyR+rAC/uu4444XG3d5OgP3K04tgX1l3PPtxXS2hmnnxvZgUzXYa/7XasGr17d5k6ftBZ/k1YsN8V1kXNky80ipsPw5PmB9PiFTf+gVGyGtIAkiC/fTHAglV8gm5FCSCCInSCwiRkCaF1kEpcWZ13qWVY75iHe8/ixu3Ue42KQoVtrxfrOwt0HbCbW9Uz2l3ZhadipoDgzVBUCcmAxiTGxg9d4Ei/fA8wNSkm8OnakfH6DivdIjiURc0or8MZ8fBCyCKI/MeHxYuQcKmXPYsw/dIZJlkTMTQ7hKxLPcLzmyuqvUUHeyZe2eyVCbp7aBh5rbFxw6yU2kEk0xFhumuvGgJoAS9yvXvXXBCN1gSHiAWWzYqdeqYNw7rgPyjbhF8bN54hsprPr29lShn1GNI2j1+hFbxtQ1ZkNRg+AgJ8rCqjg7l/xtbrdGYUNFDENVNPfQr4q92wn0+aZuxj92iWSx3nnRi1o6Z7xMFCervnrUIxqfYLi24z2OTw+IpT9NNoVpiH/cC/pfZahmvv+RJu6FqiQPud/maiFfkCLLFnzrp2+scTxYelFZvyzWI0XtYPbRdqkkPJ/an2RsULqB3KTYXRwIMGIS8yZ8F6hBtBJip6bX6GtBwcIlVBXi0ZX/YIN865qAryG17XmylMDLrI5HhkJ3d1dlkYcZrVOjx4eNa6anXfolOExohcjhWcIOrIdloTs0UFo1MO99Fx7vfGQyMhWsH87qnQAXClKkhnXcv0Ykd2G9c1N8LFeaLKcaRkwdCRrcvuvBMIFbrdFLmPEEBQoPFXjLb9vxxptLUyc4OGI0/Oah7atj+JEz25j4B9c93esOXQstNk43lxbrhle3222xFS7EClFHZPWOTHjpyvUY4bm8Fw8gV8Y0MxJW5XRHOp7I9Ityrig+dNyEE6cmChsMOUWvGru2Oc1Gk4zKFonzDJ3THXRNRJX6vGpXA9hNneDrD4rLPzRQGYSe/ObJTHpdLU6QOFY/zBflt2t392Q3t6xlJN7V3aBgJOj7UYx2TGmPyZY7PYimxsfyrx3o1Y49Y3CMwJGjtsF4BET6s7qKMr6ufs6UF95onA2SejmKNMi0OYdeSjfMvxHZ7/QKxyZzWyNW05GZy/qIhCdGV5QcXz30BVa56I/ypNDM/z1/Z/PZg38xPvXWYRT7GIFvMNnCgudL4qOe1mqngZp0YNZVROJuWjoQxDjODWT95ludXjStH9vFKUbBn6nT2pDarZ4TZ1EDA5x6/ue8FKDir5z27ly780Z1PHzjMZPRFYyHNaQUmZygzxVTjUU9y05AohfZ249INW4BXE4u9rm1Z8pR3Ky53ugb9b5WglK6YjgiQEpgRV6Y8TTuh2oYrJ53ZwcBSm6MyqFg26CNfqDCiMPRJ8HwNggb/iPmIznLykAEGsqPYvltVfLy08IOFcIKjoop5xRiXoMTFEJVmd0E7UtIiajVl+6olaFnHSWAZUjoVfsrTzayhMP6Zc02Lqj+rVvxMyvpZXY87KxI0W79U4ZyM7Rz6ti8xdvrdpHAU5kdjYYOVbqJQs+ZzGpS/7cCJzH0AVUn6lvAsYnfthFa2fFQ8SMRDXL4ObfkgS1GIFPkna7D1n8e3eBb+Z22zUlCMRqbzo1M4aUlAG7myCXDetZbCUz69zut1lcVYrAvO232WSUoROsozDdgxWmBdouMKFEoZ6gTuc0vBC07EqRMeHmm1fmX96DBeQy2ASBkbFyPQU4CqtMXsp8/SuArFc7tRaR6LTekgEhddXpMOeTLCpWueKNnBpPpUOOQmhGoF4vVI1dvxD9XIx/r38cFYEcRsNU2MTNnfoz6HYXyQ4LmyQ+6kJ5reJwcUAcEvPSLjsSj3XmbzrocyFT6j3ZLvYU4PML9/NNH+0EQaTtPVCB2tFczNYVEpN3sZVs48AXhI3k+++S3z/aO6XxLxK9MJTCqpXTAuq7YboyMiST6FE6fXAqHwXBB2+DlbibtXFP8F5nLa8GIByA1aug3HL3RFtwbgMzzXqMIp7x/XIxws/uVMh8Gkf8k4XwZ475EQ0ZCtULQnl1+VNUy25yClA63s/2gnVoSc+e1fV8qKyjhN5wMhuiWTdXZal2xYHf2lZf2YiXTtCvt6p6v3UxNnYqKdVGiPu3iIqZMjHh0VQRK+9Sj27TuyHy/b8lQGoTTl2cb6pRMKNku23b59rrtf9bEQBGhg4MtL7ulIplrolCZ7UYIEBV8huG2xYJ5rqwv2lyaKePyzo6fI/X/yzWmaUM2uhPQr8v2ZPJgG1RJQMjbKTeKWluRpCO7rFplpvyUZjgpJLMPkMZx5K5mjaK/LpDuEMu6GO7n/BykyWpWGT8KVH5to2g9oVNiyD8j52eMbPOoBjQz3NsweSMK8vClEipJ36kU5YEERkB/dZ9F6Hj7Unnk/4aLEF669mXnjFl9cCHVwO1SGkQP9lxjvWzfY+ePb38JrycPbPYyz8f0ELZ3w1WfsT0Wm7fN3WoJ7cwGRJUogOzTcT4Mtwg9NH2Frv2k+laq0n+hsVx6NCKzFkvnwdnBmFdsOZegg/lESYi3jPpC/aPWZF5u8FH5NbdL1d9jCMij61iEXeM3uPKgjJqqo+qpjgF9l+0LUYer+L/bYBLCFt82Xvfkj3jWMqTKwPb6qpXOibMzhCau5XB1OMxJadWfcdYoPrPr01q4xL2iEhwYs1isSz14psvFymkvDAga+G0DlJYWfZjJGg1E9eXKGl/M/QAvLjHTXzjb2iYsFpQ+1sCKB6Z78sfazXYsrPzNAA3hqK4tMacgV3IKO//2RG0YkfAPZO0TKTl0FBNvuE0m5QxbloBIx1Fi0PUDw5gbd5jPl7kw0PcBRumc8hWyzYR4sVLNcCb0BpBMQ//ZgpNW+HJ1uiNFIym7GVxhhctq0mCPi78d+T2DiPeEkM/sElM6F7TEa7gtw0KcPTe20M1xrQJGDEa54xXrmSjhMVPoMvUS22orN6Q2MX9fdgdofQ+S40tirxmmo9b1jhe0DaDs6TFk/oBAC5sahJeJebDZPuRt/bNIHjZD/UnCvikXoOUV6+rglPzwNTGTsfJ6VyY4iWOoIij7Q+ljHPlreHQfr3gImfHIWKkd33AsSh+WHRgRQVPmyJyh1+VbIXS1CT9HacUJ8Hxv5WZdDlyQ9Iy8xZBrrqNkYyqE2SSR1XECSKZSgOXNtyCiUQmecYSfKKxrtFk/yJselrP27Pu1IThgDvDUyD+etwa1PdigYpd4jIytkjEX257zHf+Ss/5fqOkGNKKnNcNU52v7GXXRHfo5fGTM2CvHG07K9EmtRRElphqSFoGMYbJmCmVo3o+eONyV75SvdcHdcfJDS/X/CSmLnPlFB+UR4c7/Aa3zFX4BKbsXTI5Cu8/9ovWlPy+mtYsweH3Eqp7XADv5R1q/OUpRtyQ2p0jn3vQSKNvmRc3zBv116E1m16QP9qAo8gMnVILh/R363gwrzO2t0sdsykw1Ut6Zjmqzv86TTxQuR9xDt5/hJ2LnkuzlVUjwjItSU+/IAs5PI27jfuHfrVzgnvAm1Du/bOuzjImO+l11I/O2CqtKTqUdSd42iADw5AVTcFJng7M2ZtHO5dtuJz7uv1rVJV4oJPDzxnoOQwC/Mr9HENvviX3jCMv9RLOan/+Le5ylwqJ2CchnDtaW3JvDmYgbJZ3xUQKvmqWColfEs6ctPNHD9JjbN541Y55QBLLSnoB8e1Ks8tlhkz22XZVgf7d65TO5dgjYgxQ9YNlHKfwkANmKCrCRgz4aNWYwjZoZtNj7BUXw586ypaeLtlyArr4vbvFQOMkslmKHaJ+jfyjRmXE/T5ibTVhYOo49rhcQ8UkcJRe/Z7Z/lObPfU/bDVhNaLoZBTzydWqFALFRYZmtVtlvH2jtVELhagWGl2Suh5mOwVfL829/gwBWyKkPpKnjIgmtMEJsUrOjkIrAAcGbla4GMJzGlno/qcTTp1sV3vNurnFay1ke1rZdKAPQr0n3dl1/sA4dNRaBIVZmn/YNotXPViZ2r97n92HWg3EnkkJw0cqPg0aEpIM7Hnq9iFxnpwws0mCjt6TuOvZYTMzaIobry2UZ8lmbBIRCYYaT1rOVwAjlowLMRRsz+t1opyjaTJVf/0FE0mV2eV7F7vKn465GeeSwXJpv6PIHkxwfNDB7TIcopJ3G7EGojc0zwHohMUzC4uaaklwEADb+2wZCcSmnFCACNnDrpnAINj7fJ3b/rJZ5N8TMI3BWbBv2wVEMTFK9gPb9MjIal6q3TVAMdyIfymgkikr5qJJA6ai+GSQHTsytsAREJSor0JFZDFz+kj7CV8bOYw7V1w34+yZPSNekrM0PRnyQH2StPQ6X422IsNsSV0SZ54NkUnTIqG2mYyB1DkM/VN+P3QTW/FiW8QzvoHqE+ggZl8iIUs8DEBRx9/z9eNf1yW0LJ6ZQ9TIYSrMK7J42nuLfekspzDgvuuBoehc6rUbSWCod4wKtL/9vjfoqDUiX3RT9oD0HZ3fdn6hTaBJlx+v5qi/X+yzvySBDxrLYUx2RNM4Z8jdwz2JNzM8alNdtAk3SphX//0d3bKKhyOHeaZehxqU+uIGnTrsRydguU8NB4QZ1phLT6pWyaDiqsJmPJcL2dDy+OtwLm9SVe+qAwaekEZqTLAxJ0a73JjdEJMTxZzsvm4FgpOzbMv2LD+amnXmVmQjSrcWkZDcESFiQZJwJNH0/hpM5lVKRr0bHz3PkeY6E1MWDXNb5WRleCdxgbsYA6+inE9fGiT8SoA3bj6yMQcI4aiAtZb/3SaK2Y3upszubSonuLkxv37U/dZ5dcOa+LqbKwIUyGvbuFbgh8CcnaLL+i+oL0EYRzS/EBKjwaqCip0xkJstk8jeREFg7XI0RsqXpoEm6DD4jyFducgTLNr/oVIQeBhvbHWMUd9Dti2vt1SzHgbyznuPW6ZNdsuT7xJCDqpF8Gg9asi+1KA/fjV0unzALVS+FOqhBDCXwuUq841fGme08BFuXmaomQiB6RIZkkwO7hJUXsOAmDcKvfpxfr4WXt8MAzBAQWb5LcodTgFrh5Dc3YEd8d2dXU/2DME7NzPqTMoGKnizCX43dsU9F9+PiPxCBb+oxMTSUYM0ZCQyOSuQVfSqN0Wucjmixk5NVaP7bP598inTZ1Xuso8pvFUAdgP4HbmnXCnqhf9iQTPSbvtLpnpt6oPNMFpaVF/POw9W7cA0Dyz0PCo3uHdJeJJeOOYIecWrSGOFGOSA2464nu7ph2eDDMlCJf2iOjlQFVVUyIXec0psyMaGvSv0DToTsscPbgzoF9hvdm9WvNV+dBFy6sDVNslNtmKSozvUGvfugRYwuHIc2IHPu8zpLAIbsqx/b2oMyUyX7VY/BxUGcKIBKLT14zI8G4HL/02eWJIUq5t1mVNUyLUlGfBZUzd3TY/QE62Q0GD/05A8CBt7um10AEzMVGFamg1+8BJwsFT5R4KZUlOSuFtpZPeL8pd7ZqaEa1ps8aifqf8cUTa3fDKd4isKzgGlgHhBe2OJfHid38HmAba6qbB1+SQtIENlo90zwP6QPNHhCr5bbdJSvpaduJjSH1RPYoHkXfyyRkegHN8MMoir4V/YycEulUwvCTHHONzdofxDl2aH93EwHY9QxMk7pz1goqbMR7gqtqlRx13VOHgJfVlXZdgIRGA0mXGwpINryA1r22rM7ob4nSr9k/qxTFUMELEEtkxswVE56GlsrSalFerv/3IpPJ5DsU8P5OWEtBY6oNKy+c8Y++CghNwTuWX7m7IOoxvAhydQ3PMy/P+ymqN9/kn6300wMQpIQ3OwjnNrXx6laPdOJYGswyrjABQqkD8oxyYDwyNKTO2KHT2w1sBopjRT9pmzwVM8X/bwC47Ao2/bhEmB+SdLXIGReOfDUUZ3by0mszs0km51v8ZL4pJLTIjqjMSFb6r3gKXhP7/oxWynnWR00U1zWrYKMvBMO1wtJ32RkjL91xgF2gLdK/nDizTECzCyTNPUz5bGJ/jN0j8IPMun/QCRD5SvYPz4xScI0VTh4V4hlX/d/fTTeHVPktfaLdcVHr5Ongen1KgGnEw74n8JMktNZT1OMuzwVCtKNpOPk7+MlsY3TlZ+OT5bFi44cfBZ3kwqq+aNcfmp8rTPf4QaDPlfAgLKI9vDJwxeUDzRnzSlWQgmX/TspbBXwqlQCH2SqtnmAnkmE7lIIFmO6FvbzSHprDV9nvHsSUPpSUyEplmXs/e95WSABk6ZhouC1p288TN9GvFSZfjTB9p3Q/GbCLdclr/xTLrTgMmRPv9CXZslbIjHCgSJVLkCJb7BiM+W6YcEwTZkneJYgoUbKMAXGemV6OQmWdfW7oQas4WbW2HKk2TBDjru+WA6zjXgdWUADuc5kohgJUGwTJf+s43NZN3mNKbTjm0vbh1TpHDgWLPPJK8+zVLghjJ/V61dNo6y/tkc8fezw8NTek06WRKMY2O+UOEfF8HrUq0v47MH+gnBO3agqCnP1u0a5qE6u43TWcvSpSMt+LZ83wcZ0K4W9pXAOHtDeJgLhb9riUH7HL7Lwg1AH27ZPnIDXe8ESQl9tkVdOg5zsU8BQ5E6dCfkncIL4E9R45B+JJD+bOF6EbdGXN9tUbdVF3hesM3q7kNQL5Skzy7jy0kqch+e0CEjWp7HozOjDo2YRJaso+jeZQMG7/ISOiwyZjy28QwycZB2w5DJbolsnOXQSIZU6A5SAqG9GCeRrCsmJLFGV1MaV4Ewffgu1VYB5a2FLyEATj2TXfresO1OFPQGj3nYv8S2taRi7RVGvjIKt2mKZQSKmmeBf1mak2gtS5adNqvsaY7beBUTWo+dk/F/8O1wtcASEez5EZ8VrjrFJDvkGyqu0CSqD0ujAVKYOacmceFVcnk3MDRxodsXvPZpQcfOjkPmZ4/gs+T8723c/E765GI/KOQSKUAQzM1HINJfj1J94ZdgM6ltwzzIbo6o/JgosccynKaP3ALnXlh+lg7arH1IZ3sEH53lQRjGuXZIp3y5GJnCQU5Upp+WTHV+IISUv3J5Bi5op8tvwgiUH1osbbOpfkm/4/JmxdudyGCNShhJKmWydN3Po9nXyke8Va9suErl9oYB5FZwwRfQtKudoLDe5H0YoOBew8LSuxFbgge2r0aYZXhTQmtDbyJmok6jdZkNK1oap+K4BeenXFEpXCB7E+U04+yDbyDvyid4NTMKzuvaYsdbrN9C/Gsv8/37bCl7v7Q+WLmeKfTEVJ+kYzpV25oa9SD2B/4uMgMsBhqPWCtqUJl6H0WyjCUe8JFp1vgJWw6XgaOfrHmnruOycC1uU9aD3h+30ucYmSs3db7wI4VkIKlBtFgxPZrGeoHBZEa3Fk2r0T/QcZhcevgOY0MAsuBiFbw17w7Hezh8BZgPOiJxEbwhfLuod4G0VkFu02AlQoEd6iDuV1WYTGm891p6bLVrUNtML6ObVuuLHo1sxQQsth4kD8mKwzaxf8uUh88TNe0vZanJ+ZqNhehZwGpz7q9RQoAOT4fncd/2CRRaQSRcf9Rp6rx4AmqCh5Diqt+BfocHxR8oM8iy855eFhnyHaIRkkOS+M89HxfNAbRRqtTgLLf8rKGjpZB8xdzuG+wic5CIpcF3gOLgpkrym7/bpThEYjBwi3v9aexBoKwVM6N8VuO+BTmCAfowyQ9toVLP6SZG1DdSDhkubgqqrZ6YekKuOmqKjErXm0sVSdDQ1p+ybClFjfJe+TumK42+laMPgWwaCKwpziWHvZId53XnPkpt5DvCgw3+Wvl28w8kG6Tx1EWAaSofh5p+1hOnPrmWj2OFC0aHJQyKypmqe7902IqKfptcwP92FVriL7M7uHaZTvTj69+Vd+zt7o0MNUSl4fU7g4n1Q2+zslAsg5yWdyPOQ1VuSS2CnJ7FV/T4M/BSFrN84OY/MiciZc6fQQYU4urp0UX02qSpJ6iAXfuzxNwz5OIe8JRBrYUqvIs5lyHFB+ohLtoepscKWsVGTDB+j945PxduIrtKT6wUl6XK911gH7KNpEPBIpTcetTBP+bifI0Hfkm8Xy2dqFSfBewEd98wyTdFPNBb/fTIhwFvlzp3fm7ECrRctv6tUSYwVCCTp8V0qJe8Rw+wupziftj3azabUwGO8e2WAHMODYd8ToH4QUQRIFN8tDDdZkm3upMPBA4Y3TwAccgFZwPjSiXljAzyYKyQ67M4w8/jmiI3ulafx0LQUlkmBIvXEfWZuVmJaxHHhpJu5BnWa/6RGZT0O6O2SySwKuOSXntHEPnN7ZYrjeFZdH6RWer0uEvDmiFQOHqf9fCXnwVqhSaYg3c/HTpLbLGKGU7+No6AGfT42tXhOwbh+zD+Zcjwl8UEkSZyiwHMNHTgHdU+HCC1uZ1wnCezJcfddAC4K0Q6DbR9rj99X5eFFvxyx2wudChQfGfhXdJHc0urp+SQOYeieCIhZNYmdvU/gw3OHnq25vxWLnCVqN531I7bf6/LZcB0PlP3hui9/iRCpg+6MdJ3WwlP3VPLoU9lGlez3CmqVd28/KHtUX98PoOzdY4xrKXiS1ZEPHD8VWE92DNwrC93dgdOFjXCH/TL2ooh7PCyN4k2icguPRgDcvn8fEiFfEBNYAmfJbO+UVcQLGRlgICtZf22FMpWsjt2IVXBmGsEBRFjshBJYRV/hMFLSDSxaCqrJVytkY3ooc2aC7TIGCUJjhFmq3EorRNeiEvGXwn/h/LjhU9HRQHW25hBzbjjvoWXMRorfpzbCF3s+lBHDcBOqPh3tgRgWQWdVUgpFkRuF7FtSpQ0J71zxsvK3mql160G1QU1Ka7rOWjEEedKTXvTObNugpD5v3JTsKHEfMBQvK32M1qs6EMZF2lVILA8BN8+nNXykeBpeiSxoiLas7bpqN9zfohTTqwaiMWX7WLu1mx+bPa9gsea/r+8a7ToU6tTaAp9A/I7iaTd+xAXH343d8fQ0qixgZjw6BUfzgrMfJuMEmOCldR/ceS9HaY6tI6861KikceP/4IXDJXNHL6svsuevD2KpKUzmwF1hHIe1Tx5T7InlAkXosAAEbjKKITveR3GzcpjiJtf6DbReIF2ac/jxE1ACCQDikFYQqJXlZCZwUVPn88DgpIx0DwsBoV6X/tvsOcyYNeL8c2/n+iqxrIUaDORuvOtM5i2YcyPhRTt60N/UBpKXG3ksThJ6Qr87UP0Tv6CSVO7vHaf2GJsRyggp6ubg2szmG/JuC+wdR8slcHITk5gXsNL08x1+Use76y8I5FRtF4ZlKMwZWySaTlu4bLbmhIpkfb/5GXNoDX6/nPShKzP7rY1cP5tKALysn0ERUQ1eRCqiYNRPkSX/oY+usi3HPRhI8SiNwSM6O8yj3xxCas+mWjRatnSNWXBGcZlF39XuvXFe78gksFuFuEd5CLpAEQKqje2w86t2Myy2D9qU7gQHrpD8bOdb3KM80ah3ZcDAyNk7K+QFx38JB73AVMJ04LrRA6L+tDIgnPAFDlKDi4kVatEIAg5Oy3EZwB/PrlIYiznhOnrMLmyngWc0Wd7wTkzAlawMyXyIjljk0ZY6w48zQyVmdJssu8Rsy2oWVqobtLB1sZXfF+E+DcGF9kcgU9VRntFcNsnWOqi7tSZ8fGSIhm8fUA9hQTty7FZtU/qUCrj91ctzSpShBAU1S5xVY0STguV+a85+yq+2D6O1KFLLx3qufFiZJRLR4lZXIymtJu+m/Pq8LCKJjsbC7rY2aS3Vj5PZ6x7ZL+w2KZ2RLZ6LiZ4Bgl45alKCVBHS8otZEIfvBjuJukdQvBT2S9C5tOyQ8oM5LLLoo+gS09HsfSCcNPNqbxFdutLo6VmONeKxxUPuQoj13p5zdOvtwc6J2JpPgv8xFn9F43YIBb41WIzVliVGpdm1/r7/StbKUScIBkU11dTLbou0CR/1pR5D+9Ergs8JYqWeWtV++oF8F1MHLzco9BBRtxlaVgUJPtHU05XTnKwmN9sTM4bTN0NcVolDVAKpvc9+J67qCL6ElQ7JdEI3pGPzC0XBLCp1aT6axQCV3EWQFivBNAK5N+3/xVaE7VX4vQ10VccH9zVyg2XDpnahPrLoJBa5v1DxbJX0ffJdsWcqLZ4qUobGdmBL0HL+XRt+M3J0SUwuH32qUZhmar7ttxVRRN9MaxNcrHFAup1WDhrFG85iEovl+jCTojG/Pf6Zs+yJZz7pSIqNTQhqwiNgExPs6gWjuqwIQDd6x9GVPcw6oeNjnqiycJTOOXXujC7p+aYnHSz0tUsmerBl5Sv1sA+MsafY/LWEdIP87v/PtkO3q/lSXccR5y+EKdugZf5Vm7773isgWgqg77p59Gk6r4vNjkjcT6lmn4jNMcGG/1DDJwNvTbSWVGD+ZvrYFY78BPB7J8RWPQ9Z5YZPzi0TILHZ6oDNoZKReybg08CXEZQRSsSMsTvAWYjclhNMxvF+CaidoejSVISDvsljn76rLyobMC71s5aKRgpzz8h9jRf6sfixVzwsNT62oeaRCP6g7KKU2e4ne6qMD1v51iGxRO5Z4ngTlbvJsYYOMVTQxwMVfdL9C89KwI+zPWgDV9tMjC2kqLfUGb5Ez/wFbTdowQhj6XtDl7Mq3qv+yH4VT5izfO804sq6F0Xgo4Gjic9SVGqISFLJzyhMOb0EbetJDr9syfvfENaTIMS7EfC+U3iRJSSe+zDR1Kxl0Vptevpex3gm7sD0TqPBP0JMpE5StrFCnAT0aa1SB1g5ldhu4r9uZUv8SeC0/fBuin/zSaBvnonWF0GjlIIPcYFVdI+i2lJUi/Xf4xXRliHBPw0aPSlONq2uKS+72ctipCGGAs8uJgD2msNQyPtUs5dCExaAqDCaPQZ0ldRmUPFhBLjpm7pbtaT2aDjTnM3FXSTfTqASRRdKb1K8Gfo33/oPPmkIPvwWrRgYnNmU8JEc9GR0AoQOw5++3qVcg7Bsr/jaSDRgovC5kB6eqVLZpFIerasFSYXFPK/hW2jdpFVuVgCQmcfFyHouDfaBtgnCx8cgiuNSREhUsCuMzJGAspUoBPpLWYCfpptv+/7SwdGwFiBYXEa82/65MdpmHY0QF2t/VIhzK09WGKdij9p2/vXJSwUdLoE62ILKWVt7r62eN6vHMCddLLzHoQyqD3bLnvngcze/8dFInKrEJUoP4lZKVtp+kRQJorZlwJzx0X300IZ8DF2PDMh5S8DsdsPh2KwVCAXWRsa1eVN+NssLeynaCp9Xi9Tgtha9WoMizb8z6LPu9ZAfHcLcMaiiO7Tis7s5uw661D6luejBszS0ggfNqu8DLGpHlre7WUZD6Oq25r1zTOclIAQj8DGm1eMhQzU4TM/GO+lHBMtXnLIvVUZsbBE7VNPlAMMDOmb4zX21d4Htkki6pILcZjPDUPsjjB+pzldlw2RfrJL+KwyzNzcmnR8S9PhBPd+SqP2Xdvpsj7/dR0ILiATEvgBOQ4uyvp3T5ixTyrZg92n01FOf/fx/VOwXo5+noLeGMV0N090rvPZNJ6THmgWtq2yfQxbNos2flYIyvBaam06yPlcUhljS3nnNOne9QpILEl6z/rhF0c0bXr8ZnmvOlY5xMlVyQuyfQzxQwBs1P3pv5G/VoZ8KqkSOm+4auBvOk3VvSShlZ7hAFmZsUjFhu0MVLcDPfKIVMdzn0udCnVF5GwMiTHt+ymdig4F1Rwn/oAFSYPzx2rsdRmcjR9jrCgZQzOGjwFE8Xgl1W+HZuwFaAoindkNg4YP60gSKc3u8MPz9GouOpXXuQ2JjWLO6PklGWAAP4zgWV0Sh7Z6Q1ID6E7JlgN3QypZ+p/bdnq2R90kK4PfWkh5PbXneiazK9NOLwoxL7UWYQP+7R2gphTJKCYLBjOjyzA+27JewFoZ+kml6fe77bSAsPSZNdlraeze8vEZlDxb6oGSTgcgs6mOgfe7km5mSl28bERLTCtMKoyondnEBK20bG1OVWti4XUcp52XbEtNA6xFJHTKDuSj51xZHpSahSNX1bv8E1glKQBcOfupvkm+wUrq6Ycg3DfroGb8d1rtmKfYTDIL0NT6mLBSdQ+9K0zXV8D1vOyRrc9204cqcZARg997/TlBMKntG0WVIdqS6QmVS3AFl0BpcmQcbm3m7EL+sWI6uFR9j6wYM0s+i7BHq0fhXFyD1uEOdyEcey0/9+cy3jRRg4gpI7H/0dBLssy/C6YY4gE+B9uwSfne9bhzIwwaPRbDk9wx9qFS59RI6zAM7l0j2TIIa68Nv+9QlegK3761MKP2K25RQl1/796r4vFN0WX7Xc30XVZg61QRiS6mcJfJo14UJscuV0dzi6wDuQMBqmr02xxt/IwSFygyylVi4GjY21hU4Ws3ZilVnu1+5JT+dtDHkla1bsU2zGuDxEjBO+ej2KK9sncvAgoGJhT3/XYyjI/Hq2DO535RLtt8Qp0WGVe3OIdMbyLhW0mtTSaUDx4T6SM0Xmi5nCrKM7dP/Qzsw2k1xWDZ7U+qbKIucvmwNm0pgIcNPkyAlBqeB6CMjQhdYnBhGB6ljtxZ1Y/dx95paX/KDfPZ7VvOLZkzYgeTxgQUKxd1PDArd61pV5m5Cmx/AHe++dAh57njw5o7jhYh7Z0MjUj5eJgOxJv0GmkGzcEabHuCPanPnuflsl+yu40NngYog9TmG6fATuCra+mvLcyx6z0/lEz+mcdsANxynnK0ixPGsOUNJpMII/W6z2jDeMwbi/8+uIJXQ0vxhihR1l1S/bmvpPH12z5HJ71TixTmV6c8znTXtwu8fzeKKkGZ78vr10qbiTU71ls5pjgyJ8zwDWpqbgJ9wg5/OL4438OGddhuM2Z234Pf5udfuH3S8sqJG4LWy0l767jhy9i4vu3YH/qZqzAhn3+iOrAS3HVWJg0zSqMQ/RJcmeoSwbqvwDm3wIjF9ULaJDMM5+zX+kzYi0/e2YZV4OqJiHHH6NCP/ju9jIFsYp6516BDH8CCB+mzOIldqmoskNlThd4digQ8qHOv24Kx2yTi/zNL2syqlrZaofIYa+DKfzKZyw/jkf873sNjM/n8D0zW4d3D8cqses+KAl4Wnoo5Y1/P1UWFBKVFtOD/rt6QF6d60T3bJeNw5WBlGHS72APaPYndBpgsI17yPb+g4Gm/RIoIIb4mQG37YBsDrvNLQVO0uWKNUcss1qhp9ILjzhPHAcpbiwJ3TqpYJUSNee0WJ7e9DqwDz4BtrHyZLujIDI+WZSYFqTsF009gpT4PvvosDn7ZmrBeyBq6Ym2C4OfkdObDUQwd4Mp0THC4LPGuA1544RP5J8sxMFAVOmlVKSG4jhkPmS901cwuYmLv01VSDklyTa8n70Yp/vNCHg6Lcc+v4dvKEzdqBxLoZTF6lLj25oaH0VJboI+2gvlAkz7RzsTGfFhBWDfuffBWB/AZYpNwPJWRviQDVUILn+05wIkyJVfNU4I+RcatLPtLpVphCZHq5Y8QLLjl1eOR4OPHjIBeF4pDMrPXgUdeEqbpnbHKrv6Kg+EkGqoqvROhU/DwNNXxUIKp2fNM5YoZElaLenYY1wN8JjilijVkhKJe4/xfag6nURxYOJk+O3CRTCCy4BuDYtlg/RPb2p1WINmpycQbiqAkhgPJtCGahdmVgcnKDVMzT0gNfLb58AILBWMUr8R1ihUjdEmPIAogCgfGVr2/tKKcljurZC1iKIZtM21in6k9RXbTOmjRf3KAwC6NK1dz4sPLW7E+tx/flE0zPvAesfboquUerjsiqWBorGRt8wsG3qtO79FJ/egX3BIu8IAdOqwz7dlxVZCqNHYYRXFcbpeWsVLStdFX+Js6kUOXKnqrE0EFiip96Xqyg2qKLoaLvnlZ8H97TSy4tnMkk2BO/CzFy1zpGLBz9pvuBmsvd+J9lIWDEXmz2OHPMDPdoVg/0cBDgKvyq5neldRHupqSPgHkZoHQ7nxv309Mg2WsSUWK1PtzruQ5kk7FfFlwGwbDjfPks3jZFHHR4U6oA1wXkNqXvpoZhrVece6d3QcShnjMyi/OV64RMnMd2hKnNU8mwMiQ2CrSs/dpqludsd5XlGCWN85731y2i4Aaec8YMukHxL7Anbs53qGCNkGV36WH1wLZBYxvFsPXhd4ZR86Yyi1H6pkKtOXEImApCvlOuC0ExKMaO3QJ3nL/5GtTY9ZwZ3GYW5V0std5igggEsOxPfh+VufiN72XORRnDnKFbPSbR/bXDIv2mylQOtNGSfR6kHuNtGElv6yjxG7W+KIUkizZdhCRJD/ghpikQMhBBfKZW1tQGkWc7X7nLfr+eqAzmlVnihdmtU045kpLGqrZaJS7tvZwX7X9dDuybqYyPFytCBT0bHYsXWiDsLD6USp6YqINgmrL0ic3cKcrHr9HeFhkObRjBjwQ43EV3ZC3rIVxFW0atx9rY39uO5NBcdJWQwh6mR8+6LvxVqA/VMIEX/eLnEf8nc8/mk01gH7VVTq2rZv3vwu4UTLkrMG9jxYZ/lU1Zb4ogUA1I6WNOTo3W70cbCxvk8mvJklSkaVTp8V3spZnldXvz4cF+3YA46NsNkuElHukgVXxn5oihbwRJtPASV3/CEFVeuLeqPAah7OjDrOr8WxiskP7OicPq7BF9uly+MZqTNHzcXjJfB1HKj1l1ene/o6icWHbSGvnxIpZ5XHLh9over0c+9j5oJPtQLemfvQXq1OH5I/gmIdIEt4CXPhSzSreCwA4TBqwVrCLUbKTrk7Urpr5Ts3O/eWTLRHccx8K6nfEEjDwsgHTbr6Cwvyl1VsEWgCvdJqug7GXcZ535uCtBmPoem0jBKkDcvrodYVvLbatHzo21jlkkdf48S56sX3xKts/MeCBDMZco+aQKWckAT0xhbgQS3GDJQWyYPk7guSeEm3ZPt+7JyQTJ7dRCTSi1oCupwKPBeUIFf9REZSdfh+rq3BD08HFnBOOp2gpFWjVFyidpg+tA7jyDFRSQqlaMmdl9h4zd9E/KMNCrZisFKlLFCDJmX2epLgfR3a3DLQr6KY5Fa0oq4CxPcafWBV2kfLHkuvMwVYK329HbuH6npl/Fll1MXSL/JSH/ERF+y5vLhqzmbnSOU0xlCFGLSkxpAVmg3tXD2bDRjRjHnXPFnnjydtDdW0lufxmJpPqrpPBQJUbML54KyO7i7tCZyUxg8TBcZgfYJEABVPZH5c+V3HAa7E+rHcYXt2aSeyayic6vlUHLdNEx7d6V8rfWDCa6hEE6+h3pmEcjvfJWkZwDJGe3P3S9oA6DKxV013WxcSoEhSEq9W4vHvcoGBJOmQNuL6l6W0GGqPiYF33EqQo8znxlKpaIuoGK9/566n7i4jn4WUxmyHFPxVkhHEUMW6TQkfHNrpjr9gM5wcEN4MmRnelh55YfAX7MvT4ep303ohhqyfIp+7wPQ7Uwm/eFKG4y0caGFn/9AtZRKZ6WnPHtcsW4RZt0gcPh7abYdsNIYlaNgIi5baeZXZ7nIzYKGvqOZxamd/WLpqdzIKpfjB1btoA64EPEd8bbtrcH31QLvvRzgrp6pLnNm2YmOExve9d7Ty1ZBzylMMrX4slM/mr+yacbbsjmBUN9xpDCeLjtam9wTYqpP3oGKvVISMSgPeRYY0rA0gbnzlhp8FsjB0OljTjdi3hgW71XwVlCB0/CaitRDlhFvLMJ2oW0JvtG16hiC2M1LExcQt4O5JOX5WLTCE+BGrSPeE0vxHl94b17vtsSmAmtfniG9OADo1tTO/wDe7qxPDIvhipjMS7stj5XvSIkAXdkXDm+H9/YJvkXXAoVmAOTsdFJi0zBOQz82slO6/P9zvpzcV4VBvVe7C6U6smYcMUj7lcZ7iXKMnr5EyVlNCqWbhW1uPfYnNee9xVrdLqJDYeVBXhyDjb70Rg1sfWgbqMSXnyLErYFxD14/PlnT6bVZiayyX5woSNxfz1OELwaHJzVyG1vdpKo/kKXOlnI2OBkmY+YfHKZjieidG/wXETsPHcbmty3UbjNeQHez0lsi7x7fP/93CkOWnIej8XyGSem1oQ6B82O0vBYM1L9bIhs3+45mklqD1er7bdhD/4OMCX/HuVPWgGi6MzjPn6wR/wh8ZIOSIl12hkJEQqklQlYp3ApI1d+fxhT5dHoBiaOO5+gHVFFSJDR1S9nzLmX1G2SuApEgsPu3II7vSh5Hp1/+0Y4nQ8Rdo6ptjMAa+UhyXsThab5oD4jwD/mSgIh9irRdRfyuIFrPhYfbadjZsuUy7+YSpS4FRrpp/x3FAQd3N0hK4nI7/Ec4P/JlrmW1W8rPRJLvjyH12L5S9aUHgxGyc0rIbhroqe0alZM5HwvFGriHcv+WeEScm0uAyJ2aSmNkR0S18coeLVzR1a7nn3z4Rq9JP1bfiixkFqPr1PHc/WYza/w5YcFU46W5Udbs3qunLC8UeYzABIlefpK/28fxBw48sGiD2OhbMlrIaTRiVPP4H2ZRbnKoSGMK4PLQd0Ni6mOSxWzB96qF2LYD/dvnKpQ7Ux7+Q9kjsEl3zuDWqp90L5k4hgJBBlnmJdglYd/9OsKGPefiZkTDD6wxu23I+WnPkOkb1LZTwlb7olXSoXCxpueYTV+jtPHEpPrP74K9KxVjKHw13JBvlgJO5S9gw7ZhD/KyFrxBrissLQf1lVL+TQzz3f0WBARMFSNGq9/Mw+IaZfIerAEMKvmmnQIEUr06/dujQ0Fo+V45eRbDoh8gMwJDuLIWvKY30Gv87+riX2lCEzZ9y17TOvPaw="/>
  <p:tag name="MEKKOXMLTAGS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False"/>
  <p:tag name="BTFPLAYOUTANCHORETOP" val="True"/>
  <p:tag name="BTFPLAYOUTANCHOREBOTTOM" val="False"/>
  <p:tag name="BTFPLAYOUTENAB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6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z2dD7pS103gZfJ6l4USC3jqtWOPR/ue0umjYEY9KlLthURXCUyUuZbmGDPUXB2idlVQc+R1c0j6vNnMaKvr/AnBHPFsgePkL0/XTpsFrxRwwYvjcyvyChgSTkA0WrA8dwG0GmwlBBpsIJyB1sZP9d7xAp2ey1gpzW0jRb65HVkmH31wU0CUfz6Wsa3d1WVhhm8nLUzZd35IJort9u7v0aOS6xXWeGseyTUT93qRMlwCGAgJ0MTKWrvhdCAhS33lj/WBjpWoOveYj3wIs0uqpiLwu66QD/FKmmF3KnLAGEUHPCFZNIeZG+VemSHwWaq3ngADKCST4iC1+L7zxKxU0QXupoYlGQMVLrkA0coQiBp2c+6mlfdFGNG6STcGhk+zwVDTwZ1QO8KBE602T/B99MuZxD4YvDZH6CUXkgn+Y4Ggg7/1wwYjoTwMeK8cL9mZgEZ/m4xnBtr2rU5oNIJxa4Rd0eA5/Bt/dF+oHcCDXPh0j4rIPUSNKzNSj3SzPEctP4oxJXpzKLHBb4YU7q3NMKy8Zi6SUkWfgv+tV2i3jJ7n1j7dvAy0opkpBpeY02Tv7TrLegHi+A7Xe+Gn1SumBwHg36SWPZHLzZMRieft+PLDAiSIopZLvYNnI/CGxK2gPF+IN07sumRvzVYcfUEh1FO2N6n+25VeSBo3+PrGuQ/owIlbkv+DLfr1xOdsCYVxuBfFol3AtIUOGhO+/CImpYPYSp2AAVRSFe1et4BzWd6LZDAXKGRhj7gottiBWV2+VbTbdbext7S/HoM199BxCub5ta2qK4CjzNk1UC6h5f+nP2PNNb5ZwPvjnH+Q6VGE4YbFCgSPvxk4Fqt/rSxvaydBZcDk10X2TjuYmh757gmBXAWL2IGelQWl/27FolVcNa0JtPEvF9MCin2V1pnDz+C/UeWpMz5dP4Xo/Xb/PpWJmlFPrCCCa7ckP9W4fzLRp/W/VR5zh2KtS1HzcDc9w17MhP7pfM6/4FUhJ1UGeu5jDAZ6wz+UawDnfhuC1KV32BTUjtb5uWN6FHEAsbkqUHPu7yEvCXzZoIAqoDMo9LFpqL6zSeRuSGDobLL4qv0AaAK2X2/rD8V4r5i8P4RK7gii7ieM34qTRnZcRcuwuhWmDC4HN3hwOt/tidWa12DgURl5+ZrjBsC+2aNv59THAmsE1G7pQz9DloaUHzq88Gs5VV9Gewh6AdVOfw3LJdKiPJH7wUcS9q7JRlIFGFh7obekPch3PvGULWinUK1gOcyWpotxIYQD9Hm0MjV9inRRvAxY+HXC309XtcGAwEiibAGZoiTIwzj7EMnDyjiWTbLY9k2wduBFu0/yQnGmAObMZJ2v0ZFnDzVxNU20o59vzLubZTy8iM5GtkxIu/IfjX4OF2VaVozay1V/Lb5SsJdBZs0qmQ7HzvsWFM1nlzQRE3M/p2COYIjG/jjjqagq4NXurGvmOF05fzwgRjgpJzam4kOwH8slOQ38uyjV2PV+OoEA1jBhRK0s1C5A+A1Hzn0EnIyymG97ZbZ2jYGQ1/YGdtzlUun1ucuM9z+skUeGfI9vCTzAf5et/YJ04qDogxT3qN3tDER2m3hXWiX+Sn5ZS3SCqWTEZYoZqELQ4VhzfAtWE+Q+4kQnTG6Ry9733e+JbZJQ9N4QpoCfEl7z0eaEvNskqv1SMBzeZWx8UaQt/bjhhVJOX3BmvW5M6LLWxwPFnomKhi6Wv3zRnzub9VM/APxtjXBD/nPdxLNoYdOBCQe8HC/7RwdTTx00riNMIkXXUWnkKiOvo2QVftRVr8KqFAHfp530CIAZCShqqna9e3OyEqat2rgcL1a1i4ox2wszvqWcY43uZKNiKizgZ7MqYdWXefrH5klskseqcVbzvkPiLZodGVrrh1c/9l7nkpmCwfcCHvrqkq6+amkR2jumbQB3GqktcZiaOQFr/gwhhdsuKbYGH/dQ06Ml9ykP/a5SVQfgqW9bWP0qrmuMZ/ro0i15cU5zi8fyfxOPL8NqdFzeIf7WKxk+rCJBae7GBLXZZm+WQ68LFwGgEBwFRBdNrawlmew43DxLjqOdak/K+OaBc2DSLhUdS8CfNK0qUAR9rtwYMVUkOMs86x0ryhW1PImI3Ewg+g3pK2dyeE238JLS8srVKE6XO9Qb5EzAYckIWivWjXa6AcP5Qnn8EHCgaGj66dXKp9Pph/g0r/DvtaDhUmC13G1NYm03qWJ1rGGPBziNkstg+rnx9DECtHCXrFHr/MlM76aEFHUwjLXl6ZOAPunHOggcLx9JHKFNgJngk1son5Q81VMOuvNtVhTc7GRH5AwyxqqLxGXc6jQDKZFswkaaylNlmcVRSLDA20bjluZZka5zojFtemUkZASh+Lh8a4A2/FfmLt/ehnJ+8Rd1CJYlKmtuBzPPQp8Ser2RrrSerGsfEHuWk4ELR613zSuvWfCrTNu0ZenP93ibpGbe3enr0xlmsGQ2uL/jfBwINvD7IcGAO90izCozj0aCaeHdSkpVrWzzTBv5MYVZEJ/rmPN7EuHF0S+p5sK+lSXgy9HbNUrh5pHcx/w2HSEtkPSpzRfC48DVKUQEA/uf8tztfi+NXAHeS8UYfaU4L7TwJ0wxwFcHyqCtXSG8Z2xpLJUY/BMrWxpaqv2TnvfyX8EtffF9qfbUf6ZaxKCwg+9w+Oi+UqMkxQ8WiI+arQfmjz0INkWKGchRe/dcQ5f/jhpV4rgxDG4ZnjDu7HZz+yFlNrNgHDKvh+e65+UBpcrTBB+Vf6+mOVrebZgLmrvkvFxQtdljgpqx0/2Q7PM97gdmbJT6+A0C6/BOKTkkhKasXWXeTBUuF7qEE2lI9DL9WlVnWy6LUBdB/USJqmev56XztNj5zbqXdn0szT777ajE5S+G7oQ3xq6VNke1XK6QFqDbHIgGpCfvuHOQ9ySDB1dX3L3nKXBrqT3eAszhohIYDtPhlbFuJuqtv8BE3XmKNXRDvZjuNJ9UQbxvLr/FMETzwlgzNcl7AVH76IOatiwMdD27RXPr2fgYYCJcvelz3wKwge9HaLortLJ+cqpr5lwi4N73A89sL8MphYokY+UhkXu0HhtvRedL/mJSQMBU0GIEU0Bpj8MGVIeTKPkzvg0ZCpJUDZwjg/LjEp1wnn071yDuyPU/8hk37JMMmJ0jKdBS2KpY7wbnQOLYz057CdGD16FXjEamrXBDAcOhTppay2txC26dmDf74V0cDsTO5kYWwJ07l5gdnYQhlTi851SbsMoOGvQ7MnfEk7w5fotIiHZgjHsWUJCXThb/99Z3TZKT2ImD6di7AG4RGBOg25UsIOzqK5WtJbwLTlfYhlBiAMG+lIyle5DNFVeuziT+6Y9BYVtGTsh2hw5kfwOeMgAX7vJsbLSBpfKMXVZpZnteCw6lIRVvLFBIQy5WmqQykGe9vjaw6APudCtczpI/dLDGnjbNqqS0dhGdjuckrC+7KVJtLqDkIAMw9LsMTWkgFmiWfs7sivLlqZOBXAX/YyItcAREM6UWvhIoU0l3oLlN0nstx3uysZ7oFiPJiEV2TL7Lf+bWQrCiwqU91u03hEfJpZK763zAH4i7jJqMN50ro35lPNGJl1vIICCOeLJgB7Lgkgr3ncuLwDS3opH1KL2B9XDFiP4/D0AsIwh932IezURt1PZnFMQXjmjFbJwxsUTQzEIeFt4ik7WC8cLsdc3rFv1Bc1ErwwTokv1d3MeIV4ykD7svnGJ+fxJFMI9z2MEKATvf26mo2X/QrZypLKSrNpVAKqUO4PKFz1qy+KqKpnBd/td1wFAjDw04vxP3gHcRK8LroB0iHxWJZ4lJTY+qTMaUW+/D6AQeqvvznS+Ha+eS7iH7W1WwHP2PG7OhHawdaf949nsqogtj7hP7yv5HwMyRAYgIQpvZepGM5afY/CrO3Abl7c53c4rULfAoLAEBPmUaUNYqC/C1v1Jw5s8y48EnAwUhElS6N78W481pCc2Yjp6TwRrMwZ614KjfHlpt8/Il8JD3OWr4DK/lzog4o3C+ojAkM6AtdYkUSfC3PybFEJRgmbvQrOMjc+hs1yHiaDWeQO90zjYB0mRi//cI/E08cTm+Xox0bnTkBFiZzSatH28vlel89MuIrqrXqmk1N3baCrr53QLcyPaRyZuKUqL3AFHrVAPNu25Hg2bMN4P3noTj78LoKDpQSy1zgaHk++e+cI+Ti7GfAD8wMDNlh0jJbpeJdAfgC/uUHyLinCcdB8ynlSN7RFmdPAhs81TO4mLt4E9sGgSspeUsDpOQhDFyV8AsJkbZgkL5MnHQi6IG9Kv51xZ0g3JCDlpm7SAmZqWBIDgeW2Ro+2HIhGkmQup3VHt4KhhJ828MRJ+ROsv7cVLPxnw8l/zS+D9ner8mDPsvNh8Va+4o4YJSZCtRNff4QSKUtuggVHJ7am/lpATRCfFDpx5kdfiic2fSTODt7es9fkWKfXNdVOMSWxa87zd9LXrpfQQ0R5sHidKkzW6ewtAv3JhzzfA2Yn441n5qNCREqeuB7CrKTQHM7rGhfhQw3dQYNyjoZrYQ9cnNRwDsDFZ0eT+EQ69b2dwnu5xrpeGznwlMcJPCkcdA2yHN8sl5yWB+c0xZQTXktPrsplvO3K9J1Kyo0kZe/HU1RwssSDhAzuHRGrMv5Y6tyjKg06eNxeX8pP4VaeiHU7kfA7Od4lWIqkv2MuswffRMRJL9fxxei+ju/sPOdKOF2Q1Es42hhCIhQZSI8CUGWsbhS1PuE7b338QCdyWoRZg+1/C2abv7irrkl51KeHKHuiZyHsp1Y/KVufuJHA+yPuUd5T+CPReIn2x3KzGxojds2/2MStQe9NSg0ekCRXGO67v9mP8DybOTiCdaRQAPkDQLSJVZakMYi0ogecupH5geKTEkhS1JLVHabbXcaETx7rvLVKcc3VQVu7Sk2246eBk9wUIOr/Sy7o/OwFvNR119exWLi6UqSIMeBSCzvZVMAWmgQTTyeQPttJpXzxCmsGdYd5+S0KsvhNTVGrMZ+8Y0PzQZBY6mQLH7Q2gk6oCHGuZjV7V/kEir+e0w+CGWdMuYajuAqaZV6eohF+Di5UhUs+0zcdYALwGcJVPfKXQWZLbv+JZXcqACWGLEBHvaLHPkaSi8pGF/FNEySGDH6pTM4/bSZG8UpxxqQqLUpM6ZphMF2Tt4h+7fpGZHL0rPk0bKPHW60xtvcKPTfp7eHpN2jej4/FfYHcfFe0Os51IvqrjHHFvpZ29GKagu0HleKDHod2B6Am3g9rI9+JuyKzJbV2AsRFjPuEkefjLsiDoUWaCl02FxeyiurFeLnK0+/E8GEyp96dgPMgjb5kDgvsUvoxTf5CdtwyRln6uYymzx0z5RhMUQ+newp3+VcBLa6PSX89Dr9feiKA0NXeAz74Xwfzjm3VJWTbOd6zNtYnJCq5dyM/5J8yLl7uMBMI5c/rIA1R4K2O7HEr0yk84G5+HkA+Nb/KVueejsHVVwsAq18GVJ7xb+snullC9WsVqTsPzFPPzQWWR++DIpbho2RuqqcIkzM8i5wA9OvmN3zNkW5rsKWiyew4DCpEDAegJyBpHLW+h3ElYXhzfoJAryC6LKtXExNt3UZ9tmLcAz1YME+3+bM4iUp+R4co56IaRpMQgW1HKFObWGJ1BIKBJ+H8dJyj5/IThQc55MZuQBj/MYUyMMhJ0CUvm01+y6w9H2gigbfoP/e4dkxsvtBtG9pJ1eB2vJh3lahaSlteHrx//SDa6yPKYdvPK5OknCFF7reFMmQTKeTT+px4zpfKeSd+pf0ihhTpIZWXC0SEbMkYqlay5PMXIG9DFq1NoR6uGP7ClkQ6p4Eq6oHdlUTGE1cdVYWawq9Pe9lh6/HLA19i+GXW6P2sBG2WX+p3Z9NC46qsg0qpUneToOun+t2HjSUZRNrAuAmhvEezm5FRt56cmK9rw2VT84T9pQ5P9OfCLxMJLcpFC9MevIlqruJHzHPiUWaTGzBRwxnGw+e6vVA+BF7rnm2xrM2Xe3bAJjumRXy4dHCZ9F3+8SXm6LYUv+DUere6ZvHi9eII0eMz0xWEghzIIoudZ0fKGVI5s1Esc5ZuCqeL4rLJELt72geL1QXoZbvGgHe1girF9j4A5ONNX7UJJF9z0rWmjskmtEpKSgBxAqsFOmMiQsDAIJa8qUYRIyekxa+an8kGPTJMHsYlSFibgI/PVovNLPB7RHff2OTIVL6TuJCk8LLzenYCHTtTtlrFaZHZPYgpNcXsCmfGcclkX6t26lqMx92IavnRwBiHwvdGyQEPN6svTsq+qMWXkou0Jh79iL0Js1svtvH3r0N/87ezrP8AUB5q9a0mWMoATLx/rzAn8F72W65GrSrtRBrOrseyfwvri/Wcbc+CjAc1yv4WTh0CQWPJdngwXShzDNREcugun2we/zGmjQ7pleWZ86Z1k7IMUyIblRcBTGNxrs1Nlti2/Y7jXOIppwOtK86rd4lDX4UWMoejUCeF0u/ICNkYCqY6XTuSiqC7vrRdUEjcuGMcT5mLlst+T9VxQZX/uEpyNkFPontxUWmYFiZNqBWv5x1ne2Av8Qt1ywrAzSp5Q8ObS4UD3JHFhmOPRmU/tKPhvVSxBq6+JpMpSqj4kHl+EL3lfcZd1YkpJ4bH96OKACjUJK9ehwgKxQLVi+NeflQ+pTY/x+Gp95PaBo3oehFLFy8bcVTcduXHWE70BfqYhcpbp23a5NTnKsR8gzB+wkxkHBKdY0IgCMdCrIpFJXPwcZkgbnFtbz+YXz6sDS1PbjZjlqlXB5/FJm4nFbKL0rHGVyk5aES97I2JCJKtQrUwr8meh0XYq/zT4dC3Mj0v7aszgrQC4V5FXFPpmU8P9IVgmpMP+txfvzHQpazAU3KGm2WK75aYR9sAkHVQaL0F4CnVtNpUmIPh1L3AFjAzhEL4CCXeJpY9kuFSMN1+CuNBQYC5k886t9+HCD6CQFM+MgYL2FOdssHTkhMbUqZJ6b3KJhTQRmB/vDEzunE4/Zgg7GFhjlpVW+FZpAI2Rb4CIDbHuN9NiLElnW/6aoLxpyy58AvtJJq7Vn47fyOsoOfk+isaF5fcJSFXV7Zy7w8GSLvVrBVYCnaVwUla+eo4nThD6tyIg3lG67I10MeA/gWUEdbvWwY9agK/5b20aOATyI4XGqIJGyfzXCbGdivzxav86C+ozA2DnGchMCBjTK3Cg+qANF1LLlZzREsBkP2LqT+kp4QoEd+Ap9i5mxuy4No8z8Y4+2/PDGjuFeMXWbQODYUJrWht9oQUdGxl8wbNtqYR8+9mC9JoO14v/CjY0rY5X1zH2z/jRYJUACRr0Gklhs83F30QOWZYtrG9iM9ndfFGmAQb68JXAVu9r+ycqG+IRcyALr+BD6j00criDt9FbNdZdcMYevo4hL1LuDFUkaMUJAY19ZVwEfbdTC9ZE3Dw03NBiQ/0kGA+MksOOlvoYVeK8xXTZ9Qk4nTjSPXLnZ56Dg5vFZOOwgBxhz8CAnmNCv0ybIW5OzJYdhFjtsmGt+IEeE3e+jjJ4zuS9p9NTOu/GRh2vybTZanG0+OAogZ6XlrZa1czBH+gAhS5+dQA49jOpJ3+arHWuTCE1HzOMUiVm0xOjxskxXfbE4K1xsMLRIWmS3fs3kFbRrzR6zNIbgT2YcRSZ2WZPYFlp89KV6lE4/M4OQh5FjAZH67HAE/qQMPLoRb1HGLgWIkPM1U/REslsWRFgpCPwiihTWH+8yGG70BF+C3bld099xD0vzvdr5yrxjRbX6RQZxubOz0Psr70YAzOmLKZx88KO+KCImUfXUB67o7HiOWqG461T3W98OYjUlD/53gcLTgXxzpOBK3E2xeDF7hFRlDpCjyglNxnSLY2OhXZGr7U7qbwR4BJ3fhGOLlOB2iqTHFKZaKm60Xqw+C2I2kYA4aQ5zuWJqld6Q2wvrGbSWy9YgIAa/Rv6L14PM1qClUa/8pn5DzIT1SVQw10sYU6y6tRLA16jjVgeqMp0epr87aqEiFTBvUNvHTDJ4msStt6oQqmZCr+N+70QKJGm72lpwoHPesrXAnLpqviOYHana11k8JBvLkbxag3tVMgUOwC6d+B+fRLydHsjdYDR438yktqbDBwwCSGLEGdkLqatYhGXBEa+jyajNuTTYg3iHnKCGnIpPhTcoM20uM4mM3L5btWaMnY0GC8A+6gaOaiUemiWiKIBg0ojG4R7S70EHVmIZ/zfrb1ieiwFUFOV72z2YiqQ2OTx3AbjTwNxE3nzU2OwObLY/Bxqf77wpQMSdIJP5lkhslPlHJDc3a2sRVL2AZGcEkNggqFLCpX8fo6eDJ1gcxCxYIxjLorFtR+yxm/sfAeSYFG1r5g209c8J4cSPARrD22pGOICR3MLGZl0mFaJWm5b/ml2vFp2E9sc5WcqWWGNH+lgzXVJP21sRwqMfIJCV3iMEDZJw2ApCeNTzZbsrTktzfAVPf6oqumxtKcJecJED8Kgqxai7csRmeXccsTpkQ3w0ZDIFqrvVxE50swMdyoed690OTHZVLoBdQlk0rc3rEimINjtcf0lCbyjxUgrNaBQntdphp4rn3kd3NfcU//2EErfK0W1CnbsXJ42GyJPNev4WhJXXIic1yMTg0Gh6gdXELPy8Jtpl6XsQOY9oPCkwwQHdk2P+946Cbx1KbZWQFXwmetdI5G8czca49C96HH35kG6sqMEJBE5aBZjAaKPgjHILjP3+CYfDXF0MwWtLfxnV7ouBt7Qf5RaSIbFbxzNTHnz+IHaUJdDEXA3Uyeh6ch57Yiop+v6FYsZjthAvV8rX8Rl9/nAqr3lWjiOM/fSiFESWxg5XZ63ZUMSnKL8r6DhSj+hTkyQ7dL+15PsHJXs77whdKNCXuAGdDrvNoJAyt/7Q7V1+HpJjkxFVSccU+RopsboKOseLdxzFyj8MebOab14vYm1yfUHSCy2+qKDUMHxHgp2IFU1F6+H+Dut7RNhMtjzBixaOpxyqN4s3nOWqsFGvOIsxmU/d2smizYUs7r4RA9NqZYcmGre4NkA1Oh7d70EKNVsue7kV83N4j6AuMNSDB51fqjUYDgkeXgxS719t+GLMCfTo/eeVUxCUIgg6eeOtjex2kNt2i/CUxOEpymDH+5eVWCb4lglyqk7YRZNqXn7oy2KgOscK3qa20JN3cttwXFEYK3K2o3+oFDdejJCJNAq0080UIR264Q0BHwhcySZnqH/jft+vq6GJndmQOcIWXoldZZJ+SgRt5FaBElH8z9KBLvyIyTTM3n9fUkzI50oGKoRmofDvxzvlnXIT0RrW23qRPNWkSTwn82ckKeg4olIDdpVCF0R5trc6rzpG8LvHPL0pJwYubxFtgNpIsiBarDtnHpV9UK0Rw5uEn209qoNRGJUR7aKv3xnhJzUVTAStvUEP+obLZh7clXdge8CcyYi3OcfCfUD/a6SLjhnJYzQDGI0/pH4Kl8ZR4Txg0rvSDS/28bOAioZeT0EUve26dx20aNmBEv3gNAUWjNP8vvFYtsiVK0RL5DP1APIgfoFn1dkJBmwewSk+PzCi6b6pR7dIx23Gx+RNFzFwpFPXveG1JGlC3KJh/puAMB4BAOknaCLcIbgBRtlwj20FwA3zTJy2VZfGrLG2WQdVqVsBpdp80xxfj7mP+jJfCrA1kMXGBhK5h+i9bTXj4agQAgdWaYU4ZL5bQeDllbHEHFtMJzyE61oxoiTGT0mkwWRTKQXPQEs7n4vv8eWgPy1YMAVr0o5FpYafVmYYFYy+HdnU+wP8GlHmTWpBf+PmJMDVnluU83G2NukNu7yJ8opfa7tThzOL1uGHt42N1jJIJVvSY7/vZdUO8CyH5WMaY/UoaC24jvAJcVAOtPnlj7AUp4a6O5ghdNKIfF4KBBSTF48DG5HCGeSV5ifWMXGWZpxGND2AY0RGonHP6cRWNsIvUn4jcn1szFquw1AObFRnLV3Ei6SfuGJalMrik3oB7nozJgp6KCVOf2cWtCHyNCvKndIj2K7aN/yMGS0cP0tHJ0UA1R39vGCIbZfEeC3GwvDB64bMwu48a3pGMOFyXhFSnBUdRtW00PItvD0Cz9EKbH4/RqEeSIvWX4M54NR77qY0nvlCHYTnNU64Gq2efjb4d0fgnhnDZ1t3u4eUuoX5wzlNLb7AgIfwdp0cm6q5XPwhuhfOO4wOB+aMDIyToBfBXxosqtFIZWmOwZPb+rcH5dV1RjCwd+Uu/BW2/CO6Pdbd56rLpP7NrF3E9WNYJTk8zL67J/NZnSU7ZSsXXEC1KjT2RB2jfSTGagfAQO7yDOHNPcRr4op/yvpA6Y4nKUm9w+ETSxHuDWyqSBFnp+rk5sCQXUKcLOR8a2ErLLrzBgFLC0D/fczOAb/DjXYUdyrutgoKAcYmDGLybIbPi0EzcAZKKYhSonSb/1HmRNgRMnwF0YRtPhduhrskC5nf1Q/XCpV6m/NRgWVvwkl2P95cwMXTRHkWmUJyKKOB1Xuu4psX1NUGBzigqxEKKsmmzq6ACoqfINlhAlV7ULcHdEv2YrbHW3Dm8+XcWZC+Th1MKSgPzTtN89rpxxU38rDko9gk9cyZCz7pE5MlTZ6TvidhhRcjjiI+q15QnuhnxAx0UpW5NH88U7PUwGq3D94oaRTjcEK/ftXT3eNv/b0Tky44kfIx0adBvDP9Ba4Da0NNgnJfkoHS3n29qKEPUVLj5vu7Tf0uuPUD1A5dJOMjwdN/nXSt87BTR+xKv6jpL5PpZoMFjb62535O3LNQAL8eovHb/sNnOeknhM6QETuxeGeJuA07YVhLpq7Tp/qOeyEXlzYAZ0v7AHAQ8bVh49rHm9TrkM4MLajmkPBlFFq0ITKhucCLr23A0qQSqQdnV9+bkhlOumKtGF2IKOnzHkajo5qxHrmBLAyVa5o17Gvf4YoQSMFHLvgbYXCJ4UFK6xQ9RQmPKCbKrZQKIusiSjyeUY9YA+ZJvOe0tqpG1jNgSOYRxTjq1Ffe8iLwpZ3rqODvq3l8sgKRceD8/l8FfAI8di1pQf805xv7M5BiMKXjoAx+SdqqLY6uI/D9AUtnHt+TBy4BblDCkXX6xRrFPQJGhfTeI6bYsF1gi6M2OgZfCckQXZGehFJEvZiCG3k6VyqFRLXfI5BYTQOEE8y6Mc277F09fA797Q5bLxLY0xn/aGHHKEoRQZuG++D165JORxGtg1jATUIfSaYb28wes9rhoLvkU/B/yRv2VPzSJY/xLHy1ZT7BWfwVFsTYOZY0HqhG8s2F0cyNZqDOKHgkd4+O5XdOJKzk04OjWobr18E4YqHZ4HzIe4kbncfv68A/NRM1FmhyU+SM2XkIVAM69XbFpqVOzEAIya02HWWXGTuMnl/hRDjwafYXHuUc5eNdg2uVnVancM1+SRkcaOCfwMOG5qN/+FLwJTntvNVcrQt+vXIe/ZspfphiKuucC52gUA8fLHmEMvd3ihF4ILypJf5X27uEpUvC03sr/UUcuIUUlrmtdY8VRNC7Q6+y7qmkAUh6JlX3I0H8D2cf/s8Fzn8zXrIRfd0wkhIsKVzzIabc6ALRw5N6xftFOdrcWi0wP12h6hGkEDXV5MKnDGQOOiqVPV8T7iH01db9fOutVPl+bF9VoTqwK+WHQjM5OagPVJPjs2B9oyGagWYvlzWUUHPuCXrqaqgJy34MAlnMdBXrFKMDcM91r+UIgz2AKeroVGM6xtifWHQQz1Z11dpdTyOfXB9Vn00DC1dQaaCfnrIXVrdGiJpk2ah2PQHpQb2kL9zJUhEUGqZDizWQD/AGIY7i2TIPBTpGapu7DIXeaw8HUUY8QlooTsevAv6fFwAqXzNxJKMm99VnaSI2gVYqeXCtmS+0wbwCKlvdvvYdaOuLL2qTo1umcumy2/69/frF4HAjUhTMythOLrxvSgO9/MCC56B37qr6dVekVfqj9M6TytCX5Y4dHEn4v3usuJd0GDLrlgaPc2IgCVfX+vAiF4RglB3PfdIK3TjoxHt4ypbnjYfRV7pZprC8OgDridXWXd4JmPSqKoNiZtlpdXunv9RTrXgjrXfenk5/zs8gLmw6WGbXLFy00F05pYwUZMZf2gNK+SuUdckEHkOQEvEKvK1bW3xemGI6lHdt3vFLrc2mIoUseGiWJMyfIq1EeZUOSilm/ju+2g1l14ZxxPce8E4fEEIIhIyDazwFioHtFVDpLGIW69HqGjWiE57V1OnUI8t8RO/zuVtJZqE141/5s1KUnO0cB2Och2+dySaP27vacwQERkRPB2cYoa35JfuW/Re+09lnlT0h8M3/2fhtIOVoU92xaGU1chKs6E5ui2+yBGTTHrsgr5eB+cbXBgqPRq+ZD7ohQ6rP3D7JJAUZ7P+NXqaPXh4VumX4zgBX7Mvj7W4PWn+nYEUzLpbzU3yGjM4dpj0ltcEAwEubobYPF6gRr9nSII+M/MO3o80IFffAIHrew6vm31SIbRgX4KoqpUpz0ZD/bAPYJlquM06XEbpZ0Q9Tqxrg5YmjL3+oVTP7LLagwqA4tZvgAE5qMMyUjZBXYb66ZN7i+SK/xFeKAFkmt5jAZeS7pZJ1DoBk7NT+pmaPjDLdla+Rv06mvns49Bh1Poq5HEIWZxr5NT7xhONzHuzNrFGAWh5E2r6aiyuCZ5z1q0qVHdgL2Ymj9spxak1Zy1KFJM9JrAR00HjXJU6USdKKisqTjfI4FwjsJb/mctJVXaS/FTz0NXIk68vI/y4NlEuv3jMTIbFo+aSALSlwz2MxuxT2Vd9L3KobZuN0j+fqn5UoNgWOZumPMoWPsi8fkua6+bG/unOJw3MATpenZzMw68t99G2Gtzb2f0spsEDzxgEQrtz2VVztHulAYXsLrn8hjA0mRuspXzL4TzDmBWegkAek9kvYm/q0ui10Vvvo4HqqUQMWY9VY8ddHMzC7rSLPEtGENa+MtYtbf9tE9sZGonGUxhQ3I1KrFCiLuPctvB5b929DtBPMlua1/o11KN09BFBo+5DVDuLLcrn39xPFuNV2w2DSDZyJSlBL10GX48D3wy41Gzu21rE+nT1uQYbqqTM00KDQYphUD3xxcZswI7IeJSbwR0dVhwWkmQenmfxfyIxDato4OL8yx774FL7TEiI25qTeHoO1Se2P2X9lDyr364RYoH/WU9s5/OHWoY+rVNd05RcbGqxhQVMTdrOJibNfHyR6RfzxE82Uy77sKIAx+YrTiHKmoV6tCARGq+zH9lQHewXVwDZq4uD97sJ3jB1yrX5NMTb/k2rup4iMlLPbW1q4ILOd6/izaT3BMMCYX0Zz8A695uGdyewFegn4bpjGIZlsGEVGbqNiPJPMMdR7mCGcBos17bvcBXg/ZjRwaGvUldNNvrT7mMgE5T0yOGlIocXFKMqZDdkmXZGTUOesgdFhuRbeaePkJmnyC2Mz2aGNTLfk+shVFHNupDM2GMVkMLo6esihjX3nY1l0GOhZ62wBM9ttziaabgPrxoIJ8ZcCfMDJEuSbZKkUzRPohOlvGSPqCRFIbA/+1ecUuGcOFN+wtxAh2xAaegkZBaKO8tFWqMc6zai7RBuG3xlvchrXgIa+1rrf8T/48popE5It/1mQeNK0MEOE/fHe/uZsgjadqQBitoMk0chiubVnz3U8dkv6obrDYBm99X4iQIgb/iaA3b0fg21pavu8uIcQaiEJOwYYvHAk/GUYI33zevEME7r3+7G4jH5irx0zIqQclnIKbN3ynk4a6SLES22GVAZFg75XxWlntxm6ejho02cWZQRhEICEzqevU1SFzzCt4RXR2J657vgCdpYEVvDEiLovJfUIFa3rKzRTAKXr8Mz4PO1iS8gICgT0+j3L4lqZgWcfhmrBM5WtA7lLxXEB/z7I6VySHwkqw7NQnGowYrqi/bqlBxyf+0WWg2EhFSUts+QkE49OGogvQho6yjnr41jH5BRAWYBmy/Xzfg3FHV9bbCBozmEnncio8coCP92RmTIttH+dYUwrSUY7nId260NVlHzDIEl7yAaW/QkozPLc+hKBTUy3IhdYzWcWEfSbCu3cSuLYc511viqx+/kjsOVzyxleqeqkuzZi6ohkmy8935ZHMoZhdB7LcLWP7Gv4Y6MqSDQ1MCioLY2Ugqctkydad+Z4oqTFWqp8fmJhVYlOeKrl82M6XyrIpAYhE/2k38m8cSgmlfYrSE0lmKPz6lTpomOiEZKBylGNDnylCHV53Td6U9PvluCO0ZPrxbOtj0pB9f6OsrX+zk2Um+j8JXTyfM48xHi3dLYekiN2JS4SVYX9xQlVbzfu1dPTyyjV0q5eaqE4yWRzszBtECr8+8qKEjdu36uk1B9yrPOAL6mZ7G/LUnl+aDErn4o3aKuy/9ceGO23zg6jrR3bsvcT8QNtOUV+hDEjGPOHidZXwemGeyZjxiR1PSB3T1kVHNlIKuAGN/HiryAXwMb7II9MkspHlKx8wJBFwE8K2/L9s68GTRReoYQFG/qzokb6ksrV19FRWssLkaXn+vNtQqHu64BspUMP5YQJEkMcbMgNUjDh5JET0kA7l5/inLEUVy1pKWG8fOcA2wb0IcIUNeYiYUwCaLruW5llUT09gmBfBLVRiGoOXBwLvn/TsD0L6QD7s2wioGHQK/6tHzpHAb9aRnpLmhNTG179BFvhikEUyKw8jlUg95IA9qsXsLXFY0462XFTIaRq9J3ryAWYAr5tXFIgQlGueBUQHyvXIbqoTJWMx0qiGKASzYwa+FoS6ncq5MQuNQVwzr4ZpOGtSdRk6YqYgFhgI+Y4Q4ViI+AvaLj9/xsf1X5k6MoCOKmouBhYttBB/TRna1nI/Sb5Gf58Jtl7AdOo8C3DgK1krBDJjJgsQHFlmrvMjhf54wjAAdpG7bHxZ9ywICRChXMu+L2iMgcrReJKq64jY849UJNFOcRJW7utQbwpI50IQsFM/OEJ5cRSiIDU0AlxrTQ5J1tD0IdbVexQlEpAcRo9Gr+9y/+NCb+uar9Tk7hwDPBoUE4tXKs6wrF675gmA1LgMovmZqEqvkU+o7BvmInznbJH+mCcfUs9usbZGICSr2FY54ipUSBFowKoUsjURxha7f3yc4IsFgE3i5QFQ09XC8D+O1gp8mLYwqreiwe7H3tVWnmt8LkJGgT77rUj181l0lm73adVglI68OuXlfA/KtXWkVCvP6Eses/pAoBGf6mj71WfnnutwIhXI3gK932d8XFYXZ+8q4xf8P/uk27uiZqdX0Xf8gaz8/0IkZvC0gTaYJiIyy6axPMkTUhIdbO90GZnZeLOWRKTNJaWft/TUWjAoU8iqAUfsYvVtouf/VkNQcsIdWnHJ4juox9lOyhNB54v2rHvqubLqdS+A7LAG7yOvncy5Tpy4MeQKYhizETjjnJ8CfdPzl22/Bs6zMCeuUXPmOGQyEP/9QZO1AKfJKmlfvc6AwRQhOONBKo/WUXyO8flJE/Kb/RQRvSNfWm8BkCkzdmf58B99xekPEQEneR5rSzVCF83NUHBhThdmT141Wzwmm39bzI6vy6mZxBCOjJ44UbBbAfeTzl5Iv+46RX/zRosGrm35iU7ee3Rh51uzCHrgRgGHsPcVBRJZfF7fTeLqktYXGPjupQeXGbKphtnyT+ACZ9s1vdic2JjKEL0LwFutJ4SKVJ3ZdOf4F9jy0LekIZMnB5f+CnosYLk+plZVT6iRV/twROInDQf+81RXok3bo14rsWrzgFOhZIZGE8ypBWnIpZS8b9wVOnbeMNBCESpiN3z2Qh8uPMa4Ph6BJaqUAAM9rHuzU7gMpwpsHp/jSZ77pIYaVTBHFvGlLcIhuhsmwfWinwFjena2IgNYDE9/L1fv/R8JomHrRRWMDZJZ6T5BgPZnDyEL7ZcoEGwrBQW8e67gSK+cK8uxv0LM25SYTWX8pwacitq9U8b/GyMAwQPvMXeBj3YNtjyIK1YiF6v4+n+2V5lM57ioxyQcqPrmGjfAcPDJG3FTQHKmXQZ2vMG/ivKIfWDe0qq2bnAStHORHwlpBQbcybEx7voSM5a0HY39/BkkbSscxic8tYdtXs6RwD8g9XzhvD/h9+bf4AqDdxCvTnOOg3jyQMt5Jiobo+IwxWtptDkYGBeojwe9enjsGrpY2O1xbU/DCzBhhaH8PXKGyMIBjqCIjwhi5EobydEB3JMbbBeSXqZDyXPY6W/AY1jFkP04AzyL9JhO4rB4+9qy0u/Ye7xlcDnD/g+7M9ZCWsB2Rh4ZEusyxYvNyDPIpjd/RfL4TnTuCxeCh0BiVDaWIJOXo08HguWGzaXaiJ/KnjfT216//DDa1UjA+bJg3wO4lj1OZ9qqjSqfa0/+HKXXq0uJcu4SRrCiDeckNZTtExzCj/KXjB9jUwgjvXUhN4LJw2yFbuUUW6RBahMl8PAjP1o6LW1JhF68pRlb9s0miQllzPWNJVj0jTU0a591f4BDm4apX4FKPOyjq+iyCzp95RXo0FlEg0QIme3/xV4EbgufLI9AHC7DN9Ima9HFySYPB6vrMhvQDlNl+v+B0z/HMoY5xkD5zykVnhM1LLwkg4G8Cb89ZRrlCOdnJ0wnFGG/RFLXAFdn+F7u1mMysrHV/bHnMC89X5Asd+XxLEPZ/4tbD5D5btlh8MFuVXXOscd5ZZt2x/vMcUQ9IOQwFNO3bo4SPqEZbRvq6zvxLToMD4J7M5fUayBUrMx98+GN/w5vE/qwPbGvcbJoIyY7bLdmaOAh2+PRYxFlgYJs2kHwmYWlwXT/Lz8zDCETGrpM+67zOFqaZfGFIqhsz36Pe5lEREyReXcb2N/YzWr6H7ujAIVMWeUmZCu9DxjRjLL2zLh6SgMbZakn0rlFvCv9zkh18zGn/s36ocGvWytqWRYgcu/cpANlf5uZ+r5tZOOP+SUdPcBli3O6DKTYLmdIErCgiYwxcn4ueIe1agO1ZR0axlL380nRRmLhDLQec7I2W8KY009FxmnCe4nONcT2yNj9/x69Gwpqj74Z6+bsKsugjn4omSOmtKHoFJ1laHSl0Gwna5eAlP0qWDxScarxvU8xMg5V+1Y2EEZFMfKBwDkRs0wnR/i6P98YCB8yo9thjTE8Pn6JUh0F9mjAOazxJcBKglUQzreRPY76eO84Cm71YiXmHS2hJ0Dj9jkBQ7z7tAlGD+A2drad2PW0PIvpIWEizXVNVlFQL2VvjLVd39g388l4QM6Fcm/qLe0xmMsrx6NEpY5JXwU+JoJc/T41J0mean1Fj9dzBS/vW1l48TV7xbitnxDO+mQA4N1RPgHGILa+RQzUEUXNioQOCFXkzpTIJH0Qxm6yozWb83/0nIudiGTGnIOR3aV57OvHJ2mugQvFv3Hz9aGhWsiot7U1v4iDej/Sfnu5zfYFsSXKQr6f+oJ4Czz7J5piErVCQbOo/kQ0YGob0E83MlSfLHyX9PGD08TqfOwjd+jvf6tKcGQheTjFFjK3ZT8BMRBgeEcfPF6uOUK/zIs08+c+7ws9PHxsix0mud3X2uu0Xe9Mh2jQaA9jVx53sFb5i0W7nE/xIC0ipOBOHZPe/1ur/0z+1z5R0Ck9tdx7DV+ZjXnt1i49joElZChZ929Y9BEVBTnXiSFCC6U40UmPOeqasnDHumQ4HiyDGV1ZbIGIr20wbi+X/LlOT2Etd/hCn+SoVwiTaEWx5fXgWoov9GdZas1t5Hz6LWYX0wNwhBUoSC96GaGbab2RHbd/V4WbcaRXRWiJcv8Mdi6oHF+huSl8VqMJIiVpMm5RvYEHZzQ9smgA89u/hv4YMZ/R4NpD+vatkAL7urIpp5+f9B0gI5cjUNjnIne8j2McLmjTJ1ST3D+Ey2ryY0hA9EZTwVAQRm+QNVv0FJQqau8fqEjYIA2P1hN34ZE+01ara81+wfylwb3hc23NjAsNIY+/ClgoL8KNyGSEW24cmA3ygIi1+fzL/tDVrDlcbgcJ7/8op+KyqSVKfbToM10Mx78W5CQjeRtF0re9apIbJGjwYvkIIUUgUknaiYXDWCkaWZaC/PFpJC6j3VLk5/lsHhXhbDA7N4B4onzudjX1sKP0jDqSMBO2qDX2N/2UAYCtdmIx5U229LdmiHxC8efSQ1Qw2mmwI9hULhHjB4H++c0jVNsCpsHMv7+EsWd8WeylwGMzVE2WjMbaO6obqjuc9nuJcOR6cMZQ/7FyO921gclMukOmPyBpGOtSm+jjiu+Yd2ZhTW7mNR2QosfyM+qyJCKCd3giTw6+TI7UKPXWv43Mx5jEQu0AeGwRbjFDh5Dk+TIskB8J5r7xT3Tq9eExH3+2qyeJI+oH74N3urF+9eX/AJt7C9HCggfbHMX6Mb+hGh1cNN+NiNlGXbHYBjTUo6QTRRr6yqGCWMm8KCRTZpz9DK48JvMhycsG0CE8BEZCmDv5r0wa5x2BCeLpxOETZwd9XpkHshBqQT/6h5JBJVb43s2vmO7vp924K2svXuthMzhGajBf9EQndXTOFnJ4LkRT1ZDgOQu+pcXrEEQxQPhLo1k8j/4GQjR/ShJNIPEt3+sRYgdGT1FlOnYVMkMNI9STDGhNkN0Q2snfACAcLJAmgB0RXLhDzxl5//BfxKOXUKSsSlcQhjth0l1hirttvijj6sGIrjrJ3aLOOeKQigmxviNS7B0oj7wuEoT3TwfvH1xErP1ciYtdyh3QDRo14ZXrC650DFKGYEkzFzCY87AztX4aOcJo/k3v9NatBbVLbJiW9e6Okl5niZVhI3vBZ9a8yCcNa/wgNglf+FJZ94lXiS6B8sbGe6InlonK+ppJHHDPblnhutkNRz4ruXuE6H0jgIUmMcPDuAwn0vQEkbHXudg8LC3Zrg6CHy8Z7wbNNHcx/ezZLes8xFNB/s31vNu9eyXYTkIrsl7Fv03F+W21xKhgccOysidPy5isXfRc0iHtrmAhg/nnwdmPCaYCYOI+V7+p6wVRgiKwS8h7H3a/x8F0asQRzkDxZnldU1KZx9kDMtlznL1RkHp+tsZ0Wn8lFD+n2wahmBvtyUV16FT3c0culCQAGadhRZx1r3MLUaGJ6eyCmmfk65qWJXjfBVud9P5nU7mcS0WDC9kZAH1w87yS1XL17jbHBcTsJntgZZdWUR8aS55EkCUI3Zc0C+Fn9CAm4w+3O+ltllxLKc+8RUqUXPYppYUqpVM1+6ked2emCAFKT6kDd7pEdvhkZiPOl3y+r14Msfq7L2o8aX0nw6a/WuhFK+PnBtNlFf3oVhabmoYzFB7YzghwrxoaCuE9E/WOJi2GtGTq0IePq4ACHK7AtEVOK9TSmvL6ygub48WdIPrwOPuSazMpZD/U9PMQHl8c8DWQ+vDhNGN93Si/RQA9lVi0nRyyaBHZNKIuxE2opYkeFUE3gkjT3k6+rc7yH6G8G/JumOhkju7/iagktpSGanFdAqYW65NGDlkxB1zrVVK7Ug7AALw5EtaNAfI0bhJj7fvKDZwypXueOUeILEatAyULubfM2hzn7B29q7WDidHcC84g29xtqqbvIUcNLAvbxI4UcR/8B3B/XCDwyL50bixan02Av6j2vKrDbh3Ay/w0gyAnx//Xu3kDj62eSrQiE5qgYyMY6X8bIBaKpqujRXC7EWqmDlpqvTKgvi5Rq1KNEVioiOTwgHJf4vowfuPRO9ksNKcsQ0d0CCYREyMzLDW7beXmVPH9frBUWisA3Bh8YaYTl2xkpwbPDcjNL586JFc7ZNyzoqiWF16036MP6n7G5Ueo2pJRsEUr5LA5J0nYOtGWnfUF1BBj7qBdZf+WZDYQxpH8sl0z1BR3S6/N/FG19Ad3rK0BbrKVqmvDHs6xakQ0WiuRhqGwbJf57KRbMNJ+htfT6U6wn2yk4x+fguXx32wKfPVRvYF+9V2HIau4ez7i2omYx6FcCKdWnnuOxrTUx+RK953y+tdLNNZMK12HXZDkuttnPU0+mIEc12yFcin6qYHQKHEAI0KS9AWRjaUgSabaYM4wS+RY9VzKs60jvbA2d7YBDnG4tF82Qt3revvuo1jX+Np4sakPW/SNAVZE8pxcPpR0mUcG8r+L42MATc29YyOgDO1o3XbswYxp9LIp8/UxPOzIBJ0hggCjFbWOu6sacENEcJ8mjNO2eCtjHjg6JvqHgkDQ2TduDpgNuv7aCWkEnTlae48lF1vrIB1KHzoJUkAqHWFAH1NA3/oAgaG88KIF09Qwu/yAmx2uNvWRoKligkjzyugb5Hfu5isqfxtLMyMaPkIdAi4LjjJd1GVd4Di+ZUS16cBra9wiAn6SHQct1E4fjWN/EcxjUr4XbeWQB1rcZbtVKZzJbr+4/fo5aAd4SX56nltkn3NBHj0M67cNOubkd749fh+7d3BsjvMWyY9wxeG9XLJrS/nYRnibIoNkP3qTneEeklQtqAklBXn7x4R2xHpAzPkSBwXlQGb50mbcqv4sm4PcfCl48Q4VtUfCSR9L/6mMlSkUa0PfgATvd9wtmD9GYIepfAe8S48Y2/LPlfL9GZNcVEfSBE9C8McljD6Dhj74lvzN/NMJoZ2hYMP6bP6Lby8SCj1ryOp5xCz5vI5Fgkyc3lzGSf/Sc8G0bpTnjRnclPsMUfq1FTrSKmjWmbZ7VOWNtbicHN9umODv/IXZPN01EQvozo0kydxC6dgHjgTJJXvXXOwIQEiATXzXx0j28684+hM2LKRFkV1uGAtQHrLwxu4jEzZi8T+XI61OPY5JkeJom7pV2YXEsuzdsTxs/H4j3wUZbTszw+tyI4+elGEaiVw6f/V8vhgePYDZnlDtTtAoiqEFITJIDvf5SQqUir2GLfE7cp8gHtP/45FAG7QrAChQSmXM/xhY6XZvGf6ZV+cQm527IQzO7KLslH3ihfINEZ4ZkVWGtviZO/gZqZ980rRIfOupWDb3vzZIDWwa3yPzG/cuk+YP4PUxvZMJiVzKLR46/h/QKNDV10Fs8fvs66ZP36tt7netCzmI1kiq/Nt9iP9eD66Is87h8mzNC5vQt5HTYM56GI5XSex3hxfkjqXhsJCfMMCJ/RlT9Gah7VUey/l/FsQowNOOv2b9F1bPMUZkeuP/Jq7bRlFKjKwakFD7/9ipT9i9DDmybd7jVkBFVfTu5VaI6/q+nMy6O5hBKMg6nYa0DP1zLbwOhz4OsVzVFmTcV5zjgWqz17bppTXvYfcLKFiyOAzNblG5dlNzxmrWoW2ocynwZAhtbfySRhMkDddSpb37gHqLAeb/PfM3FhhUvsATmg4VzyLF94P8+LEE15ZH6yyh+DJkPt5uHh8YKu+CPFBINU9ZfNfVvGV1ENkoSbUgYAFswNqw8nkaS+WI96P0LADT/w124BDm2hIBzbHb/kVwtwA75Sn46kQoN+cnr/A1+3rBucUJx5hpFxSlQ2NLgTHJv8KSh5C5+hKeDPb5FKdBC55X2kzy9/aUSGlhWf0uPTitFhKVP/akAv9u93oIregDpTcf9oBBnp7DBxsTp8dej9fpiHCraQDc9RxREnXnD5D5byquFfVq5+KI+kt6LOB6/0XTgQODineBMANDTzJpDKEJjUoP1gm5tD3ndzQRcNXrGQoIlCZSSim6Qc5QS8d0OJDJcYZurV/UiYzxOeZP7+pZkj7btvKYlxBzXbitSoxnWmUziYXsJ98nAKpmZxcgK9JdgPAfOZJpAQtnbknJESZgpnFShQqqxWwBxAnofrl4fjtMAGZlPkWizcov8RRwt8l5nhmW/sdnCDvukCk3siz9XUC2BAI/08SdfbK63Bz3IKPcfHWvqdiYYRLjkDx8OAcfw2f6QnUlfPTVYJHuJFREJgrjt4MJVpDLRQMc/gTBpPBZpZIQCjz0/ySbOe41neTSjtqBqZiad/lEHcGq4O/9R3lm3ZGamDVez3CPwG+ZgbfpMzONqOCt8Kod18j5O33E6gtjpq9rDaqW7if7eYiPmyuFVCAhdQAhgthrJu8NSuIi+89+qNxiEXmqGc+QRvzLg12ZWdU2UdoCzZQ4xv+SdD7bkPJVVZOJjUdT+VZU6SZscBU2e5PzWy0xAYATWUf4RbR7UWQFaKlQA+qxhNJxWFXdEHMFcZFd6VLnzPaaAYdso75NMQWj/PhgeA9DjdP4GRZXrKr2G9doMJu1x+eBEJDS3QRPrsneCf3y31OKDUpw4cvNaURYHNvvUWmsjSsT528kueUM8pEFJGj1YD5TV2JzfZn+0tvYRxroCzUsHOQkKOcKDUk5L3KFYUPvIWcYDFCH+iLJZRjV0QMtM3UJJSxQqLjLVnfmANB1Oner3B1ZTgRy3VdYLBe/XkQA3yiFosnqT9phnxs8hWtTkcIieU7wYSczCcZveyJ3KrOG+gkjpliJACmTOwep0aGxqOvHWBbeOXC69KB5IbBZkVS6bAdSgasOMVfs7zzxE3TRoEQGAfwIwvkEi3ANr0/YgGo70DfhwRvdQhphqFFZqwLJ6awhcPMhK0z27TM/0sVrb4DHCcVPrdu6iG812cI1XWzzkEQy/3n4eb2cabS/JkjB8MBUfo8QXQ6GBjM37ZzL6lB1qBz6Pb9kjmy+LUZsV5lI9oZSrhD46N0jKu9IpCoURXEleNGD+BLB+Otqi/AHvgbn3odtU8WDGKlwEGG2XkbnDN1d0FNFmyj3dcngmYcagydYJlY0fORxxGw9Avi2kv1afgdZ097F0to+vFW4iif5xRDRK1vJq+dW8pEvfuiNZh5dCi7NUyfi0/iKubGlKcXR49s4M8yYIOHV656+EZrnw7XSanN6ULt/vL354noZkd9PxrSSObQ3itQQ0MLwG8LYQDAWskejN/KQe7DHDMOo6aRUKTotcoWaa+j4O1uSBwoXj5Dwi+BIHhx5L3Rthb0kC5BJuzgqta2tntO1rt/Wr6PZT7B6L1xyxg6kOlyklWjoK9KTs2o9yhJY3LMX9fmjPvsL1yDzA7luuctMcpdkmh3UTkMJrIQooNk7LkymAfIKAiHeEdxV6WrWtRcxW1SjQ9Pa2tkc9qmmKWRFDMlPZQGsgGjJ3y2hQj/+d18py4ZRSn38rOqz3uY/de5tYkyVw/TdlWqNMiHcj7SNCMhNAQ4YFgdbb43eeJfA5fa/fKvachBFRPDCOAYBtZdzVrgsF0uOu6AeClfNNyyZmY2njxHH7Ow8x1U9J5tte+2VVbVD8LAW3cHXUbJ/ccPQSpTFf757LANmLA8uVnr67CYysIPumK7HcIEZH/Bk3omq+oVwS135xP5em3u/IJH3QPIY7MmhG/sALusYa7u0FB3R+aMiJvaW880t51vUIvmpQPa4rCXQpw/bwKL6p9aUkP7e2w97kpQpikJdpCrBLHzSU6PQpJKCJG08tO6q+cpP819vtYCBDzUZM5t8zrUfqLP6i1vGYlN/G98dCWL9grdNo3ambbUlFfZ2pt9yiKw0IX/x6tpUEL6v7jhaXMznXqsv6iCB3tXDgQTBsXOe6xdGZyqI1G/Qm8UB6U+iOseMbWZDp9CXK2KwZ1g58zytHCk6kdol5fl1bfcI1FaZESNGo1K4XuEoyBAinw/cUt6RZmzCLwLmPF4g7OZOenDElS/uSiHSdqQk8wxArfqmv4TR6N4f70JQ4i++4ot8MNrqRxInHqhhOtYi5Jc0uBi6aAmKWGMnZUIY9HWne4xb+zbL/fuXGt8Ec3SIGTFzJ9l71at4MZo7vzHhN4YMWDnD5NVvuvY42mw25LqweTq6LV0e1+vFnFmW+92z7OruhsTGnI/ErIXQOBnyZgeDTO8Gpzlirwceq3tTK/7TBnfJ3lwE3MkCCqnGDabxU9dXU8osZetSRn3qOxrppUOrk6NFuxTErlOU7cDYb9MWPCmwiEkKgny2yXt8vJtx/Vhyp8O2/Xpwvcsyd4JyXo3LUQryIRSZB3IB3u3cngBiYUb01sgaSGrnxFyY6Cap9/NExP3mQRQmqkkm3RMD73p1a/pm2IMDL+mj0mv+E8H9XkCgmaWBv38/BO/t87/rEWWRpcAsPwXVVnF5h5KfkU3vCCqQsegM2okl5YrfmHRIoZ8mdPgfIFXm46NrE5TfctlYd0pXUxZNQkDBxErc/B4D7zOMVSi5ELPDBOl1OoZoVppdqhper56gSE640LOAsEKXAIWnedJgdlc9Uii0dkFQCvxq+Caz4tH0fx7Cgq8+HMMWQdwspM6hC2mNP1osxNhx0iGN0CwEieWUs1hl737qI3RL5I0K7q3v0aokD68RHsxFGDIchOyWGxS+k1WLPr5YuNBfpFpWf6+aWKJ2jJ8KUNvp4zZS53ga611TaQqACVI24YHlD1RtzlAgvaziVtVfZ18BgrKUdYxB5VHTTQzU1eOMZMRg8nHTleFJSIrNGDv46Yhlnm4cvksDaCLanTOZTbl8AmISkR2t9om44GWs3XKUwFTzKJ028vWdfrCLTsMpXsVUlXMYkdHLHbONw2tnulJ4ns8Z5W2LRaJ7VJlXhJe68x27wyp522ze+OIIJte6VXOEpPulQnzTHhXm5TdaqJQSNlpmFVmlhQ7WYc/ve4PYuuFe7h86zy75L1fq3clWkFkZBWpD/yuKE9qg88/Icm+reKjecx6hywkpA6kclXvxbhGj2WpyrPg1owz9BstsIbZk57BkSWx3ktiCF3KJ5icToWW2rnx6O8Z/LX1onKMyn29ylH0ZYuwom5XUfgkzXkQCoP6uW1uRKuIFbVhq3UCgmKSNMMipzshb7VXwpRc8EHA/AkOQlw8tvRL5Gqsfs8d0ETK94PDz0yaGHdrMPhCknx3PlsIBgHs71FWoct5IsB870s0e0w9OUu5bO3gsAT8+oBEoT2UFCTWp4PI2YsUUjdrHC1ZuuOC9WMP0zhQo0bvedf9EK6X1voj0P3NhCNS2tWVNBc2zkBI3/JXFN8QN7bBqz3pT9XUsb+O7oiH0CvESpyWQCDIKT+3uW8fI95fLcQNjLvoe6UWKeQWOVfHNLjWDDKc/NwML2t76ozAN84NXJrTUafs3vWZ6grjMNvDiaoLx9DbncKKKNK8CKBQ4eW1Ree8jyysvUMUrTbblhUfps0sei1xsW8tUY+sgeVdfqk2SI/k4rnECeQzBCAjgsfWBqvTcZgH1S8vg18+EfTFvBJqVvpAuKlTyY5Mq5VcsfKGe0jtjmGZB3zvs7DsAcCmv8+ST5gaRXIATcvp+51wBXagKMLz8+dnourYgWsf8NGvipgahJXF9dDXGM8FJgFOcDK1AF8NY2UhNmYVO314FGjLv2pVSaxykTe5q3rpjUPZ84kiEScnbSJawpb0SxPrEIaSGAe92vZDS5bRmN1zMEz2An1wTn6WIoBtMaa+d6J8CRK5T1k1nfAxCPoWN7gJitXdXssXZXHWCXjLAkB3bKaeVuvu92NDX9gZ03qr+e1uOsYAEvku3rvaxCQZIcUiu0aDVIEygueGYaxFKPVgW2N+P7fIUVYOwItmWejtRK9FZOr3NZJGOoIHbECJWq7pe8rIY1Oas/ZnCSezlkDsEsRPteRaAHdZzBkhkHETADn6QNFkkXAIlHwNFLjCPHQ0PgLoFCZsudLHlDd5G1nyHiDVtgraLN8wMdfNcNzG41f5EB/WB3vedQx7mHlp8aFF0tFtY/xCb3yncptEVt59/iEBxiF6IAqLnpFU0DwaL64Ph76vym2o98WonMB1OWmEcTrWuceGv4zsBvmw2oEuR697jqy24kq2Os4FzY2pf1jZOwkMBPaiLHr+c4ZuAkiijeSrV8rT4SqrRfe2w/MoDuIfl8mRhusIVXU43Bw/TBQN2tSD/nAs1z4WhHfMc/fLYPFquPKh2Aue7twf9HrBMBbHbtY4oj0uAv9sAlLi7NT282L/LkPLAfjRqdtFrtLe1G5YzKjLEZfjYBQm5Y0i+nbLEAYEJqKSUtQ9sEbBTVFnyUImptBSVnNc4J7jLg2KpVFNvHbwu+0yHyGgjRwgV2wE8pMrZRujgujbtHHLWEAifDINJmWGfCzM70xYMZ76PsUSNRr0xJFcVixkFMbkW2vpuP9b6CAxJvjUF2sxFB99/zCsqOrSUmI46AM+xk26T69PwAyehWcIFqt9esj157oPVy1hyyjhZWoX3FuY+vHvm0tXoj/VQB5nu3nnGxCnyxj2YwLYOOr/MuRCfdb4fjCuf+LXXTPmYu+bb/v79Z9ze04blPvOEzRXAJLc2x+HEpqiCTMjKtbEm+mvgtwcMjw9DIwN92Vwhy8fy8lgLFwKJglkToSSH1FxTB6YjYJQ2NeTfZRMpAIGNJulsEu0ZA8vHuIFG+QD9M8/usYCmDGspbh95e31jvJg/AZ1bCOSOAIgQuAX40f1obHK/XEtLupDVplovdXyhwtPi+e2Q49WGQCCS0B0L5KwTVyMuXbTb/MXe8DbTjK+b2r5tZpiOL8OMwIz2y0PIGm0JEEaxR/DO3q3nuUTHVDedL8fC+tsCORS6is4eWkMq7bs8C5TgA3FkuGIU1/E7/T+XTOCdkCra853sRK3k5GSH94MNX1LEa9QUr+x7y8MhNzaGXnQRoETfMf5OhqQrhK9PrqSbiRZOfywVnkmbiuM6/5UC9SeLSVIXMDhELTgR9qQZnnHkDkNO8VR6r57SPOfI8RrRThkeAWU/kucvRlFowtN5FA0TY3eW5kGzCb/3iHb5IpS2LTzdTeGc3AC3BLxhIbDlsryqJa7TfjjjfKb5NHdXfmeg5HsLJjag4x52GRAQzKm3d7cxh2FRtGZMrBNlDk6SpgLp0Py4Xb7ge8MAvqaSaPTfEtx24jCesuZlb5EFK/Lo7N3Wd7SUZC+eyfpmjjQ4LEqMQolNDgfTc08ejHyAFaYcEyiMCge/JWskS1Mh4hB12OpkB5lKQoE/MY2LNCPLvZXEGMsT8Vuvo/kTzQE+b57FCs+gKN7yEkCAwlUm3Wg2Pl9Mak+xD5az8ZW0nuv08ToD1clAePjAmOPT4G+3GWaQQV4AjlRTuMR6zMdIayR5Tt9LVoBoXzj8qHp8yVMnFS4MLFy4JJ8on0fql6WUek/FJfdRDtM3sImETTRbdHWfGHDl4/xAb9wfkvYkL18BztRTklU7QJHj/i+fyOI6JwJ8tWsQQCUQK7tJNDrSGQH1zLtKTmMJC+sVhLU80PQI48Kn3Znn6cwkiAnk4a90zSGsVrgJJfVsyQSjZoTV29VNpIompLc3HvPjLiPUtWJktdoQWLzyOOQILJiEZXxNfPVurIGZA8HyPkBocUZ6yRpYi5nBilLalAZ+ilNC5SXx8cQLSsKax4g8kajn+pdTjPJ9LkZUIkmZUFKNk+L1A53O1uUQa24av+7baPxyapUKFO0nap7zYG4hxGfxQ6XdonURWzuUD22KBWpsyHNkOXUyBkKiWHOvo7BQuAgkrpucnYR7H8pSlozdNmQGMaAot190IPsP2icEdj3HG2auia5/pudPUcjlAGu2EsOi5oAblhNZ8H9CLP+Bbtko0AilUduyIuznFrro+dduAVAJuxbZhe1urg4hHr1/l21TPhAEwBlGzkxHqBZ+sL3pqhSknNij3BnXTHnAYm4ImOfEtM+NIOYr41JdQAP3C2DCUFgeyFdpaYH/+3JUNd7NPU/gweFI6kIUG6RU8a5sv4BRJYV5jdDTjoZrXy+TjezJItq+XzWfKhAGLNeJcRVW+jsK2AeeQRJHM9lfJQN3zToDHzlbbZGJKCIe2NVM/OCdrQowG0+Cfj6VutJYIp52FhSt4o/+vZmshdvtifc4oWrmzhNnz6QhOnsaF6+q/JVm5CUkSyXd8ztIFUTJhXBFuVI+LXtYObHvu1yDNVh3mwctw64y0d8EXdQgSG6cgtnPUvh1XrstndEdHhiHzGUKCXnUaRH7d0saWnfkN4Cjft4eIp5sEFl65P/Maqlx0HRM/eAsRF/ZmJtvGL5ooHxoN/i8Cy71XxfHISCFOFLbaMBv4aphKjaUjNBTTJD3nFo6W709i8kuBFdd14gJ5Q1sH09qcl9umOIXwKWgKinIo28LGWumsmnMS114xTAfA4TZqvuCjakdfED/fhdJuCLNkUOfcx7C61eZHFMZUD/bNde4Jdu4PkGHfFFDRG6X7JmPruK5ZGb3xYvvDSnFlm+OlBoBo7mP7LQgOGzutX2ayKJLXGPnLLQoFvx+1H1U1pyP4/ZGdbQykA5uPXAbyl+ya/g3ESoKR7tpuhwdsprXJlmFwVWPHzgp2p+gULUoCyQjTZZ3MAtYxB+FetAlb5Yoe92d+e3ALCIOdUrMRr7t73F3F1PJSfzgmXs0glmDYErlFwtkpZXqhTAO4BuaKEYkFsua+um5rHIX2OO1ue1B5TKP0JPw97j5VGHRhCNXkl67j15h0TjXhJcLq0OWB28/DRG3oVj1awI9zbXACMR9VCHURRBIwGwns+VtitjHXVrrA53yj9+/mMBa1Sg9tfIVP2kBcuwLXP3ZS4Wi8ZbJknDCORKH4lk/UIcWHaN0jksWZJeyyBbwfBNzh9BaLfxbooYdfelXsvk3b1OczQKu3c5bFI6OcLYMdai2EDZtOiF2StTG3Jxa3j+pSLEnJeyzyFbh5cCI5GnlTS+de974JYdMjJMaonYuVvj5srtfkFBzlzZnGen6DmSDjXU7v5k+pHkPNsPjbS+WPBhObgjgC6uxykLp+YNuRZ0TqEdqViPifWzMxeKxIMY9ec4fO5+/aYjCBP5nbO7JhCVikOhbcIgwdiv38eFkgBAuUMv+0iWVIr6X+p1GdZ9SZfCHo1lo9ZRTd7Vu6Tu+xzDP1PnXM+LOt28ohYAmMogVGJyiOa2g4RoRc79sIsfvL3KX1jcJzsLPbQPI01g3HMsm85EFxcq+G3uLg7XH2La1K1s49/n2NLGqlgZwytyvzaz7adF/onfgAi4QvqDhPDFXeCfS4Dq4lRxkvfq9Yz7nolcisJCny1aNyC+PqvqjuGSnmeEPGK7c/EwAwDo7WPzN70wUvCVZVD6fPtbw7IrNl39V/UjOUv7xpsolMaJEbzSKr+997DIsmL9xL89GSAPoqTkk0w7UDF8eImYy9LJGhmB2JvIgtowbxasDmB1mc23rtYlnScc1r5M0AWl3xzBB6X/Bar2Lxy9DJLZ1J5TWbYr9vCATdb480ys0lgYFoug1eLNOFeQxMtSt7eC7TVijv0DGbNN6p/TQifWfRXSBmyGJcyd6uBVR4Isf5eI0LKfYL2M7NorvC0RqHogPWSk1ZdzLbyiYEI9XofAljhg7kcTapH0QEtaK1hfDa2IXUf149KdwtKQLuGSpSx5Qxv66k6U/2AT/0ckWYzeghDnclzZlUPngBMHILy3UFtC58WDuUa8HVjT18oyYHAcM2bUSVJW0QbCSlXi8FDmV9uka+mMakqAMuanQhLoWwn/JVsUgvUHWSWpiVrg2SKjOjcnGqBAuut4KghHLx5m8oYtbr9P2M0nMMs5J8mIi6tqYIuKF5PrRFs4HcQGb2HzPvpNCsu0EkVl7uAwaUBD5pfmlth/05+sTfnMhI4LdmYs7sBS1L7gLSU4VJP8uvb29v9vH2tb2pRpvXPdl2nzDY8CwbpZPh0N/fg6cMthkTYKkTCF+hEMT5AR+GlqjYAhW0cXb2DFPOmoFEi84Yb/onz3+/uCIafNpwSoH0dKKBbWXDQMfFRdhnpsacOAbD7oDD5elMzXRPrvjYHSV+8c6mwicE/+E/CDNH4m9dPOUUhJ5GNESzkTaMalyUugZZt2w4XOVCbKnH25XllFLPoaQj0CXRzZP7f2K6+cbA5jkEbWAp1jhbEyhOGEmKkwSNIX64svyB71Gb/kAvtli2VBXMUoLm3JZgzrkjuDhPtFvDRQJQoXlp+UKQHThaYD1tJXmsSdA26FGd7NxSA6dSRJq+R4spqu+UxP6huv9lcsRWX7uGV4ssNGfwVf6wDhukdiNg1hJTfiNrLFlJwIbslE28cHgAqfx49fcBRqQYy2H42OOjsc7MdSVaryrCzd+Rpqx8BkiWZ2mPlWVSLyu1vDx/qvhcSAQAsdV4TQONtDrCIrZO5clOs5HT4AYW+SAQQImfOxeb1E3Yd2Hy67S7uuiieGoeiHitG9NGPQjX1oZ0LPVSifzX1ZQpX4/0w/8+6D440Ult2CbjHLGCnQ3Xd2Al9QxiJsLNFKc0Fubou+x4KYLXCozaXsHwswjwuOyKWqPl46hna/1X2WMT9q1igKPusl9bkd9zrlRX8GMGN/yHrvJsy8VLc7MvrlO3u/kzx4LyYf1RD6fzuFMrCGN8Lnw+vcS1kz8QZXblLGn4s8f0IcypPVW18GWr+l/28lgP2T9JjqP07NyifWGDYOXRcZjWyyxpZM7Y0TdV8I/SPGtYjDtGn7G33hAdE2KzBuQceHB9NQLxuhygVPs4gH7H4Lk+y5CX7QXEE6FviGw8u5ZW6Rx0xNUL81SLLoc1tt6WzG6hfHV5mAIHMYznEZNUnCxWZhbL4YrAr2Ht3oq1iK7vEHSxrPB/YozLVVlxf8EUWWum0TBXT2GDiU4vRhDNW2bTn+ppAhkDQ0uXaO/V0bDZcQDqGEmVSoF4SyX8U2X4+L0K232bShW8pnJWf+rJPm9nowwWkxyEhuMtUD5wFxqzQEQajUfayAkPTFz8lppM8uhUbMxpmV0j7g/wAhnKHT00M6ZAuyDnSFB2OAPsWuNye9hSYy5ZtavuZVvnHqMIUnKeMGzPVbbbtp1xXmzG8LKaSIosW+l3fxdlqvPaTAqLsMQxlnSRUJafgw4ChJTlUewL1k4UL28erRvxdLi1R9Nsx8/VV9glH9E0MgyJZ7pXU7xtNTL5xynlgiMArAbGlHMA5Pzb1vW4D01tSakyP/9t8WjWzc1xgjnEN/O4BxmUF7tOyj3gPjDyoyMxEYA1pL1deQKNzyLYFCIfGX3jAT90nd23vjSz7I3YDhudveQVGsZVwDbvvC0aTSIB/ZodVoQE0aP5SSXVw9kQvhgxO+SFwUw4ojrwvmYBCcOMFx2pLfGeySAa6Vpxzr/ltzwZB7Z2d2LQPeNfeIByDoKXJE9VBR4pMFNKEHUACg7/us1m/NFe0xRJEFDChDTiMjBh4J6BapIWLNhDKyHIXondFwmjCHmRRgyvxn8AyZUS6DOPDjixesHs5hhX+ABqsaaVEDpWY1MPiFi4mqgcj19M0cbzfXhf/5OA3mLybjoO8hOXX97izl4XQav7glfhxs04FopUHh01lJb7EiAEgwjgB9UnZUhlV7Gi3jbt3iRpoVl2FusqjaLpBj00YOIjyVUjQDSTRGHrOxVRNMi7L3Y/bLC0RsjtLldsBWe8sHOVlAsdPy1vc8qJ3QnMS70lzU0fxCrrcGFpcIewI2IlAFvXgyBimhptZzix7AdmgvYgcYH6Y4vyUunidoG2BkDDLv9h92Qz5S5Ht74CqG9b+xgFfReXy921uPkTmGFEeQlcbAypWAwi94L0XBgpITZWsOaOmqucNwpwI88Zmzus8tK9CMWnRGY0Ivd3v9inPQBlHfe5PvQKwAYh2Vn1w4MzGinoEMMzbQKfRmX9EXViY5yBNehj2WoTrkvDPmBE1ujU4jXzISqAIep5qYZ9Lut2S9FaOpJuRkhRU288i3lveDyu7Q8tUxpaB2x3e0ngbWXDttzGTAJNErQb38Gj0uJ/jYFQmFzGkCsbNGtLguFC3PPeV2uBlvkQdghUJL8Bb6w4am8oSSRZ68ZYqeuDf5jk3kjtLZPfV4+yQvlc9uz2mDdvWiZ/Rg7rkiR4qsz5Mm/OltIW5U9m/ky56zJRGTiXCutNm1h611RMHYFSAJYQkOKh+iOLnhjF5b4kFx73rL9RAnRBnDIreYZlDzPD6fNOvzrZD1TdrGEOQ4Eq1Mzw0wu2x/rVBlCCmElIoyLq23aLkDz1JSKLWy7Bd9JO+7B28jANFHb6zPio+sQcZIqHkL+qoMLlcPeAsPSgOonzOfhZWs8W64bqaf1TdHboLvq9wx31CvZnsIzaJAReOdyi0h6EQxy7gDj/NYe4yUyy10ZJcVXciSaxb8Mflp1Jlj0dSv7dsK8211nZNxb6IoscHryXlXJCSruGiQ9PHZDL3HZvKTyNuYfUzhNFV6XUan1IDxovRZc55eAQWWfXqTHADsXqnaseZXWuvbvEP4x6vnXvcxEfIHLYGOrH2Jy8bV6RCyCpNchILaSQoL1seFh5/fBNIcDmLZwl6QJdKNhftTDKGfRJGrCFllna+qqmMYtRaRmhi77sndFCfbX4Jni/WU/c8Y3vPYF5FQYd1HkkSmKLIHNlxF7sOLEO5VdORPu0wR3guFAgfv+M3y0GZ4cl5W62Ey0VLZLQG+/j6SL7RGW7y8bBLmo2a9CCb1TiM8i6N5frXGM50iBJ+tG11hZ/mxHodUcE0ZslHrt0LTk+O0boxEkhl4Xpg89ttBHeKo9Ad6EZGn3TgZIFdf0rRE1LcHbJl0Qj5epOppyCh7UI/vDMzPLOkVJm1khvSyu70s1EzPc7VNdXvFVwkHYJBZLaC3CQUQewYX2z3FtKSouBAyg3/8HF0tpzAVhreOZ62vaS1QbCoReA+E1KZdAKldtVywQHLQaPZqO5KTk2xzVcOjymdYOjhUsyBd0sbgEXbLPGRZHoQ3dzupF+vEZUAXf6bPN7iEHh2Xy5i2nsrfX8xIavIAkmQlQEHVXW8YJvU7538DpVSHuRX6fNGVLKa2tUU5Qjrq1ZN8mA6RvZYEECq4iJbzMM/oUN3hhHQFkP07WvA2oZaAVy0U1uzRo+OKOzXyoVBHQa3Vx14geaQGMd88RV67s6uaB78JWlPG3T9QRhdHvw61tWuv8PZMAY7anhf8x0L8hujGP1MqotekDa68eGVq+mlxt4pHGfB/000dwQiZH2v9APntIjIpKKr3SgcfXi1m7l7Qn21hEFkvXa3aaNDYIgHEu+9a/BDt1qzE8caqJ1PT5qFNk35DJuKuJr/Lrh9k2q3/mKczSHmQzbuJAyvlPPp9ANcqhlntOMfEzwzJGO9+n9XDAMA7eSBV4claLy7Hq5NqsHYRCDiua/hTTtOxd8bn9rSm90dFhLXOlh9ipT2m4v5STKJ/J/7NteFVxrTZ55dyCi+lKhUQMFJfFeBlzIr0TtycrtRFdIQ4BgRpp103MaibpK7DEq8zrlqg/pdPHDeVaWw1J4ODZImBbbrXA4w6cW1rlisMTZym5GGX3HNaWqbIWfsiOE4FyPOfzmdZqIgDL+FtASdhG1qMna21wp/In6h2hIeEyueatpYEHLOO8Nqvocz2aKgMirD2bAX+hIf0+gV02sudbtd59XA5cBmuBRKWFUNC7qpti13UiIxSBfn+QvcGGfUimrJiWAbkKwVFe7p4RpITeLud8ij0szfhEwlLCtbkrtZtqFLcSYWNypn1sQh++VLVWpABTg+qdvT6hWtSP69+Tgf1Famnelp+NakPPTxo0jlPu7jX5a+v08G8lnG2LfM9JOnLbwQUp4qtSbrWmuoEOeKfrhNwefgkIrlYmlh/hgqoGYlqn7XXeM68do38PVjheUUQXkgiEpofOsoi7aIlzZQLj6fp3XDOgtDGfZbJ97wZhikpjOU8pmcyV7sUBXl+mHSayzEsUCljuZysSoIL0sxezdP0Bph3F1Eemr2yhuHOJTQzKkPbDSdn0q9fjB74Dx0yMIZb5OVVyH2wWrEtRlVAbdXF5JgHHilF45GiYhhnBX/VHeezkHbhVa7odsvKbYZEV0+9+xBDX8TGDUgresqZhSe3VIQ20V8ea2hGHAWAAPDRpE13buDilnrp3ebLU0VSiIN3dP1OLMGe/dCBV6dE++hGpBU/lyHoSfXIr+ZUVxHQrS2W4m1rOJP87sZ5/dfAak8bySYMTZhyScjMbzGg4gTpl0QJp2WN3UxF221j8f4qYRzanr4S28tAhKzUIlX56u1UQMRUdKWNi6+yAExHFEycqCV85L6Q0Ehi3yMKc8qg76xFzRqHKoSSbj17eZJ2fQmfze0SEGAMBN0O+HY24U/cIdEUo4X8e9ufzBjmZNkniDp3VSiXHoshtftXYQoSn229dP5XLFyT3CV9xLpYQ08dI9pnCxGzSezZNFws7RLEnzY5FnH1lOEQqIG0fvWpjn+p3QY3CpOH36zgGC75s1MZKcpO+feThuXMy4Ae/NNB162FR1DCawaVWdM++olzFNQUnC30yhNwjMl2RdjrXpyE+pBpXJ3/6auV8SzJjfoNRM7gOptpKQU7hIyKKNHHBdtrG+SpeaTODh5Y1p2bH5gr7dzDnEiA2jdzV96xkBLj99/AIqNvqrFpGxUCf7xaY5uoOp1uTw+YqSo6Umpns10CjMjiDg798Rt2b1tq3jtW/oVg/iBcETpepqxYX3WEOXkIsS6D/kzKsY7zwaKL/fCDaFo1HLxWcgeFQjMJp8aBvcEfOMwuc7tFqtEC1oD3GYF6BWXmnZ2HzJPt44CUEAh1FY6TlB5junxw2rYf4B5cqYqexkx0fkmV58imyp46Q/Z/tqveMvJJeihrWjrTaWn614HiBapEP4hOhf5KW3K7f1KN1zM9TCScRFfrd77L1DsM+zTo6asCdhlhvQTGgDsraI8/ee65GuQXGglKhueD/+9eSTYbEn0grozxj7BwEqFThodEGBf2KExDTUmeIu7D2uQvp0yfmvqG5kh6cHmex5B50jD3Hx7Ku/P92KWARZT0Gf3g9NsYXDIkcu+5pQEUEZScDMmDZq76Z4Nx0q5HnX8shIhkx7IFSrbXhITAPLdC3LIMXvO6HAitEve019m9ABMIIpJzQxMRLH/gA1B+8hde5KmRQMprmQGQKrRs1B6zw2RUYSEgAXOGRCocfpp2rp0fpkuhHvqtzLLkCM/0kTY/krYMaq4eFB5MIxAjMevx22NNBBaSQNENz4AqYlH7KH7ZrphDx1OppbLBCXa6H3kMMgGJKimmUYz+0m7dN+S5QrVPfXzmBZZlmssCNIn6LfNgCXBTw8hbEhwgPmxpCFVOKcNxhooKqOu/MrT8rn//I00yNVelk57Cm/0czFYKO8T/iJKpKuK3evP6TNsXG+TBl1cweVWvYjuBFlwhvjjwku7E/w08LA2wUPei4LoJjlDb8gmtAVW4Pm5mheQCojih4nvXDg8qG3mHS9v3o4nMBzqzLDzsrlfKGqfUnLe7X/m5Oe6sV/8ChpQswK3SqK3kCEnXNj5WqaZAWnx5qU4flyhyjamqbBjClqbmpwqIITc+g6h9IG6siSvSdEQJAL3AO+oAmA+yk/ZzWuJ2uZ111PtmjjLuF82v+R9yqclGUOd8zpPefsN2TmcIeyHmMcsB0A09loXkpvc2WtTfbb5lqp6lWlHakBrv++BGJ5BITneTq09WZORSTGJMcDkjhno+eEFgXA+Is8ThY0KsTlhvlUAieDPngGHBv8ItmLWjCiS1Kk7NlM4mLaScOXPXflkHJkuRnkZiuWyO03+2CDFt8kwuzkVaPga2ariWxiUS7UoF4kIIjSUP4AMmRe33zyZuxajQdMalEi3bootB6D103RJTaPmZ/mxyLTvwxtcnnQ7miwtvIh2wt49NqEEIcuV+gk1If62iuVNv0DdhOT3I8sCjwCKQ14+VFddYzNvW0Wid0YMOvwW6RJiOSGs7u4OLRHz6GTJRKbQMlRUS3tmqV8emScXmi7Mb/m9YvixegtXOnkfr+ZeQl+wPOvXJtYVDvK5LKGaEiLCR+VkIjY7GwTI+Mq3yDvgUrPTaxX2w3ypxpzPZiVuCSjg7KoloSNLXTjZG1xUjCfJZErKJCCI3mGi8oNKB+3H5XVChnIEvJPUrgj9wCdujBf+BXbpYgDlwDFDfni6bBYUnhZ7gl06moLXtA+JyTwR0aStOAh6wTU2kMdpNWLXmEY3QSMD6rV5WgumXCglPMPi0XZQ3nSkKfwnDLQzV6QouFyS7eqGWn1+iWrCNOqDnwXhkmEVqkksYMsNQgdq8Vz5cquRBQsexY2k/MFiLyvw/eDiSmHoMs2qEWeLGtRDxdZaKyDresi41ig7y83tpwHDva2B92BtbIo6aosY8hVZtRs6XpSFN1LsrY1sA5ztd8t7sjsUyqpoFbXlmWBVWTcmMmhTih8g/ZJmQ6dhqMVu9zapsvMfDKhnMuAZORDnr9NAQKnnMdY5svx6HGoBanKjf++e94nBiJ3j3hoW26v3JLTAktVKv7Vbp/O5LLvRShEHAb3kg6ahR02oAEN9+u6flEY9xgRpUSuvp2VFIl4a3Fh1nzM8A71ZiwR1NrsWrXl9anKdNqsD0Eh1G4nhsLbgGCJtoUnFXTnVjvLIn+vN1FkFv7nVYQw4RQE/xAnY0nLSD2IgDw5SKM9JJjXG/c1N8U5M+XxoncluqhA1ssy8GrF2sirZkdchERMjptWh/86EYUk/7vKrdd7W8tfHeJX3RYF/H0/AvNR7iWnWnQ9CUeaWebYeC0Ws+AnFu7GbBIAviEU3dNumowa79txYI1J3eyiT/yCA7IjeF/3r2UPgQkk78EurI1xFF4AgpofPhmfP6leYHNvWCUV/4uyLwCjX8GoIk5wp0ZD/Kms2YxoAef3nnaFcRnoVWrWm/MVdo2MaYjec1EiYHKYk/rxIyscLDx0h517k1VcB4ArDNhoy9IX67g2Thv74sjBV5GNY/++F49ZZcixZyuKCXIQvcAQ0kKklYl6A5822uMxZ96+USmpRoM6q9CLeTndsVF2Qtxhvu70QzljzDIpQfxFOYviQc0NC5us1vlKQFD8Xwbba0cZh/vANU/kGgv9rm+6G6XspJ9LPz1gEOPeFiiqBV+hdD6R88eiqhZXSegnVlmo8L1HQRHgeQSkk+Zbec8OzxLlAnYqJDjaz0dDGuqTD2EuC1rTUOqKjKWJO3mt+GpTb6QUkQUI0CJCkG2S1/UmlThx5cVDnxc+qEzqxFJhiTCSKMBW5guulHJJ1mynnMFQ7TSfUcGSeQSG6rZYIGS4KZC1lOmCjNvg9DXJI6kjnifqpnFeYfCVt6pZskrz9x7gS4gWqOGin68dPndsrO0m2Ekgt1D9BEFR+8DiBwqKFVg9LtejK4dBW6fhjGgweBRL60F1use0ZhY+pVoNrSvMOpDUBRKbmja1Zxe/ySrrL/6EBAQoG0ULbIdkcqc6J9+r9PUk2Mj1Fl0ckZCqO2XZahZ55KKVQtPylPWLI09RLNMv8v7X+dBZ0Lu4vSLpxxqFacGJNQ/E98Tu5GyaOxV4CWmGQ0QVIM5mDUfHdkAXWE0kReT84SPKUT/Q1E+XKnSkKCTE8Ik1rTESc5+4MGWaX/78w6UtFokCsogXsXf793oWUpbNw+3xZCZ2704nzh5OHIgMyE7o/T3WmPFV6aYZmzJztdyl5dfzmcp/3ic1iBhMrrZnEGAsi4C2QsY2qYmCAomScA6rfiZl16FGBfOHyzGmNlpjgRaoEM0oKxZI8Oq0he+57C8J+UzyjuLkJl5H4wo1LjaKDO3Amq26iDgD48kn86QyymmUH+GlTgwbQWsR0zju6t0qn94+YtUsBq6QWzMb+4sA5LimPHsuHx+qACn79DzbGMxCS5X+t66VkH2c/bJBAw/1YuFKbgU5sq+lSE/lRnxK3ky2QRRvlH2z2kmS2boblf536nXpGDUGuTitZuzV8q/WLz6RfIfK3v9zaXOrrandfh1fpwh7rTn+aRiZVOlroTKSZRt1jfYlli9S2jb2sLgDTuCd3xDVgEQymTrDUzzXtlAKPBvPvjjEuIKy2uLjzQ6g8X8vygPS/L43figiWW3eBIK4jap3Ea+dSjJskNfGthjFH9qlfZu3BcvBMLmr+WVRZFGcOhEftLCbZdEiWNlOgz2rwyHgdpEPa4Lo/hxltDia/GwWpbompUdQZ3Kgd8AMQYsCSUWwstj8NoOGIczsZTbvY0qZhFlmBocuGmF4v9Kdy4uqmnmJGjiPh6yIZvakjJk+cxe2ugv+FpiGY/C02VgSsh3dL57VB2zFrtaDJc9t0MPixs++wr2n2BSdN3uBAN4GqpLL4uPfGRQ9fODH6219k1Cq2HwKq25bP2BL7mg3NWSQkwTq/h0jgbEPeE939fsqp8UMzzt6DtqzA3zjOq2lcAu+78La9qHnhP53H9TaynEgTyrUycp6a7RdesgWfPEWv+POXHtMQ3+S0k5drlD3omKb5OdSkvcIJtGwzqD5Se2EjXi5RhnP1nZUQGNoUizDhsuj83gHb8bqzjC1mmE+4vrfkC94MlSJDyMb4zW9wSLUNw9grZ1ExPjH1w7woISCVsO8YXs8W+C3ojS4I8yYH00bLXTXwL5LmoCNlxarCLVUNzNY+cMlzJKsONTlwhCRHzakwbcY1HOQAUS2Fh9he+OHy+1FXuRZ+oq+GmZqlBozxSFH9fhnrZge8Qs1XV0kWxuuUGoo68LGz2B5F+bFb/PvxdvZlr5MN56o5hkxY/meeuS/1DPkW8NM5rDffAGE7oKX+GIXGvA81fsowIW8egR/tPDmlDlM2TBIOpZfNhbmLMP6YXmckrj+SH/IgcSYzQHVGGHrk4SyJMMsSZa6SZPoniT73fhHmnm0hXvuzLyH+60sbM3Rm+B04ntUgQltVvz0vN0r0FUPi9iNNx7fxivB1atqPEriMt0BqLvXP++jRJrOj9ev3ckU/jF9DCOIkJizSemCa/VQKZ44Othid58OUUnyy33yR875t9PdQLMNWJiG4FzaqYI9WPLoPd0eJW/FFAUuFXHtJJN3V2k3SDYeKTB62u5RkaEMDChmTLjJ8zYVKk/rvUMY7l0glkXxWj9dLbA0GsfYwP07INi9ckVQw/wz6OJGSg0IZfhEfhRMN7kx6aZmbEzZwXFU0SJZE32Ca1U46UEA633So5v6n+IRtPVgikG2L3ytqFfgHc5357akADxCSVsJKGVDAMT/OocD7ytWe0wrYHQ2MjLwv01Bi91kQ5yy4g0mb7voWgg5sS/ndDjmq0AJK8x6rhGLv3Xr9hpqJmy/XuXLXhUb3BfWD48D6tRYq6y0SUvfdjGTp6JrDyThzSwg0+93zdGXWGzUm2PyjJQBVUVBRm6lGjSe4E6UyYEW8PLy/zCfjc8q6L1ZmVhWEwnm8X+BPrhmbyIPozWOagf4YgsCQWCWn8UjErGqkEbvLjR9V2pn97ipj2yCDwCV+WmuuS3pV3Gb2AY++7b3SDop7ugZ61kcQz6v5F6bNzOz9b5f+YemDCZHEKjy2TETcBuDxodGCEidcegqldYnicQq8dN3TzCKq4ndygoVh7Ajg+1ziduep8gh23/S/cJxQZhTVpwLjBMZrs3hiOGgF5+xxsvTbhdcAkKs4LcP/YSReGgh0SEIgSs2LvJkHOWj4bf/k8tHcSr/a7fUYBOVMC5d1FNjy+gEv7rVBm+JK99RQleja+ceFERSr9tvR/OTACaTL0YtUsBa3HiAmqK/Go63RGwv6qOJVAZP5ttma+dfrTA1XHai5uiqPX/vBkT/TBBcuvfC/dSzVOYlg5gBXKrmZ2xx+7676Vi4WNLSAMkguYJ0QfgdOVtK8No9ehVQbgoRWycMXXqLA+880U97kwI/UbwjoTrbtFrQSVW3r0S5tD5vXhs7gl9mDsJvI4GK1rBJLnzoLhUhlD3ADCTpkeUpuCSVm5oZ9dxIocY5fOFcxg7gROVTFgQ2+ZUWxNRUe9mZWm3KsxahIqVbhfa/9wSc32eTLx9asjaSikwsFGn7/xaTHr76SNF4gXV6wzUNjh/tciVI/21UeyqEr4V4QYe3ue+ErGguXaKK5pfAL0QvbFI3qhgCs0FJaV7DY/Ojb8uahPT2e4RAesKG+QXL49mX+lAZRN0nocoTPd7+WzYICweVKLjvjefE6nyvB+M+5RzCpWd5H3B4KstVCh7sU4Hk42cqSR+fDtt+mXWX9hVjEkanebENqqjeuETGfHAsVQDy1DnQ9peWcwjHPm4ZOkZHcYp+p7VfKhko6phKSxQYeWkNKKy6VpCekaHqJVe57uik5zy6WJT5QKhv3qMcrDCkd9OkahtTAclZHEn6gLUQ32clsa/zcZPc01q8hupH9mZIBxOjWEU0efDjU3hKSPrTQ2/zn2v5jUFBgf4n2jV0ZjcX32M6t0kY6SqxruatBFPkt+ETtX1o+e6sbHx7MxoI/t/3BvFiDhCQNNUyHKSLFMk7df79JMJntuYWIxerIVE1uNIDpUn1hT2iuLuKbpjDMw2YnovMyXZ/YXyh/lncfaikI8eelzHBYHoXdNYxSh2fzSXspHD7TGxmiu+MV7j5eyrclXXK9rCIY1TwManl5u/o/BQ30Sv8WCFpE4QIn84hfQHkNH4Ev2CclbCPKOozW+jiZ9/0LjJj6kXaVL+XiltghRy+pBfrQmRp94LrYTR1zUUSX03H95RiZSADkYIUYZL7r9VVEwC54f2uPbcfGUhlOHC1Co2qrAGBpgwyIEDggJ8ag8tMQButB2E396+/P4GB4oGoZ7OjtBpXklBwUf3HpD8INUCcoIB0sdIM0vT3fcbb3Faro+jcpelWVpaPKpLMP4itRvbetnWvkctSD6F7nC4P8eZqTeFaUJDnZFZJ7OBSmomwWRJEWBH4z+tzTm8a1NCfvc4d3LBMKtXaNWmMF+GwMfnJDrNY8EDdJJZgEoK2JX2c0CKVcognPilAVwc4fpdALMwlFAYRC6Oivmruqn/mcgyl5EaI44ra5nN/R3rIsQWP97X3czdOMiNfEQt5f54UPJlv8olIuxAqXCt3k6g/r/dcXMu85rW1TRgxnslJYuaYLjjI9dTF5SdPsQ97KYsZ16uwWFf3btUhIhJRcu5UglaITnpPbAnsAjf22nqndamRaXl0i77kX30E5kn6Scb33E4AkGYsBSEkQeXj6cwdx+ysKFwhwPvrcO2D1mizftzE6cVsyjyjnbTkEx5MmsGrgjtlBj5jbIJ+FORTIRVF3LO9KRLrbpQKB07xeXEeTwSa/IrrrOx98JPuMG0YAgOKOQqG3fWoR81pzCNSk2MpEXMwrnQsnX9/vOt43iMhCiDlbJ9cZ+YiHS5tjrbv0s9ch2Kv9G7IulVRQ8FX413J8mBdFpnNhT+jeulQ0t9tMrB7Wws3jYhvJ+FYUHOQrWT3HCuMmzOGd33/ZVXwdsVFF38z59aiaACP3zA1gqOKBWxEDt6/wkQ91PL2VYxkEfkziupV3zNbvTWNXPaBqydyXPUYL0pBv9yY7ABNk0hbk8mfKtpAop+1fZui3ITgyery5V28oNOLJa0nQ+IbRuvQ2g+xIpsa5A4KdhXpUeu/KThRf70BRhgevj9ESQPjZtLMQjlvgBLxIztw/d0nBNufMX6VApXfxh+chisBSIqP+hLhvymwX0OeTFL8Kp07iE/XcRSLuV7etUEhRXZoT5WMgr62Z4QNJiX9yW0V784cNBVrb4hOTNV/KAQX1G+7DVozvxjOFUqvQYokdRGelGOp4YH8UJXJmq8EyAAIZgYqJdnP2UENQZP0pJ5zKm1lPkdfkqzX7SMwIA3LAI7WJw/AWd1Sm0tE9YzG5yypffK+udUDeVbFpSE6by2dZBWREw7b3htlc6cp5uLJgY0tZaAYpF5lQMdzzAK/xxWLMC39nr6Ju1BZYd1xJOFshIsYn4NXtde3cbiK1X460u0oYmAc6exF/RFqQomwgkYH/B2cnwNPXz9imqL9bPpS/hMvmuR+UqwHz1cX20DZspmd9lBWSaY+pFcj35Di1vDzxR4WVa1oK2IzYkeACuijudvbvd48wzSjWUhyS84TMtR48xjCJat54KvHBhIrTbjJb3Oc0RdmK+FSOo6yHzRjt4aT/tw1IJ0p39uIZ7p0GG93Q9A+/zjiCDFQADjrPoWfQzRmPTkvK37Kb9aWmMAIuFm4OL/IEH0p3biqRX/LTunGgvt/aMnjW/BK2MlZPC3k7W0hAf/vGXWuT0AxhKYJwNWKaad8J68QSifdrLLPbqviWJjrLV+BfLeGsjgMKf0Em4hSJZSjIhG08MaLqcO0PelYr5K5pnjFDc3jLsNLOUjxEOqglFLGGUI1grxE77pWMpgrIUGKRhgtVR1pTLgdIHMdOFAwC0SWLvKePGTMhjILgqhtCvTlc0d3SpJujzVU1YcpdVXaCMfTjnFXpfZggfvaL5y3/fANSBAjnGf2vpUdVOzVp3CZWXncSlPB3bJU1wDQ++OzQZ9p0q2a9Uqxyt53VGqLIbTqCeRrxZ3ojpo98/aM79p3OSMCf6OJ/9xeGEr5rRTx1j5AGKtoz+n7m5nZ4KvRkhnaYY602HUAJTzWraPtVmoqO/EAO926qnYiWQizG6daEsZmaSfEt8tGLETcN+W+Brv6LR7WueSKf2CGLd3g0OhKkoQfr5+IDr6KtJhXivqqVXYyf7OvrFI/HnkPC52zZb3qjItvA99yPIA1JRoOzIXbn4rwvl2f8TEWVdn4l5K0Sl3uHCEXeTRcDaDnHrfjDvLDfBC4lp6WcNRt9UY2VYRijn3emtl8oDS8wLBAitxjwS6VkB4AQRA2sS8B3LY1IOhcPg2jXkEAT0SzBWK9xYcFArm5srFrBRoazZfX8rx4UhMcJT8pInJV4PPFt9geGPAZ/WtnNUHKNf1g93LItTtEkrYr6wNtsv7BRgKrlW11O6nNhKosBtURgjS4n5d+7bS7bKct69tHRVkBltzqHri6Z2BnpQSf3W+/QdmLLnhcM7UdwIxWLhcS5p7f+uIXytdOTk3jX8DNkWZGNdOATCzayoo8uI/vN8iNVfQ0i0OzbEX9LdxbPqyk+s08G+OI8zzw1BSoGk/V48N4M8e0ukmTqfUseWqExk+ddadBx24fQmdzuIZODEf/NYlpQBLuhIYWtLTvmwGqvPa2s4tq0nTlQ6pssU86XbYSXs0eUcXDFMjptamGdK2i+nDoUIqKpeHtS4rcIYSOHqR/smUpQJIj+wnkw3DcWSzf81oelOf6abr/xNunXM2/SO7gbJ+NVMXh4PASg3oi6eVU2q4jj9OQXNX8LWj1hoPPf6IbxqQZjIDUQA7xpxscVt5E52JyZ3AQaf9rQj7UKQoyDXL0gC8pSFyQ2iLxNCuM6zbeJAObTlN2Tx3aiRFOqgEzLVKwq11rN8jaLlozn0pLDYke6Pv/8izDDm74Xf0Q0hFnRL6UvImQgxwCfplw16SyCY3Pc2ftA2xjiAl/cpn4xWvpK/zlalvRp6cTcjCEGF5FSv4XIgEy5T5e60A3claZnK1o3Qx2AT1rtawKkTM1QS5/jB29+NvNLiRdAF2GYZM2rejPjsJyv1RVwb0F2F0RiIShuJ7MZptaSAJoUdl2OBOAaJyE7YIz54496a7oufafoTbVOMb+VOY1/gS7zgVAhMjn2rrj1Yswrvll6ciM8TRL01GGXmnYlcysbwn2800DLpMLk+uHimG1edzlcmJgjtJoMwrD+XtZ6YhTV1VsTaXC/pbGKZ6Q6GbpyuYNlMbtIJVEShshhs91IWJh8I6WhbrbJlq5Akb8usCqdnXsBoUWhAf65zW0bn294LUPNag9GaiOp5i+evR8o8wUrYG5zGllfESkMGgH5SQdIAZ22R6m5kJfUxyhUlf4xVv0L5DfF+oQiSL0tJHSoekVpI69PlNQZ9wch3tAo9AbvziWqp1mhhXQiCca6kOBhTE0FPbo7lJ03TXrR1Vh6trI8e9llJ2LLJTr1/QSPUGmCK/0js9oBFGwnpzNupj4i5Qvf2BHx5r0QCaVLHFK3T3hCP9tRuI3CiC47XElXqCHX11xtlmGEe5f8x4V75G7SmvQhNRGKYnBZcgkH7CNaEQuNaIFourQTA6gXzHyd4/EebnHAYbeouI5Ix35hfcuT4uXg0TdhdKEMJ+JwLVre7m2XVdojZh58vCJLkPUaApvZH6YtNhESX3p/fipzvLvln3sfxPKv9asgbLAyxqw7RE+D/WTXkOkRm6qmu3zHzdivkYBzsmc2b8wKyIcxy9C6KKuEp7AjGTw2O7Tv7O7Dic3Vz4qdG86itgWxDoel/ky+/nTlq7+KBZcvnWoJw39+GYZ6C7g1QWWj2stziWxvD2/S6LS5df14ZqQ8hnbH9SvJHsT0QkOSwqDk6U5GdZ4UV7fHkUW7WcsX7VI6kAdRVFOaHqeUJbcymyy6j3zXe6mo3nrwctIjX5ddV/zrPePsOioHK/+Hr4b1OHTeLfG5ul1T0K8UC7GVVIkUu+au+GPLQwYMnJeisxWDLLY9ELUvSdQX9b/dqHCLfpDzsVN0SbSwAD3s8nBet6cVeeLfRPdfl1hqk2vE4gBp+dVEOTj/qng8eF30lOkNAZcajiDWwsKNazmm2K3i+nXG27pygDEeY+t479wrtjMUNvozCC9F8qh4+WuuJ894+vtI4PpRAM41mk8Fsj6x06MIqgkoGdaeTyDFQah7ZvV3R3aPLUioVTMhTPmZRNx199HZJBgHyAxTd+FjyJTbl2emMrhxzsUSTaMv/nQjqb/JqOWFDaz+ayCnYQhhI5msiBqFlwnJjn2QgNK8V8QljxZ/2J4PTrTVrpock0+HrmPT0YzjkG97/a9jQ5a3RnMPMoF8eNDhEjfPmM98qugZlkse/FTmr2XJANgXdi2xRlp6GhJLSaPB8Ie6CVZwzLurFLvnzfHc/xV7txgpYaiU+O76RD6265UJpqbnyXmFm6fknweAt3/wUzCP/E6iFMoew4/EqzKuvOlmZyhycfHD9SX5vNo/nuXoBArqf3FVG0AeXw2URvFVzsTOeNg1Ci+xM1ZuawhnJnACr4tQ+OLFmsQmjHUWK+Gh9PdJyA+GUf5MEriDtRZUdA0Xba0iEUKSBrEwfMiyMmCx8i21e1Vh/r179LqZp524Y4KeZz54QzH+0i7Jes5yArlrFS6DD/T10FsSd1GvDOp5+IuCWhIHBvH0alaTv+HW/f0RuiGQCeQLXwvvZJ3axzPGCrm6Hq91yV1Cs4LaGG1KKcFM0gWwj6yWOvilTYY3p7hs12CYMvqQSylwhkG9j4nsj/wp5YmpeYqhUEYJErWXdMHR6Wu2CCgFmBTXMfT03J9YGPVJJwDGewHpE5tUrlgqUryTevVD/+W6SOoICUez1Rgbv6mKJvuvlrFaVlJlcbBCe5CdE+vVfKsZwElCljBByINPzDBVWrM+LfDHORWaovYsRDphou9yen49vEQN3Opx+leJzBcQk15wT5IbiErkwzpfNIU8wNuLJBe3uw59gFbApfVLuTMqwFYjRU2q0ArmUpPFUzMoVZYm4Kn/41qJ8+/eSZhocR64Ns0gsiriIAeTtqCfQXruNJEwggGEyNlHBQ2LGWU38fPxHQbH+Of8VjcWptAI4rE9HlvU62blzB+Sph9bPkyPlwGGeDMmK4puLeeB2eGDcYPjX8Y/eG/e9P4UKp/KXlWmh+Qu/3RHfjMSwA5PvGYazzPswWRykxQxvYYuob6KY8iF5cKeYALA85OidN//M+qtlY8RbhUNYgXhHeexbhNwWnREn0vXccOVzqZYd51jqs7MfVBA3rAxq5Qo1OuBMEE5hsTo3TjCx3drCcMEPPCRZHMba6AuXRAg6JlXBB7LQqFuB4cIdNiHc91o5JPso/GGZXppmkuHkWsIPJNEecuqvlncTxHjlmUYr8Cu2qAJwo9nNp2Z2XRl2iaC68nuaPpJoF/dI0uNfm941uIN/fv8QTmV5ELP9mA1uD1N2T67QqNzQoC5hZwD7+fwjSi7JpUnrMJI7Y6VIJRoSg+q4E7kNeeoLZooH/a+LPWXFsKyq6iV8X7qR+oPhmrTkQwT0EW0hNHu2TH7Btw7UXTYJAmdU5mLcQrP7zLFgmR8p1/BYXx0k5kSGBOpZ/MGfShnBJfstfu5Bl+h+emqNlaMKJ4xych7rz486A2D7F8diBOjSZsSjsyMdPC+U+dE2lKAPOACmmmBL4C4TLEBc3InzMCknvIqakZdKawJ+Q6Cxnb2QkQmaplmAawoDD3u6P5J42nonCbQPwTKlJBTPcdRKVBBvDJY54xso2k7UmuVvQ4DuBJYg15d6PNbL4xSPrUUmmFeRsoK35F7jotVPsSwyTn0m8+ZVLRCG/lJQe/uQYcHUR0RdsRHB0bZrg5Ytj9u7PsVIHk/cKBRexFHX8YGwm2Z1wxjUWqH+J/2H9TFAafSb/r6xDvAXMSMoYH6h/T2jL38oFL3NO9JsnJ0LJupUjKyUFCHNtqTsfmkxCq3+6T0Nlt9OFe+fvnWwV0zc+0MY74B+oKivjVO6chOIsSiqr5Lb8wKVgqHbT4TJ6i7VmOW/VFUmWA+zdlwhWs6K0kXRhlwYqZCoSQnfq0nnQzQvdKuDe37TrLhZ2Y/Xn1Yw5ptaGACmr8PQ9sQm1x0q+YyfvSmu5d/DfoO5PTLCXqUs/nB3BKziechs2KFX1tr2sN9qtWBolL7QuPpVJeQ4qm8UjU2598hCrhpWviuhr7IlFhNRX4Pj1TWlbiUUNuNMecmrnsmBhIOBo3fHw130EJkSyp/QwncT5E/Kdi3Bq81w6Ojk8gTQsASmqYDPS2zzQUbSowXGqrkClxBu2LTrE5wmhJe3O113H5KsX34YoR+gNtyTb2huUCjTLg/LPAl5yzyPamnkgxKM/MyOLA49ZWj8cbuCW7zdjDDllsq5eM48u5uhVs+jAzC0F+gk/+PYKHxlJrrsrzDl52hyU1AjZ6zBedt0u45AXE9UIqdsTvs/Txm+1Q8zlT2skitXJkNHn/1rDA5Egz868ANz8PWqWwrDPgQHFBlE+LPQCMRYGb9V7iVUGMhfjP+n19KlLVAthtkzfYfGBSgEqObBmoeA1GTMBJQS+ApIECICEOCkiKMa+csYYjit0Kj13nfCv8EyQnwilaLZrmpXbgqdmHB6utfZaE4DIS5aHtJOS00RpgozAV+mLBCbPaJVFHdxBxVJReU5JKU71KwYQBHFI9aM/dXE+P0t4MHHlP5fFC7CIoHBp+VzFTlG4JzkTeF+Qfv+R5JkqDjfQvYUw9TF7bNT5Ht4E8orJoyLmzHF2tSD1IrAhyhYd0JfaSjpvhdcsMeemw14yVXjPZb32BvVSgIJZAwHOIs+6UoOfrDvUZxtGbdfZ51OGiSnHvjf81KIXGXtUi4sl0Q/OvDxsBRHJEmJcItHueOZ20EJXrjkg9kMbC1h7V0/G6XOpMTmJcuXRgxAyoJgW+bgLzmyIxmf4IC29FHg9Mo4sPTuCxwF2tYUlveNR6oqXSjt1PC+Cj8RrgWpbA2kYZytvlhYla3DvFPedHJE32ynlV65qyhK9uoLEYIFra18bAH2pIoZ9kU+bDp5GG7iRKb6ve2vS/Gy398mgAnRpuLe7QK+IE2q2Y7mvfQtEnEMSdSgbmMPkL2Rfb9oD2832xRQp2djgGmKu0p+sC50kSdAWOuNMuWZO8M2lfSlkXWTpyEJuiJK9hkeYQLGPSZBvWNELjGqGqhPlH2smOyR+jDR5kkUBzwfZEvL7e0Pv0eQnbhwf5iBdW3h2vJZByHVlK/lDJn5dIpduv5W5GsEJuslDJRXQ/hTyMjl9jeAx/o4eN+x1mkvstAnc/e7H0QLLwH/Pyo0VbbKDXDVbYah2WtBk7HWhNi2BuUilPn9Egat3idB3GxOJNBXEflPGvr1rSjJWEjfaOXPkY1E7McbfTv97W1wW2+UI2mkW9MKkmow1ofcR9TpsR8z+XBG0wLIhvTZSWQPI6DKQatKmkz9uCKwgyXAZnDrCYhCXOU1WuzV1eFRz1AZ67uKcKimEXlh7Tzi30oXnpIfaeZC34aIgtf0bAkh23ZpSIig+sUOozF8moajTu4344mH6tD15U8MuKKgfE5z+GPWgKshOl3uET9V6mwl2yJxIoLzUj/TklkQ9qQ0kNa52Y1SCHe6R1qCkoNnWT2+y9IICw1rSPDg8mcT76n4p+RxJwoMLxg+jxYhEB3GsniYQJfHNUOx0VfgHQTSZdykNR5wCQ7WF7TD6letga1bDlhfo0xO6/sd5m5if+5J01b2e35LADUrBXfrNctWSvL4JhiqYdWpBLWndXds/jBMska8JoQsMUX4sdhkOc+J+nPupJC3T6PtQsH4rACdX1mkPJ9LR6mrRApc/5DmkCMyCUiB7PyJw+569rymALioO7DEQQbgi5FdSKnaqoVHkvi8c5pFTofR7JPZgszjMpcf5OLazvmDptewtB1iKYxCdjPUREXRcC9RxYrrxt5+Zm7WDlhJYPKb2o2egnJ59CNIXXlXNvnPH0ClRQa8dPuTfco2rzocjArN6npUuSoQa3KLS5kRTgVm+VUD0JvqLKKdzDOdR3wGzDpuXBWbfzeGiWha9VPNKMQvQ5e6vkuxfDfNGDaOm4cf+ounoXWEeay7NVx1ZV8V7ZiGcbVl4D/x+XZWGCK3UIxThNcgwVBmFKcGAkSWitp62un6db8vP/Xa0bRXu5qsrzqUTJl3xCKPOYUxqIazu9GwoCJe8OnsdtleJ4bHpmZRS8fpJJhGJxwc0Nv34+tUHhW5VgI3kNlevRjrlJdKxbL7wY+KwKU+Kq43xXskNy/2UmEGoO7J59YVvQLLuIRtB+bZsBoBchwLufDFfnGN16h93txYTaG2Z3xiYp+ycPfVmocNdwEiIfSFts/z7KrIXX3tWkouRzc+f4/EM7XI3prsBcz6BIU1x9NBymI4DJXwSy05X3bdtxC+ajD1+TvnWFkLk+bzkty3LgkyGF1F+kN3Wxnix3qoPJChzPy5VMAX7TwS1DreTpLSSgGoHs2UGcpMTh3DGmxX4l0MkAlzc57XEDhZvGt2UwItiTygdRBNpL4z7guye8if/AZ/OTCZEvWYGsQ7haS4bReieWb4cU3x+2fGOYGTmWboGbFogHchEcj39ad460tXalpqmZH8w6n62wfyGcPJHNKPriTBO4cg1qfMzqbmPwVE2d6AIHfHOF41IpDxg6QrSduFs+YEzK4jpAhABHZThPaHbscCgrT2JursN47/lm8ATe4u/eKuMsVrrKbK2stOFXWGiZ9/RJsQW29di3Lcioo3F57S2183fsp934nzjmP3dH1miC9pWxd5U1rjZ7SVroWzwHP9+TYBA48Ood+yqNslET3tXCvs4XEgRgz+GnNnTrg91qxb2JFDQb6YLK5++fhxXsvSMrRHhm8BShM6ewZQdX7lbiKiDOwejKV9IXo5cxg5d1XD2zSkC4xJlm5cc2tnZRO94qJfaZDwsrVjW/m82Rmv0iBBitRy9yx5lHP7cvyiwX5zjiVGUs41MA02Xcpqp177qmFff6fGjLyM2v2/jXjg7V4jTxPft9BOwZH1wzn1ZRpoWj0kEKSHPQZ/fi8iUhHAcouGtGOteOsord47dOwi7cBHNTmqgiQE2Bfn8OivBNG59Jf6btFgmGORFtE4l4sFjURprwrmF2J/sboKABujFDjvHwIkgLzgBnff0PXgDXVgZqAQ0hQFfoTbtZ6gV/fGrg7jVsbWw7HL9DMY+S6BYLIRiemahzL0ROFw2XJmO8YwP61jUZHfOlo+snGoCfZrGKohqrl24sv3F/oAl4wYNDI3nAafiisJF/3+5l66UdAtxSZjlu77LJC6XJV4q4GIPUCVwHm7Mpq4dwwpncCutI7HNIYFc//yOhEq2GcTiPqEVah/QUD2/f0EXe7h5Kv8aKDN8bTQ141IvqXAUg8+d/0R9UIRfZnER6Py63Fzi2zrnKKis/jRLNzXsxPrj9/hwZD6aJUl+y3/1jBBmK2IS1jnhd1ixDCzm3PAtdrJt1lA7yJce315ZY8ifNaHikbEkUD2NqpvUrgSKmzm+4U6rAAE1RERIrVkyEE3P6gCw3FHY+RidnUpYzokoEwO6aU6FBqCnBP/zD90BDp1FO3TPgo2Jn2pLOrFIcJmpIXZ2hcb4YAov4iqrCBwkrCf/MT5K5VoRPfofCsdNW1E0jr4Xzt6aFZQQ5w0i4lW41I8aJ/ui9ME6Ry+DoGCHw2+BaJJJDi/DBH+3C2lv6eBcRpv6GHz7cNwtDrl2JlZdBC5WZTXx6kfZb9DVpbc5t4hKLKzwT4B9Q3efyEEUAEZlaoYS9Mvmubp96pRn/QmVX5XU1o/C9D2F7InGQudlQfvT26/8bwRUPrjRxH7dK+VdtZDSfindyV9lOVSDsu5P5QtJy2745IxyWDDrgV/7E+dpMVOwHrjcZ+7pCCSkF0yaL4jOsyX84ezwNWb/VapVTABYy+rzsDUNt59djza7V7xS/hDVEh7xXUWILgROciFbfbbkfOyI/YpTVSxB0QlFliuB45UPzouITY8dqRE5WraLrog9u1hayitYh9yQz6X0hEHBljIbKpBld3y2EKw+hgpOHYOzDc8DKI4FCCk961OsGwipePherMIYiaWgKh22qbE5h/6Td3C5lELQfU9iiLgsVFHxT4r6tqnfiwbTth6xjEdyTloEmUQco1PtIqS28tq+AvWsmBGxasB1SeISmYZPPkoRrzvdh8oI3hclYxo6dEvXgsWdTuufaPQXKPSeSG0IuQIPEVw3Uu/AgsA+g0/AKFEs98Z4loClRw9ioPPZ4B06ApMdVWRgNpEUvwsE5u4yreoLhVn1dj7yVJvisfijnWAxKYOL09+rFilj36YYu2xEpjNofiu3U86e6oQu1w83jafJMR6hdylLvwEMxr0P5zEe7+c0PKoZE6pRmawAUfFf+a+sKDjsNbZJafS56zsA9DHa2t+zvTRR7FOGhvCXAWDRJsv6A7OjfEoSJeoF2VICD+vqsE78rEGvcfnrB2YouSyaTUibP+dHciyTDe4iGi1n8H9FQNJxwKVLi30ZULnBw+BB1I61sRaDu3zHnML5prjUjyPVqP+DSWmqf7NugqEo9uALD8SLQ3Ah8u2/5txtFGVMSM8NQ2zmKB8AUdTIqHcuVKA0o68/NQTv9G+GayY29JfXJmnllYWw2oMLxC+CxeuMcRaaXAK0txbhzlRzUhDgEXIIu1pYTS7KEOCBkeiIhFbhTxxLac0BCPA3rCff2GTyMW7EafHUrAedUcBLGJdOYno1l5SMzBZYchN41yHl07tMnQBFHaTvV9liCiWXAwlxecI5zyTkRIsl1JPcjj0j6cZWVDcwwkZCbtxW9Hc8TLMD2L0H0bLJ0+ek+3Kp7FUFF5pxakP6UFZ3Tq0SmAeV7zoZFleAnWY3L9ZkoKdLwcf5J4ntPinr0KOZAPVcnyNMCic8ZS3lhIHMSP4/MaeyfvxHUSKWI+0ZlTM0WXM7afkSsxitvS8hJRc3epec96heug9LUDEtbNZzoCyei+zxh6GEpqPEfqaiGhCncqduUIOAL4jwzUhyfuH04a/ZujRPabKbu19H5TC8bky1YejfuLWSzFIxTKIFKK8a/jA6OLnKm2D1hEZ9uy1lrwE84Vt7iV9g8ITNWR0tY9Bl57C9OtRvS2GK3n3opI1ekLKjzxGcWAyAVR4WNGDgN8DdA0ZBUqCpAI3s+St5edKHhAv3u4c8zhJKgHW4vWwk/y4/NGFa5tW/yh5klW9VsuFthg3Ep0+knjoB5vpuCFWac1InwtT4GVAjqSQJWsm47gMltLx+q9vjN9W7owcL8cX+DDMuA6yGh7wx2wW6itsLg33nkv/CwLlyU+rJHKKOhCLFgWJeJmdRDS0rhXda7atPDC+yKmsOQNgZCXq5Ss4ow9GSZqD5IV1QI0HgKSYCHCyKrbusSS22ADdz/NftLFR1GG+TKl/ifBD4TggB6Bxs4S1muLs8oIcLYJu2jf6nihtNKqn7ed6mmZpAPCB3rT9bhHKzMx1FEIrBVOfGDAhxyBZSOwSuVEi75s3XLJokhMNTAkw//aYA4gkpXPhUhOpQKJTg3zZWzC28sQRBmg5Ck9x6qfPkRswW1elRj8xsqyUsK98RIiCt9uMgl9cKqR040q2KPPyXeRm150nXy5EV7kO9Bn6xonPMIAEkP+/K8w0Sl+QmMILRZ5l1u4fUTSnwgXkGFuXK232BkqqlzkeMiW0rr8VUfvXl1GhV3mZga78r+c2L9/I42ubgFlqW63PdTabUP3Ns0TTP6mCaga343j749KciYjschrVlOQnqUDx5IVQ5nAlEPn/JhOPcOOUq2OSI+MoemjIPqOz6yRKWOl7rUpJIrU2q3b3LWaTlnnnIXwaX14qY7QAO0i/Z3/v11NQSH4sqWX+qoeIzrwbW2SFSKlDRR7bRiNZQLmMZIKR2CPjifL5dE/w5TH2qNci7ZOJLrcT/E7bN9t3ZznbIR4rbIB9vvlp/miWEoZ6BMA/1bPAu/z16VFO1HWBk6kpgFJifKqBIG9+8yENnOeRzAVBn7FDYEWeGTv+XMqDw8FNKr1uJhe+1NI1OoMJS/i9/BJsOEJfyDMzx9rEdfRaoT6LGEAcKlWTJHt6DqVGZlD7aZrEL6zuuvozUhe1I/ogYeQviwrdJdLMCHMbk8JLZugUJwgnRYCaBlL/kn0My5M+75AgEhVHgL0XPce8iKWxxE9zPS19zvyILflfg5959cOaZxWybC2oWGp2t5Cb4d2Nw3J8P82Kl/x/vKqnwheifvc4eMjNPXDuEAw2Moq9+m/Il+6FgusYlaE8P6ICfczd8E9o2xOydaJ/qEeIuQ4AXovjPDLDy1i+lrt/USmRPQG/EcEHJ/qY+9jXpat3K86umIY4sNZZB/AtEFwDBifnSCHoEIo+HiztsMj126CZfLteK5UV3D+E1f7oDdfnIyk795UBoa/AE+6nzXL0zXhOsAHpsr+YCL+QFpXNvcIzwTGdgVG7Z2LAgPPfwvw03I2sJEeo8VcZUGmoEOpN3eXxkyoJQVghWpOx80lygLNggO8P9/kO2eHwduv4Ogvj8qezhLrTRFxBQwgXQPgc61v4fLS5so8Zkpk8r33mjN05+SnecW27JnuPT1FGgeTegT4I01phXzIHLd29dq9YyKyJGw5H5lAe8DnUQK8oNaLaDBzrxn4U62sM2G4FWjyY4t2popxxc1f6yuSL7YJ18eC5+xJcO3JERfaK4qMFqXc/6+cnTs2bimsg3SmIjd1usefZmPT57Rk+Ovfmw7MwZ8tVX/6jlMRhGh4qCUvfy7JT9N9po84jJXv4+jU1OXW/4I0qUD7qwZY3xPCeKwAl+MX8eqg+idOSH+DU1OWovtQ9d/64/4527NKHQXI3kLzWwCz5/OHHgIu5YZohbLKY/yxCgv49yfw1s3kb3tS2lm1pWhoQpsLZSq7hYndCzroXb6bmHyJzKDQniBGA2kUaVuB30xmhMvKmjtQ7hyofYrSN9WkgROoNFeNbPkhol6wkC/HZH+xt4nH5LLpVy+HpHNnYGPB92mH+nOVENYW3kRIgDij+hlICRSOPxXbAboby4fi/1NgCYJBk5pDcxB6pn4qDnBWVhzJ+3yaMPt5vZ/4QT6OKRaFts6YU8nElroCsDBnp5q6nCCSZF5DYfTdGc5efiZtlzqDh8X6slvPfOJl/X+n7lsdY+7ytee43o74gzrHwjHQqPi8QVCB8UmL3dLpDoFpcH1NHjkDYktkAD8aI/2uAvlCiJdo/J6por3P/BQUhAQI3Lqy4/FJSlnI1lUN4bWbJ/2Xurh2DqmGzGkxuuJInyA02oqAB732hkpcSvunuHdj2LPEOTrDWQ24cnrIoGGs+9XkEUttL0dYBwmGk9obMyiPx0V3cAI+ttAwwKTkuhjLzzwNHRhxE6aDlSRF+NNQC8gE7Gxh9gl6939EWTva48mEsR65YbwC4533MqW/X7Tr4g1u5UQ0+Y4bJVeT7xbwtR6Qys0O/8HbmCLnaHAAvc41NFN+hdHtjteG5b0DPh6I6jpJbnE0tk4WWkYL9/MXBLd6/hjSNybKFIwrXGrV1PK6uMkwD1jiS7ec7BO/sB/GmvX7CbcAbwPXlOm0Tk31mpeWCtl6WT23ae1XkiTrum+nKQfMQT23jmjCgQ64FZ+ZeyLPCrKlp1v1tCoTyjNhc+YIUSCaACF6OcIrm1KWXOOnhrDA6TYOodFACTtcPEDSYR1tN0AWN2npwRjwFKwiVcpOYirj29DNQgjs77BPfq//90IGVjhp5PvaweMVYGnF0IUvjV307ZpOJTa0qEb3CisNBwb3fPXVmVLi3u4Eik08pyZprOT4A5nH+U9OWYq/d2sEjAQuiCvCxaWmn9lqTZocI6EKAZQsKOBzPMjI94gF22Q/PBS+RD86v/ky/+ILZV8V3ycloBmZ4ff3QIGDfLWFUjYMg5Odz/DSw/SqOcDGjnojFTIY1CI/zlPGq1QwwYCMcLT6j9A3XkQ+lGKulodfyV/oEdQcD1LKw9xKIYY6vlFSX/gWwfsjjKVaevK+fzguAQwkroU0Crn0ZqOHCxEqCWuH6DAtyNzg75lDoMBm0jUyhb/9c9H+p6c543eUIX8apeaxk2fzsD1KuJ2Eb2SoBz9cI2j1ieUUM+KrJSi5tztbln0jyE300E+KBcivX22BD02PgahgaAL8IQjdPMehdAt0ER+cpoxYdcDCfFAHvk1XSJLFCyRPHKvtNdd/uU4VxYODdh9QTW4cpnsqF9XV3GzjOQet9QE90/0CaTZ4Nwt8aH/uZBRygODkvL3hyeESxc97MNCupenxcJ6J7nV91kHYfWF07X8Jnu0NszNQcxbl1VouxDtSMGyVqgulY9CDpC3Msklqa8qIoUdwvlC8rRAxNlpSDBzuDF9S2Wh+3EgJIJsAimztmGoIASlE4PmfQ+jAndvKFXb4z3T7Jdh01fumIViZxXUT86rGW8sb03UcBgErfS29XxkQyWSNifNSy6W5VFIEaOCtGjawQDWZozpFaiFD0WbQnMKWIc3lCvuf90bWNqCmGmS4x3phLIs8yZFLrZSs64FRJIgxgZiB4Gz5Aqxg5+TBNVU2UmjAEzBX6BrBYM6Qi/1oqUhps9yIlZNeCauRAyRQO9+H5r5ZWeQbAlXYbkPJMg2bpFIYFF2fRnmTUbma2MDh+KbVNxLd/ZNTjvml1HFC8jrDdbZRWiUdhPurMrS3hJnANJ3mMAjwYK98amYlaQfv9JbP9J5ahPpIEf+qSvBb3M8A+OX9hNnzFMiWZuX8DhXBcEhSQ/7qkwckN2g6izQ6meHoKKxjRR4GcY0CjGHpQiwUb+1fd9KGJB+D/9eglYddohy7hrGZ1W6ZEkUTkYUFkauJX+hfqodUKvEi+VdZnGFl1kMIatr6KPPrHGi2Wa97gVH6beMSDSutwL76jG/ySFicD/++Ck7HZl10iQ9cIyOiZOFv2HVjnBanwF7wmnPI2u6G2IJGACIGHch4sb7XTLnms7HJvFHxzXyziPV0/ORh0e9BsMdWw2C0497qm7+2JxNcxJ6Ji+tlaaz1TADyh6f4ogsqwadZ3gZYJCBias8QH/676lb3X1NcFDlxoq0OuQz4lGOOOS2hYZcR1wLPcOgF8fXOT0G/vTMRJtgHHIPmGSpI3C356sFS43JBGyFU5yTiOXjxBz/3Mfs30n3smrVTBMN/uX6LbrMlVdSCZVj32WCOWwECL9elCZpBZn7zVUU6TeJ4ul+XObex49FgeK4T1Bb8LOXvxiRvAvgsETpYzkrF1XXs8A7b+DthErZzrbHSOmx3gxLjgJU9IHOiTPQKVpteJp+MP9sVamOhKnWB94CEvZSGNg0zVSxeyAc0zCFrJnzy+qRM/zxiZCGI9PqT08cIHggtrrKtrAF2fbrCCeepI8lO6P2G4pah4mZQOLv9vSqLAuWr8G787wYwUoEXFFKnyGJc3OeLtYgCugJTMJqE3hZmxYtXEuv45HjjHHhXqhL2NCfJip6IlCPTRBGhp5OwQ5ziEy1R28sWuKgLMjzgwFRDUrnxDaAfz1k4jwgaeT6j0dk6pMiPUWEWlIkXcds7YNRhlMzbugk0QFD8fTbDJzKU3rPaBTyP4+OHSGjjZC1+P5XL5UMDThayvaVKKDu92oTQtIFGP6HJjrQuuAeOr7O/CnUBPEr+qW/3s8WCsifpx2gSUwkCfrWnXc/inUcebw6s/a8m/WSk9snIPrM5ULliv19F2j2lj4ZdWWSbfa/guxmy6+1gl+bvWpZTKjGZa9caXsg3NTcfa4wk+ZgDwicMxWM8fEscUfoJFORKinckm6TFYok95vNUkn95OGOM7aHqyArAg+m7NfMiSk3bgNmuitTlMgxB+tDd0hobqgOkP9ZWSu8DKfqGI+eZHuksm+M4vDShPfZxDb7q6RNxx4jdbt1Z5qIhy9rfQiL0O4CCKf9uH1h4YgKmQCEAO/uWTfwsX/X1Hfl9qWqnxppWa9kbw+sBXaJwrNImLWU8A6tZSiupoQIiH6WzjqG3sDekj6LGGWg/+pP1A93gdC4dUhi7ERq8kdUyuLs4uccl/OBH/AS7aXH3whmEJ2hCcOP44F1J1Qoe0SA3TIzND8WF0UQ+37KcOtWINGEZ8qJRLRn/GnCEZD5AvaY/EfL5SZSsiobdTx214bAHa7iGp3at9hXq+bpp5dIGSndI5OSSBG07bv794v2wjLDdr/o7RPVxxmK+KBrNiuQig0cHvCj6a/ct7D+mbburbEmrrlsRlkDBGK/HYrSF6IcDcNi870jFjis/cCj1E5533LzxtBUHNX8q6/lgWeTu3F/gxdIiKya/+wmDgqd1Jp5l7JNSMNVMuDY/sb1n9pBfU6Mkma7Zl+Ro5Kx1U1qpBVyGpwQuQQFX/89bWnlyPBmPD/NyEP/PQO3HV9gdLssPiCbTdTWtoRvf3I+v2nIudrUN6iNYCfQuXv02f8E6eyHkPzpx3duAXx3cnXHM5i9hGXKJeU4eTesYsXz5LVmnL2x/Y43UOk7GIEfnsV+0+LXPT4v3qw2T6VycFevqSz2oWKp0mcmWdhE1s3Lw2wIUNlTRo1GEZrZEFQs0mPFwdim4eg2Y5JtC0+TYZVtFQMh2RNv7pGnF7UUmPwEiShsbQHD9Zkgak6UZqV0XHetow+yfZ+DVU2xKRrZPRoVLJ8iJh3LpmMsgkzb8Fwe/nDzfHlazymNy2Yp/7CvBw1jYf5SsPFfK+LPRyZTFxDbWB/jDsL1UOLCYWrXCddpybztIJv1ZWyDtZe+2ffZQ128Zqf/oNGi/KbIZzFk0K2SXAilzUZk7TDujqgRT9M7B0zFv6KxVwUWnfzPPm5ccgwohoHQd+VbIQExwIK3AQyHubKSH5swbA0TYcHlym/XwD3KWN1yyyWnIOC3XF4tPrA67ztbC7Q+eSjGWIx4/s4CrdSL0Xj4TSkCfJgNP/TqyXvVPeG/UvbGfzdib3mWCN575qmtHlFCOKpgSrnH7b9V45+0shLta6XBXTpzhvJWHpjxnNQ7vBSKBIxU+kfLaPOlr5G+oA26ccJM75a1I9kadQA3QYeaHd3JLdpjoWk2CcIBJMY0ox0ZuI29NHXXVaAE9qE1dEY64BYD5FXxG+lR/HlXFYr0TS+uzO24pVeXAWQvAg14+Bk4CY5z+NUPgE1ZYuov2jRQRct1A2d+QWHg4/KdNjG3s9EF6sCfCMSGdA2HqbeJqJLQHs0RTW2kO50nqkkOgDc10p84kuLE33mLzTMoALTbm3BDqH1LWqp1REwR3VzzrTXEM42bL9qONGcbsQ0HYTpPebLxTAoWNm8N6EPn0taptUV7IU7+Cj5oN6fRYRZqd0Nq2GNr3PBsGWyZMFzWhTNu5rHnhMj6aEzMU9wMfhiNpPEp0mTFgjUdeK96XLSWtxUAXB9oO6Ss8T0L5R8a31X1POdcNtwLkGTOypZaRLIXSSGTYZFeK5WMCd5YEDoanJkdWJg/vhZTpPjo9Cj6prdT3TEUOBQkMtfFsq7JklubSTPBfa3kY/Gy5j+kl3ma11ffcHGgyn42SBsE5AePoJbl4YWIo1Fjn+f5sg79xFCLvMHLDGNw3WK0qC8QOlZtd/WPacmWaIbNJcrV4OuX57hou+calp8+ExHggNObjAJXOCi3j9cI476o4rNi/sfp8vLnW8Of+gi2YrN6GAyzbdmlIWMr2N7vy0ZUTs1MbXjPj2MVKgQdbV/SFs4uRNbJCNrW8oiMMbbYGefrNHlQoJg7HFaN0Qc0nax/0PqBPWnSycSSUfr2ircGN83LmvTG9Z7aDo4Lf3zA+jzXt0e1rz//OXy3vzI28FQRORVxSrV5oeHv9iLSmKMYeYrX0+6Y1Szt+7x/8oGAVytXttE31izop1ghB4ajnOAYQaF9mZy2Y7Vxs1h7zgte+/6/BAyg94vFaP/bDs1iGzxeOvVZuKY68a55AXo6x9Bw3MYpzVeZmVjcsF1Q4G4XC2of800aWDah6fYzS0cJU+E5gzfKm8k5e4E5wsHU8VqIqa52DahduOs4vvC5mP1qBb2B7Ul4NAro4cm+KM71BiGUH8k0sHIsen9koaI1wEkLOfBMqqMJUCHS+SmHC1LFTgCuagLX6VKmUBEpJD99IT1gsaumrtILbmtyWUlBXEJ1iy0Lt0l9QFZrEh7z3QSksXR8G5aBzMW5z97M1tLzvnfnVWX/nxvLFdE7Rs5SEipkDnt0ZjJ1sTW1Zoha9fUfrca9P5F96wejxQ6zEPHLuN0MKQPha8S2aD6PbUsACsJ7bo1kRuekPTS4q7D0Kol7Zm1qVG7cIeyR0myjfkvLGK/tbEGEgPlQky7wZJ1pqPxNdzyfoStvfxptCmrPpRCF4QPFJ4baDEvD2InkhLvtIyOJvh2xn/MgAGUyEWr4GdTuoxfOH483uoQ1jlYWY2cqpgAhC93ZoUp0FgTsLI7eapxKguymQD+IcOyr7WbZP73/IA1AVRjRXTtmsLjC1q3Y8kAFGzYYFxshKLCliB5PcqWRuJmuOXbAZo1GA+CSOGfkBf3oAlcgng+bNaDXELr8/IydFquBKujYaZh39AdIYzlc+34QeMabiBfJAsDMLfF5R3CkqQm6NZnVMhzfFS6d11WlE1D9rXiev+9A8EDbp3oaH8A4QtsDr0cXh7OzKnojq6rJQcqbgdpAvsINQLcrwqe/50c5A46rNKCUzYqCy71tnBB2dTKMTlrWDnxdoIwexCCRndKQgrrsNMPy9HjY1E4iBePPWH1Yipz1S2VmcCmv+NUI8v3Ogz8BhkxONG4uWHLqZrFec3u6lSh4LcAWVz7STPrUFov/aO/YiYEVSUjvQ0jXdphKdpR9zlg34XXbj4Av33MpSlPj6s3HEtC3ni5jvw2v/nlLNksPGdtT4dZXANjSXTStw+yfF/bdq3b1gXkdsQAHZ6iJReKWz/W2fpnRB8nHaQYrdYC7BrtkL0nnuAErnOhwyFIj8Ez9M0ZeUp3N//yDtVHQt2eMvglkWfexaXS0XIgnnkbZQ2AGlxs01L2jxX1m7IpnNhaWLAv/zLEE2N+0EJxITX3OJM0ffVo8aFBM4gq53x0Z/im8nIjfv52YIHZWK3gW67poO7ip3X+CwOudkW/xhoZSF4ZruA3zwKZ6kHlsybfArmNowgwPaDDUYJEZEXko5gIe5lSlIVRsYYaY0Nr1iCMvTALSiB0U95J6OOqh6C746mGyqP8jVe2X7glKrimGKLlOuDHTVKZJsliDORMROSw6cE6SACyRgwwWJJqYEfwosFvWi8SVP9zin6LrnhPti/cEdQjvfCKDoV3Vn9o6Qf2m4MSAxA3BEtsvBx+BatYOls+7BDiSue0EbiJEVc/fADlxL4lClvmfLsD5pHtpDIAOku5rXY="/>
  <p:tag name="MEKKOXMLTAGS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z2dD7pS103gZfJ6l4USC3jqtWOPR/ue0umjYEY9KlLthURXCUyUuZbmGDPUXB2idlVQc+R1c0j6vNnMaKvr/AnBHPFsgePkL0/XTpsFrxRwwYvjcyvyChgSTkA0WrA8dwG0GmwlBBpsIJyB1sZP9d7xAp2ey1gpzW0jRb65HVkmH31wU0CUfz6Wsa3d1WVhhm8nLUzZd35IJort9u7v0aOS6xXWeGseyTUT93qRMlwCGAgJ0MTKWrvhdCAhS33lj/WBjpWoOveYj3wIs0uqpiLwu66QD/FKmmF3KnLAGEUHPCFZNIeZG+VemSHwWaq3ngADKCST4iC1+L7zxKxU0QXupoYlGQMVLrkA0coQiBp2c+6mlfdFGNG6STcGhk+zw2mOVQfGh0Gdpv7rWnhY8iazYekLsejxO5ZK2QQ7M5NVLeExQhGGslsKOG+gmS5D2B99PivESraokXcqEXGZZZhzQa0TOu6sqODgXMzolGpA4Noc4UXDQ/Hdre9k6ovIkRGkxe0SPyTowdhr7eWPf+IgHvjM4hzex33TTGH8UAVHHHzv+izQ0yooqbr+Oe3Hy1qs4TagJFP+A53gVQX6Wd0dd2yfwpR/tiNfr7BGhiYiDKNqPbTjzpW9/WEev1EINh8USJ0LYCMGYyGujPiLFq7JVTFLRdqVB/bZWr7bwtJBcRZYf5ZeY6BJxqF8s1xNrAoifibJPatOiso8868CXFm8MKrjeMbl28wcu8Ty4vhokhHyDCLmGkQ6vwIzyN2Hyv0nV+QTSLUdD7M+ob8hQMrHN45IZNKXb2DMQ2s+1wEtOrKc7GButgXpx2fIYc+s+rxUfOopIKqtxJIr/KiSbbXxz7Hz1H77HszEF5GwekjYa+MpWrOAeUCa39Ckz4dBI4Igf83ci+KLt7mBEL8KHYFj4zb5LBc3LlALo05/XgPdepcbVKnanocQ5rQojOYDE6zwU/+tNi4kKHG3o54TZ2rHv3y07xa4QEM0v5kv5N6+mzMYGqmlOa5M/rOuQlz7lNni+RANwkn3S0KCFIWP0mP3g+4vXLQjNczDuXdQQLjVr80HxK1XyxWb6+HJraYC+36ZRH9VgqDixSkYp5mxRlsIdHTmplwSTm5SsfRIFWj/RjycY1EtUOdeeNrQLOJNyDbMyhLOAA+l3oAGAXg6LOxAAgMimPlZaqnhpn6ejUH0y/3nMc3UX4WS2Ei2oDHPecMdSUXHt+cWAHqxCxmFoj3DnqmkOJWoH1ckC+n8G8Adn0j/LHEO6tp9tlTGU05B5ZNTvV/5wW1cDg9uwJD8zBw/peMwpQlzRVLezOXdxEEEVedhpFXM6Jwqwnm/k7Jl8BuQdMZl+FJFk7dAHXeX7+iIqnTyWFu1SERG67Kz4HpMLPNqp06cDzkie98kiLif0VUMqDKLgRHo3IRvXz14/wxWyYXVgKwBJSIgl77P8PM+Qi3gdO3/IIznaS2/z62SQ16R42TQQLWwVYJb4QpXVYNDAC96FCBln4sZ6Lm1hINjaRAUH0vmiIX/hVxNgpxkEl5YzMM8GwnW45iMuB81WEafVVcRcjGnGhHE8tTEOsdPPzQE4mFj7HsfIVw7PCFQV8Xjj9+vAeWgRayGTpFr1+gqbMNoIEmDEp4/5EchP63+5P/Yi/xgiAmvw0a+L8BgyNXRtXrLd+UFcN1UzRMlTNd+AWM8QSwBGNjmfvMPWwMQtpb1jDyx4rwM8CuirddqhPnZE1J1V9Mtgo3HoPyhJ1Z3FVkQSq+9Zb9CRaPeGnuUrLa9+VBOxRpF7xRFtAFODhvDqkuniiq9pZq8Ez72JFmoyX9bvPc/KsNF0AKYtDlvaomrktx3fV+lkovOyHIwngyNneGghCEpj/9jSj4OLFkuDG6N1Qw/XK74CMJeXFzqvXUn/MYJcCgPsQS93cFeu8irudvcphNYtoUg2MTLgZR/tE/Ih51+NYLFowIrUr2Y0c9zHfDZTZpN2o/z49/LX96pNlAkeZv2AvY5tz9qDqXJpy3CV8tvPhDmaN2Z7L3YL/jNfIav+0LQbC77XBvl8BrCJV4HclZyqHEBj/J/O/Q0hsevVK+wWExVkPA4Ggy/qoFh/48D8XN9Kj+RTf532+KwhShZA3QPNmcf3JoOJEstytqiFPv+/4It0Nd4lkibo625erk6GoY0umf/v5cVi8UXHfod+h0RzwyiCkD1vSLxGvr7KjV0Cb+hZh0AB7QQuY70MjmJ7jN0AlFzBNlniUCJGk2LXwdhDFveuRXaiW/YE5urE5GjzyAf/5ZjIrFNHkId3VfJ8OlGC1DO9Uuyt/UZByjdZ98KdfpgqWIBS+9fhZ8yBz5hiV4kFnj3rfQMlvTgqli+Fx3lpB/VB4eKYzvAXEZZzQvdwRJm0ur918DxsPSVif+kA3FCRFktdXUK//3jIoTyabajIKtplN0HKRPvq11LoDuRKPjS2V0d6MnZ1UVLKE8rd2tWKPBZh6tV3lZ2+C7z8iZldz3Z4Mo/ocz45fJNeS1dLys200hny4/vgTT7ueB4duxApjf2hVJylS0HvJd9ny/G7yQEIat9Qj8tyUYQd6PM7Yf0l6GEsoo1m2peSpeEPn8VJy8XFpgT1gdcHxfyMbnsqZ873QHoXn9WwxBBk0pahMtU4AB+3f3qVv98HqRR8AXZa4uJ+D8dDxPjB5aS2kmB0dit8qAY+NmXRTiTipM/OC3UxXowLXxzFQEmQKclG8ZlCQUdltxZaP8pnIYK9XPToUw8ROZJ22Td6Lvb8AkhQyMj7K1jM61MlxVUIYpXB7evt7f1TUZWKrBsHCdPAuG4ob/bBWJrwTdav5Nnh8aY0vtgfH1/hV3FURMeXMNKCVXIcv79S/d2VNOxOo+pkjB8dZnfu/MZC/pD1JFpMQ/8+R5ClnZsSiT1w4oO8pSee29Nytfs7P67zXwT/PvWXBFa1Qy19tJoaev/eAOQh/wXamOSMBepp2u1/ag21Ihn8Q01v5aHU7SlI8OyOLCcWO5lcsTbpwI6sOMyNdIjbYVJKLD0ZDkqjM6//rxNgXLrgOHo2ot7E1I1TPo6apZt8d94dPIU20wKyhZMQDd4ul1TdsH/KFTEbFyvTlEdsQBkMU9Up4QhU2VZnB9if7LdiytxPF0r9vO3eqscnaBs6Qrber+8onGnwP23HMBLsr9Vh0wvrp8AH/t5KV044orHT/tmPu6lqIawLioTf+nXXk7UDYMOXH18ARsUl0dPynTdbdq248zXaWm8mcZp2jWv7W7uT3RJrpsfIcxkzYDwKYSNVtM4+wDJmOmaBCsxa37DBhcEuv7RhVL3QhFlPNHeNlxPMhLNW1D386BCpKnAEwOxgX9u6vB0BdigHOF6T9G0iMXZYccADSBKOnsPxlxNmeq8XZmSX17ZpCERlaEyhNAVu2Kvzofruq6j07k+PyCtRNLb5f6pBmeWd9LctPs1UEMP2362KpQW9W1uWKmI4r2Mn1Cu/BVV2+LWPgam/ba9gySPVOh2R68BvDtWmnXRYV1poc3jdx7UCZnUsnRDek0ekhCW76lbHEaMpfshNGLPHldvs9TJrYzjL6/ZEM/J4GtMo5ZIsEycRYssCBjFLzn9ga1EaTTISiAbKbJeVyowPxir8R6a+8/8AnGQOxSwXZzA76EbpbfpMDlgr+lKwHmBfsKgqzkrOTxComsTq8L8KMezgMvcxMdwXd/cCfjif+4HpHhJyzN3t6vGGbJGZ7PfUpYZvbiu7qgIqzcQJ/KUplzgoLSERgW4Hb5ba2CFpQYMkczCt856VfaBCCYUh30J9a4gz5jlz1U1m0dFeUDu21JjZZOSHf8L6nmU9Cj5sCiTSPxvMttuZBMGEUkc6TH1hRVBHsHZ/Chm/0yRwF0hFtyv/JbwTLJeuizTfHajNItjDXlNedBI4/Ojyj+s2/tEn8F0iloIEjs/Fh2/3Fw2EEssWfJSaMBaGxbcVzoHqFntsAVuUkpHozAaje2WbFgk1bVe+1q3TL+jP7+qzrMGo/9tmlY6LldS3R7pWy//XDfowoZ7iSthKvGZp/pp/OK1Y9CG4p5wanNXUFEnItCuZj/pRGQMV8++iJEB7C0PxMBBIBQQd5BiXZ0CMXa2oo3/nqyJonypBqx4oUt9Vl2UlSuNl63RLKvFC/U4Cm46b73FTQFJ07KN3+FyZYEaHYgGV2i2YfnNrY5sUJeD1VXG8Ax/Jgx9Aii8piZZaJEMIXYvBsS8THfZMkrBOqr0nVEVtnkhrS97FmOOXO8NMEkzu6ej4cdxxOlnu9qqfAJ9uZGi6sJrW4CFTDUOmPeQYFPn4y4BOfevR5yNBgDL+DJM9zT8lr2BhKL/7nLdUFwkttO3hdgd9vUfR7LUZoE8+qWY8Hs3f370a/g82dbX4hE6XBYqf83S7M2QXLDQ99XlT3xMTUPkbLiilj33HhPOLS+Hok0FhOOj3H6D7eu8+sRPgn/nHjo7QqJvQ0j1Taazvb4McLXbtzbsvjOniiptZzLBPPsVHUprW2KuY7FsWdLQYg2eh+Yq4ZXfxYE4y/b8C+90NxC6ZYrpU3TSGc8Wgxxx+cQtjArImBYmM/5v/l1q7iN4JUwkAQ+dXjPA5UMuW496FNHXROk15Vh9nXejZq819j7fbTOvGhScJgjRyWyvf7AWxeNkbb7B5fXMpcxXJ8XCiKlwDe48kW56TPvGWsv3Z6JgVD9YCrrS/cxhgWHNuz0nAlqaLmZcD4Y7vJZVKFnGA2a2eTIoWwSWA/hJ/fYmIGTifDHrqgYTcJugQPd6YMZZNOBLLt6zaIjt5wi0PGDxd+ZqBmqM4gN80DfNeIYU+VocPoHjdKXS91RCXSnOAkjRm/9hVj+WRJean/GQBBXXqFUBHFYy/Naf0VkDgPDBeIrxq0DcMRFbJ9ilNEqMajVq9SpLEqyH/J+3InWBrSuBUBTyxzYdZ7RNmWDnX2aS7wSVkZsRt6a6PboG1bk7NcSa7jm6APnZtp1kTENvEYQD4Vhsd8Gpz1UY4LFmRICP3cC8dhpWOX+bGTei2W0hWHuf+qfznttvAkTcSbaIE4UVnkL+BUTJDrURj2cyC6UZzlpMmeKrN9OGbQSVhqagIgGsw+CNvUhwwtNnImgn6NXaZz3gOgvvpMRt2IshMm6MkWTawObdpfZzvWRsfJWNozZUIqLCHxlC6OVkrTxu1U6y/We2TcnZCDKc4hjNGyu//mriTyPPHDiP8/1LpbvD6/FtuikK+52NQObvZTr32eH3NLOoX+1UWzBHACB7E509VYDUxrVEMucahx2EH77IIXVkcOUto/3UMvMF3h65yQgmbNRblqncTpU+lK6o6YkhC5NSAUmYfx3fY/MrkCpfFfFeQlbyvjHPb6qwvln8O61ofjvdtkVNTjDETLYy+BV9mcbo5NmkSJdQlziqMsaraPFVWfz2cLeODOgMr4KPDh3qvhOEhUGTIq2AnyyeApD2SXVTTE5RFrHqaoLCvfcfx5cO4oYHC+4vtQJX3yXUoCIDaOJ51pPQ1/phcQUdjHiT3IYm5Uvrn+SjZ1wQfKgRJ/XVrNCBQuwcbYNCazulzJDDdRijviqX/qHnqinCY452OGXbY1OEO+2mo5DDGob6i6uotp+R94sRxrTXuK56AjNOaYf3OMWdo69dg4V5YIwgNh/4TFIwyQXFF048mFQyVD++WLkq2dRDswt+9S0CeWt/JEl/QZZ3qRHqnIha0sU/fEORmXrgmLpYT67VEXtGKmtK4Lb7N0EqS/17cuDwOI+6iuwN6Lf7Up4TKWc2Y+daMnhUbcE6wkhezT9QvDpEQFM3T9m7UjhXZyVXB0KEny/8rnjiWjvE3v29jkfChTZ2tjYxOR13yNziYo5CKR9rIKX1tunrKa/jyGrYbYo+AG3cProChr61prjIMzIcAgMc87kUiD708U11Q7umoaqx1r9A97ebJEcIYWfkNR7Bphd/v1vmsNJVa3/GYsRlfivH465tMKqFvv/g/H5XzU62jI9inH5W1hqbHF1QHrcD4NfnjUfmcNsDJLc8RuP9r6mNoygwGUgqJtSwQ0psgR4Ne+HgXcFHEV897IkYZb/pS1cfk9c28ie8Z7enZ2Ehmr36fpPwHwl2POOHOPO0C3b9mD8xCoSQWGnHFgdufcTzErYGmH6fqZcZfAwvRKwWOwxrhq1MS+0+jnXysytjegyJrqRFlsb8t6tHwX/Jz09jlmn8qfFb8eVzbz2jGvZ+TaFS4Bh505kG0iuSPU5frZj5UsmQevoVAeQWvUQPejS7+dTforMYPHztnylbxPrLbRwo6ybTdkJ+6ohT8ynjNLTuxWOG7mN01whYBZNildEn8ARAxPMd9vsglx0qd1QTurmYOg3zVCBPEPRnZGYN1qMosVNzMf9QUI7dfRW88glClTb+sggBZmTqhGScBcRph0cAyRS8M9VvkWA0Nibc5bPWxw+xocMx9zJUo+gqSS2t0OnsIJUyJ/oI1L7ueqRt42pvUGdXeR7/5oiL1pIFAAfzqlZjhd5/6vzER+3HWaAp+mGqpxQCdV45Yyk1/HatiCNwbfXyxTY7PGdLXYgkppTSAa5BYUGFh8kbrYOzcGiPgn7H05Gy4TJGjweBW8HUfgVPK9BLOb2s4GXeJ81B2j8gqU7SBkpcPCbGGPn87cjND7GW475DAxjiT3jkyE358Q5HCdmImaApUnwA8tZgfvR6mX8xv87NoNpY+c5H3e0yFJA2QBY71ftT8szF4NWoeKyHe+CEsc9yzg0Oc2wFkzRJuzucptJPmfOfpStdXoi/pnCSI9OaUmFdqM7tjH7+ZR/Wj1WEeX/KeNRU1cWcgAt0DwkX1RsHvQB76LxfcdZLI7iamw/O1dfZ0wgYrKmpRzCEDJY2BHloUbIDn/R6ZpkGNFok45ByvB/RRGC8+980GInXS5sFDwsV4EdetksEcKXiTO5S0rk1cFUpcFX86AH7cMxrMzKM76etiRksqpmZEtlDVYzQ6kPPQXmOZHi1R0mX+L4o/sdw2iVK/wHJwjPrpyvEM7QOQjDvbJu9yuIoRrnuLy5eyja1CSa5cuGopEmw9GIERW0Papz5GjbeLmhU3Nw+liCZfqmVEI/A6kldbPsIWehZR4g9JAsJiR/oW2WpIyS05FDn5iqibvp/need5EIZ8GLIPTgNNffS/ntgxXpaKhmySSKFH5Mp6rUqyHcJPsUDvGHzhN4iVIZ9vnQd3og3w0i+59AwaE7Ub/IWkHrH74pi5XuruFqvemqy4rOG8vM2SRFGgZaQbl49ukVlj1bKo+HMVFm/OGG+hn7GLwhD+ubF8hFoWKsyZmPiNsiL3sPsF3opjtGpW1iQ+d+xHb5G9RxgSd9DBV3/yXYnmwZX+2nzoqdWx8F6FnxjFrITtLFKz6HxA9ahh/La2dssI7U33FN+xZ+b41+imG5W9/uTskCnARjtfgM1Dl5QAPzA/J1Qx5dOlAP8R5T/2olypUKxbZ2V9t05a0QxdYThg/5UyExAcUhzk/GdDMliBr4angrS8IyC7RD7BNLwmepQ45a0xSdOtXTLxcVpEmrCOm4kEjqbU87Sh755YEFLseY4K9HzIBxOvbghrl4KuNQxV2D9BP00ADzMOUzMmbNJkeKGP051shjvC1agrPRakLbfr/Ng4/0/auZjL8pYXpkl1XuC29xOh/rwTBrXRjOq/xk7cEtL1wJJ3q9hxR9iJK8obPHmUpqBI3Z/iCMupi/O30vnbSm67OVSyzAEedDMjZx08q7Il7bSxssZiZ3kqROueZennWrgR/AQdW/J8AF24YCUfhEfoIEoW/CcrxC3HLLVNM6VnHx7FWHYORM+BddlivABnS+BWZVhYsM0pBLyimk0RJjmCh6RMreL2q7+37qS4Ym1oRkt18Cgj1h28Ei3D1kBpE0vNpBF0DNTKCHFrqo7j9c1k/L0MoYGakUz2tUOHfupJ90pnCVvtRWc8yfmLv+eX0I9BbXp+n4UIIfRcU+ADBpSFu7ezrJxt4h76IUFxJeAlKk1/gBTl8/BBlNeLiYthpL2erXsEBdo6R/wez1FTaVpx4U50MbMiivEwaqi+HXL1I5OpqdAqER8nbJVEPLBo7VTBdfpUC61DmD9gqur4Bh2o3g5VadbswwYJYkn+XTnD+HBOTNlzf+iSWxMi3hcBR3IEOF/oVlp9ze34KbRJXD5Vh9Vq2mPLCLBGFsAE3KDn3clUpHUnqlkFY13vgQZuKeLNz2QfN6PVo/Yg7TAfY2CeT3hu1bNTPiyvvbofKZtrGEdJ/p0WEMrq6LIBe1O/DHpgFemvjO+A6T0phJcTfJL/BaZcKM7NMnYEl/GhSFNBYCLRIZvuhiCN0dXvqotxA0YiEL4CyhbhSOzUWuJ7hJJVYzJmcEDR/N8L12vSr5JYh1KHuPApjtyd6gDdFrbJndsoO3h7xPoPYgPC8i77wzDDL+9Pp/fOh3utsCuzN4wfYwCRp+L4j7DVoTZZE9f0mjNGfi+QFNWus6txziSaM9XAW9ENpDDkhnM5b0fiYJN8ymlqeaxI+33J7Ibm0F8RU9zgYX+JanT5NjnAQXwt05jzi5tLC9HWYlTRHChd/tUX3PZapazGNEXol+nSw+aF8YUG3ROFCf6ycVnBtnxQtUWR8x4IIIwoK3sfbKzUaJSySVvJ6zftb90l7N4lEhPI6XK18zoBWlnsC8PXbxVN6TQHwY+DdgQpmQ7qMYleFQ6TR/GHrGw4Zvitxj78MncOX+BF+sJ4disvQujfSRk5g6GlXCFLU/YrncOtGoIDocF2vefP3BlpCF5HPnub1K2x6e5kTL5Q3vvuflQs9MHiqid9w+0tm4QBDydJn91YOlD38UwfqLc1q/tBPWPVlc4JB3Dv9pCml5WLflIUBQgOXeXsTkT8ejk9O8T05m3rCYbkg/hvOFUMG68pffHlwfabjeZBkGSR9LikYX/rcKUuAsd1Xkytxy1Gf/+gSKQHdr6+B6OHmjK8dT5BfbMx7qrureWDrOl7KsDq7mQSD13zSvGbTqt12i/JNhwkRNOevxNjFDbpjeX6Ej2iyx2mKJ5WuhzzsrJ6FNEx5oANTeGU3rKCu66B3AXIcynnDZvtdC3xtEJtHXUcgD5xUhUvoBXRrJ8cdZZ7mnY1rAeBK3Saggd/dXB/t1UiEjSYLSdJHUS0bmHxgptctZMY9qvw9ycDqS5R3GKRuuDJtP/dihe6DNJogjWpBrNpPtYoI5jNRy6jUpEyvioD1puk2yrEF+iYY8TbFV74vvp/QSPtWa9TkoEkFkyXvYko2yab5919i+R9SAP0PkBpXVBdByc4yH1IotCAI2bGt3FV6+npUT/IYJzbVK93Qg60s8jJ1lsGvIYQcVjjV5pMS1nWy24NuGDwNGBKeE/YyalwbGQs4h4OxdK/CM5MyX5EoHvhHKwhZMAIhsSroLpzgeqgwnwewnFaOblxW+kJv+YBXi8yipJ05n73JjpEfhHsB2q1zVka+4PeNfedSrBIYhauZCzBjRs74tERGANTk7mg9DT2aF3iiFE7az2YwQ3VEaAaNU35nWt44ohcfMiyg93mW/F4406CRzP1VazG633MOr0af8ypN7UlRKI4u0PKZewZl9C5gLlJCUKdhV2/fnLG+lt7CQ28nmlxH4eW4rJMABrepHOU7/1W+lLsZt0PR9gnX6iMIMn/DY6ztpnyq1sbrv7TQwnM9NdFhKhwPrkzNIy2CRQkO6jirFrcSVLAsMsSYvKP8+tGNTrnHY/mIJ6+zsnQu9oUYI8U4z30oOi30Wsy/aK+mPSqqodpKmd96/pyo9rTyKE9NpLr7a/ye1xH9fnCmXhMYNZcm1DzAdEM0O8MkamaZE6Nod7EKwE5uIIwcBNRc6MXu2ou84pAQxmpEo+RLsQYpx4LDfIhDEvxGSsLh0Ha9w4xq1+6tKzbQH+2DM5qhzAxKUrgPXe2wFQ9NeJX0BRCN9hd1VuQOKBCYxH1MlpPXOmZqT5EGMFaGtaFaSCvMJVCKeeRbLIGdWENaAc/fJUj5OI8fKlGauKB/fHinFku6n9AY9IL90Socse+/XbDwY0+00K9EOEdZ6IY1QU57Udk+KCARIsShe5RHzfByf3uTwhKs0mFQqN3Uveb+IlrNvd/tkPuMlTyU3pslls9dAYl+gDpAITe6qkp4R78MDjvc1C3MTWeFBIVwRoYTl579DwPprup5O4G0np9TCoEStUJ7Ipo6874EN/267rUgunkI4vIY8dPZ6Bh0rWKSvdPylQM25Bnt7GhAW8eAaFiI8Dbr1T8dLwIu7Q/NvsTF8rRFXH1eWfC15BKSElEodAtrl9uYKH+NUU/nrjLtSVgNqsqhI2pLCv3al/d8Xld/vptI+d1DLOrXxyfyBVqtXR2GtutAKbve/096XeYtT0E4nCyQMlAi1jYaAirJCx5WSC5kOriIpFHxzBel/EEFWn5gBH0gOsQxkmdXFlHTyZjxFqq6N2r9Dtg1MU4W9+2xP+RBBv8CuRLjiaOCuTybqvB9xXVVz113sVzYjPQZ9+GwrseKnFABAi9pufaUY370tfmQ7h7PezgZvoiYRXwvDiF6siL6/DFxUHsZlK48oe5quR1QSxRv1R57Z6VCjOUGvJl9uCY6j7Ch5fs6/kXumXA7KxFn203DifembQ/2uXmUTVZGJBlpIh2Letn48sw9969sdC2lN3Ca1TkAnzq7+OSMn+kvBPCzdeMdIp42REMkXDxK6BC/PVE9DAAKGVB1fbkkOck7y5PQT93HTOEiOxEV+8SHlSD4tfqmC3Xi5AwjgLsAwfZnTMalhB2rtEVpDCmtcBYeU7LeXL14e9jj0Cf3bYK0tIMmO4trf0+f0VNRQSG9xl5TLQvs7fNs7gZzjd5MQQ2ri64WaCi2xcy6AG4IhxGu4NxWkvuWB/IagVRD+vdrG1ac4U2rhHAk/ZV9wu+4BjdxC8+URB8MISJ4bgvl5AhWWhkbGb5qzDtsEOu2qseyWmhhRu+XSnJ3rt14cQuyYvrVsXAPpUeJna+k0pgu4KMJ7OVU+SY70qRcTonu1li3XTNT18vyWo/4I/ghPKzZZOeNWTiJsp0ajv+NrWzJR7AJyXMUBjKAXcJuLXlbbWaiIstjQtKbZ8uNylGXfMFdFR1aTHq4EbrQAIwBiFEgF2qK79647hRWSXzloBCXtuDmvd5/jO1O61bAuiSc3yS2ZzpZSkqFLJ3JsmLIToSCXt0/V2v5KW9o3Y8jHRcnt6ANq79FVwE7SWzobsXAnv8yzmKEToq2hqkBlIJ4LNvKZihhUL6BuOOoi8lJ5EzOa+3Jnuht9pFL4ka7GMgU4fDXRPoWX68ef2eRF3k5Rtl+Ymop3pVnXAwn1Iwb5JyynlRf7dyyT6ijbiTMQUbCItutx8h2GTuwPukRX5IOJC3OBEMshckNsBDGJDEmgFcfI3/gDy2dR3MTT5xfJedFIICxxSH4SIOD2CURI1UmSiZBqWcyeeuoxS9RFrhZ1yWd7pmi3kESaB1XGiTESgxlpPD4XYpwmWGU6VGerC8p+r29FiDSKNofBtrqAUJPCJzrmOjBBa2N+ZPLMpzA1xbDxRCdvFOU9siSlJniGhJyYjCYjTr+Qj3lArlJ+NY0Yx5eZkr4Z403LQ+r+WXn8hhjsUCpW7aq6ewSVgIuLWuiSBMkWlPck8VtebWgk1pzl4EvlOLW1sV2TUTLMrg1KJUX5VqQCbV3XWMWhfA2EiPkZEvguqmg0VDD/FRNXhnfBUD/VrI4/HKUc6t8u/6F731VFqc2E9IbOyQHph4sqlzzXNcrEnmeMUpQknZlX3+DkEI4cOImyRWlVBmW9VULjAueljL5dF+uDqnwj8EPNAI9K2pd6k0LLmK+n+fZnNSWAysqBEzBtmkSGDDEoShDdcSAyOjdBKtg0dGle0yCiF15T4eunU+ZkmUbjdYYPJrPPWXw0YQ1AYmkBjMWkT8hOTDyrV80FtOXsH4wVTpKrRnGLlby4JYzBYY38exNi+6kI4dLtxitMtONNbbuVrdG9k8fPR4ivsSR9e2npmOcFjw/g9336Nsg5HX/gvTbfVDQeXHGW/3usCxwjXZ8OH6h7jXLviutKIyLATB0Et/brrpWrdUGEJIxa1l33yr1JGaAKIR1kge6v775ALvWj/YBZjjbayMnDF5LN5hVh4w1M4BssORU3alv+GUlg80dhJYtzzsulU8P3kzyRVJ5ByuD4INhxeOMwi2vwm6iPmYN0HV560QCVQLntYGswznKCdXERW3dCx4ymQ3yD/PRvQsQ11AeA24r0H/pXtgGJfyLMckQZMV8VfxCiX9tV1yKCq/5hObttrSb911BXQFPh3MGGKjNe6OsNDjQLMcOmmSsN4rnFIPgqKdrvhDLF0MSBAPfCanwEfkAOb+e8XezKVdemmSMLG0EipKuukt0VNaRFhrIKszDseCgGxBkJmchaikwMQRbXzc1kvAkpjeRDpN+V+W075GbNlTDGb0b5vC2XNJ++bcryVKRZvy4lDVa2sWjzopSAXo1AGfIkFjOWEE3wJ4mMUHHD9rPWD8714EqoAdV6qS0g2QQwHYVShN6EtoCEO7vSntKPLRPtD4Eyh6DppS8FBBTtI3buMDqyvtu0MYgw3wukcc53Gm5W1/sFRgt6ldWZ57iWfKfaADba5Pis6wlKSDw4yPUei4V5H8D9VBiRqStzG0BE1vx/sLJfCLd0PXXCgzpY4qLjZJLUvECu5v51oSokyNFJK2j3wmMBdzMAeAXiMn7bHTF8hfRxg8CAl4eQ1iunzsku3vX+U0qCgFyWqXb0K7pUrhx5d3YatNWFK8FrggMIjRONGcuHAKL3V1CjsEXNDZ2M8nHD3RBN/ehU+pSh+/ug23Wwzyj2zCyJ4Iq6tKC0jy9zhtIwi9oB+ND32yUvwSKf9sqrLWmv52nP94aL79qSTWZd2XProVmH4paZPGBrCHfct4vd6/BTmK0ameoX9ZDzPsK/4CYnADvlstrmepQyYPXg9xFlO/3yWo4YX9u8cYR/LmQqhoDQwdHAPjjDQInIHu3pEeNm6Z2nCKyaT6dYOTAbOfLsv8Iy5mXQJYy/bsuwkqqmDVzCgJslSfLJJCV4bfHfu20PUkXrEPuhFEWSECFBvD2SDWO+MT4iw62IM74OzLNieHMpFJIeA8/Cxllvq5lY4eoGobiFieSdJPNQLI7wy0HWryBaE248eJFUMP/Yx/oS06cLomV0bypB7LVveQtX2mhO1DeuaWg2SzyeiSaDnOYq0rdIBY48Avox5HyLaxv7SWuSx1YDdpfCeOK6Xw4Kx9y+4Ag2hMQPjekKVHL3baF0zoFZfcjH8Rb4MV1+pg6R7otsnhquzVRqTUt9liWSnLwAiOBfV55XR/IW6SptJT1C7VwFBUO87xp3AZqL66omv62xKl0GOQykhXsA1L7/K8gXjoAmpY5O5V6w6h9j8ZXAg8ETFTbbOmPZt8vXYIcEU1K3/NOhvAt5FzQO+tWPkh/Ma643I8M8QYoqF84Wqph/FruJuTsGwfkmp94lEVKI6Op5hq9QxO7KIaIId1AtXTPChBYZ1C6/zeSamg1wtDgRxAUKZtxKdSVdN5A3POqfSLnnifq/sDlEm6CO3jmhjbBsl7Hwt5G86SxBhjZ4Tb9ASHxKn0eDtMzbnxAYH/41A7WLPw2kZWCFq3snxExB1rncIMyIqsXz42bDYLGHD4xUnrH7aiPUkQJ3uBJc32jE1gnYUzFyLN+9/mN2yQEnEaUCQy0j8jUqMoMtjIon/ibDPBy2p3ioc2x3EILQYcVtheDDX8FBvQUZ3NJAQUTcqQPns0KEH+uPIl/N6cfuu8UyYt0mu+T67GmdqAO3UBMuldRh5sznsEJzD5ZM6v9lDNdIU373y3aNES2kVs3hDx05aR4+kCcWs3Uif+aQ06eLObKvd90TarOBoi5Wfzr5IvrH84iswFsSmmhvgf5pGiHU0i5LFwHHawbL22UM355lu40mP4oemyB2cFUrCfA5IrHUiGEziiNdxmwf4Q5LhUuD5H8IARXGhKIBd8o27FytyrPakAu3OxenLm58y5ISBZMehYOIfN7LzQ7Z8WcbSKu9GMCwqJcy2pT4aN94IP334kdioOg7JVEUVFzmu4xF3trUOPVC6ezOH87cOopuRB4nijcSo99EUFTLwYrJwDy4uJaUAt84V+8TVwklfUUVti4YvKM/FP5TRMwycs7ihLQ8L8duVTyHZfcXSC48lVs/uk0Lo37cmqDH4/LP7pC78ZqLzRAdJvkZ8VshP81Vupop7dfIZHPPPGIpCfGqTw+ZXta+DosK0ylr+5s2PSDe4XAwwCCXOIzlhKxe+KzOYwbHJllQ3IIoxeyc5IDmtOL40PEZFfrYk4DdDC79PG6nxek/sJuUjf7x4LcbuyRM+LPIoqQrYs2JWLBhWytsbvKHFa5XpiV69uD5K7l2lhdjKdAhBNv6GdSmSg1LfSE4YVtsn1iQwvnfs5ts+qSv4dzEeHpKrl0MljQZi04C3zKO9PHHS7EDhsRQIaYjSna/+i6k3fxfkIkX/qsyT5o7hQa4vf+f1kkDhU9L1aoPjsMcqCuIAURTgT4os1P6H8a2wgfLQ1BG91v8iQV5SG42RMbtXG84LDJUgwqC5xGnnyPIbJZiFy0fG7WU5CEuHqiVo6m90koT67HBbzzeWrupBCFDuH8XdDp5D+3jtzpQwAiWaPeAwtIyC/os1KZZ/Ek124AAHaZqea/PYA9HmPSPQrZFk7D6CE8hwC1xvatsZsgqZy4pVhfaTVcDx8Vp0rFAUI8rfP529vUlqV8Dc5KM0rm/hSqN28Ny8GtrVa2x2dqkPDpakM0ulQ8xm+swkwm6rkI6jTbtmxnrnfrqoB1uRZkKT0fU3rXRM4uAsR7+aBHAIr/7l2j9hhArrkI2n1596RGeLqVy6IlS3adPAqnS76otXrZtskLaGahAYI/GhNT0h3zhMXs0+5N5erwyrGHyxh7NCF50I5XNLSaCJR5/U9NFEZhCf+yrebRqksBDhGnUrfg7Ea6hwHF4AiSrCSHMmVMeypJBQxwrSLprA7/Y9n1AQFi6gZakTdk+1QJTt5hBpEx1E07UNDyQLt1Rz1OSIEER5rW+kDjRiIxQaodRt/mDaCPBUwUX2pWh6GOVe03X8RXvYIvrIPQV048eBU5TWtYI08W9bVwGB9qSdOjPSjduJgvfFmrKAnIeVFBfRzXzUc5vVXnl2uTTajia6Eapl/MLKy8g2KwQO1/2cKmHf7NQgh/xobVdkR6rsdDDY5hjNsbYEmql+G9hplGDhUBL4KqBE84EnjMZPEU+uaZegfWvlxww4eztuReqN4zmKKyNsliGV1rTn8OpuI0pvq9wFq5Ijm81ooQnkVEOn3wh9E5JiiBND0HKd14YKPtOE2fLDU2QQ3PdSqfJPJps65AZggLRH6pE7//GwGMGUP4PYfDJ+k4LdaJQxNpHM5aVYIAYOJmLD7NdKshg8Ua2k6RZFsDil+Co+rlDyUk5zOtIzIu9Hn59TGwbeUEASgKo2PfZazYQu15ICd4oct7ifxvQc7NTt75IAyMFkDcZgU9rkO79N/jj8WSfnWBJFpnkvyDDFMI6j5AhfQhzrjASoO8JChAhoFHYoUwlAE5aiOWBPNk9QJ9qVKE/4RO6hkDsGr3WdvgrdCMGrDVIRqsVY2qSB+QGwhtQ6SMZSq9LDuRJVwT1JH2lnvmiIfIUnRV43FfET0d908/jojFKvj9I42jfRRoif0ZSrCadwmHfLviKGbiDShvFXSztY9kWswwsvG/hIaunoZRv4Qd3zlcVKZo58RSMEZEC8kQLnRDhNBgeUVoyzMWZuuhGFRp/Gf3ZZP3W/gEfsn19Taul2/H61/wyRVgMDnZLQcNMlo6YGHvcg/lH8ww8BQCoPLZLA3uhs3Kjk2uZFwt0fIsxVWJtS3P1tUzoqycNc881dB8073p5ymuZ2pXPrOyUwUnUfp1YfEGDyfEsA9SmGQtSOddq5UaqgGvOQQR0C0quaB274HhuD3Aq8vj3KqcuxpkjnJ+2Ww8iFAemsZs589zcR+wDIbR0vxHdTEHHD/HfC3ne8BjqXCcKhanVQizveAG0m3DLokhSAxZesBVx3G4AWudA4RvzYm5n7CBKq49W9/AsGsp4Xfulr7lu6gaZ2eab3VYkNOx7QIoxYPzPT9VZb8f7lWuSGI2OB60mVFwNh59l/uxn74wweEv8sPCUjbB2/kQZKdx+WHgPUnoiGwLeWpF25BHazusZYSfLmrETHijXQC0rhVCondRXv4/LXZEh08Dos3kBVv31oPW3RUIs9osT/jDMZUnRW80n40PwqsPpbxcCxMWYJ2wGSGbZZZq+kfqAU5qPn8fZkj7ge+jWZ4fpeFuYs/3dwY0spVhgqT9dcUBe31H166KJoG/eN/1SV0DUEuspi31VLg5hV29LaBNMHg2WNyRdeNCjNcmPNkoBDCBETVjNp/yHnY+w4MEXgOebEJQpe7gaKsGvM9FTYvjtfgQipXGqno0vh0VgeQlt8Ix5GPOOYj4IncAJskepkpJQhmJrixP2x9rwg9qIQQ/csqzdn8gs8vzyp2l0B5EJRgZ1SjJJ8/KgmZond7YDGHDWdJOfRWo9lwRBN5lHW+e9DAPHmgcI3yHAVJYjlu/1c8SENwTClkByz80FQ8C7ze43wkWN++624fd2s7zNQpZg0CmhLsyN46Wc7NMq9hFi4eVcwFELTgSUilkicf9kDOo509vWpxZtUYELZQMJHH82ellkkK7DBg9cKua6lJd4pdATGWNGWRuVt2CDdJoY3QAlXLZGL0pqVlOqHGBXqGdb06Wdb3rwm0gPAWA2sos3HVGxXF4PXdMUmnmz6qggHsBr4+x2/w4v1+7CVtsD4FtcdmUCMMT99u70pAcqXboE1qjh5LrukFn8CHyesWB6w8OwlWw4ovPnwF+PuyU54F1uwJw2kCCUOqqt+MTlY3jbw+ExnnAYsd0YsMq1i/2AE7tB/SDaoV1ZCxny6kW9x6TULp7n81qnv1qr8DC2LjQqsDCcr7zd3JLrsYhPWFf50vW9uK1g55sNgqhz6IolgTIfOApH+Xt1jxJfQOkCcqQlSVhueiM/FjiR0TFxeGlBpsDmXGzc78CM38kDW1UC5Oyf1WMUHGXiGY/UvcJJSx25meQfU7/x4yjP6vyAbEt+jOBokWt5JktVWI22qSDcFa+HfX9LgcwsCihruUjWtQ+RHVLN50PcEFIV/IEKW50czIhLTn0hy157wJ0YPqRrcHieNDeszQQUSNW/AsBtCfLZ1vKGuTo6F9ABPMSfg9Car1AbXOR+FQePpJlvLYw+m480u+guhTUEu0xOW6huBvF3bEOKxHUnNftOovYLOHgk7mp6UyC9S39RSfFbgY2ecgaX/+EStgeVp5b3kw7oMHcXgVlGa5ITQC9S+br0Uz4RD0/IBuZ07E2+7B/UVEPJPJOgJcI1YMvJrzf3XMuovexwB1rxm/fSL+d0mVSW4Dj9SXyHzA90F6MH/S3Lxywd4INzBqiuCNyXk+cljaLr+3o53CjKnGtCN+KisoaaLQptmKgyzkPiAur/E9Kdeh+hK+ctT9Hdo+3kM1fhW81HEheLHl03y8DxqW/Jgsssvr7GYM3zyCNEGM1tDcjVvQs5uIWzcXU3qO30mT/E/xGxKGKD3Iz5jcKl+r93vG0H8g8gPxuDf5WKlqn9jsffnBI33AER3O/Pb6lhWaHphyYXpVoOIgovRcuRYTyOEc1Oe1J8+Q6L5PleKSOJUPKv/0FBhjdUqi3rSdKmHkYUaAxO93kDHtQRMHXpu/lz+w9On9C1HfVI26YPuZBy6R487GyIBkyEZmZBC1j2SxWxhC6mf1ftuPHwV3hfE/t1uh943W6pWZ48Up06f0wu8O39E8XsMRnzXv3+BHOKafVUqhqlEhE/CXs3gCgRuZD9yyIenPSSX4xA7szr5oTsWMM0XTTZwuONMMhocz+gR+yl4v2ZeXZmQwPAuzycXnp7cicsgXs9B6Q+Lh+UTI7dJmnsrM/VyfQ6ZacSVQ1vcjX1u3p7wVt1h6MbkFpClj1IEk2bLAfgaN8WZpSXs1xTOFxZpY1feXkLGY5MIxDWQJWBdkm35z1ZE4TaW2n7+MUAucovbKWdn7KckglsWSgOAkK6QOYmPqY4KQus+RFIhF95wj7Y+dwdfw9pFSHtVVl1Q2dW1yi8xhtbiGFtdtB5aH13L6a+urof0VN/mSjx2zfHteGZRSv0ygm2T/hmITjymrDgHAoXTrQl3XByX6v0F5nq+rq6PJDIJpmxRMU5OJQZmlkExO1k1rhdhkmjADPU90w3a8ZQsgeLeSq2G8SFeO0CNpwqEpovjw8jNFdcXglQRNTLaIch2HPtKN71wE0qb+tCbUZKWwQmt7rV8lhez0A/RXFyHJrVapfEKDEQJ8+mASx7acpoevWLQ6diiVYXphQTNS1AETH1Dehvyrj3ZIKJCueNKquRedeekuTRX7iDnea0bbqQW0CosRD1i+iUapTzvUswYlv/ppsUEnhhvbyOyrB2lyA/2cPOXidbv9gR9FVvUD9OmJetHy+hChgWsLYrurePAVDRQo4CMvn/b14z8b3odthU0LqRonhdt1NgUpR7PLaOzidW02xag1OdXaRb2iDhHPAuT/biXfeH5freF1TRcXlmMJeim6oEFtnbXm4UzyJjVFalRoCEGXqK4g1mVbvsPvPfArwPwe32eMSZMbrRYK99ZjzXGqLvVLOZifiSmhDO6XInzD+OFqr//V1BPQLOpum08e179WcTonjCHLFBqlidKoSK92RjE4nueGu6NdTuTg4aZ1Bj16eM20Kw2p9tEtyWXcn/nScGHBzSmGtKmfI/cX6igO8u7YnesWqvXk5+ipnD5zCQuTXL/RS3E0jFpx/PmzBJGYLuZjvcWpjxB5kWlxsUChznHaDxTlLTkXKD9p45cOqVNDMAszjPDuh7nM/kjL40nhlZKir7ygJH75+mbTMJ1YLZG3AOSZ9qjyxrjXP8pKZK9Lmlgu/baxy8d7RrvXsfa42uEI2BK6UFGzUyH7j/uP80FhXuvwLgk0Uzh+pR6yuS+1Owy+vIx1//D1lTVM6+XMrdM8CURRkA/4C8puHIq1RgN70gGCtERzpdhHNg5S5jHIxzsDmvmkIvhgBdaWHjFyAK+OzugmyHqmukQ+w7vQwNaGvRdY4aJLwgjWRa6gIV+ynu0mzb5UKmNkEF/Q1CE+LcDtgbdBCf0AUB5Mv/yn5aoTdEK4g7+Oe7PLQUieQzHdiSMRLrbERsZ1T4crB6Hx0GY3SmyMy7VMEjvoZRBs9FyJ0bgzYIJDwAck0p36av5WVbv3bdXyV+Q47UI7f4SNtBslfuMGzK5G2aVyNPtPwvy1MfMaUNUDtGuPO7QAdEPkuKBG9IoZYVRz3AvzEqOqdviW7yA+IJQMP4y2f6CiNVMv76cqNLrfAg8X4HKubI5IqJ4xiSQUWrwEoNkw2r3Bn1UsJU+rkqDQFBZsGFoz+2Z6dp8/nMSqeZTZryqEo/Bl9C8Gvm2yKohW42syOdztAQ8gHeRToTQ7zXaCdaY8wIFwIlPAAnFN+CTFMJlLWeg3WazJROINkJT4UoctaOHMQu77/KDm1lDmC92pqWECRXbE031KBNwwybSFPwspJO9kjAR6NzHdY1bpfPNvowgovAK64AZAa8nYC+qlwZb/ny+R2D4PO/CKXQa7lDP7uKIQrbzfzCEeD4Gts+bKw3sQ7P/ZegtyZgyU3B5Zae1z5wxXy6t/yqF0/UGtWp4PVflmsrxQepZQA+9L4Itnb2BFyLtM3WQ524dlsfYlkK/L98Z6OecRGb0QFVz/IjTVEXkaSc096LTLL7mubfkz8JJHAsRXpIStpf85mltUq9NtL44XYRkU3URZ8dwlaHPqO0bHleowyNUKn6sEnK6D+bY/bJTIUelJS2MHnbGKRhrZOxgrs6zpiLeuWV10Z7IqAiPwY4vaVWY+o5T0CAXz95hnXsZaMBstIQF2DOGISVtZPKKgI8Sv9kCQ27c8ZdRSY9XzXS43pJfSAtDdZC56beaMUMUxIQPlodOWcz9bPU6uLYpaoi9e+DhL/VVKSaQmtyBqt9m5KCkGKWG7X6ndm2ml8hX5gRAZPl5PPUMS9ARCoqTAo7P2MV3NfNUZjL4+cfyB3gk9lF0TzW3drJ7bH499JcDflvgrs74i/wCzBBxJ+TaBlomW6qncfo55SKE1gX1ZQjp8fQASFtbx/PWsEkwHY8ev+t8NyoQt2AtVtEgbWeahWar2k/ASTKMLzUNF8960Y5Od86z80HTZmlHi+4Qz0c/5tCwEtFHeyYEbf9ylkeS+ajpxbqfhlzqDKVVGryFAzShezCyjpdmeKOlh4t+P1hFwDhx3rNLRCq0g6ojU3VaxYEISa1xSWEVxv/ElDX156JDQTT1aMwOsWyMNkA5J+hpGIIEPna6LkpSn+v5wKx+GHpl8e/rs5ruc9auRLZ4u9c7SUioX0bURi3x4Fy+jgMe7A7lZDqizUXxMR/db7494bDg3rLARzkw6xIW4eRiROsoFdVrFlfmyP8RqO/RBq1YtwZkAWm4FHrfrjv/YAFxP+r0mIWUCz1/jB7rFCVHX/PnPGPO2h5MgT3U/+L6hYAxGP3BU0acyH3+QkOnO5c2c+5aeL19e0ZVREW4gwP9AsQXTqDQpSS9J/ngVM607LobGuZkJN3ijUC+g1el7MaOXkG68nbH/5nnYX9gw2IVmfWkLXyB5ryShf8/iI6PshB2vpo8KFwdcGIZ0tNhfbbXQoZD4HGxT1NRuOwhzEHkRo3UD2puYqR/oOPChgTBaH4x/TRlZixlZFssHhsKDsqJBUaeyJo9cbBmCxaDBv553KCTRwixP5URdmXuVmZeOX22Wpk3k2Vu2BOkj245Nha9BmRMY6fm1/QXMF9I6g7NoFblFgJzzn4o9VYCzki4F9AqLsfyZwr2HZkCVhOAfbWCM9GvBKKZswT1t5tLa7kwbaZfw89GrS7Q16bab7V0HrVjvsRGzMTPwwBQa29omeLNCf6LG19RFikJV1m4JPNIPq9xWmOZnM2CH15jU+jLbIls4fDgqciXfITriyhbqxv0syoWBUsC1AGzy1ybBttnKaRkMuWQkPgPBkfefb5lnTRH5jR739A6dz/99b01ZOLn8UqkTGkVN8UQ53dScibejfU7Tz8NjuSVqrSP7c+fZV+8RsDxk/wc3bfFSr9iSAHWgxPJb5jTeUUL1d2wji5hvma8QORedQhorDFY25a04e6LiHl4XmIZqphkQIZkyH4BJ0iGf4f3tjc62c0/oyo3LnUMthU4WJ3h75uTrIPydSi/x9yeJ058HV8LDFA2elA5Mxi9M2NbFFO1cXZltyNe9yS//LxQHCjvAmNu+GrUTiuLw0norhsf1xqbZ4pR5oOSqB4yVrykINyHWQ5d+0UjfnFyZLagEINxs3vpOgBXQgeERA7LSUlFri+KP++zUm/40goPzHesKmNRfhH9Xt/8TsYwDzurRs6D1r1WGw4U59ULW9GQ8tAB8ezJb71GibFEoY226q2dnS9NhQy24gDclxMll5OvM5WqR7bLJcAGRPIbbqs64goHcy5mY1JBbi7wNi+uB+w8Ee137yN6wAFTRluhEPfy/sgeBBAkoI/LXrYAodu+WGcMI8VGjJqz8SXIrtL6oa36IECqtZBMmxp5Paxbnj77JuG3yG3LyuthV9CrPY0fvubfpQ38on6hCLu7qbPHDsKcjGl2rYlTyf8YFWvsJX3sHWd1hUU7C0EZhiRw+9wELmoHfjDHSA+QZNDzeJBvrgN2WZ6jJ2ghA+ddFlIcf72HGXHDup7hNrJLkGqbXLyWgCC/GaMo+ja8Mr0VgIPCm9hXJ6AmokS/uW5CW7Iw0Wewj3l+U5mGlKPvAdzv1ge6MgLe91zfR29Ho1JKKXigz3ZUIcTFFRxZ9XpYTK2u91XKJXvIOCjZmOgOAye8gCzd3PqyKKms/nlqcd4cSca2hZ32fic3nyE/zEfBsF2QNAQwVd4cAKBA1zZ94Rbu5aWjBHHijpC1Ksk8mA2EWhiEd9W7H5u1jjXqr3woGdTlzGDW7se+/MUBxpvocTTCoRMtJQYCOpxGh8Lycnj2Ea5Rz1qGqf3++Upm7m2lo7kBOhKOCU36xdG6dTek0GI9S63paIFkTcdlgPfVWNzexVj1RP+f0sx41vsY1dd76BYu8U7a4FP5NNwodkBMDCqgkJaGNjCxR1DRMQTqN1nyeBUgQmTOedqTHmqu+XCTGBkPgBx6+wigL2aw3aUQrOzLSTUOiYwpE09otNKjUm9FYwTx36O3KMps8fgoDZD+qJSL1MTAR9XBhkH+ohNguIPIQG3zI2FlutGvZhjNKXlU+1oLXNdEvTNwWfgzppU6RmyTpfjuJp/cFBxJNcWFSQWrW1QU8uXF+iOdIYKsDjlYn+PBQy0V5uPglJVEJXbkw67HriCA84y/RiFHa8KOS9c6/auhO46MpLpVy3acAuFyY5ebMn/wM6O0xSDSucLp1ICMcaqfO3+rbc4IF0kkkQoKkWHNJKvwTCTN5DIeT0CunT1NLgpQbaQSn5lo+UcrSQvkvhP+Ms5nnxf4AF2KyJZQMe02VDL21J9/SBtTJHLcWxHEHDU16gICU/Xa5nNK67NW7IVZ974JQOZVAGhGPB70mt71jhk4BQfbepTk9MHgwV4fNY+jngolvvsjoBSCpuNjxa33CEt2mrzIcgWySoYpFpIyzXNc2RhvZIm3PBgRH1s4p9mLBjIbmIlcO4lLzdUfvGdRzo0O1xAyqY5hr+NZYgRkrVgo5Zo4Sa2YtJLD6AiO9+D2bTfy57fhpyVbPy0rExXlp5xE4YBjcE7mmOvBC5Vz+nShpxhM2fUQ7XhnhwH7PRVt84WMDABmEpUZeAeD1vvsohYfhjzFXSO238V6oAsGIlDwUnlMHTIG4GT0Ex/C7rPM2eQKSq/pU9ZCKk/9p997YCAER1GKm17baTlxvP1uQNbyCLIoVMvMmLJn8fkAlVQ4Dr80MT7WjHphbdfKMnA7m32reWUfob5XnBCNPeUjq68UD+MzK1WUFpIHAc9QyGYCyjH6ceFj2JiG//1k6vHWBgH3QBLZ6QaSi4sgdWDnKFjmjYWCglqwjLzFDYH4SFJAGjMOBNRylq+PspEW/LMXS9/7mkNFyiuIu0NB85ES8dmmYbs3bAwdFJuimrJCFQyr0WbkHxUXnqQjB4i8FGaTKB4zCAZl7flpDrV5k+OoyfCYSzVvycg+eN1Fqetxy2/FanojMzLiyjC4W1aKFgT4GtPFiyINzZMnk1mQ6kQ/TL5QIxdeaECEl+eBOOQ4k9/W79nSFf3LNM/WiN9IWI5PJy1Trn2CDgC7sK96/XIO7ZajDX6SoXBcmO3WbCW5iXm9BWzFP1Nb7jQPPdYMGu3HUNsimw6yD4aFcD/XbJsR64F//z52OgtykuvwOTIFvcnUIpdXzzY94xs0Et559QspxCATQB0m9KAkboy5lRTAwmYronhldjdLozDSlFY+rNrpnZR3F9MVQDT3uvAVt+U7SEN1CBn/S0ZW2u5EaCpG2zaR8zCIrNSN67RDLqsRdTH86sCM92LKayt6tZZHXfBaFyNwf5RxvJZrFeuGrupFlCtYii2fx7BrUpVpYx2LBs6g4HbvqAGiBZ6I9bgC4ss5le3+sVua/tNmg3e4TXyO98cj5K9pgPQksSfHMUnCI+ypWk8Su0HAVpjxFoxQwQ8Osf/j8EzapDvIpmqB68qsho3+gnm86yKsVVkCIXOFxiXnlrJzVRDrjvgr8ZFLYRe3bbxzRGVjelueKeDiOIxoobdCAe9pK1TqOzKsKalHGSrbDsAQ/P32ednVa0bmNMuX8uoavrQ9Ty9ZZupLoDr0aqGvha1ZCBxFhf5IefDXgs0VixvFP50HOpPgTKxOm4Ys1//Fw9lxPcGwpja/WjsitbBQxCzjKojCPSnFCcjLOhYx7otiDGHzBERuLMNZd9imU3KM25+uQ1XVRcKJNj6OS4MVSqeQj+nP2eGi7yGps1hOM9psy7+kCj7NkuevZdb6/YPH7FY4x/NePIcwxpWc+rjxKiXD9lf2/PR9Zve+bz1CvJtnwouBrLYCzp3ivylpoTUvuP/FJesPlZqZvjJs12hAUPPB3LVzvBcRjXATBEXNd4uc8TjP8yhm+bzCREiZx1xhQEVhkTqWtSK5dOoyrpZSyQLCainPb7/90qN9sxpB14T3T4B4e8QN3u+uEOGUtXXMGn7FPVGI+1fiu7sAluPKKO4mXjhKKqvFG4mbbxELa8P3f1cuRQh4qkG2zbbJWcAN6jIYsYYtvOIKLMG5fsh2y7k0T1i13EG3DVdRVKa2IKiZ9gqSFH9lLTtR0N1+MB39GDZIMx1zMi7qWJnWNOvngbj9y0gLyyFW6gp492VXuD6m24Q3LO7QQ9U255MQnHC+QZVyEN9PHLXpOBq88lr385hxjcdIWHhNF+k1EJpmy14IZsdTT0rAW8jDzo2o+9Gy1c7blXGt0ojMeEoLwAe0m9tVH1llfIyLXjr2D9ssIvMF+v4SzNky8N98HHB+A3rhuxSoIG/v9qpUbUbu2qmboPcThfm+m5Q5GXl6vCJeVQt5+Zpc+wIA7q88s1aLs0J5cokCYCk5oTgS38nLzJsgz5jYJXmh/eIqh67DIK9FZ/+wzGUXH5JnNBoRvgKVCDH8JqW3BbXeFlAAoZws06FC4IOPiouzALvJUEPiAN+vKoCFxwlgxKZx+Jng5X6+I9JtWr4/QFEkZS4U2yY0Ym4B88YcEOki9YR3t7VGE1vsdulMb8kn2VDqZVxA5sC3jDxBNgaoRxC5spSBRKXcYFSSNe1IxRExhYIrDEu72XevLiJsBImMyZVrXxlFuldsSM4KBOKWtZlyCMQcSIu71HSIrtCoFpjR8nFAwe5dRnaTQnYoD23t2EAU1TcF6bA8NVmcAmxlQC7UtYn0P5sXDMN5NNDeFdOSNnkZmkv/e1KglkFpdWUM4qkUYiNnws6/Fi0B+GRAuwoZLnFylyfJSHRCMU1A4iiYcvtSvJ+Whn5xtUkGbQYCRAezi7+XU15YSylzg19ziELvjAKx1Y85bqe8d+PeWIwo/DkpWksk5jRyoVXiJQUVLcioE8IhGMBaKeKCurmE4qX5RhQvTeG5egjoCQDragrkas4SP0uRBrDhHPmcND6gXwJeyBVKt3cvOanTdjcCfdD+nDAa4gSrZWhN/yzE9togPBRZXZnxOmyI8jpRM4Zw/8LgE7QMJ3giwFKc9CHnTTCrtzg8feyGIYDsJUnZ8MlvRKGK9JP+jDpcu6/p/iNGHKMtmm7ZB/6JJFwC00jbSjmlQ7qBLv2lFRyBqqiQg0Y8yL5rOywW6os4MKTqHsZ3i50OdZ9yRpgVe3JfjSQptRnHAqNif8vDX6kp7xU43kqzjgwSjMptkCHbvVyhZ3XIYobx+JWz4DdcgFCeb9xL4nypXM7CjTVkn18GMCDYmFPHZkKpWmYcI6JPiBOp2/4KM3hSIRDFG1hbFcagEIwKoyD6Mgg7eUDGgOU8WBGgm5vM+u9GtAGPKA6eFNqPigzLdpbLE6/YXj9IY/apLhrkBUjuyebJvolgAbAopK8tCCMTirZf/q/1zUTougb4qafZGElZomYZjfWgzeq5Riz+UIDy1sLXJr5s4zNNWDklX2j+YV2f/jSxwkVFjPspgwA2VvNDbR/SYpXwiQhf3P20im92yxnsdERvqN/YdgMTFALywg0XPzaIZTDnRIvaD1T++VYW3LQ8imkzFl3YWnXpSh1cffqswa5/6L1KlbfBLgwuNYf6NqImG/uLdvs4AG1JXP8DXUTkO4b0HI8Mg1Bv+1MKkSsI7yoBUzQ8ltd06njFCtQOlMlLRKoFrfKshcf4TWcBSiy15FJx/nyYyDUYJ9Zd7MeVib7oSfAP5/GxeFCofLoMyhUjEPUQDXDHQrrHsnRvM6vXHsQ01swxwEAwPfw++Jp6d1G2AOqJwkAgUJ6vRC5PT2J1CvKkgSYiGhhCmhLpdnfFvWJrc3jMBib5SBiPOtDIBb+rQo5LOkh7fbNsskQzO3nBX6J4xwREDvFzyUFBziMCOHK6RMyZfIEJvwkZ1aQw7BLE3Z59VzWQaAuDZmMqKphcIuEqHkF6a01ikLo1y7tTU1qVKg3LjsN/IOmCuzxQww7kiwzdYsUpHosFwgGDTakdj/H2zG5S6CWJrMcAEyNzOOMXd3h/hoolOBZoklxE1tx9FaQvZdQE4EY57E+DGmVjlZZ9+Tf97KrV6QbwIbF+rn/mWjpv+HaugKJ8IYxMlXYT3rYVARsPE7TlFBx1zMHY/EGPdUv0BbJDos6KoeiXFPWJHayjsq/UihgOLxBV6Su2LCTYwrAiJ/lSFHdCSC44AMdWwDsEuJRh/9G200A2SFcF6RTBbIYLJnzTUub1bFXbxA6CJpD+crL8IgEecWKU7tORVPH29R1AW4WFj7kF5UUcE14EYwuRrnkDJWvFBym71EbEFY1DPOJteD3Uq95wNnIGP22dOZhDAI1Dk2aiWGaAZyDjV1xgZCGLqwrLy0vzr/9ZGB+MZjgHt1lPMQcpW20p2lBPYOQxFMPV+JytW0cYy042yOAwby2I33p8bUySsKbE85kAyyFQUMR9jnkHQzsrM2fRD9uiHwast4K4NP6WzBE+o/lk+fhKHdAait7ABoG4ySDTCmHWyta4nNcPjUQRz0GYRFjNp9Dq+vF2DzOZbkG8lVIGRyBrZma4B3fLnvppoYdDMJb7xgTi8GuwA06x293XU9PPTm3IF+6CBIzTChpp76SZU2y7gkwqFq9CFhHnAWYhEAXpuFa+6JiUTqSTaPKcpqjqu3MlLAS15ig73TZJbtK/egJmCIxgtS8Mjb+rT8tPb6qJEvBWjnXyc5SKWKlIhvy39BHYoOhS2JO7DRiYTZUA/AIIRgJz/TYx1ep/EShkzOvA+z5luII6JRMQbhjfM+oatsC2EpH6uoBMfxmRRg6b4SWL9cjBMqHkmDU/k8awnele7XOufbk1JQOgLfCSEmOA+8+t5txjX0slE1m0BlLLo2KwF9Tfo9gmOxBh8MdSo37siJinYXSM485l6eGi4/FgvjfRpj7JdD4NDXNrkMb3pqWXht13zei2Lew1VRf30sjgWm0kQQCC4KjkkUAuxohNH+iFXTFcbgAaqVM7+QEwUqFUQYr4VaQ9tBftSM5mMBHg6ipo/vFQlKeY0zieJwbmf2MNZSylrfXH7mwYMaiUnD3HGMujABPgfeDzJUux9CL2g1T7jnFwXhD3myy2o8KzXp5cs4dqI0ML3XUchiDpMF/wLiuuY1Urp3F1VrhyrjrpNgjg1rec96maMs4nZVH1Khb/DLT4+3IRyrXPbIojiCXeQ0GOpQlqxZb5/yQgObcpZlnS4qDSi+HpNAcUYSyyJM6+YT9rQMnOan1mn6qhRYdTp2myNu0otsBaS0cXGmOv0eL6+/abbtzffLjoB/FUpzuOTbiV04tcyRKah/UUgLQijC7q+Dxp803QrCdwlG7bGCVLGwDqH2absKwnuwyHD5ru5BDrhOjRpZKceqllRmJpDPY0BdKa210+SO6ZMOOXIU79nGBvp+uK7Ag8dkazOxkz+AU+iWXpUIdOSNiPaaRXvCH0NT5k1oIVu6aeO48bVTiXDISJ3YBDXgGDKsnXfdtO3QLX7oyHtowX5f5RgmYfdhGm+ZWnpOP8nna8zWNvSrEO2esUB0SZRA3pEch7hIj/uVLrBWe4LQjs/rgPbi1MDArp28VjYJgucnd9vGPIVnUkBCfzIAgL0lScmmAUv7uMvE6beFshAUsptYSjVqyIe264QIP+KZXIjVX4k0EX5D5s20fF0j2XyQq1jOO/N/L0qA/Sei7owgBeyRE2Zvk3QfzoT6Ql39vRrcsgvVHV8pbVIyQLyaWQZgZtcXgEPi+qEyLlYn2c1myMPnJCpzDKEAdCbckfWxjP1XJywVp2s6UlsRDwXteRItCVPHtylK+2ze+O5ks2t4F+9GS+X4P4k24XlLt3LTJuDQtiE2wQc1lkd6eIDeS3sg14LJVEM9n21YW979VlZ7EqQ8HlVU3cPznucwrcqV3PnxOe6mZLKTN/licotWhrv6EFaIXlWBDLzpm5vvNbcVBcEBsX7rZ5qbekp7aZO35JL4IsZ/8PrG2O+/bLiBMWrZFxqeVQmzOukuJYQCyI+lZiYfoyEimQ/Hn4MPhF66hTLm4ykNcY1Fo8+ARmm1qTihZJ8V1NTkqNV3GtJBHDCDj2D/Yk5U9A97igZBvWZf5ojPMVQ877r1ViTm9bFwkk4qLAHNMwunbnUAg4QJFS3T/Lgo4mNuqVbFz5OBI+RBaf+i4j+3gH3i3BO/8SW27WWtROKewJNpGTbijAX+IereoLQGlYP7Hz2Fv1Mj3zd4KQL96t/e8B/24oJj1rddcKBpJH0vClN83Heh46omIFMACK7LyS0UxSCIX/ZMhDRTTgYZSiNzbd0MGRCe5gOON8lRqkFq0shj42rINbsrA+edLn6RNMa4aaI+Jzfyr7PvTRHQF4F+fmLShVhRxoYNon1Hvd/z4lVeKoM4essZ4qW8Sn86cUy9O42nlTTIisCdoIsd9WdgLpR4dzgrMHJoQmm8Cu5c9H9lk8ws2N2LkYsc+VC3J4x4+nGz/oN/6adx1YiPALkkFgnGQURk3qWJjkTQ8ivNLTWuvkPAJIOTAkJ/tWUIktpZL2hkTr763t+WvaWXjxJJlEzMe5yrkkA93EUOi3b8phJkuHU427+PxyQi650Glxmja0oxHgKOWp4i1esa/Fr5AXbXYDkHsmkewl+5lo1GSuV7m+BgG9EekE/+lLxomwZPVSdfs8C0/FwQ0IyUHZk+3oEBRuOkrhA254azwd6t2RIXcb5XFMnD2rGGEbV1B0yKl+MXI83M5ZRdxPwbhS/CyfbsTrzlj4IrfLP16BfHEKwtlSaz6lCc5odUPogr3XRXf7HaLnLP8sIX2x2mNjPVKo/iQwiL8dJKuq6/s1tTbsf7qzcciy8CK/L16AOMpEB/FjIQ9OJA5UBmLrwRDrgKQ0T2MSo4YnC/LwywrYaRIK8jF0mxkwEWGeQarGnSgZA9vTKrXjdx+vaGfTbhjVuFo6yYfuD2xMZohexpwrgpQrh7rlTg/AnzvFEu9MJLN5nSP5NudeW6ED6p0IWpAlYgiJ6pZF76zvKVgAdLKr5eKxW1+XWIHPSDGe+PqlTiLt8NDnnXJb3P6gkthGS3fsBLBRCxoC9dKHKh4jVoxcB867SBJkHdp5VjYEM7b81WUDctZdYJHGeHIjWwtEPrfd5ODmV3N/EZczNJYGO2Dd9ORmNNdOhuXOWEAKZnnnWxUNS41NF6amaGmyKjuO2VFxD9Xpk41erdGb73OP4shWH0Fi4oA70oK0k2GUybNTqn2UqC0vwWz/MT/DZC8kVnRALPdi0SdWPOYNUCs199HX/ypK6dDadcJTIva6pLvT1z+FboQO4m2xmaX+Q8e4gfHKw+p17zKPWpFoJvgYyfgZGiUcoz9+EJiLgYfRlgvfIetfGOBioQIWdVXX9ZDR7YXWxTHbmmDpdxhHDlKxUMMTlp7MQ0CMh7sU6Y/LhedGeuJ2ymsVjA7LGaMfnjn53dSFtYIEWkB2hhxxhq2xEXUarPZ0IFGQSC/atp6Mnw4pcfu46byqDUtOKNxYttRd3+FmwPEZwuQbSRUel9VThSj9HveYeRcbKDY0L6zCdP5j2QfyUMmMbXAKehSthszm+wwsjGoUzNcb3e/CDlVEWF3VmwPEM2gt/w1loduPgTARm+So3LEEsSwoTQ/8fhex6xwqvfhayrY5CznS1SIOaNfQmbfV5uM5eVjm0z5FF81Dtq1jIofFfjVEtOw0whwUTaMmZMb9KUsYZl+Dk58ryIKdf2zhjhr/49rK0laX4KGanNYGH84+yTwe1t+aqT9H9+u2Ow2VCN7ow1r5xs8UgvcakOEjzBxQy2Uj5NdPqMMFWaDjkAxJeiLO3wTyQZzh+uW8MGjY3HxDmKUvQdU9iAWc4z3wby7j5HSUVuAM/rPfh195+X+VCR5aadlxzRX4NoQzOi9o4nqlG2Rr9+rsfMnDFWYFov1X14zjgceIyKjv8vT6sU/t8lN+7c2e00qnEWZ8CVqZZyK/ykz7YD8AOyafIUMMF09nO9P8E/X6FTZFty6TqWNBuWYgAPYuNrRuwo2SW77QJsHICnWkJcXkKWU/HXFQdCBEC5We8rgyXIGBGNUwppgvCf0TZyzx604udsyP6Pp3BfZMUbkMzp8qWvRHqBKPJ+xoxPttXmGpbJhVDF4bDMbSELpS4aeEJQb6RbeetYc0W/+C6wrLaRNsjVbyXbmRgmGkWtfMIXv3kb6qxWFnbLvFNl4X60nQe+3Pqw+VMcm1mrSu/OsdIMYUTX8E0HPigxgvWacHSVFuNbTwTfR//ZnS248Fb6D4r+OV+/Z+XnksfAWMZAEwjqJOyKxnonpNw44ZCN3JHvavnisCsb9Sxe9Tqqmxr2CeSz/ZdwsOEYknxpeS+QEEcS/FEryPoKMWQrLYJq5eMjHlsH0oKTm3uw4FL8uCftPQcapJZukrBWffe1ZQ3MuDrE9Q+fgm2pfiuB46Rq8QwZ3ix/YEawAFOju+ezI8JBv7mBMNI0CqR2xvwOmCeJuuOjuAe5aoUdmwtcVmU942MJqlu1wldSh6Dl5egoVpVq85ijWEizsXEfAHW8qFJ6jkRoj6TxoK7PpQ/t1XGxACoaYKaG2JQzHpt2QkuQl9/2LRszX2mGXd642GZqARQkUgpEkSjMu50FnkskQlEyGsyF80qNordtse6debF0IDvgn7nIzwr4injkzF5GvxPhZExe71IcSGBcyXOkSkS8zU+66U5PgGXmmDM0sBcxh8G7J+w5ayqfMdxwJzm3T526qtswQyvFGzw1c1DUTvknL5A4myc0tbPwge8+AYHx0jIVk1j9sn+yAE8WAWwhZUG9gvmJ20QOfDiiE0eukscTye5Lfdm/0cOgeu5RmPgEJOzvvObaxlZjwGq9MgaPOy7gfZKZKIAfOIGqQyh5k7ch/MPqgmuogfTNPHOWz5Q2d3GgFO9atlbcK2wc3XQnYQytisKI8Kg6lCFFC8jwZpFd1tY7x8xquAHEQBPTUTo2za4/bcPfVgqwK5qXqMD1wJOXBTepHKxF8vWJCcV+oeejAM8rBomlXYXfWELk5XBtmYLGqHEzslpcC+bs/McMxObl1GtbjHyvpVbgtPER2/0yaNRaP+AusnpF9ivFJ/U4mdeZ+wTmFbjYUGi6ZHnF+8iIovvdzWgj0/zFHFWTgHLpQWvlyd0O+ag2E3nDr5aPnwIrgbXZqigs9DSiw48NhGMs7y6NhqJu+/GJEUIqVRXI/3HHwlyLxIQfSnsGmcm4PWwKVrBdYbAmnikNGQllS2C0htjClloyln/NpDE2gznB51LnpBOp+JCz4M7IGFhWCjeByFpsUo2bNHAcez/18xHOXHsgiokQID3xkutGcfVThkMPX2RG43L8icJsRgqV82wYNT+zHyZKeP+slwEGIsViB8KwvY3m7N9Y+c0PEGMJdWlBWZjpO2rpqaD86UawKhKDbNv+eiut4DXWsR0IkLEcIOssX1MG4W/Dk7a0qprV3NB8ct5FJ8ULXRyDjRjSMxa+jw5DE42Q3zcX6cZ3nBHHgc/zAXkqAX6dlGAIUqik7A1J+qwwuLUKJ0VhtbZy1vOoIOgNEoDIvoAWTatVoODCrYlxacGTZVO2ZVN2ET1iByth3iZtQWVSl2BqaHMfCRyNwFFQZHyL25TwRgWSWdjDsitpvV43XMYtU83iEFzGgbJcCI14bNH5vnuwF9BJPxE6VYXYyacLjf225IFXvffpY6J8M5KrB5FS4neTi1mt4cOAZu0VA9J7G3mRiJfWYmYWUEMWEhYFho55X7NFQ2SzjoiqCUOLERkwMmYUkLJ6TqeOoj/7cAic5bhNdxCZsZ8eQA3DUuwqFHxf6GUZEjbFxqdys7p6XgYztsUSdLaexGD6uzlc/MJHvIElGgiJx0MUWFr1/m6kTZjRmAzamo6dr+Cz9QPxFbcQ2eCvqeg6r9cPIKODdgkebtaQLlr/o3oZTqTKH3SqtnZaakWtsmRhSSqi0yO/Lk9Ax419qloIsdnrxbt0Zu8+Ho/wQfvptqs2rB8fSXXcMOYRbXjdrEZ3kvoYy7dCS4RVxMWPea4CL4HX+qd+SodaxAY84qf7OtSB+S5WxoGrYOvLrPHsOEe+rCXchvdSYhxFfYGL+w7U6JV+MMOTPrvo8G5tbtGVICK3jYSmk89KnQeRxQZ+N9b7vLh/H97X/6irftos2AGLBbuKwdXt0H2pw44bhk2JWqcFMKCdwUET1gtqX1qeIuBmQ9AJmDGdViEzBNAw6QGdJTw2sw+NSRfiyqpUXY93oN3r+an6hzITz4WWOixPBkbf/kS1rghnbgcOKNxFz8TIRG0mnc0qXRuknQXvg1Lbflr7nMGdIWPtZBP/EgD3/Tj8A9/Hm6tb4mZIC9fRs+/yky4KRKVeVo+nrpLdNXajDLnqjj0YMSoj03r4Vp3mTdViAcOpR892aPCDcdhnTY76RFA0TOWoBcGoO6nG6ka4hym9RTBM5BEaEuq8ajRMnDAQI9EZNzGPfHKPBDlhx+BXXjb97I+RivLwVhrcXv/hO0Ftx12Tgn7hMXtPNFJ7Rw83hyxepCy48cpDXVIYKUI5qIhLavatP6kSSw2cg0k86NGAQYPEusYVjJdLQs3FbS7bERwh295vBcn+VPYCpmc94sBiAeBXdGx25LlLdW0aRiiWjH4mg3ZXZW3goos43kp/pM0MHp4ybURVPPIdtnbax6uigV/bHbmFfbZunMOqDj8pa/1Qrc6k+OFT4daaEaa6kSQj1UpbMZX3V9j02cKbqDV/AckT/8iaeBJX1XNrTpafyn1HhdRctlSjlnir+fAcTnMnznOhSxHVmjJZ/DaEN4NlDNtIsks/ABx3DH2UqCpIHc2QKPi5msv3wD4vsyS4wegWfk2npoJJVViJtLMLrtF4pwNK3Xw56ej9XWVUsaZN80Bf2f/QDeULZ7fKO9v2Tib4gOaGeonAmcR9+lHmWi4MOnPLHF1bX4Xm8F/yyKVPK8ZZjS39QsD6/rq0YJ0CrFFbUChcksn/qMIqe08UTgFwczif7QPVsVpnwAYIXFx2lHL5HSWn+FT1bW50tl6eWHSlPf4NyruTqupfClbSzv7ueq517vRVH3hLG2Y8intAgMM48gNvuqMn6yH02g/lxfcC28pU6jOyveoL82Vzhjpm+tXD2cJJaapfmQost4wj1GC9NZ5j5bKZbMwjvMcY89artyFJXLDlvVQFmyvoqS1TBv64zxilp/Ca5Uu30JkKuIG3hEvXWsaqhf5a5Cg49qSMKop8xUyq9r9NN5SYAgnrkr0Bc7vvDezUJb7Wtsqq+7cZ4/AYMImIvcwnZNz87KSx8Nlg/KqCUQ9VSMhQJSDIyUA7ZEwUEaWn0OOMLuYyBuSSkh1jNJxnQNW8BJo9FmvGhffzwkIVv4Cm8qIpJyKlMSqI6KOqzrhb1/Xbw1B63jBAkz0xYXX8o4XiIFjDJ2Cqycp/i2JxHRcHprMZLe00I+g4nffgUbbLw5YZUmEnLmToxMPTJgEI3cRVm17n2xsrLeDLFI856mD2unu7s1ML2kR+XvehvMUQPMJtqLY4XKnd7dMeMBVksEurssP9aCscnE1r3brI8CmeRodIaC2jFpYx9br5CAdmQv+I6rcmxWs6xh5dVyLAkv8AfrKWjcK+fRA0hWqmYLti9SKBDz2TY11vCT6AvN5fg4itupeFT+Se/WGOVNR4V0bkwwGaO65XIG5AzohNZzoWwIPupcleU7GgOR3qEyHYlbQQfOuhlU8MgOJERqbnd2BSuZ4Q6Tlj1yXgIm7RxWGwAcY2MVRswUiJYPr/7R+lXzebK5SkDLsmhLGSfSwWjRUenB+3ciQw9cFfxM4vF9V80oqRFv03+Z+t/PFgFw1uAgaA0BWC6UNKyQZn5fAt0MCzR3NXBw6t24SXJz2TtJOek2SrZrKzBJtKFbga9qiUHd03fRQn6s+bXBF7n4eYxxD10JJOrktKlbZdWGoeyvfQToPTzqYoHU6U5p0kcSbOiQQl5fUsxIJcf0FqEFOt97mGAi8Lc51A8qkA/PEqK/tl4sYZowUa1kprpsJtRKBVlogx39ygneVnnB/VCNpZ8Gc2c50K1gmL8a71KSl24F9M80zXuUtic8MJtbUXganQQwEQaaB7uqRWgnNtcsqV/8xIWZnydCNs6D/zu+dPVIgYrNuKBKfPyWOsqY5FeHf6YvV5llCMfLczMGHz4sfV6oOZgHz5QOZakVfqA3K9mlMq9f05f3osAREYIrZgAm8FBHuc3bCi6Fk3nPGp45xm85IVbO/nSJfefz1T49ZaIzzPtVJL04OzlSgC4HLgKxR0QQBGJcV8X80UEiRjav7+XJIwI2Y3M+HhnST2AOgAwdPvhVmdjlzvHkFIsMnF8lUq+55fKfRURoWLfqIeisHq9nFEPIPJoaHy+kURB4kWQydj0aKQrd23OPnsY4jNXoGD/z09G70kDtpxoXZAQ6ycrdnnECAkY9l6i48+8F19rphiiEbKOKeYQ1bKZkbYp+L+rs0CdkbcHuE7gxt+T7ahfyZZ1RN5MHweunrN4CEmAtd5hg6JE0u8yYCv+yJd1dYh3PO5XILH/kU5lwK/JWplRY0J8R5MccrvEU/TUgfsgiUcrhmSYPuJaG5fQw1Zj1aiTlkapj+yrtAzoR2GyM0p0J3ETiolKzn5gFfP35ls8n2HtDYgR9H/MAOy7K5Je4CAzOKQV2RWTM7RYkmQKkYMq0nuS2aRzO0gXlYWw3iI8k64tGWy92cTMsWd631rUgqPyM3pZeNbS4WcCcavN/NufSnkTNozND1K85keXA+IMw6Ac0sjt2uR5OAMVw41OOpku8lKs6fDFPUm22EcvHNXTeL3a6NGekOfi3ulfkB4zuV9XtyJbku4FrQIa9kpddOD9Qo9c1RXJICSh3UYgp6dx8IReHPC6q8LQlSVFyGQ7MEMWc1W2PgNKoB2FbU09mrlirfMrAztB+GuaYbKJhSglOLqi8mOMTBdcYmm/MmMWJxU/39NEZJ8TYW8QoVYtGhfTyKtw/2h2a16AeAGqzwrnH5s2iNoCopTqAitqD/6YKjGEKs0MO6EqyaERqpxnvv6Y36LjmuXUXRP9pXiYDmwtccLmH9AS65KlG6ctbzTweahmoRS0WiWaxH5tVGrySYf+s2NF1SxJ38NDIaN2CyxuEz8P2RPRzNuVXCAMrdX8bNLm2Po9wDHJyRHN6hlsMdd8GKlazQ6BOMwVJUB9OVUlOXD+yetQjQQAB0LUayvga+8j22U7IWMwuv7/m7b7q5FFujhdhg+YYvpsNvlzoKDBXO5dmLfEzAo5XJqvXtDgI/8sFGYrJtn/E5CzaJAR3bStUrQJfUlZpXQ1mmqmzZu6+XpXx41Up/K2wovqChQjQkelfbMbyi+B+sDa0UV8o/VUNNwp4yurVIpNkdXBF6ewRDN0HZ+HnJyUwPCdI3F9LjsvC0amYp+SBM++XnHr+/1P8hCKhhGQds1uRivqd6pTZyNG3jfNmoyPZIwpKYJDrADBgckAujZS+YmjxIUaZboIQh/JCRdwevhFfrTlQvYA0UjN3lZoJWkeHqzYrnW+WYwDfd0VZ/5XK9wdu51RMjOLju1Ks2ZTkzeZV7/PQfKqu3jVZ5SdnmOL6uq/VviwRTHI1m1t9LK9yMESRjGwR9k4XaMwn661Rj58pXsfAKXy2EhOikV1iKGKAUAqGMr6fFRBEttFaVb8EB9fyKUxjD/AYc43GUUlrd4HlSuqnIbps9ZFtdG7YgwFzLEAGzmJiI9VDC/vS9dxQr0+GySIzGi8n0P5N6V+gt7wdgaN4WaqOlhD+qi8x/D6pq09gmP9l4jqGdd7oR39k7ZI3UdsqhSEOtvWdi/EmvAS4Gbc0HXhcMiLls5cqzY1HP7dZaX9SwvI2s+JG2sf4KRTT11Fs3OY199yYoQbV3p7/Q+7d7WHFoPmR0N+zm1BcLOKT4v7PfPhiSa15GRFJ0g0Uc9CmuKebZR85nkfozmXMchPGM4wHXgDfbgTkwc6WmOJNoqH+ahVhYucPyHs22ouHznaqpFIZKt8VpkypBc2ld2AiMgmqPxQebmPVFk7Kgrmpi/1xM1cf5Tg0MYQ0PwLoaY500rE2x/Y9aJ7ou6V3N7jiZPw/vK1eruXAgyEiu/tTXFav8to0ahl+LIpU6UaTu5MDhj5h1zEUh0hn6ORYDrlS0FIBIWDBbzEo26CnqlydHRYE36dhEjEGiZpHkE3q/7wzXbxg/iVxRKRAdVWcADFu1wlGs4OttizRqSjXS9VX/np8uqgs1jAOG4oU4o7DskSDn8zqIeqxyOYDUIdcxw/Qf0Ig/0on7mdM91Q7oU8M3rITZs48zMp2Hg+0SEfHIlPu85GNwPkeeV1wrQf5YfC3rV6NJAH6wjsAlnTI5olDdfnAYttxlqEXCKTSI67iMD81eQ+9Gkfh6/SYYHo1O353KB6S2w0XJSBtJi3ZJW2DE/5XVawEzi4J5iEkxVWD/a2guVGWstqoSjoHEBlhxel6fNrXuVFKnOkFYtC1PJv5TFGrFCJ30obNBkcSthVseiE1k6Kdbs/E0zyI2zDdblpTxiBNF9aSyec+DvCwgVOz8Y/mZnk1nGQRICiD33fU/smfFHvnm9gBLNOLIGdy4oVTUK2Ps3bOj1l5c6zyZi5mYSH5LPKc2nVPPr8hADUI5S3Vvff+Ecw3FVpOavkZl3f8JR/GkD1MCfMwD3pTlnbyLOItCyW5lZ+L0gxguEKUP6w7wOSO8j1XKlbn2AIk5kjEkSj9h8Ujxuguzid9T2wgBBkboZHN6iMWDx2bNeIemqoLwLx+l/GA1tUsxY9lL6l/m76f3s7RpINQmauj172ubt2SO7qOEb8zJtW0UHACVBPWLh9mksy3zLKP9cmYrZ023txfkjaJRzGAd5/WOCeQX2FPeAw7TN6d/FTTJjXq5AcIvzQ5o0HGD/1MvzQsMYx2HT/SBOuHVfJ3KuJDd1AfSNYDKphjHCoOB7DkmYrE+afPgqdPMBq2B7W0lz5m9aUZcgNExltDN2W6TQfvAR1tmkJRkXVscA7yZanz3KEuzeZCKiDUSGH5zXWCwXx9kpfiv67y+7jAbfNSlxP0QdSGIKJlTTFPQdDp9CCcGOiaR3O3B7oaZYhSjZqwinQhiPRRQbEixAQ8J7EPA6lZ9iZXLJlGP7SuT23N0Ru7Ti8XOchhPbKVWcGMaWbVHSXTJsxUnU2SJFjp/CUP8sHi64XRxvn9yVSE81wudpxcDIhubrfgNkjJOTz0pE2x/3LuqBh4V5i3icoZntqA2Jfe6KtUIMFVbIYu9PKjNazKS4X6ng6mN2mF61z3gZ7B0CQjMtdcAxQa3a3GNsPelp+cnmF6EJjWccf0za7c6qCKvcP7ssvJtdLQIaUhNq9W5djkr7iBubkL6rwp/pQhLuqvFXBTwK8iF1Yjsr2PS7oj+ARAlMFmRaZy9b2rcaDt8HV38t2zMuHP4oDsW1X8PhP6diuPH/ivDdbdsAE4qW3hvkd50x3RQIjGS2C0zmPnDM8XKjuu+XVnv3qjWCilfTqCEJFPJymEvTBt+HLhAc5/KnjoPXVinvL67F+C3gUAKiGGQquvwmmDzCgA83MpojboLcZJ72T0wIngHEBRVsO4EzVgWiuu4XoGboYOl3V3j32KApQsHkwXvIAmEl2/XWit8dJk7W+EdtnU/NVxy1D/5wx6S0dP/s6GKuMjkC0XwQZYGFd8dv+wr6BzZkPLIqu4KTg7udKfwTbUNJUCszgdbxZqFQZhHOkSGocVSF6/tPxI5xD4suiEh1RGG3reD7wCAiGnJWzpOFGrVUv/iKdZrEMIZCHnln1F/pVXzb+QDWqypdQJ63xSkzQZcv9LrZZe6AwrwQ07vGsROUs1twIv0aqudLD+DBm6/WvmLEIH4tDffWHRuX47LZn66mJJ+mdsqjcK+MMOtsZ/J8dUdR59tTGXG5OEgNKASJTJEofmAfCAyR/oxviM4MiZ3YaKFBdVG9VGbIsdHDiMJQt8oXdlsHc3TifNFkFhl0H6azG4D0jZPLV3eD+b3mB9l5deqBH1J1P7vLt2Wgk8eoaLftUVO43CfqzUnEq1Q0Au+C2F2yC8dan6wk+L1qgfNyMBzjdHa58wX+cIbzohfiUKcCWNYhDsLLtcIEfPgtfwapmF+UEb1+9KUEsW26BPOF57j0Zs7+ZyHstUpQXN6UYZ4KwHGxDqgEgVDipTdRfwwjfCjh/yx28EEd8jePDY1SBm6wrTlPTUtohIB9ns1pCMp91mYxOglHTMttDs9aaCRVcG/A6zeLl8tfr7+Wp7P/hi6JpFxgikOCRQ12FlIi2/Wj9TqS/P8n0w4tHLdLeEP3ie7u+kE0Ld/XAyxUY+yyCbJexCSkmj3efhm2vtsoeZgZw+Mp4MbkvygoHdbhhzGOVl6ltyCqrS0tqxrB2J4lk+Pzj4drolVDqP8D6JvC0laVG0lkU12e5wOCQYCTYxTNb5+/jBwz2PJgsGalnfs4LoHhlLdZkhuqmZD3119bp4GeQMVRvDlMB7sLCtV4u/MwydYwBetDy/ZaZrgbRZTFY1yhnpiUoIIEAWFOz4uaqu0WgQ5BH2aESDnNLlmSD6KZYLa+g+PzxgQ/isJhrUMJ/9v8QG8XfLVAIFczLfh7h4V3iLbCLWIZtauVXXrxFuYqhjFA+mUUPvqiMSIeCqYbdcFH5egQ2JPx2i+Zc7YYotaeP5t52IhkQqo7ENvsXAqFrsyXFjDnYfxWheXelzOF7mOMWbduPsbQuBbICbrsrcO4kxr2Es501Z0MwbPg6cjmZLLQaPSBR2pRyeNYcajP06vpjCUwdcfKg5vrpTor+NehaN2JWsCOD9c5nrRQrr4x2tdMurVQcEG26xL/I4FRwDoI90Ng84PzkiS7VnpXW1oDslQBcVz5zFNvZCka2yymlsvfQZPDwTGpLYWXmTbZkSoVKU0BaCViHWLZMNuRWUdtSpE5a97bN1giPfzgm0Hnk9NEBpRylITukUeBTWQpUUlkozCmqwSE+wOEG2592RenDmJ+fa+Noc4x7iU53Zt+GRJAFUZbM9H2NFHMeI97XfKg85Q9iHobWtSaa44urikErTt/wNRRbN1Vp3Jf9tV4MPM0VGFWjh9IfjSqKxYO7i42f1/MHCEb7oijqenCxrDVpKGP32zNwbEc+dl2DBMwkLZULMCJ6KQjP3PtxSCSl2C5KfwcysjAKTpN5zLZty7pVwtJLkrTQiLWx3bfm3uUD0bu8LU4VV9lOGwaX+MPMjmWYPdJ9OXZ4cDOiFrEVd5uX8zk0K/49HMTdX7UH0nFPQbqbRKRRT5NUI9viTmUCnrqL6jDoE6rNnrq0uLjfqkyCN3wFIqEOXXtDPemlhkQbIzyP0gubPGW8DIh3W/6g9CLoVF+CyY17qCK45IIbYrfxr9snzfQyVzAkg+MusjBqH1h+m+oVZU+gNB5aou/iMzSSzRTWDRbbLGpkvtX0QgJbLDUoUBG0MHpO+Eh+nTQ8swmFgf5bqotfgIhgTt5UltqvlY6wgHiCyUUyBM634nJeDyBj6MnXzjv1PLbkLOrMt4yco+WApPlVL1ZPCpeQrLnLBWI7O6S+/8aThWzLzWbKKISRXnOSvZIKGjzIiM4BD98wdPaT74oyPfzcS0fReYu3Sl/FuIPKhZ9DbMh7vQyCvEwpn2mRkxPlZZeB+h5deHvIoB2fqWWt6EGiCjjwCj7XofXneuozLqslYCQphwyFMjHlywZBhIm1ubnOa4RBUXrSMDeKGVpNgkVDl0Sza9eP8tFy4jWHF4k5lv3JTDvOvtzp9OoVYrfnlxLPf4eoDP1kiBQfTovNIiQey6ka9D1UsTyaMIwQ+UszBNxEmOy8q2S4Nu6i35+y6uP6gcaD6VenSXIH7JMgQPZFb0IuypH8kiZchP7rSGkbzzqLfOQ4X/zLNREtlDSObdrsptbi+mq21bHr3VQJ20QtlkYJQWDxQb/HsOfa2dMD4ZlCzGcnzgNxCPZMcz567wRfQUJHEs9tqjhozPBvQqgtZrbycqXX/X1O9mpOP7DMfCw1fsppnUMJP9TGFNK9+S5ojBHfyxd2KWGVZ03sC8bewaZmrKNZT1aqxS7AwWpg9dDOEOVohB2TI/8oe+djupNQ/3poZOOQ1MYj0V+lLebr7+f4utmr4ZGUfq/k7wK5cM3/+hlecBwHs+d7fCQQ8IAvyKSuB46UNAHxEAcSqlQ72BsR1G4J/idy7kUZDtelXFhAqUqQuvTTKq2zLuW+ltD50zbpdtL/9P5N/Hl2WLmxo0K2C/cQYEJWbWLWql+q9bPsSD5AmEfMoGYKSOrtOi9dSCXchOsNdifYsRRk9EnzWKmmeUmHoxiSPHWz79cw06bQHgFNMPMuKtsE3Sf3wxf6+EhNAqoFEQ/bRAePb5HZp4kNozluy4fp2gB2tCidRwjCTM/tZxPIwoPRKrqpsmu6EwF+ES6gIB544zOzQOy7A/LDw8WbQ76cFCT2ZGm0nO8Yw0ygjbMGX1xbZORUApLyqs5nWn3hq/wjt26Lou6/k+HVHNs6ghh2IlLUBn4uXkVC86YOQ7CrnkOga2U3gN+jeryThF9Hw30Vjb6x/APdOUFda1hOBzR4tBh0kn83tbqEs6iPumkqw1q6lMCVquCMoY6CBD26NXIHvzj1yvtzlHGWEa47G1yw+SXR4h0pBZCVxqo8IQJZv90s05wzLapI+nHbgkVBXXEkCoHuzE2TWv3nOnnCvHoIlYjzgRJ+VntZgWe6H6CVDzaR9hc1yHrQSCONYLgFgNMdxcQmm3+iJwsHMgPVT4JizaX3LLI/+WeFr/gydhWvmNtOk22Pnc5kJZnTEBgNIEkX6yr+ZMRw5JNtBi6OD6ZOgQj91A1QkQW1dXlb9SHMimwrTWNDWH07FNxCQzwdkiDJnSbaNPKOwOLzXd7Ww4LHEFJpFDXTaLKirHaAROUQ4rTSCmKv6WnzP0bab/2Isnqlf8b6zF/DKHQUxZXHa0c2VJH3L5L5zXenODpKpIU11YZptK3O+JltclHGkXmLEm34z9EPlBJbtcvG2kB7wQrJ3Ijojb2bHVWGHCtt2nAC1ID2thTC3asPMCXeOGm5biYDb/Ze4eH6G6ptjSaK4fAnblqmmskRlwUg31z+yB2/OMs1DULvg/D3pkro+97r2fstsLcB4cH0+gu1vcx8XrhUhiXo/55sG4uTi18V8L3lYeCvKMEhu9WUY+787amG0UbD02KA43IQxXJ9YEiEgWXnu5xoaxycX9rbTwqdqY+BQ35sn+QZ54x2cdSh3I1UG37I31C7CzHef2aoXCRznO+wPHD3bkuLlTSMBkps7KT8SlQ5XvbhrNlW7ayWhc41U5grt6RvhGM9X2gJJjn2Mx5bfJ30bYTtWvMxuTLsikcxqyn1P4nh/G0BIn+mcFjgl93YU48ngcX+aO0k4W5Xv3f9CLeIyhuytweBjWBQE9bj7xC7CE6ETtwlPtXSykyY4OIlve8fM1Bn4Wzc2iT0A94wmekCvGqWVerTNKMn0sdA5eMhT7T+lKfGXRKfOFUECflliB8VVqcjc0j5Ly2cT5gccUAjNc0Utz+VAR0J8iMb7CIeiAcZr0V04OIKfZhWkyPMD9sT+TrHiIQ7VXiUJvDUkK54KELReHRfLkmbuxioykW/9sKIHsS4T+ICCL+CvDJbqxin3snaRLQBZ0nTnsI8iKRUQs120m+fNIAbDf4pfluOqyuQayQ2nhAXtfvhJfT8+C/kxhG0E5u9OyzNA9UP4DhwunivGx8dycshEqQ8bAapMIQYImKqYmaBXjY3zq8A1BmlmPbDiMrCkxJccNHnEZoT5cvuIm1buwRfN3zv1gqpKV8iiVZTSOHzwK4eYHLafFBuBYGpwAk8PQ6J1KH5b7w7Ev1sfwoB8EJ+hOvmTlTebqj8VEQ7yReflopq5JqawXb7aHT1VhiOB63RHXXO2FJwseRXAf/i1jaYS0oYv2QflZXgQcfCRPXexJdwc4RG4a95vWBPjV9nAF/Ke4OQAWShfOKd0CC+V3s7yCZPpi+3f0W3d+/FD8nM4O9MSlQmF5IHCoWFeaQT13BTkwb37831AwIbs3xq3Veu9SnCtf9PCRO38qhKT4gdF2Uc0XJhMZ1p0mLLzIUCn44swiFccQil0DgOYf7tT0fjI5BxjyBvRyF7gLEXQU5GIMW06a/OPr81zgioGDhbkRvNCvR5mn6bQZ2+QbTTrj7pUyC2P4jssRZWz0P3mmpNj7zKgc2dGX/m7XhCCiSQtfMjADCi8nhBB0QeY+OcvhmjSs4ptmFqwiYugx/9a+4pynYOjxlGNOUo0izQnysI8CWxGXsbYVN05jtzbSRIiDCNhn6RN852SSY/HA9VEN7xtoLUFvZUXYc5PlFjFGdEAlZvEf5NTJnYyo8g9psupkZxYRkPp/FgkZGOajKZIkvLDlgsDL0Uh+RMiZVoF1WFuXWii6bocasXXmyVaLBKiVEHoimeQu7k1qXCGZcomWxei6d2xqZHbvmF3/PVd8871o2ahb4QlVqAwP1mP4V7pF79nb/orkRdhUPS0diRZeXXOQYKcuSscoIjsAN8XMdBh1yEL/eeV8Nwb6lt1NBhV9xj6pBvr6yOxkvbj1A2y+I2nHcBFSiEJI8P9y7j3G2wSZ4x81Fhuyb+3iXXrsgITyGLuNQXMHdz1C9vbe5qZu2XVa0OogyIPsTHjaVgF5bH89r9Zm0K3LemAsY8xCK+nAZQpN+4RJlnrCkqBd5Y6R5tdZQhZV/Ypw6xTAb91F1/uV8/lyIgiH95PZTEvpTRH82grynWRRjCUzjClIOl/eHQc1ZL+we2CfRRa8XVeV7zf8ezidlstSJbm3ykEWDYuQySLiwhj38xFOt8K4SHNGJuZ2y7z1gOAXifNrH7aNw1PG9ae8lBBkwoMt6okiYhvDPOl9fII8VZhyr0J+BCsGuqcpv2rxt5h4OhWhtwuhKn1t7FF9+j6tFVzf34Utzj5HRroB5JxbCXP1veVZYm3bt9ZAXFYcUshPLET5Jpo/MFQ3PYpBNnDk0gNzNjlDgO/8T9oE3EVPYSsOnhFWO1JHObDlRXBaMWOM3vVvMY0Y+UEulB37CPMWr0Iz2tgJmvZdFG9DgBKX5V2jSMmEZqk+Cj4bqnQf6Ty+8xRppULs+E69cPgqV1/6Ve5OS3gIvFkG8o/QtUst/SA67iwr33iaj8edEeClkDBMWhd5j6jeblYuT6oPIaEbaGYMl58x5pwgyNOQ/Yyg//QCv7JDY26PGnvIEeDbqHQtvRpubNsMyUmmJTbuVNOO3xSiB4ACYuKy4gCfie6U3ZLY078x5OGBekp3PJk6Itvd0zpn7fXWRz4BSXttk3vcbqYiRAPUtozmmREfTRzOToNhuUIdc8TDf6UmVyhgZ6Qsse7NDIe6Kao/gJ/USNra3vAPUhQsGdFDY8W+YHViY3D9KapgjqWeZlxU5nKBDbxOzDqECUZLOozzCGKauroMhqiHxr9IjE9KiqMiaVWkMprrTyQIeQqYtPC0S5rL6LcudFGJ32bozLCk3vppQbWYSz15GFDS0aadJVyzAf1MM4jhLTjvTNY172GxN0oguASk1yb3ytjdgJUHmUab09183q5TN2ZFWi95/uUr9HWS0u6DVjQsd8otOeniSax90w6HPPOri9kfUoslJztRK/QcPQr/6O8JDVaAVsy+mPhTvlvlSScWfP61QNEyOPCNLMKvuLhAKkSNDtQs3v6CjUo01jPKJzkTelN9eKVkho5aWGPq+0eCYR71cDIYsxYIB7C6NPRprcsd6AsMcWgDEy9sREW8aBr3fY0lQgGfR9TEXcOoOLZIhUBNvddnyW+DblD47dYb1EWe6Lxd27f1GolCC2jznxWVJa63EZUlbtAzEJ0CcBwoUadmoKtLEZ3xD5u9e4QWc+gJnOZBgXsnBIPueLbkIEXB/yzvfu7RLNfr5NM1rNSvjoHRdFFX9//ryZYiN4w60OiV+fHYaILaVNsugOS3RiqzzBrRbRLT4VtUs/bSsvE4PnqvuiLqxe7+C2WzHLIZ3uz1QfphOOClbJSva5bh1c3cgSs9f2O7WHCtIXEq6NI/hLhNuKokBpZtUU2Nkk5ofTqBX0sh5u0k98IOd4b6/ybdDUbwES5ASl4d7DtYZTTovTVA6fOsleuR1W1CwZM0G3h3XobRLXOG7VBmSMVtegSNwZFoM08DwHBzg9U6t+cfQTcztEf3v2nK7g11jjKEAH8hXEXbbZbSTcKmqmL5ZlYCsuvc16csm/cIKlrhGBuThYQYZd0L4I9LrAVcmmHkx1HQJjPPSZiCJrUcWkpwAdQPpZOf74ToSc+PfL8dxwQCpQYb+m9e04lfEnHh7uDKMzwAccJsK3lxLjXqmM5DehHD+jNmxJo3QwnwiEoJWhMxMhTyw4prtsEGQmkCIRH+Ti4CjZ79hjkFfRBMaX5khxlJ78fc/wiq3PyXUf7Mpy6LLWfYsRbt/0J/X5kXcHTC2KX9V8p0AvIq6TKKoQIrxGiyatvqz6IgkLMf1vIFuY/KaYLdUq0wWc4h2Glkcv/NzY8bY1Yxu4wS0Iq7WTI6EpZjuu64GfYuKv0FyF/e1VCWpIgaJW1NSEuz3WzEBSSqOQgGNxzbxeYVDQJoeWnyGis1mlHKIjs3ohBy9ZUuJT5NIftURel1bSrE74Ty4c7CVcDdKW0eC7y+mcalnB9MCwTa0uK1nDrhsWinbBX08DtzteY71gC1rPToAN/PcjyiMtl7j4g/gaUVUFz6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z2dD7pS103gZfJ6l4USC3jqtWOPR/ue0umjYEY9KlLthURXCUyUuZbmGDPUXB2idlVQc+R1c0j6vNnMaKvr/AnBHPFsgePkL0/XTpsFrxRwwYvjcyvyChgSTkA0WrA8dwG0GmwlBBpsIJyB1sZP9d7xAp2ey1gpzW0jRb65HVkmH31wU0CUfz6Wsa3d1WVhhm8nLUzZd35IJort9u7v0aOS6xXWeGseyTUT93qRMlwCGAgJ0MTKWrvhdCAhS33lj/WBjpWoOveYj3wIs0uqpiLwu66QD/FKmmF3KnLAGEUHPCFZNIeZG+VemSHwWaq3ngADKCST4iC1+L7zxKxU0QXupoYlGQMVLrkA0coQiBp2c+6mlfdFGNG6STcGhk+zwixQM5Lo1hOsn1rd3QYewNFZpxOafqG3QOabCeTW/8bNH4XIud6KEmcH/fjDDcg9aMa5ME35j0Le5w0gAs1Haw7muQngjD086amTwfww0Xj4MA3gOyb25j5m10JL6IswmjgP5SbDo1KLt/f7zoYMsxYSEsjWtefafvc1hxUw2aCd0/hmot7D1TZCN/aRhYWNJYDrKrrMKctDa9jyRQbRl1HsHK+V+Va5DVpq07p3TkhhJRkNh2Io2tL8cKg1eVRKbrb9Qipk7L/oIMd3348kx6iAor034nDzG+VWrqeHQ0GkqZoJ1X5+ZX38at5YhCyFE+07BCxRiIivvvOgRhLVAxISHlnPvE0gwStwuS7qj7JznWT/SaRvh0bIZhb6tobO9oI9vLQvoEmvb3pujBEX1BsVzh+5xXqw5GxXI+d/GFWIxM6pm7bJBqrwQSa6GAvlwMQIpqQRRhvXuVnGLgi+xL4GByOi0j6JrAQ/Fw6amufD3KPgfmL3MGzwm7mUT9B8k/PBDKzmUkWfUF7h5kALHoanzpCWj5yyiM8krDqNaDUJeX2aOwHdU7G4cbQ9DyU7FbSTyv4+SpkfjB4VexOZVxGf2h1ntYlZZTlyYzr9BwPney0JA8bwFqfy1O35ZQSh7mOUhP5eZhY5SXUtSuHtb11B7IXcNwIQPhBQnBuRsgu0GZd5qdmwZ9iL6vPMHp5PoNV6itr3BSVamytnyJnSijHDPpIEQreqNNXnIsFzXJ1tiZhLRXQVgfDx4A5/p44llDsQuCabiGfv1rfQNu1/dPZj8pS7MSJuxNHiMe8it/q37L1vQ4v/nYxVFCBMKPbOoqd5QOL+l47ODtJjSZUaQZNzpXUokxlZWM4GNlnrwk8bxiVfPpai0E0RR2wAsrwyawgt0aJQS8LqgoW3shGFeiTgXsVwXvHms8diu0nbGY3bSHjqvwQhHbuOhYJziansDrBLkfQSCJAxdiIMIgbI1zgme942/g7dfYzI++xGiLLMvOp3Kf/S6moWTZvLSjoVMmcUFxvVNZtxRAdHf5uA+sQZNzSWbDqTDBJDVolEu7lH2pIBdgUihJ4lxgxWoNBLwwj+15JaYqC/RUMRfTlvlNVxlEkxmeqFZGgVpXLnWjrjq9hcKtk7cWTAss5HRlq/k5TXQMUmERaFS7HYMaeR3RWtFTIbTdtIzA6nKwWTDye9JFPtzVazlb9/3IJ5NiniFbrLsoOScjVGSkJC3w39N1er4+v9+wZhA5G/nmNg1HzlZvP7cTEJ51sqUeFWdfJNATcsIDG8ms59UzC130xzgzSTwOSsQG/ad8FATs4Qw43xCcW3Lud+IpKb1VSp/6F99FNMQU0YO6W/X4vD57meD6oE01PHMCCZYydaJQcl8LAS6REK/x7Zv28SntvfhYaRM7UqUUjL4r0mp9/COKSbVF+04CFxxdVCJb9bK5TnWvmCZ+Wdz8dux/BSymBJmok99Cy9b1YRbKnyNm0vkAfjWdhO1UIv1UXzlkqxUPaaE09JCE+QzrHuK8lq/jAUm/SvdaSq8JaPzSRTdunOkT1GIGo7oQNU3QAk9weuMo41S8eOlQlfI9d1sI5xcMt3gvigHwPtrqkYbMyybjjMVt+AxOPpal6eeXwUlPQMqmQ3YrgBY5IXuAppUj1ZPXuqeyU1FBWt28JaLUT8led33jDzw1a3GCajFRMq8DFtbZQViQ0p/ZpnPwaEpdIHcvOlhaJEqkLO+LSfL/CHFTNIXktm7w04rGR5yU7tuBJTtRA3VWKG80nEG3PMP7gs/0+9RwgLm+pXZblcndUdiMJfQsBlQ2dsyL5O4dwoosTBsYK2Op0TY4dXhW7FjVOqDkK4eEOnuaxmtGzTtp2JAMOvPTgN9gGkcUgi1ANcnIugAzmftj6iakd0hbpczWMyMqx7uv45FT4eCQd6Hk54HPYc/1LdBHsSzIeSdDpV2L6fhazKWaVUVijrr4lVSlwrYLWm+jyDlxZYtiuAlVZXlgbUg26/3g0Frx7CtNRaJ+bd8H4NS7XKGjwK3I69HQ7UnTOtBSOs0ZRmd/86cOaFdUxoJKG2TcOaGywpN/FSi+ccyc4HFzEPn5cqfMGwLbxkem4wEwEObEh/j+JfwN7tt86Z3PB8TE+2dn3olrgI4O72cu6WrlsjdzK9ZvlyjV8hvcRrhNtz0YyV0cWHHnbCsQMKpNIpgboGcCjAT5oLBpQ1VPL70iqaM36J66hDS76BLGUIWj/hzEDpPskACJe1HUQUnJAsQBKEaUAPTy81J0K2oPm2dToTFcpZUlWuNdYLB193XpPP1zeEw7SXeHSUYO4ZPGX58rQ39Z7Im9V40xFIZCIatjF3n+qjkHSMz68FDgTwT6d4wfgqwzjh46LP+caI3GO2rSl7tahblVvTMvJgdBbAFCrpu382Fm9je7MmBl4FBvMjjpM03bZMD7UkJqytdquD4ASqfGYkJX+K6OlS9Ba8G1fCZjW9iLMSGFYiW98ZMNYesFPWCRJH9ulybrQQE1m5kDnoGsaUYB8R6nW6El9mXbs+8jAG4+JshgNnBA/xqBQBgUGPC3cpa9mrP0gm7dXwtliglv4l3xdD12vfJCIdr5+7s7Maf+DrziBJeahnwfn7Cxl2lHX4b3PPBsVBeLCS42sWIdJ5WGgwWmHrOwSy/qClFHYqaKRz50dx8Uvj5N3YM7uqQznApwXU6JLQSTewkm3mG4UABmqHOxjt38Wj5OIcLxktaQkK5c/6RRJVkK3C36NLHMDBwGiOP0JY0Ja48d8qV0v9G2aASPpZymn7R1MG5dRnAXxk8afVBA4q3vd5LMIFD9JRZgyyeB6EJeZuxe57QNX+x8cYfhSa/6HoTcawD2gaLmaXVx47LhdHbzTLPdI1xWI5k0wgVCT9621/tW6sQQTK7yYInr7uMAGcs7aswq4YmQ2x+5B2f4q1j/a3M5I40QMOBSM4zWcDAthhMuhJi8hRUpM1iZWZ1l/rOOzrsMXFPnKhwbcII9rIvP45ao3+8lwFh7uXAwQ9UW9tJ+OM46jC73C2IBis2b79ARYdybKXXbqbjn++wfWwEO89NxJwdk4M9D476ooFgkw7nd7FzodfuP/4MCj2oySfj//HX+1jWpICb3nj/Red//OUkFSkfwmni95NvCMzkAGEQvhydj7QODu+oPS4EXkTInnrZYonwZp1GHIFtLxyat53nQT8cHN4AA/aKOcWxOSzR9csyb7D0VoJOCncUgtjeXPaMGdY+4smzlfI2l11RJ/RABzvr9gQtI0g7ieMXKGTF06EEtqpYhc85RAjGvwIk/IsgFS77JYl6Ab26z9AHA25vu6wGg6INET2WnkMYzYuKOCl9B1obxaG7qeYHK6qDbHeCIeegOMZeM+Ywq74SaEqY4Oz6YbuPo/+jh6v7ce5TfIvsNkWdlh73dFtgNCI7qUMLyK7LLIFKMnq+tiMqoSpAUPx0avs47n/sbI69px6nCQSxgl9bPjvNCzXs9gncPU/UZuOMar+FiHSo5m1Ypy1YroUZXncNjorleAVqxxK9hzjw/qGW/Q3dX6q3Nskj6OU+tPxGumN/SGp0F6g2julkr3sEjKpWgMVxpJTmBwoAjP1lro7jrYRTACbDbYCAgsPu5UO2WRCGNRgiLgIIV4xxp93oq7/uYr37xKtCzErDzQIUeCp6ujnW757xbquNJwms0Fjyl+SJL6sy9lkF4SlFBz6p3qv9ET098c1DlI5lHEXoGQ9LT/3CIInCUwfGWCQMIoU/pMbb4VxDtJIYa6AogkizYs7OQkmhpThTXDBLzRenqvHM/TZhLkxJ8VQxfll70dXZ3c24emxP7lSnpFoMNXwJDJaTr31rjG5XslP0EQIxTyfD1iSbKSknRIjaqacDF+OJgafMp4L9I075VrY9UB8Wieyd+DgiYOPGzgtlBTpyEzBfKHiB/D/V+7IbWm+lbJqXsETVvYrwC0G4vI6gglC5Tb8Cmbz/gi64kXExBuRUsvoSfIxB8Ej+k6WIsyGlxuAZw2jbHPfrImYRgCl+jylz/80VH6DZMYmVbzqgszany/Gevx7JPxKzVeRd8KTXV9iL0OFgvIIWirna/XhWznMg3njnDuh/GhXt9VUlFV8Th5ou13Ct1J8kvUKI+rHBnVQqIbVNCP6xIP7a8Ex9Q45H9BpGuUz315iJG+t8QE45roqk7DnGPh6XVmdR9K3GepbTrDhnnzzuJcv3dnFxQepxZN46SIloh4MpGmGODP6UrMZ34fqcQUr8MfxpJRUtLxWFeYrjOgvqeeJ3+XmoND3ToxyFwKBKoyOEo9XkACJqEPvLFgUgdY5pc0YtEM12n6jkwjDB68m71QhEnhqk9oJx278FPfyaGDfT5N2KqGZfkM6V6AeeH2t1bpqhGC1QAHdtQLk8+Du4BJQFKGYDpTB7D8PlsVp9iB+oltKDAxYzzhKGf1ro4ruuIgkNj2HbDlReEcVgs2zM//8v/RB+1UEhuziOSmv/zrc6bOZhG+dVzXQjxjbSG8/sAepZhfDX4jJvij1pK3W5Ly1J/wUnWC09ez2O3kGZH2oJcR11GYEMOdNqgEqLcjGDFij9ZEq0MJk7D0DKAtjj6LWpqY6drXbte8z8Oxa4Z+udVz2v9NszObWP5GrQ9deIvZ2MEK7AB9KcjDYYwtSfkfx4QEbRc4Ye9BnrYgQDL9dpJVB+OkBbyILWL4nUDRZ2/iOMVsafh9r5FXx3KYAn1cjhnoeE3MM6KT1ScQsrLkFxg500LU9CP9YmuZAXmMXcqkMuCc3ttcxVb3NC7eYBqdU4WGk9jdwhj4H/dqxIMT9DMyGe/bUdPiH+DW0/rEeCLrZ+bW3QDEvC8AflKYFaudWy7SeRqDvXEiJXg4bCIDlUt8pDWriakvWKcUljA7J/NSyB3Y2t1wrt+/PZdGH07X9OW9RYkINAEVnrvBz3HYye6jQKUN/5HehcadARTsDJXqrHBGE9is0d7oecYVxSrQIZhHUPzl8ipXlZLrHKnMnZawGdn5sfMPkGKJuWy4LdLi2VIJsWJHXeUE5VeYOZq3eQo/hwoNjDYORxMxtAuJ4KS1rqClOPaBjaEMcN8dPQNsBj321crEe7OvjICLxV4+N6Wh3wfCzadzQah0lIBJfDAduBaBNXSsv2v3Vs5vcpKyEm9Y1EHIUv6QMKBZKbxSro4Fk3SAnRIrew1Rjwmu2cl0wlHwI7CD/K0Kw/pDXe5w8C+juWpaZ4Go8aHycB/nFS32gVPU+IyWRdjZ9DxFlRe/c5YtX71FGvfdjbeAXmeU2Z7QnvJILAyK9saceX8lFxanYP9wTK1wVy/69xMnRP6LT7zEZOIXaoJUOybv/j0RF01AZCGYRWabSyFI7p7kAHrbL8k5G0Bmp7JGAXBFyB/Xo7g3DshRp5sNbohuGs1VJ9ksRcHhwTGIfAaY1nQNVa5GokePWv58lOtHc9aW1P8WwClen3LZDKFRbB8av8Gx/kOTjNhX4GG9JNclJnBlMivGUbsBX+PZKIWmglR5Mmalt5xIVW/o1ahcF44P+Tk51gpw61WogkoXy1HiEI7vje6JXBYVZSXwdaxyuyih+CBFqQZ+PNYTOtDiqQ6JYKLJwVKnJS+Cc4E4vB+DHEH3zJwSxakaVel8p+1XvR7uiQl5wp7LoaxjgmBbdf+PcdMNmI6cXPiTnUyRNNEVKYLQ9UkV0dRehOJynt1foz0mOm6GgqCgGL6e7tVfUOVoP2E3GIKu0ujovS8MX9yiaw2AVrbvAbbmR0muS+xpOpxpqR6SvkYFtw8EHvLwIhohxfvMDHWne+YQpcohKevN4l5GxFWLHIQUAfDnXW2vCZhtr1oHhJ9t2JetBnN6F1ifgTQkhU0PFJQB8fg50t2fSUvhLti0YdwkWkYuLE6KpeO7o9h7LbMWOl7+BSJ6qAciviFEUVAUV4Hn/7UVM6j7YzndkAoBj3WCaGgufqxH8WbgTqnVvDzyEi/1PJD+3LYOpqvxoAxW8kscHsbzt2C/Dk4IRoDpejowH7K9Vx5UDbDJ4OgjZUNOLpCgMoXpb7KowTS4jsTWfJXQYADQQns1hDC0Y0BSwoIKywMm38Ykd1GlmxFd4uIoqmFas1VrLnjLro4RWM/R68K2lBflS4uvgkCnS11B/WrTp3xYedwHexR/Sr2cRk7B4kkw9Ji0N4/IyLpmPaZQMZCNpWhYAipD7fq/jSKXOFTYrK4lPsV+CEVhRPT2vBh5DahB+zPUxoaO1JdJ9jdhoD18q8LBTizprpwaRjDrkDE4JuyH5a8WqggIuhCo7IPmMyFIoC6YD2ZD63At4CTBH3FHHQpY+9/ZJY0RCR/SizwwHxhSQpBE2hagIqzyjbflAT6BaPMqKqt/6HnKzg89xVwLQitIaRbIzgc1i4k+8o6zAUht7ZI0KSEmL4/k+k3169SgzfrQDGAm6L6O3X2vnQFKAQ0mONOeAECGWIJFFDXIz1kxX9P7kN7TSeckC+0B7YOv7+AUa0GiCobz0BVc4aOGQOshdR9Yvup1E+wC+bGjawM9LFtS9oENXQXXz7PZpF96VsKpxS1MpTISistdwIOKE192X98i7zNevV9u0T3mumx4GlT195jrzrfdGLYCzSVE5qTftvfz7xUqdLrZcAI5i+3Y3W5mbGNTYcdZLkS36sMfFUzqClillY1XYCC0S0MMrTT4caoFHfLhwpsAtGpbVKl7SvSZv6vUlt0b1EDUuUX2ZsBc+nNJuePamIJzemgZpewUaTvvgF1um7a5M2g8ffeTMH360UPOe5drlvdJbSHsIHzn5vHvPrQzOaAXWNWm5hUkf7S9T3orAftiwZj1I8iNi/BNwwywE+e219gaOLqg+kkx4gQLtcfWKQUQqg08oXB/Rk2ttWkiiSOpmdAjZxHxs00bBLEPEajwffBAV3VR8PTZbDyxJZr8dwxW3IrgPjMMdbTUXULMOYrTZXUzaAWjUfK8OXKZi/YqvUh0W8mE3AKq8cQloal0Gixy3SXoJxO8j3b6k6LvB57DyNAZffRIGTIfY7OHbyHFIABiJpyqK+gJeztGlu3/G3h7Kaa0JgqmpGnUKz4A9KQ6YTXqnvkdfwB2nnocCr/e+m50cIfqG8oH9bVzUXQ/8e3thUATuv6ClSPD+RDymEm5LR0HnWz0CVE8ZGd+8LwMVbxmlSYCgKm1zDryZR7VFgQ+05+wFQlR3YtyziOHwDoSpFZ5Fhx75DPsHiSfs8pCsmEhlIl1hUEbfxxdH4BoSG1lrhYNJWZk5U7cOVRrBwpaK4gFnWQNJnm0+7bapU54p12WgUsvDFvZSNjSkxEhI2YIIIGTI8uDPEmPkusVdLd5scHcEyKdrbA2G/dS6QKdmvE+sOfbhtX2rOcwF9CjbVMQVdMqcOmnxBWwoBxiLR7K05aUkPFNIaMCYfFsjZD5xaYtVicqZGSEAY/XdkDs0n9hedpZFb7tuVj4iVyv+g7Z8gbJTJ8rp8VTo8dR/dP3KdZgmMWXkSqecYd30si0j+crnWWpo328ZIVI6cyQjlx7ZXbvlEwykTo0ZEGjZjMR/Zdpw+pCGzE4TvVxipV4Csnie6nx9ZREBZpk9xZopPeu+PyFfO/MDXR40Bqt1cAXntL9yYFQCaaOllLMwYrZSM8WRpT1ZcYPRx6+030h3gEzK512B73PB/9x0tr5NYn1If3GMn4gqlWMmp0t31mHf9f9JcD4QdmCAr8/0spq80fv1oWaVz4y2BVpcTFPEgrui3ZrjYCgYu/6YD4+uJOZ4Y5RVu88kTMeJWpyf05ctjE1N9rHlLMwWooN77KcXaBAkxt5QajEP6oM87Qyc+KKkX4PQlVrChdPmw4PD5y4bmuo/cmdR+k5NafEFG3XiWYk1vnQOkfqjc4FJgpd/A4jnQknfilNGI7t/9vq6K2FGauV3g0Ifcc7T5GapXTUDGa+GTtftF8eEC4v7CkSBNnWTmrByjD5HsfRX3kJAiFBenFaAGupBGd0SBkFuBQPYef/UwBfO2lHKm/AVC4KYzZ2XOR2FRID6+mWq9mhzk0abxEEqMSpattEpJW/FygOcKxg17JNhxO6GhRSuRBtXzQ92/BU0h0HPxVw0jio+GNovP2CAIzUjHkk4YjZBrSdx/ryOk1Ya+YyQ1FWwZoy2aBfBa0yRpJFZJYsroStWs4voDcOFop3YFJ3ZArnXB2eDH0VphLW8+hfCHeOviIJ0oFBC9ZdNrtEcRRKRCHx/Mn15RpEpiT5QnKvV5Xj6wbiPTt411mbPdHl7EK40JoLVzD62ZC4ClgqigMRHmkQXGETIz+57NZOqZh71BUyqSctOTjbj6w92fGQ3fHe8IsLr4PEUl3Xe7IunUW0fA2poKWfds8IGrPyy7JdKa4+hIIXXNel4rV4DEXTjNLNoqc6NgbiIPOML45QOXy3stAR2ut0TT0YfTYIIDU8NIJg+64hHuFuzyqiIe6S8Jv2bHtt9mjf+0lvXOwpYMSbmzHayFRi7wX7y6Jz5Jc8yeqoR2MoX6fFL41kisB1+DNg4MzMm76OvErweet9PrkgupytADd/RqKx0E+kvFRzXVo2PXvsR7yLBTZVcX0TlGQ7s9GV+wUQHx8NGaXXqzGL83/tAQ0+L8BXwI6eZmZm6MIevssMwHjGxtNVpfoeH1y3bNDJTABEh/iJ0BoYDvmhYHPVUsdcw4AUxczc4rwhSP4YKnIXpR6Sp4jN/p55k0tpfiQjPaydg5QSfGkelsyeIYUowLnf6IlU5DTSSjaPQ1yPjaSTDLSSvgLAeHRBO8H4AJYTNFnyko3mNf+P8d/g5Vbk5ZzxHJ0KZPiDI4MxsUQiuYW9cc/rBx78/It7rxk3yuPLPUjkvwrvQxawr9gYnPtk010zBnTT/TrmFMiaHzd3uOLRXV1OOwNDjQK9fzTQwW9rL30fyTXLA/25llul/blxjpVgyCnFag/7Q+TVKuCjNh2SsnHBuZsM0rhi/25CU0ImbQBgVWnqA2ecmlAUUwf5lQ+8nymTMEJoTKrWqkHVr4Oi6y5yRHXAcs4eSP5r0lQVlWLBTnegAdTrBxsoCRHNeDR94zjAkegOUPw5xQsz5014EpZWAYuK5gQ0I6vrJwCo++9GpI1+LBNW1LkKYgJ+6dzAlVeynxYfqfjnB3S4O0E+JyFd5Q01/Spf3byJb8xAEI7IyPxft2lpAyOEoqmQ1a7a31ntRsg7bUv2eOD/I5iGkce7uMe03+3IAYSRpIHQOdIIP8Wc4oyhx8tQbTn+J3klUNp8GkSYeetRJNCWI52KCFnKjY7O208Kiwoa4m0R6KsgvrXjK5rwdal/BQv3jEc+fhT7eJc1RurlCRT0Rdl6lW4G8/LBFZ/IleY5SvwMNs64UFXPmIDoY8Xq2tzBGtnjo1KPT2FxqiC8BDZDsE2kgcZVYMlOaWKkZg8MyaXdMJ/sPKn4lZWY+kR4pKS9ypsGfii1pZqCxtex7frsRSUKryQ5iSxYzx3VY/cGPlsCzRhyUwlcsUN9MEU8tW6HYstxFvZqFutjPiTbjdpVtFRqpJIBTMqH4oqUeZH2Crv7pztTjppqNBamxgdw3uYimfjFLoX0bt3bwozwDs0J0oZwcMh4oluQGHbUY16od/5qUCSIIfUyYvwRW/nyM5VWnel5uvY4DqRGWNLUv7FTZDWkBrqGKTjZ2DzY5geJkjo37DnOwzmVpBr+IR0NwsducT9OG/4SfbUPigSgY6hg2UDokJHcuA12j5jgenQO95gUuuDWrgnReiXPCypMQnmOubnCqzuFPFpGu8bHPq4iT9O1cLeNgOFeN8sfvv4wbaoVABqpAmzMHv/NcyrmyC2jSbD/gt8JtM9IjXwfzryH/y/lvZD/n7CWZ/lqrxu+PZBrrQdXsP9m6xVajFH/tT3iUrwKIFFQCfWBC2L4fLT2CFIfphYLqL6HVYJHmQ2snDnIzYO/x0+QmHOHoyT82pVdgLNvU51nksyLLr1oZJMKSF+Lj5RpEpO4OZtN0RSzRnzwfTUFWdm5dQkIqVuMQHdk9sLNSfEXR0g8tl/au3QOaAtjU4wJa/DiK1RWcaHXjHZOpiHI+Z2fWKnlcltZK1mrRs+T3srgwbLPPSZhJXiqBvpTc88oMO+3Yk6ISvzO5NFwRsPxMnb+2/NOzTgOF9s1weL4DC6NUOTEsZ9b19GofOuTWEbTbtxevromp/8LJxtI2oh4WLPNtOjfRIjtFBoYkfJ919xoIS26mKnS6gP9F13KDDxRdThIYvFRe1nUVv9lQQD054BE7WdYvcFUiktOCZfEg3Cg7M8t/dBtsYCbTcfDeB0xiBN7GpwYmXLJaciBh1Q502mhSw1PH9WGTZF4PrtfJAyU0ZJ/5aTrOZEg2MHvSOmF7x8Zr1ZWay7+B+if5TtPajDW48EoB5ajfLrEjtkWuE81WitY8kjnHjTEPuxNdRwYbEIrZjbNVxzJdQg4kmiScV45OCwifzkVkfu4Xk8J6SvdesOJtLdA3xxhBEtH8sbCkdm3DeC80nEXXzRhn2dbDZ7T2IF9oYfHYAyywLHdCMq3+OZ1c3d04PCAXziX+xnh/i5f8c0PjNIPhbNKiqArNDPe9Go+A9B8weJ0UqkEkWKISVNfwSGS/+yOd/BEg1+KHb6nho/hQ1gNYUSbETMj0JAm2IcYRodnVMt6PytMQDlnRn7sHGdSwIRCobwjzd+z6FnUlM+T2EXLBhFEmZ6ggBcWgCfTkLzRYcpWK/2y0IQZWyab93eqhBU6QgHHooTms7K3/rk8WQKzJCELlcVdX3+AqTBapyn0NPfbwknOFHvqftILojKWDWF1SNekw+QP1u13/kNfuOFJTQwJ+QYkOJrUzfUpRHH7/TXKX8kecVBktDUqzW0BuvSyq19nnE4vLGP5NAE09lo5ZAZwZL8PWN2GBamxARcKBO5AnyM4QNucpOkmVMuY4us/U6OxiUff72xJaK00pHucWW2Ac4xlh+mANQ0MoPbqIiS6C3i305dlBeiiCVmIQS9EgvVt0aUz9uvNYWejt0d5CGhfFj6ISIwT/vx/M9prfbnHLHEi3ruUlR00j5k8Wx2SHl2L52rpdINca6fGU34gLyO2TyxCBEkwryRXOY1hR0FwNl1Y5DDo73zQFLfq+jzZZBUadhi/0fXMaomNT4pxL0CqzeLqJ9y2FvJOHYu1eEuB1dJNVwDi/lM3SOjZtdF0++GLB8mQ1PO2uydMB0J29ivXjtK2ZpxIcdyiUlD9NekTGn61h02ETp0hhmD3XS9GH4q7BZRoIcwj848f8miN7sHGKpf44AQX3zktaREoBf7C1Jp0flzcf69h+C2vGLvEyMWRY8KB1I3BTvGRV4Ajb305R2jPNxhxGFfsRSMs4M+B0n1iD9QwdKlOz2bIpi1QenJ6trdDYZDJ/H5DIipQp3iKgKui/W+zOyb12ZRzN/3ZZJJSOwxJ47E/Gkzgtaiu6m7bTTAlYq2obGceI4+zS22qpqS6vBDlWtJQW+J86DbpRf/RTgvWaEkM794/OIvYoqoH4DR+l/ohIrJYbRplXVk+KsjqxdVfVqGEV6PaDB+hm2wl7/BTmSDLOs1gclJVDhtc/dTGqfkpqdmXNiXjGqm1LvnZPkN99u1kFLb4Uwp8erqfbACttf0hCLRJSpxlxLKE3nzqEt0VXVnddRzRae3/GyewHOc3YrV+0N2zwArAf0hZFsuaBNu/eCwtVJFduXrTfaGQXfdhpT/VXABkpgAbsQTaJuAu6AO5vucr7HSueogSLtXa5cnb2mPX7UMFyImfH0SWz+81pdOEmRcE4shdD0m1U60vn7X0B90hZ4I1hcDgHV27AS5WOG76PUozI1tD00zKfOEioNfD7UFCRGZVleYisNymHxcg7wLPsl0+1lLqUgBO55RlbRHAjc9trcipoIJ1Fkiir/uQa1+b7P9gGYT3MWFEtGdISP41dtRZgp4FQ6oSY61Jjo6AEqHtRGTAqgGpnfuwvk+ObXuIVIt7NLVCa7MSiP2Fe+RuVK8Rw1DyhDHipZ50LPhFceD5CV5jsnfbeyFBc4/++uiXatgpaAqUDe4lFbdsIMtGPTK28EdUhWXSSHgsGbsG5fhfall0OObrenqL/Qg7eb3fMLld7ei1NeoaYchz/4gtAEnifjRBumLef9HI85Fcu54LpBX2oEgfOOBT1p2hLbiqA5lrA5iXjxu7Ncvuj8w8VIUuUeUmyRyk6Omx6HoLG2xtxrlgQ72IFX/+bG7/jhV2Al+W9ArxuThOKmV3tdeGlMyrgbytE2ZbZS61PBPobgDUVWEKNpQ9IapHGYUctX4xv/EjB8UP+Hbzwest0QGo+Nhl3RjtI958Ct5k3NgqRetWIXk7SEtIM5qpAA/cNJkHx6FprHEruBgD55/bI1SBejfEH+R2ImrVitYR2CBoulS9n1fru8FBAd2a9R2mYNc35BKMsB8H1gg80mHfhpAOEMASha22+czBaMjKoDnY3PLhrnWwAX3gIfPS4RLbDq9fN/0MRD0t88zFBKLT3f/3MyxO8ssU6EQlg/8WTDiSi4xJFXMpZWsihHdD8546b6ujDG06n+GaB8NFoUX0idJ5FcJ/49lVe00g+QMeD75Lyc+DbxOuU7/7JUZGNzmml/NxIqs/+vDgc0JYSzTJZ0IADHh0sFHKsvlra+JZON8k2LhaBwrp8bkFMdPCzMgJHFpIBoJMgr20+5oELINlMIaot32+MWaIo1EcSHsWuidiANwD6qKfd7V4qEJHBXbd8nU8GKQB8AATAw6iHLHGAdTXlC/GuQmuOeV+OjN7OkqUBIRG5dkraAg0FyqSwvLEc7nLfYGMmPOgTEAh8eqk44Mz5ZOz4I4m3mveKcqZV6yLwzI14PERY1qsV/mcA1raawaTr31IWoF8kXpoqm0N/ZFvegVf+b4DZGSRX/QJUccLwB09Zjqy/A1dFTurVhpM9+QZ563sOJ/gt4QsC8vKpWzNljVLqQgsXUyu2EC6iiTMN8G2RYvsKm3Pos/Zir0sfu2kLL8Bm6CxcrYfLbXTV3NDLZK66IAnBjYJKG1m8++ybhlO4q97tIPvHY9LdMtN9yelbEy5S8Y5T1HKm5B+me8tGbEs8jasTBhZ5lOi/K1INAH2KVXWQyKUbBax1x1aeAKxRzdGzV1PQMv/NsY20ZBQRD+dne3uJY7OV++29Okv5qAjlfJIdd6glXif7wF0UxIDvt3+ztvFDflbkPqn93+7wpT765gsx4x5N2sNrAygyUL44rtR+2twjLRvcC/uHScuUSNkxHdccTpxMN/UN0XFuT+8mMCrpFgQ4hi80C7PTGCCqKOgNXQ77ShGJt5tURfVAh2zw+sJYGwsHS3SXiDCBtynTVcgTF2nKVfZb4bwqGIPVNT8nytuHfHk7FwVro/H5fTAyM4w/LupLgJfCUO2zh4B5gzZwpNmcSaA6UDUWobwbt1YXOL/XRMQ8qVBd97IgvfYB9j7irMPNMmWjmp7yueKhjcECFhs7Cotiwny/e9vCC+7h5TiHhOTwSOKds8E2qABdcC2HU7kuLABfB+kQNAlIDA36Tq+SCQvgDPXjLmNH+wLA0oFKi2T8y30IkF6YTkms1PD7OL33YSkoaJdJZ+f4mpASI8uk1eAGvehJpdIcCvrbbeiCSZ+EbSJaMVnUIlIqbg02i2EAK7HyWeciRjV3XoGGdPLW5mgZAlMLSZkYHjWi9I93rozONY9Kw6IehXDQT/QFftdOWwppjAJbSOL58IR1HY7WCNNuhuOBlvvt966jx/RhnFUjTUvUwIiv/51pkQOzWzbLgaw4AV41H9roEdy+7pllWZtoiHsESsE+QuMHKgT3RISPeZygLnq0NFvvE2c2ro0HQvaQf77QrnUql/lMq2lWbKcRUOYBK3ycgxKOd5pxSPaYI4xPG9s0lcxI5tOJbd2QhJW9geuYcdyYiIsXNCYWRi7uvPxSfIZ/PzDoQCKOuo0VJxIG3UyqNQ8wFl0N+n4io2VqFxJ9nvonFDULPDEoqpnJBLvP2zVm1YtWf1GP8zkJu5gfXy8+yohAGQ7JLyBiASN8dYMTO3h3KhV+kegjKUE3NjFvhmicAAJMtpuuiERmDXNNIWPoYqAwdyL+9Uo3/lgfmvxVeBGYQmw2yGmW7MdbyCerTamrNu4rGDCJ5nJuae9x4YZXrVyov+VHZ5Bokw7cQcE2W/NJL9JBNXd+YiooMMWAg/chm7DEXlTEohDpWybGG5CYV5sh3Jbbh3YTeiSuisimpxvNmFpp77DEfmzHCGAstqo2R4o6MGD1eNzPGBAoSzokxHvyzLaYM4OXsvu9AdACm6JsUTbuvJ9P/yOKJFNuh1JhhXYjdW0rwyy1bMt1X7sTKBIoWbSVH4wiStPLRTGG6/J+705bAroPjzZ6wKdjpw2LrZxA/MI0LeweFjWsH9bB/xlJ2qaM3Hqo+r07JqLHHLnZByyu+1uljieDWiLI6tcjG866lzb3Vr5YBTb74F9JvReDSGQw/VAOwic6WsiBogniS/ZAMS2OyadbLotxmQz8JfHG2evJv8GSAPgOJtRDkWPq/Aze745KLkuk5Iz4kvb2DalLDRRuZ4RQ3TO82vZhCpfJ5II8cL4y1HTsK+b0l93r87XMwX1NDL2KoOF2HDRq2ziqJHqOPLU972uTlqH4b+7/s96As5ryJvdKuP+LD1yOchkKose7ogBc87DM7fzDrhH6NbhmgCMBtVPlWCIwrqXv52WOz2gQLZJN1gpbNVxP8EkUlFbuNW7yxv12S3uFnGpYbk9zwA2xjsblYG4Qw3QuBbzlLUe2nhfvQZoiMx4aPV3l+71WSGhrJOpUua3sG5q4lxq+O162XKvAuUdvu3wG0CLK9FAC9mhpqB4ieYSDV60iMhKbiMEdmonPhV7C19F1yt2VaiKNt1HWCZbLyd22mx7EiGBEtAatIIp6UNwzb5ngUwsscmP2ryKEE1uNEs5Wfz+fKOF958UN1D7c3ttt+pArum9KgSNWcdOcXzwzSlRNPfU9qTXZA+T+3uLYMwwO7+85BLBo2w5k8j1cocJdg0Z8Ll+erq9udMSaEYXtaRFDxQuo5/3yrxsqjwGdWPiu1dL2cGb4Z/4bHDuyizGEhYES6sznxdM1FVascobVhoU11uGybuJ5DPyF9SCQ8lWbKbzHCRlsXyNSstxYnusZ+YjwedeEZpNnraSCWQ/OK1zKduOR2j6Uh/KQHkO6nAk9VVJ6oBcW8EVykaMEutAa8WsWcVpQ0A7gIUaGStIKHDLXlaitF/udBJqIzs9jt+QxJbLsFEk8FR2SIo2IsepjeCgYcJrnanMnpj6wjeg4x45aZWkP9X7CjyD9qbuQ252Elmy4ZU9aFBu3vrYfHaJHONR2cdz47jiMYkw7PzRPuECpmXX6aLht3s+WdL0mBbLWLw6EmENEdI+lsVBjIjrfcKbrBSP4PExJfdSecjMuPNAIKXY56dM4Oe88qS2SyrBxXVB8QNFPLsCF9dH4W4KayxuC9CAACfvjHsIw8aNsd9Ecvs7exSNf1B1ZNCkOZCWvXYiW/9A0wpRYob9JQ3eSlMvLnK397mNQs2nIA6ZcUoMCvFXQtedLtWPmpxKmQnOs5rPS1XMeD2RlK8VzxRE4rt4502kTpE4pLn5gI1tkTeAX6OYxRTyojN3MllyoWMOc9VtARym8oZJg+zRe8xhQ1iunO/0WjUgZ4a1fvMhobwllSCz9V05k1tFmsxqJRbnWOVzEHjsnw8cmjGoRYzYjO1ntB1wHCA4nvyM1tjmApYkqDn6zPNJ+wQGlg4dv6C4i7NFO4cQvWMSKRC6UIXyPHG0l1n17OHwp7vxg/+huftdDX54VVc3Cp40cx25DTEWe6Jm5gr2xFwxoUGC5VoZcwYlbUqNMCZghQee0rFnoIq55jrx8r+mtQDZ3Pi44ZI/lVip8EkGlNlct210pFIbjJhBub87QDCUvXl3Eg3T31pgLvUrNIyttnp+FAfeiZhDryITJNY4Mq3PQ60SIabURhtb4I3sRcsSCpaoDkWFp1F8SDhssWb/N5YQ/vkfqYTNAY3fMNj4JbcnqpiPhZOl2hy8Go4cgK57zs8XDiA7hmUkHJM0oMAPhE602g04RKNxWzXoI3KRHE2Q7tMmhz/LK/z09oNXEYaoz6tJS7v1jAHcpHgs0kyeijPUte90ah2/X6e5jWwrFiZUSlgSXzHpEoIsTTFha+floaWXK4rITaz8DHpTvO5U3UbvFGhafgEiGAIYFKCRBu0KxiC7pltXROppf/SbBIQ0OMrsJ220zr0mZDnwOeLku4tWlKoVgLS+GkcB4vOWL5d/AjWVMOMM3IFagh8SP5l4clsysdBY9Y97P4GxErl0+ie3L+JdBR0pbz29JmitSu9W08JzeeOZCrrl6VYbXMyoC2i7tENGYcRmWTiwKGLaky1szKbxZ0Uchcr6alUtmn3rczAZ3LPchuvoJes6b7k6N4J7loZCLr1FBcSGppb+/tfrNEGleGL4cySgrHHwNCzdxhB3YX+YUfOJOx/twzZ0ldRnuyGBAuIk6Gn6OHOX5KB/Gyill12DPfMlcwnu5oviwUbKG7Acj8yrTN5jCz+2Hhp97RAajEHX9PoTzh6aRAyPFhQaOd/F0vd/x5+QC0sCb5NMBlNMzGLbPVysXxEoTXxqTUTqreEN/7awL33QcpGRvEuJCzwcC/j1Ld6C2EaIPhv16sz2O5MFhSBD78zdQG3bvnFUU2awhQWg86No5J7lw1PsLcHK+k/e+mPOOaOpWQb6wRoir3INYI0S6qWsDWZPXRV3KpVYZvGRTdnALl0B6uvcHu5Uu3RMpWKBCXcxNYj/sm1jLPw+fwcyh2k6MNUaK0ytxMHnMQwaZ1cJy0didNiT9rJIpaYBfYOOLcbZx9YT3hC8ugHkTL1CpVD+e4n3pDU7NwPkJsW/6kfplOh+lBrNJ2Y6y2jOak7fclBHUNjga7b/OKd27lu8c0QXx8C+MqyembO5MjWlv3x0JfwJEWZe8X5A7mEgBoHJR67CtxjIOsEJZ7D/o9eeEGgTpSm43JJiZ9aQ7TkZkn5y/9h/Sc6qTnQE6rOuxWj26N+XjM+J3sjWJW8BqHEkr6AorDHINjDAZl8Z5DRME8AyMrN/r0ZOFOvZkVQbm2qli5b2BCBAwIUvwq/YfXNQ1wAT0OvDKYj49ACP6OYvTh1RKkUnMo/xSzl+BZU0uk3k+qz59LrMRSs7LN4XJyjFd4NsomfcMaKgBWpNK4kVl/F9DU0mktPXELDV6jEmjEeCh8JSXXcI5Y/wfgd8oiidTO0VSy7dgI2p9+LJ2NMCxoWn/C1dv3LbSsbzy/Vvt6LOpJcdJA8Jl8+9Ve+E0UO5AlYS38OGGxbUqTFPm8PE8f5+w8VPpFzblpzs6fOEhdzAA2YB+snqQEh+FB7pAVbe/8QgrYTr+G2a7rwI27SZc8aDAwyk9EsmyDsTKKYm7WSbafTYXW9XyXhgxs4uGibzuopK+tkZUK1nK8gmNk6ABgLz5iVV7l21DIrkoXz1SHmnM0ibYKcX8hbm5H36YkCZ/zm3MTfR666fqtd4Lhf5ppCNeYzzXsf5p/5o0nlmCUYwhMWXGuMKCiWzdrbW97P77w6LdW92cZt9JxgCpSsCljP5KuCYUq9C1lnYz2R9agCtoWtS70zKDBlLbgB/22rhCRK8hvXITWrNVXj5JjZt6lECeUfFlkUYMfVr/g/qNdHpfBiTtAb6E+rc2hX1Z2kdXEKgxENCibeksQIFePByiWoGfjO9GxPH0bnbRNmbGEcJRnkAvVZ4G0FOznaddhHkmRXu/4mmQtDuWJBLGW2JMp3JkFUjcy3zLzVvwY6msyAkwgRdo3LBM5mahRVYkr1C2tmMPs1GnoFNus7e2Inpsw7n7DS253yGxDR+5buyAekRjloLcsY9+Ara52d0IRMpQVcCFB/vhv3pU3U82f2lPT8B/Y7/icj6QYU71bcgBaw2EIDnkE06zaOOiC7QMTGjPnYk9koXHlYemQfmu2co9rl+c/UM/yBqTvipkR7t1JvBKOguPbHTN7ouE01jQSyUjh83YKaa/Q//ifGw5oZ0CJfwfBflhXS1JMvVjSGN3IXZwNnJH7t8m+kJTfNOWi81bC6BdNgmsDqoCemJ1TAOZlfHg0O1cW8v16h0/ncA6KjzkRBrh8nSoha3Z+Us4B7BulW3vF2XKB0IKtBp46xtOiUmMtwWFwMRgtFVJveIGmlqnOwQeqGYfsyiYODuiQvEM4KzyXRg7vlPgGNmJPVciQdzt2VdTc6vI+ZNLMiUxO6heIMgoCufa5Gsf+8lbyUz4K4I8BCgKdHFOiY17H4ZLZRXqu4YG/WsLfdeOp6TL4Ar9gE/GfmCwKMAzxbGIsjtItoSJglsUc0IEjqWwrBU/eOpAo0+f5gOZQJWR2o0sHC2b0BdzUQAgCsuIrzG+SeDbacFz/PpT+WM9T53m8loicGUXFBlTvLidaVnJo/osqXYr8xapKn5jri5lU/35bn0Iyc/VOgU2XKHhT/nn4zWCyUYLC+CSw337MgbV8TwoFNPL54gqha9hSppAJHfwhcrLKljHkCcec03nLSckBnDAngpa9sj1P4Yetn77KNMLOa5/jpmNxXU/XaB1vy6zddZieEPloCwChBJoTUMN6zHzEQ+eRp9CP5Owfek0vVyr7nxSQn6Nl2rllO2CiSPcsf+oNxZxoYvPfrg15PS8E8aisAjnZ+MeBMSevHHEdbS6UcCa1WUZTT4k+oHntNZ9qQ1w1HA124OpYptSWaW8iid4bQ+FT9TfkRfMkgM0qVI017eAnqoQszwl0NK92Thk1b8KQs7zDQfBqnBTcxOncyNaHfkYbR9Ca/S/V5UdAcbenrj7EpqdCSch5XSxGJG7mWeSy41eaCSjnA/WAb2XdQbeHNUjrzc3r74QRiz1NCzCGdphtzjOWMgNtXiNZkXIE98ZPwLNkVQ5Q8cDHQhwx5Rtp6Nk99RQb2Km00SSUgn7L8wQ/B0SoTktJCgciadOIDPnUR6zuTZtgAdAoatmEdOLkjjIbdRksAXBr9zmOfTliO1zgu8NiLrAAO6X29YMQZ9qy1z4efLtwEf1OwIh1hd9bkBgNWDZkIOqkfD3ih4Op/yByrVKwNxYPs7eVcJ1tVIjmU3hOmqZI1w/I/OWuCJlE516hJCfqFzutYL0BXzPThkITg/vYaig94pE3zouivUU6GSUMCRx9DjDcLr+uV3Q3EzbaXg9eE6z+rm0PI+g37e4pX7dX5KMYuE//wSgemmvLxNQUuC+SU35fyZ62L7Wcm0REj69upsSDQ6E7W9VMwE1HXYbqgrtqMRsQoVFP/hq7uCExirJP5UJyiFNkwI2VCW4Eyfn2UqUir9/WR6GbDZ8Rq/fZWzZn0eA4f7GiSQedlv4FGLgZ3ATnf8sv1+IzGZ49SJbJ9F2Uf2tN1J2Z9VXDe3V+ukfOBziCHab1lQlx5zleuI8W+9lhIocDqf04+xwPD76+v1C8aSXlOn8r/vYbSlli5LVyedT7lOPZ2D5xlBtPqoUi0SmS5Mjlky1YqhLs6ZO4xUn8GCPpBvKo8oOwLOaJR7sb1xtAtElMjpggj0dEC80P2Vvizu3B250l/rhXlMD4ogBzTvDKTHLFgM4XPbgK+pZ/6KRPPyJJtxxTQht/oFlDO3G7w/I3RqvxWA7gWpM2cjebBCBNtNfkpllAoxfaP9VC7X8GiHJ/JOVv+CtCYENJQ3Q19fCN27f+V6bo0dkWqvmjkVUoJbxoWnsNUaMadc+lPCZhGHbAEPR86StfetwNPQF8KbftWs+5DGWJwObhlIMVGaneAeEAomZ97lUJkYD7ry2I8L1MGYdHuhbTYyAoPF/oEf7z27Ge4M5Ph/8OPvJ3S+4Sl9UzrpjPrX0WltA68N+BT2C+lllG5nfje30K1LJwcLtSOsLOo7BMZ8TM/x6OnLtbQf1WjonQMHo3A0cXhv1h5M98RQxlxgQhcsxu3if/6SpgySAGORuRFo4rqOR1SRTyez5OzuBqZt8MyLL/OeHY7VUctERGnVoMctNikZTiD7t8xmkG5O8CUsoI1JEt4bmvKiNKBH6oS9h+pr6W5mo5GISrTkOf2o2XR/OmoWGpxKFHGT8AKo4oYCgzxJb0geNs3dWkQyb4j3g+ALq0/P+Qsk2AeZ+F4aprmvJjvYZRSKuhlaQUbs7w2DYRawBxV8wEd9qK3PVea+k+d8etJTlQMCuM68nrjAvahNNm5RBQqox+F1ng2X1tarIZKdSlldPcsQsleYmlyLOk6mDYqKnylpLAGWtnqP+RvPe4Gshe3bwEpzeCYHIA4H3PJm5WoZfvKBpALGpSW6ULkGW4373fGuF4A7qPW09AovgAXiZgD9X34+SLKd3dvUUKUKdebdlPQC6TGiUetWTkWl2aQz3YCUIGK9quhJC4NQzETQeZRHavi/WL1aJubQC6RTk1d7q791xAMqZTyaqA2sklgUYXK37GjOuuoBHvROKw0mdQiJ6I5mpjhV2PhpnMTmkt6tE1kYtkMZfXBfgytBPf7rmTY124XZhEh2jqwcqVskikjns2iPKu1dzk4BNp5HijbH+1Tqq4gHm6+dm6Y/UHCvoXuwWyYsqR5P4Qo56BJt8jWaQwD3wdoN8YjuEfs5asx0j36Qgzvrb0F2N7RwvGXM0J3XPXAWcNiiPJY+hlEzXN58fK58GYf6HXdEFoqEm11QLTWN4/0KpMclVMmObzFMl5synM+EMeO4ACMoklvJoz+PVJl2PQ/anHgW47RoEmHIOLGOmBag5QCFG8bAA6dlWUR/VjBQS6XUES0ZdAtY82ILIBOiGYX4SV/Zur/gMJAXYvDx7VYb27MejwiDwl2VYUIBOBXXMc07/tsHqRQ8+Mc9Yg90aso42ooneLI90l9f00AyFIlbJCUUZVATtCg5y/hIs1pufWzdevT6WM7TMHD9DHzM8mRnMSUTU3BEZ7849hcuAbtR4eSHpK/S5GtuZThF5meFKGFoDMu9QGFFRBBzjduRfvWpkhMIy5Il5/FR+SFpiFi0HE374U90NhuMUVQeVP19KuiXEi504feez+sEV/aJF1+wvsnKk/G531mFd6TJI3g3J/pzD1M4GTL84AqFDd2cC9RGLZF/R0CBslIlGZ5fGO8YLnt6N0Gnk+fW8nJMPdFa+seP9zl8v4/dpoFpRXa5uAJ3H1IxLkm6SiRMpH7occ/rzHbUQEeiJAaUK9dCoRyqYdlQ7kGYHJxqC82m0cDwBLrPSOj7Ahi3Ey+e3TJ54g/hpZdOMhw1zs6b23fENr7cnaaoctCw5aYR1/JrKgfVVzWV0UyNslm07Xau3HMM+0eOz9HoQ23pEQCVJ2Ep63DwzMvjCl1Yfzox/s6yOqd/RN5wZXly90jQJuvDyEcQpZtMDivoAvM2rLAzfO2YnNPeo8cOW3A8u6+ST9q88aIr3RjrneiVuaveOyeL1DS9kkhEpnlq2PniWbtTBKnyheBiDl2WY3Swenqd/qQctLDYymBdL36pVV4HkZ0SCjLf/YF+ZZV48a5//OiBQ/2sWyYjBylQ+BsGAmc8G6SL7j/Sha0L2IKWqBmLj0eHfruEEstDnMcbomSXIblCE7mSzAOc0tGko5lN3/1pY2OmEyHOiqfXHNCOUliF8P+QtBvTwcm1PlhJk17rWsLlrTSBGUTxG9C83vqMABhMYa9/PvGR40jmCHrVGjMMcHC+4SV3ZaOk/N8acoHGeR1Eq85r2YP9rrlguIqNhy2zdoIBHA3frDQH7ynCXOQgQR053+7RIxOAHwzNsvThjwjMSEphecNOmYAY+wJUCj+VHNTS4bWRqaowh7EbvFEMSqua71miRG0Dox9ROMKvC/h/SaYMF/gwPoPKvpm/aMGlgFNDCisCRZNtVXLVkD+8UOBdyGQO8beDUXQpTHIHW46K3pbNDSSDAZrqZUDCXSt1ymuN5Dxh+RXi3GWFXeVmnI2JB5YUCPpqIv4omzzVkniLLVIdK2hjDpPucRrOaAfrN5taEEvmy0PRQ4aKrENAtqXPfM83yN3J3Hk2lNO1FI2e9L6K4mBLVHSCEQoCbs1KOlxAuiXsdl/2sU6bcViRmgRwWpJVzIAYZ1W16zUsUwsuIOaEGxNtmGbjoWE6gZYXBJGMRki4ZCv7V4TuNuum98RGHAcQWPjtRwN9QAYi0Uays237V8tL9yDxSSm9qkE1R1h5TN1BBnzlh1kNWVfcgKwXHiRCSKi2EGVT67izPkcCsjgVfOwXvRCRjyvdmVmg0qQh3gPYYQLiC0kbiu5Kayzm8ML4K73EbEUhZxrWkcN+2HNIlEklfi4rIOrVAAyRA447AGgXzMlf5+TQLW4Ca42lrsvmDZyIhQPrxbSsEhjDAkXDulvX0xKlNkYjb5SwvZbPxvv/ECmOi0B3TYH5On97TPetYRcmT+DNgIX5QWr4Votwr/6c7JOoqZExK4N26VDoOtTW1vqY0hV7kOqNZczlRM4DEDxCKGhoXzKeI8C94gR2lR65Bp5HJcz9sM1897QVyXHs/AA6bLXQub05U4o8uQ9lT8dsVtoNWpCGrBANw5TlDu/ChCoIyjFSk1ZD+gKJgm/PDpYd3NL2uRkuQxu7LGcPITuq6sUDA+DFZB+WyCxT6ZtQxeQne4Cm3q6UnIEhPIIJ1gQ/tcPCyfHuNgvu+Nlg443k1zfNoMSk6svN1e++X1ARISSOHvXFgpP8fDqjgFJygKevnCa37OoImPINldjgJ4NwcuoGv6RLDMl4NQnehHq+lefvTmvmOXOZC5UXjSnKtjCSv5s5J28UyFb9b59KU8P5wS8fLkbfwF93z5h7kgbu4ab1K3C2p6s4qcxBzaCvJp/Z/xay9oc7f3XYl9zG6Hw+6y5O6NKSYWQrhu91CN81UO0pQXKaKVebnqiTQowFDMc8Lc7un/OBfNG5pnLgf3L4UoqkYuo3LzBmnFTPEpCePgy5FhnD24fWeeMN4aJg2o9bHdFKVrUqSkxGdkbeFQMsFTp722NIjgrnHpMxagoM8j3Sy7DVD2rEvopZclrnrhRO1BJcL8Zji8gRYU7QkNUO+1s1MyOJbvEOciKNkcKuPLV59t88ZHFy/T/cIcpkbcObK92kgwOe8SzgI/k9HhxfiSuMCWnJvIbyvNwwJzpIf/3la1PWq978qrc2kwJSyBZeyQQMs1Z0myzRtSiW8L/5OJFZB+RfgscxKtU+l+jqQEzZHKJWHq5lQn/XxeNw7v7HCBGgSQJbkwwcluqI7lOi0hvsA/VzUeQ9V73OZKVUiR5bKg3uxXL/M6S3dOH5FPl/oRjZojNdifTTdk7B7qVzXL2rHfoYCFgj2vQFDKtX6DSn0chIO6FyTjlDT6wB5Jfxtz4i5WH5Yp4dAWcML/WswbFO5/4boiOkDHSNjnZimIn9wRe9mBaTtz05gj8C0U3Zr9lWfxkKnQ/Wn3xrQx+0cy/53q/VO0F1CSy34AdMTL7Hs/5VrVIVl0Y9qCHy/mBKyUMJmKLSNoNSm3k+y1MG7Sd7Yg7hcrL+1Tco7azElVzGHDRx6jBd7xEKrGiJCtJX8GQmS42xBTqvXYOZfPMzofvXOfuPAvJ505NuNA9FJfBqdJHyq7Oo5JCRy7qmNa2QVHf5vA/OYhx9z1j94ZvTDd8oXDz0zRzthYEjr+ozbzKFlLIsHrhcscI9WZ5i/bLRDs4w7zvigkrlMpE2ON3TSSllRoDe60fW6piIgWYAzb5xQnt4Lxv9k3UkKaoIBA4Xoj7W/S0+0EKEMyfc88ZnFvIAhmiPKL91+f0dfqdbXiGIHK1sYt4KDHhdFU4L51kRF87AEJOkiKoFGtuhP03pzqc+QR879jAMONwIbUILA7GeqeMAMdKd5jQgKK6lK1hXkfucVs21Jpj70ZhK9hqCLysmvlMrQsFnKfRoezo+Ga2uR/3OSsc0F3Xdo5oH+5bS+/84KXdQBaYLLWUxA9IEt8MqrctYLhrs5FpXhCyrf+q2JlppLgtqAd5s/NnRFmaTIMhG3Qbs1MG2HGSg5dsYdof8LM7frZGR4r80TFZjHYSTkQWg6bTZIaqSDSwZO2TVmrCUtuX7819xlfZsXTpRtNjMtdlT91jXIOmF/hW4Acmgi/p2/xdR0hCZkmgEHCwtIMTGPmCyhR121MszCNiL3ihoafX5z0KLDeKb+/KybtLto5sgiubPjqd/WOf7fhUpTp8tzzhfvzwmRtboiFgwnT6nYcxV4+708P29lI2IxWVGF/gXkSJcXfn1XOasduJ0LB1tvPaGN2wbiBiD23czBSCHCI9wnhCsCYlcfG7SxL+bw34pItsZi9zsSg1ryIUHzUBjy97wE3XFCHgX6Ki8Bev+dSz5SgYdmxMFLwXoJkzYUpf8hm/QA1AjzeAOLsa0y7ix+Rm+HFuiTx1urnvL/LqUphpl1nFK9MbVvW2NC/lWLBxujdmSLQG1NQdS544XpWDYBjEfhSV8tFB0aRc4LAbGezjvKlA87uFmncQ66cDhynBVtUSXwjbhD4oiI0bO+DzU9k9dipPZmFFgmRNSb4S9MPWWBZsjgRpqj97crmjWBHnNFtlwODXQJnbRYmDugRp6Yh6mATbgeTHXJLfMNP6XUnJyStojgTRjxLwe14zW0AXOtevWQBzAPLnhnojHujle7SlReI/YJwUWs0aL9MsTjAvjJ0LF+Z8VFEFyksoFTSDQ1869oq6fMzLaAemT07XedPHv62nxmQzat6E8kzJXbsCidlvr+Om4ommbXp/gCTA8VRo4FvcjUOJUo0499U151a+jIKDSAPHlEIavN6/12/le2Kwmtgll5fC4c4n8UIMkkHo/N50ol5LN5X+Gc8T4GI6GIbQFH2TGZ9VdD5IQgjkDElr2eAAegNkCNGXeoG9aftScVL1RJZ3m+smgLQvI9Vk2JwC+OaI8SItslxBFX/PyjEcYa1AY5uOH98WgAkvfAFTITnPND0aRKXesay9oxY2mwOCmGOsVg3YSVvel9NpO3euDlQzdpsGaNd1TTsZX6c0AAcGznrgt7PVK5yin0dJamcAtAcKVOWt6xyPdCDKPuXUZF+lGYoiLVmIHD+VM+sfWmzYxNO6tTylEV1FNAsUqoZZgg7DZWvEGHkjECuHXyvqIm2RE8SLsg/5whXPxBaArSZVIVF4WzRfLhz40GXMbrCPERBiIBM20ehHNJzwOT1sfoX8wqJtt/R5CHA+axQgvcEZxy/HGMzyqv492mvftux3wENoex0Of9CahZ1Sy0M8NIVgSuLWbdswpbvJblcra7H55hyriiwqt6GnDTXrP9UQWYZXfQactqSMp95VNWVlkLTpJsKZ33pCH3b70qSQMXlTWXjspY8ErNHaDi7u7A6tj2dQUjHBcbeL/79foiiAkHZWyX0+7CeWaebvrP1LiyRPr9dbZdySp2ka2jUYXCCe9BObuY289h+b8jgW7T3lITQRzEUF30mMdy2mb+u+k1uoxUim3ozsp+w/vo0uLBSn+BunjWGSiYpgeVBx2EUl2jua81zFDuFMXXMUySdeksv5zKZ8yfS9Yia34KNo7cEGNhBasbVWcjmFfMuc2KkQ+YEx7ixe4J9Ln9Qodwhq/VSXmNA1dnatY0INK9RV0lTHEBPlziH+M+WoQCJaJ3DPB/E2R22j/HFed6U1IQCNLYTp6o/9FJQEzQIFvd2pv0W2TfJXTIpNi/XyVhvs7tCi7GNspvnVGHdIJRy/3D4O82PIE27chiywRPEhgKq/PkuEAy1xD46mYSAIp3VJlm+XVtKcOaAfbfcrLJ68pdMYHZgDsZe1urid3snh1Uup/5rILo8dwKvqh3gBeV3t23trIxsjYBaRP68L/lqnJbC3C2eQq433RjAuhMff8APd3jIxytW4ylqUQPav/0i2fi41w91RYNcn36PqhgnM7Vm3yNZ7SVdd+9U1pV2pBhrmQXdmqDxi3TBqcBLsSpHmHUlDrTSKcPbkyAyCQF1MJKUIMed0zNZXcW70dE7qUI7k9dW54ULUIesLCeYi4/O0vtuA1ZMUwKNeBBiBqd/230XkLEqzW/hJZBvIqEnNhV3tqd16yrOuZRpDsD9kJsfhe5X8xMcEpRwYMXBpbABNHyNxJXQ9DA82M82D0UY1FAbBd5oeV3gIn9LT9fCsyUsdg924U8kykk4fiUguf6saFuJ1JW7WZU2+6OXOzuYX4c4oV9NI8ojEG0nTwen2P5Xt2c1RKtwUXFZ2nNRR7TZpbyA14gcFyX3i/xvkcfqPLG6zM1IRYxllMSzv3SOoseN1O9sXKFH9FJJgZtnWa6kHJV9SvPYHC1DKFTlMa8B/7RLa1N4zsnAe0pTNo2M5M52Nfo5DCcsPt5lXNxl85bcnQpEzApGGBg3GNzUyYWMuvVZ2sfuqaThsrmSdoZ14u5zHbBIQdutMGkimB+h5Rxwup6IuINydTkJNy/y1upKyhApGzggFZ+Ee8ERuahUPt2uWBO9F178o00dWTznfbda2TvG1gTLOEfeiwLhCFacTOVik02Zmn7PUeSTMkMYCPVSTO2U1Ih0YgnizbMnhEWu6UyXZeTUmOBTDlk+NSwf0n+b816NmeESXPBwJsqpYolofJIY31084YsVD8H4luR0Wso5e/fQRraVMx59APaVDSM7aiPYvicSiUgGTpXR1OBB1Zf/QOibpacKs20VJGwkhDo77p6GGLSpblMtp12zKC2162cGHl2F1AeuwdMV7ORVvUEn7CQuTJJVpgEjMpqo4hHM3g6RQT6HoNU9a39dTyEEyciP/Mj8QSwBDhAu0x+nJGfoAkJE58uEjt2ZcoHgeGaK41lU6Vnyy36ke8GuNoiWaljx8ubVT5zvyyrbLQ/mVF/Xbs4MUmdh+Ti8DnIcVXiILbic35ns6G3hqLB8yK2Chk/vQIgo7YQGqLLofmh71YanP4mzVb2sEpWYovIccokAS6MDXed3BNB8MxHEc2WWF2NU+DL3ETeTl6hxQlpFcs1Oz3dSoi8OpQwQePXsGOa7SisQZ22fJ4dg3QsdVXVARpRzTyuo1l2h3I98kFyiq6DhylyUGSSmvrQO7F2p2ULJkvvVgmt8pPmEZi6DgO+jte1f5o1VD5azr+JZd8lFwPUO11zrN8XEW80zu/dVD7zSyfKqoHLSJGFKz/VPEGvOQzL1PFg+DE2YN1xOEM7vGGb2FbqM4m6Y2RWTWOgXp0kCJENYGrLCS+Ou0ufPRVtcvTfpL3t9PT2FZZwhDp38grqDImUw3+J6rLdreOXNeXX5z9gjEvj0N330VGMaVrmTdUUMtzsvTEH7/e4d6pyppx+qxglk5yi6XQgCqPKuMqItR9rVMl74rAXuSeFstr5F7KkR5YVx3I0YpQ2rkQfgqKjzzyfBtinqWJZ9dAZJi/95hEh5gtQwxnrxjdIBrFLxHdhWA/1kR27snzeVlkuOgmbiqgGka3C7MkoMJfUZa9NACwbEwj92gBByRVyrtzqi7zlWEfw7bsGmret5s4gZLUL5S8uvh4PUNaW1lq+q7jOEif4otZr/QXYkwikSMV4ydrnDkblornjbM/X5ZkTLvQbzpelErMDC2s85DUWXH1FWrK2ZX6vNBhd0KbGU4KBXoAsSYCGBo/KhgLlZymjSZ23nF4D5GyRPY2hk3pycSFAMqWWRJWjSKFQythAKdLpu9mTXg1UL+fSkrvQrY/vNkijIZIPwZmtl2EKmExdp3mG1vil/bkBV9BJ/tQeTn5zNIa5n/bpoUzs04/L5EEbl0JJVqmluZ/0fQeNO+Ez8XfaZOrVp0G8pdeZO+BNFrpCx1BKUKjyvrgJBLXOxRjd4ZwpV65uJgnhVgPaxoRU7wF2vgyWIGZHEe4ELRvt/CvEASf/FQ+oH6jX3eeQlgdfDefuje/8MYD2/DEYLvx6D2Ur4cq1HgC4sC2NZ4SaHtbJaRLI5Hmql2s40o4kmCIj66/KCAM4WGwKXO2naEHvRLRF4QVT6USas9DbZ4fgLCvDK4oNy2oMigMur9ln+Wd/cpG8h6LiqEfTBBijLwpKMuGGVbyfXx0LzM14Ln+FolDGNmhEEm+N3Tb5TKopj5mCXO3PBbpe3gZ/VwXFdwX8E2D3YiGW9EuWgW3S1+jU/h9KQ2v/BYRiEBU3giBwK4h0I5vcYqmSwRhzlCiu//UYgVCThIsNf/BkNRygWSBnYN9i6z2s51FLfM504OvoIokAqnHTGAmQj7TuaBSqPxSAmIQnY8NZ8aDbDAxDUd+OTYZrkP+VEB+5FZmvT9M/pfPF2ENTHWwYNCEiqrN1pWSlZqE7gIF7w3feG4oykj4qPHlaGK092B5GQWSvaNvy/G1IQUrJs7uEcsxlM9RdGExD5q4tXUA8/H9tCoIoh0Q3NwLT4cmdu5DbgBPOkdlTsqPywDeXKnYwXmX0LgdzxRldN5FHQIPiSlITyJNyM2gvoazjak++u91ijX4Fg7HfWobpzkOP1RYbSwGzh2sgrH0j1EaJ5bsp47YptE1gno1IeA6btBMccgyHbvulevXdvt9Ew6z7ABELLM+Uo+65MbPkAzuUxhAhRamLcMmYNNlwg8hNUHyMV9eMV7TAEAFZnA1eSzGtkjI55u0uvQZRbFXvDjPyBuhBrpJMccRCdhsSMh+9BemAvakzZsRLwgIdU+RY/pYIAf/NvbHMHKTiZS+rjIkUNvzEZEci6GRmTGtqRMvnGdUofXnJvxmxn2yfSHXW19qY2xD7jqY0zID4o9btoYi2oyG7ymkJc1JjbhPcJG4f7GDDDlVGean3bkEEQjTpUXU+IzMYBnoEVw21Ugr3gIi4uXIdGrLE075myVUmPjQszJJrDrotoOnQQ6nk35r9SEhp1xNNOm1bytphnJqcBMjPnXjnqOGowM45NgLYnGPWEW3smiaacrANUGMbnXDIppPvn+BjW026kyB/WexNUR9X+oOrrCMcpKBz2hdojgE/xxDqx8rmVdCXRPb6V8zlYVoGSD2slBqfvAfDte+fSqkyAXfiJVizMJo4GQ+tLdr/Ve1c5QHCzKkvo8N8ExO1+bX7GX8eeYFUdmufjwGzjSnACKqyl7hTAojiVDQVAzay5V9/uvT/19txPuwmyFDBR6hnlMU8mEZCg5xPP6ivvjtrbi8DXV5yuDFsBxVrV2RKXvyq6AKj+aEaevu8/tJmbcB2Sda2F04gfTamt9f9AZva+1aCWj2lQ4d3TNTiew/UpITYjKhSLL+W43f8KawE/AR6oKNEc8dc21b7yNbYqIAtEXEWgrc2y5B1DmGw4VRA+2G6CxUNG9NSFpFCO3dFSXI3tBXOnUiB/PeM9WEJlWtCB875JL60Lj3KVGQIdy+JtbeYbg62N2JzeE24pBwOxj7/qsBDpMQd6nGNDm9xy8/mR8cxXIT4F7quOR0ld7S1XzGeVlxdWCmT0hkcrQ3sQy/mxgxc9kfdv9V7xMVqFoTvfqh/vxyrtsCU/eDIjfq/ktq3oedoKf0A842fCuZUf9RFhWI+fMsgATJlLO/Df12DTBXPoES47u5rcz/9gE/OKbFPOa/NO12aVYLpnLQ8QfhlmzqJjaOwRhHzWeW+FDjrOf6JIY+y0HuSTKqtm8LHGVfGkt2hD89+6eo4c1t0B8BPBwevi1xNT/Y15y0wdCi3Y6nOsIL5l9Y/iEqSvjrgexOKXuJpZ+WkULU7wJfveeYIlAuzUUIt6sbO4XpsPbSkmSJAAldpgEV1gxAWQdFXUzkhCTeYhOzLKrn31c2v5Yyvp2owM0C2yDEC0qHNWPlXI9bixFckC17Ryq1JCdJUdLGzYHdgGsrpwEFcNGvv2okfDj/j8kb8qLTkYVYB6p+yk4WLuBDKv1kjhKJhiguQTDUTvEu4SOpAMSbH8glGGrYrF5gpSYjxXj5M+H98cRRalURcQETI0utUFqIbpmbqjFOUyQUb68mvU9BhExuO6dY1vYMHqV+233PUB+M0bGgZ/1v0rjZPSVzpI/KChOhRVT+Sh4aLAiW0Fch8HkN3IyRWERgJEJIrHiHNdny1uShlQ/8en772lWyLU2Zdt5BKBa6eXM4RWQczpibXUug0d9JA7tuVgBXoUi6bcsUmJRj8NwA+XRmY9Wg1q5URpatakUXp0tlfPXb+J6+iisC7CtmVc5wNgDCrxbTT0yr5DZ5od5KmqwSysbzUtO5FyOeshlmSv29IqwCFC6aRUF3SXietlfXD/LsWOLNwgpKo0lnAt1w2q5uC1HVeTDhdj4wgU0wCeC+ZNLjoUn5h5ABTHrxpMnqcLwG4HUihdT/Fo6e2W4nF8WoEFhWJ0ORTqCKdThDak6AFtgJ7NKGkoHg0rtODWqgS1vwUw+2v5e6E2ZwEDIoGRRvt5ut45xKCf5kyPG5YN+ys4ltxj7CeELm3csadDGttzuFWvkX2IKJdF9YMDTaxqLV5E2hhh8Xr7ukxV/WD3vP5l75mhI95otJAuOz91BabG5bUrYWTYfXPeZ4aFymXDf64gulU2slOT3k+ngYb84h9ksMIe1pTP/PyxDY154uz4T/rGgHdmw3cbcuiCbK2ysOiVpl3JO9ryc2vQhXX5kxQzaUUa3RfPr35qWoqVuWHXuVA50palCQwYgC5giQaRcuatM1CewlTlKaPCda3St4MznFjqUZgTTFzjRJNQ4xrwznSMV1/XEWaQgg4RkZYUR1K0kmRZHMdrUZVM+7xKqfpKx4bVohHT3U6Exj9wqf9JM4kpLaScJRhpoXCeFNd4Ykv95UoYy6LmisCf959MpwV6C9Y84SYWucfgz8nM/sT+KjX5q5CwzB9mIK/Ku6pUApPJiE+qu2y15hC15TzSbhmURFN5LtjV5DXzECeqQxZWdwLPrpK3H/FEnhFfN05kSC6K4x456rddiclljMrZzOw3Oie+KYSBRR6hSAcSwLB0RYNtSPTaIgCQ+Ek5CNLp6CwyTQ0c/9M+4/JTlUUQz7qkzUrwVD5Qys43V+z5die4XxgekhOkNSbpHm//Rd1PxXkjMIUxT1XQsko7Xg0jsLsYxyI4uSW56m1R4XX1/2n4sFMquTI44UTHyoXBzQSYb1+oL+8JefrDK7mN2GqzGvB9/b3EYI+ebWtDHNKK5prwjPXBE5y9MIwyFmnJ4bGqPxUR8exT5zUreY2qsoqJDPdsaYH9mFXFQHtAx77Zr1zotE8Z4s36vVD7wtO3CpqDsd9TTpruQq+KMHzLpl6SXQMk/8x8UmnSdJsffSYw8qvpKs9WvQyAfyJodghch/LDIZM5GXip9ux38192L2HDazN6oSJ+rGOT14smlMFBfIH2R2IgtTTtpx5fq6b7MUHntk2S5TJd8bH8w2QRx6W5l64IZ5iC9G/RiECWxyiCsDBUXLfisw1k10oM77LhhKQL6scbLqXifLksIg03Z+o6d/Ynej8Zx/uncdC1u43fUcpvaXeUIXWhCI11qFByoNpXgBtzjkWekhJMxYAi7oXIQUhSRYgJzi//no7Z4OZuj5vqYIuCWDrdwv+WG7ZQ8oUNOw/NERjW+8WPee8nbcGdUmkkI16ubvsjdMI6KoiBBCWvxCMemrufugVi/luw8/yYebaXE3n6Ke2to4EiTIm1dNpJlLgeoBITlB6zKTHQKGtzki472vRqyKLGlwhAxc8szyHA0QLJu7M3vcR2TEyZPjMWVWBbD2yVaDJpPJz4gF3hHQKtJgJlZK1odATHP23HPdxGEU5eGn6O5Isy2CQMQ8a2FeKPnZXcUFpcZFmBqY2flHQIYcaUmfGLpYe3pXyl69jMl0PvmtfxqmrDBn25efar5B4ih6+pItD5X0XdX+h4aDRvX44x4fpwxC5DHOnbRnWYYGshg9qXyy0OFDTwJU9KkRxYPyjCe+cgve374u5/XdhQKzeE6mUITxVcpVD6vEDFA8CERusz+3eUmDz+LuYcb2hJ7UieWTigJmkyESp89WAoSmkfT8RP+3zLS9g94rrTKgVSM+ag3vT17ifHWUHwE2tugfQ41mnngOU5zkYS+0pB751j9HVhiCy0hpGa0xQ7CIAFxa25rxssyTQEKwdJuY8aYBXmKzaZkUzqKOSGQjpLPzTwxi1MCrrSnCHUiKL44BaKoA5vnZCCoOukITV51sVdCd3CK6G9MjgyMW7slYZgXWIXakdEScCvaMR9JFqeA0OUGsTut7dWdTH6KKwO8EqDjOKwyxMpAbJCX1SmV7jaJ/8e2r5HXoGrNIkBhkmCNiMtTqZA1eJVMUrap9zGtvxCJd5gjVjTuC92IQmMm0Q8GJDl2jUDiDX0Y18yHC3MRV1DZMuTCK+J9Op8bZDxci1B+vHtHZLK76sUs2lCS8+qag0PH3v8fe4aQvDBqiTwuDa0DL3WRwPrTw6X+IRbEHSFxOLfZC41gAq7dHhzzehdC4oiCw5r7fytgaZVe5dgn9RGjXsTco9kS39l3VqwxfqFHa9g14KTqSL/hTI57UFOgxn2WLlhScNA8aC1jkPYCeaDa0Yg/XeNph5SlRxg19tiNMoxAg+GB+gU8ldnswCgh2VO/DrQsiE39ECSue3GiC27nDm27M7HUrsFDjxX6l+K4D1IhF8GN5pYRUTp63lIz0U3rgFHutqVCP7ckrKlLp3CUHniEuKhr2r98UzR9jt9eyaitThes/vfPrxKBgfH1zAD03DdMF4jDjXr2V/8y53EPbnkyYwRWDw3ai8+yFriu7PFj9iF622MFy9cfWl6FXYCossN4136j5RQYGpZ+Y38VnczUNrJMmvX73V4cA5qWlE4Jur8Z1YyWzGRyaBTCaXeJ41yuRVRn86O0YJR+z+5bUeuVi6+4rvxhC3ZJoruy1Y2YDFu8gUukUwPMNVauEUBPY0+qfflMb5L4fxQnCv5c9oP83gOhz0w0EdSH/3zURNolIw9H7Gj0prEsdTAsRdpOLdIG+DAyzexBUqkvvRxypWVSouTAim2RFPyuOA7Ekn/i4ZKZN4PUsthKeDCqIo6HiHtmpfoHJ2E099EDOnE7lcJBS0Mc4JnCtAvdyFEGQwuHxI1fvaNs+u8kAHqAvWNu4nFBu2zSviEAIqzPGE0HbWimb8kZHTQtS76aP3Y6ASljmssnENRMtwTe/Pr26l/0eh4jkeZqSlYvq40HJvrOCUKvHfM2SLuP2mGTPa+q6oVvWfkFelRfbLXXRo+WR1UKQKV0Y2vuxi9lJVKTAZAgGeOp7EKbdQO79/IhXJe++pRdfalqa7DJiRNxFboIMA5VJzMjV5q3mWOXBITbKr3TnJhIrQtm3HX4QGSKtBu1ymueCGZLCMLmSU3+/RIbbYKxgMVZben9HPJ2GBDdQG2GO3DRFb8pI+toWUFlLlA7yrMutd07HMuEq4pbvZFAZNPEe5GycHsvhEd9g8ECTDSR6zH6CKnbS9KxjXA5uzLYRgHJMqN5PtFE3Eji8g6YRsQ3oqkx1JvXsP3GiA9zb68/TAMkciot/dprr1viNOY6RjiZ0w1tTB/g9+7sSz7jtt4qJFwuE9HgBuyAH60iapoCseZD1bVO1nS0IxWw7lMR5g+bdyYwo0NqEIeOF3E9aurTq6pHXKWbIXI1EbBXpI3guFZQPW2+gqa7ux9VAanmT2GyTql+5txJGMIIOpq5jKPPUSTVvoCzOQWRdJWPqB7xz5lEq8RFmgcnKLlEHx0YDEi6HaknDXT+5Q4PDUtnCjfZ2TrA/H7tg0xfCfh+FqAK9BqBczHwJ+vmw+tO/dAQIKzitPAzgeZzFMbWj69ouXvVszJM7khXc0q5uJWo2txBLpNFtb+keGG/aw8XWnmGzxcODqR5gbYY+8+P/dcNc1K9uyS9+aIr5xCfCK6qAiTyMcO0ZMD2JYYfgA3BnCxonX2x0w0AP2ouGZ9kDI1Cp/OTAbgSuEoQ0lz1Q98yl1oB8c8NaupUg3q2Imozlq9hb0IZnda8EzO2fYBJ0FBCDU6NVT7kP7aJjVr+oZ+5G5nkBQqKxbTFyZp1jVU8DSnCEZxM/IOdKmmqQeXIK6g7JI507A3ooLfBl6n4eKjboC22UdbWtETUmUSR2uAoSz74+PoUEHEpWbs8TBuXwePWqTuKV5a6JQ7F1tyZcXhUQ7zPBQxo9r2SYp4R0LCEvYkwgmGlgspq1lnH4cUYQehr3mhXSFdHc5wIq7Bzi0lPMHRdkG4Il587IxfsIi28d4g2e0YhU7TOHSNe187rXdnz9bPnwcK0PfovqlDIpeBllDCBtGVJYOCwLi14uplBt6TmsRiNhBZH5xbe8xuh2dw0+8aYQ0U0FTGReX5Z/4hJaeWEtQyrJWgdrmVqpt5AUi9iGF0vP34+RydXPPCt+efSflH/a93cwHMdlRKP7RAxsJc0Pvm2Kh7XeisgBfYc3zCxhnMXLATP613JIKRFaHY86n4TtuB7EMdvtGXRmvbEplqflYOngz75PJM7y40+OpGeQUgf0PeDKYAL+jjBKOT05DBz/JLjmdF9CkO+skLu6dsiuA0pQXyiJMPmu9r8XRSXaGLAox3tFhlJ4j2cAGfSVyZTkIX6uGLEY9jyO4fecwpNFqk9aB6h72JX2pBWFV4uLetAQatR62JU1xM3yBbAAEZEh7/tIHHDYDmJIpiZOn5wn/SKxjeInIj4GVN/FELFi6qc/t8gOR6vDSHyNBlyY/PUSB2UNTzTGkhByo1lgejscVMGHLkjrdJAMx3ccdSwLSA2/n4/mDa2RI67Y7skDgmh2WcaM8hWCW/Kp13IQAFfczPjtRWc5W16XDWUHfqALQ4akw/n0C30TANElO1+DsqH89V3xztr0rRFjZ3NGyq7GikfGUcH/JjQ0Max/N9VqgdJrsXF6MED5jGG3KAX17lLuNjY/X8fwFIE4IbyxSpZmdEf4a7D5Jtx+HFJzHkd+V/GgZpJZm0e9Z3nNzgVeJZsYRiDzb4gMPDNb3qzFWoI0KVShZTEMEmDbazyrb19WmJMBIVweQ5DofKAMX12lo0ICgxsPIiuJ0CIDJxC+ZqXHaLGZ/JnYKYg+sEknRWTbbrmg+mGTn1pf/lWXTUY2wgATNaqB7bkK4Ws5AK6cCQOtBIHSAVGrQ6ab8vT9b6SvdrbgRsukAH19K+8nB0h/1w1kHkxnQdDOiGgmTlfGEQKgy6IxqhNRkTutqkSi6VguWkjw1IuCM3ZpYDbTn1/y8f72onEnPjIxbp4ZRN0PktD3coAgInM2n1vkCPe0BG/1lCUdc9feUONQV66WiiDmn91FZn4Ha5Jm7zJk6Ydovo05ZM7jBz6QCawBF9KIWt9F3R9UQUGv4R5rkZvfU83sr42wViyQtY1JfqjzBMMMCek8PwFPxjyuUKFwjl3BwGGy3mSa23iaESfO714Rf+gNYvS1X7clq957KhXBwd8vwEjOVbwYzoHJqH7ayYa9DCKCjjrPzv1gciJjWuaSDbkWlepz6uvdV4uNydY14aCBcdH+kdTDm/XVN359LnFna8m3aUDsbuw2eSCTeU3B1OYRv/YYYgseQkUz30CWJdcgRApSwANGVrZE2Wo2PWbi9f/YlD54pUsMRPyzjl16OjnT2tBbYxVVIJYGnGE1v9DsIiN3nB10Wn6yjFevQvp+YCZjOkso45uIU3ncIPpxFL+qfCmF7T2adtAPtP0P5H+En3ugWVxvj5zW4fYZBK9HBlAMtPV6cfx5STK7DG6GdEAHwhPUo93A6V4e2Ty1D0aAyqizeCscKmbkHPa3FhGm1/Z4GZHdoceswlCAZLVg3UoL4DNwsOaXSm60xEzammF6/tA4tSH/sCm48r7llODDssJ6ovuHWAXbKgdiGt+vbZf9vNAG80hmnPx2CfDBv4sryvrUJnILVSZDh1mnVBpQUp2OXHlQpnzd/hZaHV1WOWNq2Ts6cv0wlAZuxDoOOPY5ncCyNSFm/cPa305jbjY/3aHZe1e+fWVO5QiJTVhR/vaIx3JIWHLGTxsOgNqPxgxS3DanUiOQqzxrQvjmp7pMffbIzjw93y3QJdy50ZHAd9gmQ7wTqzP+d63obd7bBOxs0c7/sop/3pDbYOXa2TU7JA53Y4BvYP7Ewj0e/AwyrmNc/8QUjnjfoPXLJCHuPGKJVwGJdNDa5lDVTCpSeT6R0MMqe6DnOG0YhqQdFUsEcHzp69BE/JRIc5Y3vg65MuNUFuZTw9QdsZVnUpu9jFofuxZis97kGHCmn2N+SwxpRS79XrnV1KoV85sRQOH5GFR7buccohs0ieU9TgkW9bfoQTUMM11fDtEUY2M/USLRPoE5Sa8SkWkRZBfSC4XoHqx07nohbly10aDIDix6+jpiI5YcanwXOwmnnMGKksdbXYec43sZfmuAUd80C6DJCIfQhbEX5ObQmpl6zaJBDjEVRmXpOZtIghJfagrUvC0oTgR/urfTHiiKvc6p14JMLkHTvdco9xBLujI5/pesCMrsz8Aruzj1McEW3cMR6fRIlgiJb21d+GGuLPnZvnDS22ElKnQdiStsLuZUP0MdJ08U1CJayKpl3L+w96St4tTajf3WrRKkstlwx7zUAbhtfQDy9/TMKJpg9Yyi9uZO+Pg18660oDti2we3nTkWy9xGHtPKTM6rCRx5rBXjtGjvjdpu50n9f5RUjG4Z1CKmBiZh/a6ypGQnsp2490emUQyf0xA4bDCDjD9kryihmm6GmuUWAbtwP7oBfg39O+FHU5jAz14ewS0+ctzDvLPErmD0rGQ4FhqBEPR6d2oL9uGguPAFUbMSAtICmwbISVQ47BcB0ARz/AUuWYXQ+efgqouw8D9WUSQtk3aFDmE37VwF/J+YUredubw/XcGtuVrLED/AKGbCccTlUEktGGs+R/2awuU/UTyxuEI53Cdb9mNBjr+aNFw345XFt+NwSYBJ1fcIXbgLcR8hGoNq3HaDULBmoIoHghFYVWYjhFDBo6/KUynaoFu5EEXBFaDI8k6Fl1Ex2hzLcbltrgVBfznmnxfSCAHJ9ivHnVBQJykN4qjR7zj/d/mXrHyxqB/7o1ob1dntmae249AKAEVikTcZCJVRTbvyldi+4tlirehIolnz8dlzexamJUyONQ0Yg5TD1n4uvaAjYmHR3FvsVIikYfQNtRKjdJoz3czvTL9wComCUYUlaTYElC3LYmVS/Mr/yVi2rLr9j7XNOhjS2taWY8Y9t+75x953sMoCGYmbfhdxWBeGRh0FXn52aPP5k4Zw6Y/UIrOv8sTIp3L169cAZEErY1GBLIE0vrhSa+2+aQHrNAQoCGk/ZGUQcyz73d72B1up3vKOuiQ1kpmZcr/3xMPwUXmFVtenb8Icesu9t6juhseaRaiElRjIRPMNEje32UlUXvMp4h/Vk+QGCmMLjqTRyUSwa6hTb4Yp6KzI4xmnPrvswB6QBSHS8Bnibe7EUIAlmqfNo6CfuBRzO5UKhTKV/JqGPdalPqoOk/rN/bJ4FnBniBqA4DVMMLuK3jEeF/W4mrGWl/ZGbR52K6U51ibRZoFx+q8qYptK8C8klGmLCGJKHCG3qc2V7vh9QGqXqLzsFpH+r3OQzMv9x58vTvZjsZUiC8FLmyQCYdjST30wNlfCOzn8ttQhqawu6CeQHpcLxKcb1YclXKAAu6Ih3JFmfkJ8W7ZGmzAOMnpbuNH8T5Y5VdzCdbqCeimNWK35lcdjDgjRvltAGtpOBVEi+n2u6s12LJSwJIqKbMjI0NFU80h5ijARQafMG2Lq1HQz8t+u2/YbFq7MnZeKWz+wB3qDmFG6tcYIDxZm969OZgDTHQ2aH4fV5LDmZPqfIQzz5SkUei/dWjZAYjImhvaedebJGm9AeYV3JJyOmr4F4gS7Ek3xR08CFugVPkO532iOKZJQsZCjccEYR34AYVoaOTb/nG8LlN97UPramb9oW8eecgFRiH0P2NXmjpHCNkCgQn7Wh9rrC6/7eCZ5KFZ5g9cwKolAVP96vmsHE7GS4HV0sgVMrEP0x0nRGOeqg51oAcyCWb2htLsc3OWS8aNz1ov/0htmFLy9GNKZpGaRLQ38uJjwub99fXjR+6wzfNEdfYOTPA+IpahsX/pYh1bAuLDY+W8J9Q4y6WosTuq1PEqc285nDwSskx+KrWhWILIikmxIwmGVNYRBDE01PpiozmurvLlvwgo6xJWigZ+nCh+UyFyL7ihhGdpolB9tvxnEN9ml+oYuk8N3+3jOOiXjDQE8AEG/HLybbxkXAYcPTqYaxeZXNJ/HieoMrh22FecLrZUjHYuubZbggBPBtIN7SIepCYfRAmeiOe7RgHaY1PAIgtDr0OqY88QllUpkATTVXOKa8eWKZ2Xwl5nbBmjnaFw1Ve2nnRuqhjArudEGKjhGQFqTtK6GJkYPOu7XeukXiU1KwR8P0GUTkOAuUbiONSx1jvUz77QjX+i9zafSoIa1aKBfW8mdSRGfBH08pBLXeHr1MihyPowo0x76mbZR1Q25Iy9lpqEtj2fn+rTCs4ITHxx64t7H7vGFxov1wiBuc8KoeGjEGg7V6iCldm6DwIYQpSkGhdqXL1YyuhHzLnixBaHkX6LNTeDwreQ1ASAz8HpM96vyNPJgj7w7R2d5VjdNex5wLxSf1C1pr8da0kIvljYK3gt+8oBSIv5I3rm6WYjlev8X7wypsHkGJnHxaYy9qiBbyo4tvPUUA0NXPLMI7IWiORjLvIDs59DBPz3K+GNKqSmhifzaMHwM1QtUqc52l1VkysEzOSznfmSWEu0NswLm+s4KL2MHoF0p64fp3LGdYBhE8bUtA/ojyTVcysFQadVlNCsYcOlrjvNlxHXBhxyWSDRvSpGHxDbfCC11QVoO6J9elf66D6vmNp4AzoC5/B7qe3U19/asiAzkQW7QpvKoqDt2PVKAfSa92SIHVe1eS02Lx3V1K8N8gtN+0CV/tsvPGFrN6fb5mf6Y3xs/Po0pqSYqSUvBxE3zh3BuVaIopegB8KQYzBXvkIJVkVF+2ocK3r0acRsq8s3dILVJ95lh4iQoGwveQLlJiT/4C8C+c3TPlHDzYJ8DeUrCm3GQM2k2nItAucDU6hpvvhg4sxA5hFazCWqkPKg7sKk1LLrAVuxaqu11hWv9N9RYh/bEB7HMz9czWF+CYNPXTUvqoC0pbc2p39PdYtVu1LTfF44IMsOlhyMYs0a7VViR2b6T6/lXg4nT8NMbEoqXmJ9/20nHXyEfmHECjMdMpplfXfjOeB9XOv8FDi++QVTK5sGMdZ2rvkHSGFgTqoDgbML5083/JW/wvvv7vgprT9/YhPMKy3UrTiMtmmSFzPXTrzJSZeCLVw5/8r4Jk61uvNLAn3RNz6oCzZ8ZG2E5IKA1oRwa5IN+M/jr5F2EXWRS8+EG+A8PypelJUoGCa0pU5DkKGyp/uYu8wzbwwaTBLDZixj57t4vuG+aZP/An9RqDWNFHK/38JLkpp4USHemtPCZO/oXt2oS6M47pF65SnACfG915bcd7hzCQu6h8gjEpmsGJyoILXsr+w+WE5BnxAXmfEqxf7fNUWYoBzurympZKemaduSuPEaq18xN7JVPRmXvUxAB5iFzEFSLDH43HlhIhc9mM95L2kFaTP6aXKPukFacD/pkZkR6gAEpZ7khlpbtVf6XYiD/diiiDFFGdHcsM6StIVk/tJTeFy1zt414aYGtXZruBsP36Sfu47wyb+73vWiLiwF4k17P86p/P+PHJFS/rSnbtgyZr7+tqCBw1WdQBQXsg2INAPy+zi3smijjRUvk6CQfbYt+1mFq1t9tZ8oEO5n/v55u9aOayE/JNqz1FA72szlSBgR07SiQqqEFTUVS9Jp6Prhl59aY3nKifyzB8cg+zfpFqdlrpqu+7XZ+0cNMlMCjqJTvhqnj9iNIsdCFntH6g1U7ABFa8hWnG1zbMO5MJCNip2v/DwjMV7hp8ISsfdE19IIhT21qtMQIrrWiRUjTSmODLRAduU7bTv8hgI2cdeCPpIGQ+kq4KI9G1l+wt9Ai7i7P+kL5VzCtxq/ZFhKtcoN7zTUVZ5wxxhLLqSFaiFZgo9G75RGsxqYmvtVeGDoiO9LO5m/OEpzWB/3WyVtw5UNmWKAIHB0UE4/dFMl0PfgkA22tDxz6b4u7JOXdXWnKoPGM98AJBB8s2TmvFGE+Vr8ZGQakU+8rMc5grgpPiKle8ZJcXgfim75Eb+lbta1G95wvJ2S9w38lhA3L4hKKae9MOZCr2Tx5iWoEWQgyW9Z+f6Dgy3MTwX1VDZ76w3ueJsgWwKdMNQCozfJz6LRlUGz9PInkWjmdnKvOB2jHrE4gfYgFw8wZIQVYgr1q3smGCQpXej9RKWUgczqAPwh7LqECx6i6oFZErxN4He1CYxXs7YmeCXeN3oI89XTcCFFtf2WRqEVma+1d0P8Tisie1ByIZ0ivF2hrSSZx8inn7Lx6otNQRUTVjLdHUr/TLQJKTIOwttToLA0feAtsa2lzkCjpJJdk6B10znnbwWZEEShIw6Rm26IZWcVSMTLBXM0mlrf4MHm6m6EMjluogyIvN1U5eLHIgC0fsadlzi8qRDH0cmUsGEjkeKLyfOiH3xWw3ui0bDzF22i+yUvpIdMgS7mbiPys2Pl7JqNUWNfh+3SEjyZdBij7vAnPxZGQB39COS/NdiNbny3FnM+RC8If1YGOD8OR77vTigoxvv5IVuj3JZG+LlMQ9LPEvfEvjEgQPdIEiGdBMk2dPlmcOcg9UlG5z2XRaogd3qPUBQ+cVoveXX4j/8KX/BDK6nG7ZNPOhX9WaLim2cCUNZLKdfZBFJIj8zQZUtaD3Wzb/gR8oD1loSbat5jxC3i1n8vBt3aeORNdYiXjWv7A1wirn2KU0V9JvEME0+E/cIIbyQtlonodpD+ebEtcMe2mrkkO8A+z4aQLEwKznPwn9vPZ2xj2M3+xVIkneQ+Gr4KRm/IMxxz9I5YNPmZ94uHLFyMs3CIVloH80YLDDHrP2dLR8foy1SLAuQ67KmJ3vF9lhqBQdnjhf+ehRK0Dr+mx8GMg7//KicQu697145xj6fJJaH7m0weuqxZBKsF6rGp6VsfvQspISFDvcQLxBSEeQgOK72oz3uG4gX1vBAX4KM/lGFZIUWONoKccgei8R+pRNfqCBYzR2yn7xv4mDD4aaGh5Jo7MhEZvy9pfag35HV50MwP9FVIC0RqX9evAEkNJci6v0P3jV5haZ7zmP/FuB++Nbxh08pRVa819NxZIan10eH+/0hKtVA1VyT5FV9eHWq43J8Tpe+QOak/V4Sdsx3QZS/gyLlVPhixpOWRGaWAg2ZQrV6AqPUDa1T/q5/NcrxaBxtMxCMhl2hwOuArFK9y7sVSfMvw4C0etBmvviFh7Ew3DIqJkI4RbNybo0o8yWA3SbCAK7d7FEor10Z1V1IRbgVjOCa5cV8MYRodjmh/1eqGAua9WTREDkDaEnHezbWaOLdXlhT16v//iVy07f5dkM+fQW5J3UUvMR3GO3cNbqmRHS7FqLOdEMMNoqblmEzMgOBlV+Ls73wdjfLKnMM6CSFURdshGIayNThZwASLVRdb8W2MDxsMNDu0FcufUwQDvPEh5UVhSp52eTaGAOVckmYp6h1JM9zhp4thyvTxbgSWOZxHjLAz3LAeDGFidCQwbpkCaREsDltNpka0SLD9DPwtr0L7gA5InWO31aD7ATBNWsoZk6+zmSxTq/9keZxGsRVXm82WFcaGIz0jyI0lyo4Wuhi0QPt5Q6VzIK3vAjMnJVatGMMR1o2uZ63VIg6Em+zhAB/oMBXgOLrrgsmzoV2Re+UcFuXWadlUl+C4JDsEdoI1j0m2A8J1sewvpJKTkvn547nST5yDgnlwwoOR1P4KLBZvSQ/kLSiehH0mWpUg1FQkm+nhpKi0NHleclF4V+ggp8WeqXJPN/hO3liBOszk6juZEtPxnuM5aMNq62e7hGSOnc09gmFnFeWdZNdMb9iXLjf63Y2BdF1uTLAfHtdi0hDSneCMjx6fjVhQ70wmz7F8ZyiMd+ONb6e35O7IESB+HAOIcmsU4YFlnZBckYT3M9iAzI9CRSulqG/zSntVInfzTEcliaoIRV89aLWORELsaKZK6zmfzSanMfHpRcwjaczByDLACbfeieGClhNKwBXWvAArM11IptrdvLtm2ZapHFEid2TA4C3OnXSrXupCwpet+vlzeqQ5ClLJzPOL513NvZDX14vFZ+/NbXDEMkr0Dji2FR3j2PiZYeRRL6xRFUiufoj+FrH6oT4dP15//N/lOaC4Yk4V1ZksIgHSxxmqyLta82LvwZYei2W7/xNxrGkSD+bVJIzJdj7k+WwPLDALu428LoRikXv9NpUZQlJ0agXporVmv9HPLM1+udvfrO2IrKBdKe4QXCdIlqmhLEeH/RoKCJZPx67uyt73a1DDULu5Se3MTdIOY86J5NmqXOQRu+LlN436xksNAPc9ryLYCu0uF1tQlM9Ndn8DfCZ3gAL9dPkLroN6K5qzPDLmJoBMecW8gytlp977LXhOU1EfFNsWFA+v94qIS7Y4iB8uBBcW/SOzKYRZRxZHJBswJKvnvXaDj8hXwWhgVO+meGzuL2wnwempLwn311tg4dhis4xNOFu3Vv/KtQjhu9kzax49zmT85s0uGz2tUImxE4Xn50rc5ObuOgf0MlL2u7ESqYv/TZrN8VSBNGCstHLiGOzsD8i68sr+K3ZjgDrEdzpefM0Ee1jyUQ6n1L4kkLE5ymMzcQm9gpoba+PvHMrvsKfYNpc1HnH3GehOkhFl7D6SMOq6tOAvcyzlOSHaLHGFtRLxfI5yuyeVT9GOCAIpymsiMndFk2OWj25UE0oFof8yKBEmXkpeUmcPcWXneDpVNE5TdaitO8tkztkGE5rIf68vaS5nctK6c2k7+ofs/CJRd8+XP08SioHj8fQwCLHXHHmP5tE7F+Sl5w/Ljui+I34K1jAvRUC9N813Xbm/d0sAueGTvWAEW3LFjjvyrjKV0zRahEFx4g69wsXtkTnL3Q1UOGFfu3692V9uvyWzJ5fgC28vhKVIfwkDM1BhJidN8tbAp0EZNTRo62CqFoPt/mKKt2xRjJxxXzq8D/0PTTLoJK0vomAh9lVRa7dAMmXXwwyb6ULn3ejKHOL0I5Fa3BQqOtiicddnpTwSSoYh4RrCchh9KVXrlVbuWPsE1QJZdMSEdp6QKR4+ZvdF4lGg+z7LnndQZ/anSCYac3b5w+bZXPnSAieZyBi2VRMGUszmsKeL9Rshqt8dBPTTKCbUPLzYPE3E5q+pqB5XXNaSh/24m6OAUUK4BA1DdIjCPHnOydc4n5IXuAP+pMIy3Yeh6f4sgDHDoLLarGBhPuv3U/+j3ORA5C3z3EN09bnc0Fu+Ht1T911Y69hDURzJghjIOEavyEvJQ/m/LbiNXbQ+mHaTCblEdr3cMUAxDo+QKk1iz0o7AodzgzXF1OoZTB4Exibqi/q5vVe1wnLnuqJ+cp7qb3OWBwhJBsNoRrIVRoDERC45lV7GmSUGfXGODzhsCbuwxAJVHNm/fk/FYkCbnL4sYY3+hXJE+WjRvyI9sV3voUF7xYtpn/UN5ET01IE5AP5c/Dky5XRtqTLzKLW2TXBlDV18DUBVVVZ40S6RfwWVvMudMEVPjoKo4/4tXpX+coGEaLgeK9lmIz5nYaGigUVEJJ4e/HUmAqY6CEdOS/0iWDAIq7iVSh+nDQVhyeo2zR1lz4pgg12nm5p125xGX2pfN9RfZo1J2WtvNvZaxVoi7RBWGaAcPZSrKu9IN9llGUvCDfKFbqF9lUqZY7NYfz5LEdSwA0wiSQkFvkc8IE0b6+1Gio0gcDtV4NpQ9lfDKSI0oFakt6RWpr+ap8gyVoj7kYTOPPq69J7baAkJh7us3AGhspRGhwz21ikGA5EMS+hUe1ETrqFLnWNoxUUvRsggsjqvQxWSqyvR0LOgcoyNz82yXaHfl6ChXaRVGUCe7iZ19pHjZjnJbQ775Mk5Av5P7SI4xVoXbL1LYHnByjKH/FAGiMCASlKn79l0rO4p56h14CVDDYDFT9g79pmWyPxup1kgwFnbTVZ8couynukGXxVfgQTyDnOqoj4nPjJxdWuSxC3hNRvfm3CC0Wezjb84s3em/zmwRWF37+LBhKDfmUOkvdOx0JQAexiCzgMxrWoKOmFFMF2ZVc6nF8CYyY0BH1FMYCGKp/RKGHeqHL2sRdyl8CW07HIa3uI1NzsIF0dO/3M+fzy06Ael72Gqtqh0wQH0R/ab/caB3igAU4XjbmGjO/O2CnX94Cme8kh9ZBftJj7reqMcGIUOKxdZ1MBimxmdGP9zwFh5Z+74CI7Prj9BXu1r6DkKF8SZtxd86u/pdJJrRpwcjdfvwwjd06olIXwFha0oKRL+dmVaIqI8jiW7HyyL6cE2SMPfSulJg/bz0rMCh21rVRQdaXjIpz4Xu7n/FY3WTfMM2FvRnANM64VqrMTGcDq98zmf/VE7WlE9xbvTHapkAQtKFYoJjgsRaj8vGBf5OTGRwziQesj5wFLWfVNd+NOhIDowmQtRVxgv8JG92zQlvdyatLZAINpJ8ANZsiaUJxUUhoN3ndW3IV6iS9EN0/M+McCcaGTD3o/6EhqgnNEd6QYso5DkXWanFFU4QidU/q+W50Nh4eTNxGinstO5zL9nCxXqS9DZEo82u0hd6gRt87X58fXEy5Z6c6AqXdQRU3fWHXDam0tJIKEV3xwLhLg60XcB2sawLHhq6XZuIlUjlvVKmGPpwgsIhOlMrnbTbs1ePuI9nSJ/7HWZ7wCF2sdPCVA/mL36L2psNNm9oRimAyrZPg6/ncKcNjkfUXG9RzcA2JTzw4Ijs3pz+F8yKoIQQ6+I+OOyCdDYTKYHgu8obbzLWnwYUbYZB+FiyrcfPb81NT1EQ5hFqFC7i2QYJ80j4rFYBLOzxGMM7BqANNg5BdQ7Qho/frPjEGzUvxQHyoFc5EH0IQlKkMs9jPp4LF1TkCunIyzlLD/u/SchEpMbJi2TJCY4B3KWbOk226fJ5GQ4mUJOcMSYXJht2aaC2ms9tyVwV6rrEECGh1RtF842VP9ZE1rbIDUWMuGJzvihkEXNgsJnwSn8nJWPYhoJhsLtQtmXbaMCZ7VdMMpxOexDa6Tvh6Wf+BTZVMNc6sHCrLSwG622OcETvf+YS9cERsPfQZ6n9X9tDHZhdgupwR3HJNxI6/6GgjoksW//I4vI4+4IgFb60HrzIuAHs3Uv0Slk+VummYHzJothZ5dOHlfplCGWENhPb8Fsj0Ti72pylPoo2p+22RM0p1gNWFdDZTfOtmZCub9FwLLwp2erXRkhuuCDrmcHg620xu8qWt8FH8lfgMS7kMQ2X+0S9WWNwB7rnPnBBMFOpnPrUucUcCMBfSTzzpfpuqFdOvYE9Gqf4ik3udka280BlLm02D5aVIftqtNqqBCdW95Vh0pQgq2Wz71z4+loHzsYgpXgf1XLsr108yugdht6rBc0yDaOkkZ/ZBWQgXhcktUPP1PRxhayJmIpCb8oKK/SJH5eVLH9zA7n8Ky7lCLZmQa7MmwdxJ5dhSQ1rAVGF4yLkutX6QaMkkBANYgpkWLvQjSsjLWAbykepsPkD1bIUjZnzO3i6LIsvaD6oefmd3GuqXDhfTrdAk76bLrloR47mMrbPXm42ywH1TAkbLaOgBJrbls1NzAB+UF9SGjE/+L+S7RSbIxLB8H/asGCL3wuQh7Y9LbvCgg3I5+7FSbJVYIFijwlOSdvKPsDivjwSDkuPo2z9l4wkuM7aKScqqtMu1mj6dfytWbeYJzHMb8L+ZBKB/tUyEyr1YnmH+6Fsy84WbnnrnVgjFl/1g6voji39876o3A9NR+G9Jc1fXvCg2ZlIzKuGltpVIBFpMqfdj+H2uYFIs9XVpKOrbxnfhM3shVjNV5ANASayfFw/f5JJ8zol351ui41HdE0+IxoZ992JKBgU4R7WjEmywW9vzQKCLsS8wf6T8Uw1pR+kVYcrLfl0MGHevr+yLEk1lKO0gAolb8RP0/5JKPVwAiIK4a6QeEFVip/QnXHn+NuWpOSnc+cGIWxxDrOzm996OofeGPtQKxb3ehvys9n4NT/VPU5/31gkEkluNyF2ejwTVcA+Cv9TplbbFA0Q==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False"/>
  <p:tag name="BTFPLAYOUTANCHORETOP" val="True"/>
  <p:tag name="BTFPLAYOUTANCHOREBOTTOM" val="False"/>
  <p:tag name="BTFPLAYOUTENABLED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False"/>
  <p:tag name="BTFPLAYOUTANCHORETOP" val="True"/>
  <p:tag name="BTFPLAYOUTANCHOREBOTTOM" val="False"/>
  <p:tag name="BTFPLAYOUTENABLED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jGqWYA6BjsAEOoBh/sxdjbjOIlqW00QkN1B+POn69dvO2kRCA0fuSBYFoyafyotITGnUIttRWRAKVVUostTOUW4G6tNk/dAa/f5doJqzRe/HmvbAcnAxdWmueMgyzxaX3h3SfB9eHN52y4NT7gk7QJhUqVDBLhrauqypOt1nxLoxoSFI5jPFrBRrZMPDKibYoCySjNoWEPvzPoeB3wepnQfLpSIIbji4P+Ocp5dXeiAZBGey6G4aqXrv9iw1xDEIYxKGYbGtSJ1xLLq7L//82aJrz9HGaeqrIESgDW6QI3mKKQYQRs6aJ87uiqbVTUm3ukN8VT1GhCnTOeJ/ePQ9g1CnZP2GmIkLzTfWG20Fm3ZO17GzTT/YxpPr1W2jWYU5y5IgjGv9zzSITkHrl8k7A5fDIMGBBDl6S3RPU/M1BhOeeo8Oq+kHyU4p2HS9OyTXXF53BR8rtcHg9mb9AwU5w0JLu1EMauTleQj0weYt9TJFs9ziKMP0y8Cv/t9IXwDJ0gn+sFbjt87RpfuMqToY6wwQcZN/0eUvHuxv2q2tFTqxhaOHKYTkwcT6rfOkAPlrTCFr6FOAGaryVL5J9aRtc7op+SQ5ZhBvlD5nLi/AJFMUvDYMTLAz7Laz7HI9cC1SsZ3QiVHNGjgBu4xOdXbN7aozyRqrMHKfYGPFhVyJ3BCSLt95yulWByjuJyRU/5mPM1X9FpehekTj1gAwhmv9nH/xLX2drni2Hvhq8QrTsw+e8kSkQfeFr7ZGIdZXrhDZRWlWgjgdFrIqoSOIbkYRd2eNezaueerRr29XxfOVp3WTFYTKoGwHz3wHYNA10OQJG/hObQSX+DK1+r3f4/h0Bjglp8/A6dwKbxoLoxLUJ69QmvKxW8V9Xtfjoekwik9IS3JKUo3l8eEiN5s1rgqOO1K/4dHuzRlqgFqjadRcdv1O3F8JBj5QigwcKX1PHSSXu/lxLQfA8LyBDaU8xTEOrGOy3oU9wS622XQhTSkmJn1BZt6vQZWk9oKdsac8XRcxrJDobcW5EO2sfJ9K1OB8zaxVCDOJtSFkpbVoQV3aEAuwwNNDi+keWHhZgvXVeKj/usLbT0pSzYhnP1HvADRCT+l75PcoTXu+PmsMMoW3J6K4gDvWTdrIMabJf2fjBXsYwPNhR6iEUg/Fydr/g2DjxEw+3cRgtoNvs+9EKtXENm1ZkyQLQjUfzczBkP49Q+gX5VLyfQIboEbYjpefU7kKc1tTNfphTbIUpsM+YBbrlGdkwFJlBVODnOkq+Gh8jreUuX1m1B29zl/V9E65NLvnVzhElHbOrR0nKq27W7Oi2jFWFI44bagSDRa8OfADyn6W4uHdO0f38B9/lrLAEe5s2B4Ol9EPlpVUrAvl0p3Ni+oKYefKsetPSvPL0nqUdP8fcP4hdCTxggxvUD6ks3zgQoRMLsDfwcZj0C6fYVnKdosL9iLK7oGASk9aoca8AOI86neu2jfHMwxFYGOArXRsO9P6ooy03t7GOiTr4ol0wIYULKwrAYAccZ3IDoyYmXWHFKCZw8lWKFQsU7wULzYHRgsJGZmn1D+Y8AFrA9erixAIfuQsNiegpLR7hOIWgEksoAqGfbMNfbU86kbC+E0bLtwX7MGSMuR26l4MD02oXcDk0KaW+SXSSbWKRi75XlWe/PziAAQkzC6Mbh1cJf2jeJwRAgh0Y2G8nHWcmQXxCOhIoedn2GextoqdbcuXL39g2Ld3gVjtrRlDA6BzWVGMilxbm+6eqeSAXEEKOClWjPe2WXzkUqqEJRGL8QrctHDZ8JJz6c7IfbGViApMz97mFftODB7BUXSPuko/cG2W3F1xWAXkKS9lfbOgwKf7HCZ+LpnYRa0mxb7Pj2+sTOk8mHO+ijD2DdmjVcjwbphTH5Vl82nkCn0Ar376nJ3CL7U16GCzPfJNKOfvqi6h5aO/fhmewjArYvJXqwKnnKfnXZL3XAHmfACai93iFqfYMtaIq4yaJ0H5TiRG4ho3CuS0gUP0IjFL9b5VhjF4Qdl1Y4YcN5LXiWwlAd3PyQxPJMvaNvuKeojMKBsOYIoYni7GV5H5JS8/v3UUXiDA4bTzhBkXuuAQYMP/FbFagtMFz+lDnvDCK1yeIESwgqBGHmbDVW/lZ14NXfXu8/eURCegIKH1jFl+n7PhtZ7fYNjQ9ODrPHfY14iQBXT8sJbxBg6xD68qbGFVXcvGEldWNY/5jaJ6LbITQuaUIuVegvttLJ8D94OldEySFvoJnZcazJmmoEq9ZR7/kW1IYbDPUuY+2iGkj4K1Bpjb+3Cgou5eDmNmSWvGJfSlkmi60wV5Tisoqx+JcYT/SD4up7ZvCOxKsTYpSPoctVp+9rNp+r6+A5jqNX+BJvITMVOXO5KKhD9IH3WM1SwhErb/JO98zIcmz5UCV1UK4qXWL9FRe4cllFfhApIyG1xH0jxcvZN9f+SdbFWQJf9iJh59mMds9px/Ti4Zf9Do4AgvF8Jt/cj/VtSXrMfZ499V/LoUBKUEU25Mxz/Z1A+EwfcixEO7ZdV3njrrMC+hb5BTRGgBDxnHYGjOnRkbdYDHcwNESBmMlYjEnyNbUFu9pqxxsYNXAAzNBTVXLskNTWGDg+bYiXZ1oT2JrrZ1KyrrFE6rv/l8jONe1f9gxaNYoZFOY5KHDX2EizW2YTaOEWtPakUtsYj43x3FWSonYNz9EhXerJEYk503z7muRh3yhFBPI8SRuXsZUfeu8enz4JvATwIWJz43Ouo6Hp+dUEYFu1jBQRFGjcPr5i0IdZLwLdBPv6l3ovKSjdw1BHTV0Ezi3sKajtJM7Ikc2RLyIbmlDlG5MjI3modfCCFOK1XseFctzfSD3LfRjDFnUf60fs72vKUhV332MQt319l7rnbgLJ/SipChIwcOwhs4+/ip2Tc6eWmLDITaqBQYcOj2JeoFULfJxdeL9XgP4xjcgZWBzRR7fa+BHULoF1jThPOGkBf1hrnJ722GuXDGWDvw8q5QV9k5McpHTrLOICAtp3pQakv68xFaSV77Pu2zWVliHPKO1Yu3f643gQItRltnYvneCOkCBXQ9Er5D2hs60NdqTMbD9wiwC5vCKrVmlDktGrhN8Mvgclfj65HA+RwHUreh0g/F04p1JTLYsoJvG7Zuh+N6y6cM0b2ZxaMIhtZ7Kmn2A3/XioJ8I6J6rchyClbmRZKyAKHsAA5XqHNLlzbg4XlgVQnnusaorAnj3GfghgCZsCwZgi6ca/jDu/4lZNWQpSY7Y/wmhQLQytSOKkOfp0tKujs3dKUqUlucJc1p+N9vHQBEL1w9iHM0Jm418NusofjgIVBHqFojxB/KZE9qNlSAJuaqNXBqXVWKAD+wyRs5rMGNGR4GtL7IUJ4typIdeZxh9JkHunGHQMICHU5nuz+q+AQKHwWv9wBPAFEfnAKxSoMvdRosPyNIRyrVobY+EyaE0gskw/z6zpnc7iTj+HSBa0dQqcE/U+XnnKoauaFd3j4hGZy6Kmg5TgGxfzeAsj6T+Kb8sVTc/KgkSHypzXeulnedjsuTPwqP8eqlkAy8yfY8tHPluMVxkd7VQgs5DNh7PQ1ZtdwAk8WWrkmT23iwEr7v+2MgS4pCr8iX0ONstddkawN0qlms8KmJC38hhhXfwbCtBG8DT8yyGHL8DDhmX1oGs87nrv5d1SG6qyt4etxhk3+mmrSiGnGVnAObgVEF22G6fXB6oQoDwf+ggC/30hkLZTqXD9LvrPa5PmQLX1ZADt6qs4G154tqWKMK4Ch82PiE+blVbsDj5+lp21q79akAk2guEXCUNOfwrUTfNDLAGBAL70NxFBqkPrkTfI2XvNrsXby4UhvScc3VSq7SKs6SuK9R6tiqAbS4G4W73ikOD3QUco+CdJ+9bsNMEReagNiNfCmIdi7gAPUy7/WcWIcBfbW3VyJvnkqb1UeTmnoYZzBUF/bkqzFAkabvjyGmj6fklWR6A5gZ7VdYg9xqwwJ8eu1IbjPOMkrTiGe5iOt7b5870obJeqEOvH2ihpJtWtuJaCV3VjgTnGZSzaLwt95N2mfIhk3bNdMSlixDu4zDM/CVxRaMqXbvPIzc9l6DQp/lrFC9ajUHktam++k60AMpsf06KmjKoT0jkEpIisFSrqAwZL35R5dzmfmF5sG8/nHNB4WlxOjDejmMVMeydglppS+abirzx+gxlqx/trjGbLvWBVz7O9W6k9k4427KCUCkv1t1sb5gH8sFlMfCOBmmrSQl/N4il5g5qxVHFpTcXnDj2YF78wSiinfvYuwsFE0kzeBuIDiCl3iQqVFtNHKEypIzudhdEQ4YIZZWDbFoJVFTtOCHTubhXIovhx0B/iY47ZYMO5lqnJv2JbdBkSFFlAcLdLpoRpgbWj13EGhz49/Ly/rWukBk2J2DyGhhqn7CXcT38pjqs4msGL5jX/CgUAi6HMsvzwr09s0+x7klBTUmcAeDbq1/gfqO0+D4NysVfohPF4zN90J+G94fy3KPUZ2xaJftif4o28mML5W1eG9txbX17ekKM/tBvSHdz3uLIotBJW0+/uwSS9mj3+WmzfqnPCwri+ulSzUmcpniK+xZRioGiDM4VdI3ynX8AHPOtAxzjyYlxgUYMeFKMl1Im6J0xS47I3eIrX4bFcdNXYny5MNMjmvLZ1FogAUhQvP/7dwZ60faPM9MmeZlaD3rrTRfagjSzBhJaexLPf2Q2CQ7obkNAcOwYFO1ZTfdf12bjJDqvNgxYlcrHGoJj8tnxzQLuTwiJNztqUgO5Avve4UUjA+bvIkyi5oOwYwujYGfKWTHfeoNdfYgP/h8PX8bPnCI73QT6rkRO4gDmrkYePC4eaYtEXVFKL4mn7TfIQfAhNZpic1h1X23C2h2zr/fDwRCWSXlFYj0DyMNekQd65ReP0p/zC/sHWHKd9VWQkyRIAtCJ2X23NHUklF89g3MpxkmZe7D6T5xTl/nlDr6PViNvTPCwfPSIHzUQ8JR3dNrDZtcdH7Qpe+fLhXkVM92BZgwkwlGuSR6HxWpDGJpZsJXuLMLfE1q+Y/o9622jxwKn227vDbYRwpDqndwhBkXjIkPQLZ3iSVdo5NRLuix2mELSOKqtp1sc0VCcZRZltG9kauoCcRqIeq6/LnU8FupFjcNTAbPoNmNDZQnVQRDV8jVkI4lsm5s2nHiuTiTTAT/C965GPSJuXz8t6jyrShc1Igu1EM8cuKVxs4H9CipyHPsVFhAn1c1FmWSAZfJRWaeKcuHfnurEClG7M4Toqy9zZLm2w6VbvkJ+VBsVPQ5Ppcu9XOhyFqerlDPTbURs9sU3TDyBcDmvtD2wdB/+5pi4+aCAeXxrnH1Qd1Ia3UnwmnNYC/CteYmtexDBvS25u9mpT1R8mWNS+Uq7sUTMzct5lf2Ng4GnlIK01uYGMUYs9MjJCW2UyQIiqDpE96VYlY1EvFg9MWAQkB3gjNsaIPJTOw3DjPx5o+BRnAFn2GYiGZPckN+HzMnus25HS4Q11EWMCSRpoSmZWcH/nAqs37lL2V5YVZTy2Ue6ORh4VTBewnPvOdl3BWAZppGS/qjYE6NjsRevPeTXsPiXRn7n7YgoNmxpzUgUCmO673EIXpxnV0gSxl2NOBhWqBNC+jnC8iLd/p+MqpgKZ3nJFaicVPRyBgAHIYfqtkUO4tT1zzD+rkqO/H6azu9teYjJu8uXhC9uUpxPWWAYoiUQmhd3e4LhPd+0nNci77aVAQumcKxelPp3Zpn9zx/L7XfXO4mS/3i7ckLp3uswezQUHU0YfVoL5en/I1jvOvEB51Bnhvz1tPHhcpJl0/LVSwFrqd4XoY3hpb6U1xcZZVTGYoxQTmS5UGw6BuMZio03CC3Uwq28c5Mwfv+q7cXD47lrfGWTD0jA0UtWx2+HJh48BGbH6Fq8HjUy2lC8huex8yfQHSPPiEomumDFyZhcXI67AjdAtgcVbs9a4P/+zjlwYA4TxFIK2Dxpd6YlogBGW3BtPiwV4fUfBo4l500yknbH+IPMk9nmPd8owv1pPIDPRcad/JZgMzki5RyxfEkQYbeYKYArxliXJUgxU0eJQ2rUSjSVGtIrlK6vY8nU+J3FM9eCQelbBK4A0ahQaoXOH0xI5vtQrb+obf+lF2a8+vVMDwB5U6ZDuUAG/h6GZRmP/q3ncH/SSuxtk9lhoAwnXlWCsXDcdBifbtHFHMQ7zvXURC+R0tEJVFHmbptDwrXJpXttxDTQRa9WTgIJbIXqntxcvug5iWlbrz1uh/1wV2UOPZQ3V069qi4/qHorGWXoFYt7yoCX4HQleL44ppXDOqvoKyFDWqonvQWXvuvaC09Q2tw+vlkiL5Hy17vwUx5jp7CR8ban0hYzqfIvjgSrmWIGta8HXjx9ABSttATP85EAHu9W16WSL/9+UL9A4DRQXMEyto5SyeA6oJfR3sUDyWP4O9+cm3rOTUy3H3TdqaQ+w5sAORtbwMjfzwxCsedOxlPsg6MZCG+8eqNnA4HmNYCTqeLoRLr6Oi0YD2rPaYP/1tiwOj0Ov/76p8SopNu6xElnKwUfF/m5kJHU2qplRMPmZKGccVjLdyGZccbT7ecO7dsWsTdt5IRudBGzxGl3MXUiYEgcrWJQLpU9CHMUaktq6kbUOalW34Sr4jg3q3dPG3aezeYL+Fx7v2ek6C7hZHX1nWKkjHi9U19WrpMlM4JpelewTkNtIHgszrakHStf1c/m+fkbZtJf9YiNTbzSCksz9+WlDIdAlxlK3+BkqO+yjCyXSGdZ+O/zO1+pFs0vKDu0DUa8FDgs5Fg1nsIX4vhHZgiREIdESB+5bGMyY/yzpojvzZHxxvjjqKytWxTJqgXmHQc+z56symM9r7viibJURd7mCaXY98r+xNvMq8rB16rkyhPrnv6h2Jzl0juDgMoVYqQXsGR6V1nRoSnSxEfYYRu/89QC/CKIRRoESm1MwmbEkhcQttzehISc+IuYrmUkkJJm+AkSGvT4dtD/QqFM/0O6fkoJj7tdNye/bp97pDIqlwtnomjwTc/a/KAr7nedG7Sw2wh61tlNZa7KLKuFuad0S2atCQ9wNzQrqGZp9A+Ymw9F0I0ezXVuiM1oOi2kub+Y6L7fKt6GcSuXkw4VNER0IGLzyIjU6xrLGaJR7FhjSafI1uR1CZNs9pm1gG7g9coqR4WXh8XmPE6gT6abaqOsExYzjlXgCrQIjwurIj5TtYN6nA/pbI+B3dETD85XZVWiEoBOdqz1J/EpBxoTUYaywjiRtRqPvfVUstIUWTeo/sKzKliUs5mTTah/yzWiaXmog00ThH/B0EHIopdQqKt6cs6ulUjPdZXIexJRJ2Fvd0PE9XXoSpn+K4WtGNmBi5u9G0lpdDDQdgOLcMrG+WwaAMJZuZuDpDMnjoXyj0Sx8akzlUbhXLG5cg+CeNV4qOTjdLEe741e7yLPGjjDN7sENil265XwE8OyeOK+0dW36tVsGzIeQLKy2qne37ezGllRAGdAMRmWdv9wqyhb9ieB7+MuWQyJxHUY/UPmyrfkVPNzH3MSQWE346uGOadj/2iRm5dzs7R8JLTZiLmSSTUKC24SUyI2apxFls8DA4gHss1wpA9kRtMhj8UjV0U32Wck/4xKQWVVG2iLwhduZoyhLM9OFfVrSSixhEBszH+6sEKl00CYhCxlyO3SgFVUKNYYGvRVZVj3fzTK/S3JJDY5W81mdk+LkLwX5Y/V42xgGV3uK8WcJshrh2/q0gnl8CBjPU4TPGkMkbFsfHw1kqDcGs7n8hqNH5Rsuu122rgdHnJ7hYpsLwm/enXxpdP83syNFIgdfZZ6uSrU58vTKLJjXl8y3+MdDmiFqp03XvNK6hd2tq92WKIX9eDeCrX1rx/zSr+eEtIKOW8c1V6TvC8Xkm22fGU9Nyr8ni/xoco30W+MMlbrHB4XBfJrtl/yOTlMXa04ODX4LDDCBveKJgwUfyM4Zs8miwV47dzU/lYzLDOqVTxCQt/xGplGCHzj5HvfOb100s8jUSTDa2LjtZ3SgYQm2+YL/v3XjyBRaWSmgwHC7P68QyMT5itjnMStidf9MHc/IpwPAMUT62Y3lHEh0Va9zx1BFaZoyflryqNCq/+jyKLqtchIMZ0HO+YEuueEMOjWlzqL1KFNjM/PXo7YNP/oO4WpYtHRxP+tHeSLuYeH5jG9ZDPR8RyfCerSGj+dtNFbhW5R8wW2SR9Sc5GWhbuQlu9U1z9B7af8x46T5kAzWDYXWhDvMLFYym2EI1rzcLcnBpYbdI6e39u60c+2ALCAfe2oz96Y1FWgZZJT8ZDODIFV8DtTPvZZZeAMLwJwU7xo8+/9D2i6cuCLwk5Vg/1N9RUAO28ilBDtBmoDoGX3OE3SV6ILY1v+vcR/g9RrySMqVfXHgMDRykQ95kscscMJY33CkrzIqU6LkzcHeNYIHPxUEC5uVkopIwMlm7Xjn8r7ObKKXyniHSJGR/nIeyrz339y0WhJMScg+3R3IfZRnPJy9SM65kVpmRXO+q3pf0JXRJtjmHDyTs5fZLXQ+yYb1Gcab7xvJLVa3BW3N5V551vdXvykESeJf4A76fT/b0V0cjVr90svZLuiDr3ck1gU06yWMoNNWc0BsgGBcoY1x150RlQVFH55qhDnQ8+bW2E76xsx7eMXOv4i0hyjBo4FdKO8sCvtDvuNPEeUHITV5XYPbup4XAqwcJAm4uPeVlpBN5dVKB0KvmE5k9xQp/MYzn1pMZY/gL0rgZI1uhol9SB0vvuFojyPooqOO2doJY7KFq0gOSBtsVIBAubhKetr44U6s5buJZAjNfaAeb/YV+AhcXFYDPS1bSfxAqaUhoCvbAlOrpEPcS6F0VFxbNnDS3XlWR3CP6ECEi24X2BzVSxNkVZOuHicMRahWqUW3G7i5Oy3qCFmHmrrO7ZoCDR2/5lXQGIQiQsBtXBdN2qkJN4+rmXIsxt+4AJ65H64I71oXqevmudSfrvpdRk+zOu/iLCazTCLdYu1E1UlGAg7jLBYA6nigUloLb7DtxmmvUHhOk0sQiPRwnIpaXhwWXduv73T0lXZpAG+ttqarBl/LWSPDhAPzSdIzDyEfo5tbBSlEtdFg7mDvSkIla8nH8y5P/XR0Lwq3qN6CZhHAOPMT5Y2ZqrqLsAS3LJrZLIO5f8ff19CVXCB+nlpc3C1jj9bj2SYYzrGNMpU9FxfmU0+NN33BfquHSVUqNCnMOIB5wadm4R6E8bsSs2ghtGDtYWoHL8z3UAKA8dUxhkW7x+X3sZBZco8Zgoovgwccxmxixa1RRW61hLmdVyAvWXXOAk690IK7GvZabI7H6cpzOD1lDIpA0LoAufvb6kD8RW6RJlGBpBLP8PKkJ5WsRdeWz2V9C8FLD9AYkM8Tx3IqOrcYREOnj+WM9L/jtoU+VNhz6D76MDASy/F9BVRLfEbho7bHdNlK6CxC6Fx5YtEaNweiJVGRM6H/stSg9YTsJtzEQep7GIHe6T+0AF+Z4EitD9xuj1dnu9rYOs1vapXZGvxc86O3EHgXFZ8d0wggeMgvhVmxk4I1HAUIGd26pxNpimRhAmttnz0kCmrnaPBjcqu4gHndPwn5BQXzng4gUYJmRAnKXN1Rv3ejk1ScF6RtxrC0V1l444KKxdgGZKg3+TXHaLTjT0n+9tVv394SbHIsZ2ZDKZUEV9RiUwPTse3eXpzubCDCqrPTCqFobEUa3ynQZlhfMnA6BxiR/SfKCllViiWojfxhvgt/bLAaXrNUniCbVbn5LDyqYWOHlgFZo2+AtQVN+50iUMIARoxGz5FyBnHyMyFq0vFt6CJzz9Qn2dyYgqhjv/3NGic/iXip+ZH2XRMtx+iUHNoSp6JHnK7Thura198DXHhB2nd3W5RNsLnlU7XrOqsD3F78f4oKP9NBTtR+47soUoXubweMA8rBwGqHVmaNdNoSJTPnFHhv4NbgWK2e/+pyhhvp4GmCKYlJqqUQzhj+JBtsKAUzeeHz0YkVE8b/qO4PZBXKiTvXh7wNq8m/bYo9JEp14pZ9ZGyl63bB0bTz2U9jmxaEhBdKE040AJCj71HmGy9ZnJBQkqkIxbt5MPiXDaH2zjmvrk5NzG6JAe7qr+2PXEMQYjdr/bZNWRgntObXL9muaOdv1ykmFiFmJwhcNjA8RtHTrFFVqLQvLIwjfUBag5Iq+r+DAO53Bv14VMnEoDo8taDyjyxPLT8oCUh23dNfrx+2AcIG6yKDVyEQd6O/lcV2HJe/YFDcV+sp0DzWMymof7aQfBWlqBTNSt+8G59rlVqw5W1hdX3ZA2GSFUyO+ltX/gtwecQJAbfANlO0cSIgOE/wZP2+DVI1pFu+gNMGXF5szuH6ZbeA5NC4WNXmd1hMqiwrO2atpL8l1UP++TNlA7v6C1lsNDWS7kApdQYNrJotiwRwYAkJJxTWm6KNOtj3gL040vx+6MN16gb+Krtgxvv6TN2qUSWP1tPp1VEZ5otx5AuSGneDN765Qo0DhcIsTj4SKWt6vg1oYBD9LQxRrMi4AJEwjqavwpHde8ORtmjIXkde0d2LzxrUXqxEC8UsSsuIDh7RcpvH4rJrYRG5e+90R8JrMRZmT4YsnwSFYGvbLxM17SMsdNxCx+C+oSS5mKXz88ySjUcF0XqA5CMj7X1yx2U5YlAETpdGMpf0bzzvGKH4+mQKtQR75NBCKbyIu++DfLYC5y8yVKNI6S6qzRQGXcAwZ2OtQ3DlzXw5p71O6JtSmWOaNKsgmKCZlxlnm49ppnr9mZCzdAUPeBOrrzaLhFbagC+zw15BEx5oiR8DhpG8RCeSqOiLpJni/rSexjuuqLZVpH2wE94xiQeJidjJjxKbX9lJnQ4himE+MjJg6CkdqSAI1nY0l30QKLipmMBi9yUQurUAV/MMye0gwMhTr6glqmWPCq++NsCBgHsesssFfNZHibG4j6WGbtlZibMiRBzRfmfhvQ8hzoxx1DsfZlw24VpFfqghiI6PJyFDvs1gHirC5rzUHJ9GEauUQDHHeHv25AUdIqbqxUkodmmUwhf5D+i/ZPXQv/53iKlr7z32HcycV8so1XVsm56tJCuOQKHKQMCcji+o2a26n5yHBZUetNsI6Vg92CvjIDJK+S9l4JxBnmGJyjmyFgAGkhMM7OxhsNSzyNgJBWXvaM69comRlK/s7FyhELcEl+am88IOKtg6P2FhmyYqcaKXbkyiG3mPGoDY+XWqX//y4Ni0kmyi2nKxG/J6bnPt2ckuzaUgZkkBkODjr1lvcrbh+TF0iDDWmlrOVG28DI+lNQPU1Fu5yGJTXOTLbIrHAzVjpsRIsw8oxcR1Z4pz/ZkSmfAH49PTpvdX2YMzGJgz6xDrgBfvDdW9zpc/5RRIIkhqxYIp8xE6BH62SMMqUeu2DSF5OKmWqstL1nj8uEnxpi+aJBR/xXW4ZBd1+HtRfkijCXl87nlS4vWWqMywAtCNRVzbLKzIFPGNOrMC6PAHF4UIBReqWgE7Sp0alHlhQZKs8ZMcdlMpvpARQOe7rTtvSGBeF5jQJYMGlCAyNnT9HmxhKgyyHY3ho2IZP9sRp0cHTTDMfcWC1cI/fZUNQwJc0VSML4yJ3rquWwdh/rqfv3YioWHa85ElhuTYVpp9tPnnZBsU2fUR2fBTiU4nVO1tuYeuguds0oO105e1GqCkwYp5wQEUdLWS/a+Ry04AYtZBHOBXVkqYfD3cQIzehIcolM4RJyHaHqAJ1FFiDNPVlwHXrWsVQOAtAJaK2Olda2woI1OF7s0R11bai+8W2IHzk4XITzgEFW+KgjEVsjdRXOaTWpyPvsJjnnxN2NjAuRxVuB5dHr4H3ALASM/3WjyYh+DR20plYiJac80BOXEgoC4OWEhRJpkr8b1hnQ2IImFh2SqGAIVMYjb9lq5GhHJgvda5SIXMqDcnaehkD1pNMUxfbSIIwLhfsrBB36pNwwUkymeeMoMk+tPzzDWHDBqCCs81ffLlziaXzEzOytExr5tTbTTYmhjvH7i3TUwFOLGBg/TvKg/prPmUSbHmHDyrkZAddF/QGF16VnhfmdhFWvjb3QWwDEkZt8/UXCRxadv1UOE369go+aoS3FyR6sgLIJLxDdwGSKrxTcSOlwq6/CIGR54QZiZaPuWWC+36CpQueqIocDEpXozNdfmgEaII9M7+qQrHR/Px/VOWki4lXapJSAsnvAdlMi+OzGGGLRiVGajPU6aeYC2mjHRomyhE+9cRQ2Y1byCcb5Vgclp95laDNZ16s0v8bmh9cpfajEohgzQOGb2K/lIrCFWmtsKMDrJqP5eh1rV0GiqhUGqdaULn4Ac2WKzr28CE21us8NBO2/pg6t8mhh546gVLgd1iaVddumy+SNhK08mod7e0K5hoXiXr7iaMdZ58JsDGoDwvgNfOMj0XJILFPww5rhN0OQp0/wcPoaXT2m6jO4crEcIeSwE3HDQvKoPA6U3SqEvcILeOjkXafc1R9nYkSaEmfoLU8jQZ+u84WH4tHxU7qcvZ5eFBiRa6AVG+MIXDdHseQw6lSVh65P1HiMMowuGHeNzQHoc5LLdhICo8G4xxjN2Xw+EVekYOtTm0hxFUasxnifpiEKNS+EMRXBeJKBe/XTLBdZnQdQMmwEoy4e0qgxRBS/wvJ8JoWLsacPd0uhp0hDD9dHPySVaKRqImQwMgrBBuGQdfjCj0dt1y94f7qxH+KqstNpnS5YN9npd/m/vlaYGmlhbTvVM+3o2VQ/JVJ4zeo50fqI0ERVrU+9vjWAbFFzKqOHc80olODwiroGG4shqFBOAPzsAO23UxL9P/tUEh1zjtbnlbpfMh/PvDU+gYCgE0BbXY+M8syS76oO3P7p2hLg7ntSNBykSoFAVehU9JEj7Z5mU44TuHYOEpt6YPnxL0OH3L5aNM2bC/xrYrNgHZn6tSFqIx/mk4mEAJMkqfPVHW8ruJszqmvoR8rUGvPJ6J20r2QFvbYDUBDB8TIR4avNZoII6lOrxMpg1my7q+EQEhBxU2avSHv6b/a56BRs9OB2snVZ2Ya2g612HmaRF+AE0zufnKsu5NteH9u6+X5zJyrueLbFMXqI+WTVrS0DQvFvQ2fIxUlw8z8hPZ0RnmJc5BRERB5aCKmK2y87pYSXx9niqbWtBnZsrpJp//P6Jrw6Dd/bRip0mO9dOm1i9WETG+EDPVwzjDUd0l14ER2a0inD647wGzoWsQvXCInVkkgf6znJxII3JTc2VDy7GIjckecK2Zq+EXpvWujzVp3UYS/z0fd4+QqMqXMp722x/z2uyh2l+Uo7aeuRml6wKR+Gpqb7GmyIfSccXNbapKBpfyeRFcKzjWDXAMuqOAAvlf/SShLCwnlf4HexRO0ePlOTos0fG1OfBDmELJ3ppnBLH7qOAQU1/WgthaOiBzwmckGPNI8mXSksfcH+Jr+/cRBD4KWRghC4lrCL4iAbZOxu8Yo8HggxD3UqVx9F8A5oWh1Dkx2YHqM7RBAgiemQLzKSQz4QGL7IxRc+tCEQWpFGP7C1AUdQU2nSc9p8IvqOt0a8XusUBlIs9LrTDOMeAn4UcIHJTkaMZ18OhSqyKjYnYVKUBNnMJt9RdPjeQkuDZH09qmafaO1uAgXcg4loEgq2jbrBloS0ua64N9bfn75cytRcltxwHLaSBbojQtY20+kt/9EE0VnIAoAeizO884ZH9hK9qvQ42eZCC5Z8QGPl/f+O25KeYTqDvkbaQd/KWl15e7Kefgu/i3/ot7qIhGAFsBmKW/vaiCFiEZNUrYai+B+9ou3KfvpSmynHAgWLn6ccwsa8o85jgbrytsRTQTbR70LiV2c9rc+nXUawhEPCw7YGWdi/xe44butuZO5TG1Tca0WhWZbQBIglSRThkIo+mg8o+PbykjiXC7VRJJuCj5rLSAA8gk90zywNVlIW6QjeFCnA+4bqxEYuTrz/64VBW6RH0LwLLgnejh07JTkS+X64RJQE/gOcrqkM6JTwQ8x9z6X71gY7vpHUmlSPQY2EA+FFL60pj4hAep6tb2bq+rzvyxRBfv/RlSMPin3ck9GuEpMbFvWyrk+F8MVcTz/+d/NtUhkI1D9gLdpLQosR1GveDqRsawQ3h4HRQCH56V1+1EpI+21I5aTt4VgabeiaVnLr2C2jGn6duZZBG0nmAL0o6sasGPQwn8aZmw9fNHHz4vqctgl0lqKO0qgeG+a90wVP8+mTnAIZYp5+B79Ynq5Qfs38GnASXTuydLALuGP3TJ9i425plwj6zfu8xk4ovrDfSEnlBJZro2OqHkhD4Ubd7ALyvruf7kyRkNnUOCkkVe9TVatsNxyep6h+lriYvfirMT6s+NhSCPJPfmljaVK0yiPEW1rg/HegSLyfDJ9EotKaBdSR4n+JEZVW+AGnou6/mPzRf4IfhxAAU4skHvQ5wBLAobN9Yo/8zgX8ZhOY7E7KAC5t90JPNgRyKl+gLzqZ6SCkSagzUttET/0dctkLn1G37BgFYfgGf1ZWyBu0r3255sDmYOacR6X8q8cMqlE6qh78bQltntXTcLKR/YZRv/Zqjui5Zi53qaYTCrrZ5G+y/Yrk0qRyCrekqJaDSECxSckc1oaui+4zgq6AHv0wfVmTujHBR6XrHojaG8ZosG/dWHa77mT9B/nmMctmaX+atlTm+lOt9Q84wlQA7h/V5nb5fZJJi5slukbcR2KdaHcouFu1wUhZUVNNb6ixVNHFSJYTEax+i0rjOZASU2JmfYvo+wgj3oHlsHQrrRB5s4ezVPgdYbMIlCOFaGOzAnCRlvkoAhNfE26huEP601MRfA5s8EImiRqTtPNnZ6IcuSW9ORwXZitsdSCJoX7ZMJUDtnlWn3FVG7leOaqyZ2ORWUhQKWvuv1pQQx14bE5y6KDbJxCsrrdOYiEbeTUrxIWN2kS1ajXxeK5L1Ac8pQ5wh2Joh2K90r6MZ6WNJSdWobAbYzEm81xBNC/dCOuTlVJkFYV6bDPLPGT/BBppy4iB8zEsc6yn/vH9lB9FvTR6qYLIDep4AzE487jQYm5LW7OTgY0ZNhR4IUnPy7ooj1JU7leCUS4kTQjhxUAnE5+hQrypnfl3JN6F4k8ezb+IjeY2+/SzMTeYB27Lj3apkZyWpcGgKBzvzmFZJDZ6+SMdliQQaJByfO0VoizOtFPJWw/fr4dy7NJNGPEq6yGSE1i7vqDWgxdLhBPQff+NrGhSL3ItO0H6+gUuO8/OdQr9TwMAiRd36nS31SV08XPCsNyvG0BemC6rh26utgJivxUbUx6exXl0Iq2tmh4W2GmPMsgKd1bwtKA/SK5aFn2DXID48Wm1eSBeys9OGvDnk+t6z4cwR4I/QYAnp7Rv9TA4ihMTjKdrZO17O31+vW3Wb+cSCYTxsFGgun89CpGwIr2ip9ZP8+1OcSDf3KppEzLpDOQGAt6GeVRzTAeOCQWyuYIz/tAY15v8uDjCLB2lj4SWIpFAjfwPwnuC1j8X98+YYVfz5Xibcg4y1XorZyAvx0olFBfvoaazKWzRWi/WRyeVvH8XJS9dVDr8qI7gMiLnCxdVRZ9G0/K94lpAJ3RU4ZPvDnhm039bBDWRniNozUzXcksMEhKimFeJtlPT8deQ9lr9VSkgVQFT3ejiduXU2hvVVO6VBvCVxcsZhiu8VdBxn4JXxWRBO2T5sneYcdvnYOESxBXBn8SlCc3Ji/IGN7Hl1LtecvNmEcqYhuWHsbe6lTmHSm+kDY9UdqqkSgs8FLK8RcYxWVJ8EKmi5J+cYQWuRFVkg+6PjeISXMqoG7cPuiHsmIStv4ho1SCHwUsbzGsyTH7MHxjl+PiF2WuK/MreGiPhknJa9JDMz932KrflMoOd2ThisZOBcywY0OJ7ZmlpReJMJzHfzIpuDgSNMcGgSpiv4RKq2LUPVrtagyviTiBq/zQl39yN8Fn3F6+eS1M7AfY5NTjnSgBe+K4Y3zs8V+6Wpk35pp7ytrK5H31T6Wg/A3daF21FLt81+J3uzApeNVEUXyO8d75FFcgwWW7muSc6ktGvbuBfOsLCxQah8XrCgeSZpeGHUFehLDe7XAE8qGmxU/Ocqeab9VFueEyKhINd++W6jvQnlj2qFBHDrv0Ut+WaxHNdJLWX6hD3ueVXigOUU/9EtoA6s2bCjj8XiMay76AlhqarC32QEIBm3nLF+jiEuRsmgbHJYs/sMmI4fr9U++dZ0B01QDiiMEoAqyjxdHeBoAagPKgyihr3Kye4EKFshOAsLA5wASqYnM4H5JGbEXRwuFmmVOgAuO1WGrMwnUVYtiZgz9I4QJ+G4ZMWT46rzdsig9qF9sAEsVSt8qw4PgwOL5TGGFUpTE2Q+CFG8toKe5jPHZxynxh1MmIfgJfERG7CL9y32kghNh3lshLUL8LHK+uhIAcMK5UVdVpEUQZQ9PcyKvK6F8ehyKJoqSzlrxlelXcYGp1/GBz99LBrqqq8x4bRMuWYafDjF//arY1JHQ9RM2HWY579T3mXyDniWvMSgProhphBJO+iAWMnbFLGU/iN090FuvXn9GZJmYnXNfBpviGwV+xrflVCqDtiC4mpGzbaeebg8ATcPFcmfrnYpMHFQ4UtwwcgpDuwpmyYxd3KCz2vdQPNnBP2UW1iOFLZKQvqutUXtKPw+t+944eJNo7vJs1FQ5b/YNcr1j/NnBsM+/CN5SorPDDoX44q4Y9D5pzXvPhnz9b7WeS3SY3B84jH+lsjmXEdfHoPX+DLQdRJMjMml8iO6mpdPhDznHRAKLxhUsFT+/vxOaGagFlj2uf06MsJ9t7Dnt71v5jY2UpFSnc4cdhcslybmIoDxbbtprLV66gh2wjNXer1hfnpQFE19ZDPO6H0SOxH1AvvRGjnNEbqWNFX5VFV9udKsrQK3e3yKhkmIFb+Wi6FTdJ71i7yJwxX+wimuE33VWcp+uRfb/Gr5yCjv3OFqq9b/wD6h4WxGHrNQt80PvzPGPQ/AqVuoKc1vR4ikM5CUdJ3YlxjXl2697oSOOX523w80zBfqdWAxyM2WGEPDMBUWV+D8Wdp6H43zvBg5hf0NQzughxw2xwC4Kry/k1SfO2/7PTh3MtUUvUXQBI22HQXuoIcnuZXyrsP4qaZlfpin5D2JkG5L5EFAgG7HFGCpgYVdFVIMrkJEdfszXX9dSWZefIUZFhG2nTr6jEpQZ7Pokg5huRgLRTJrl1sdyUDF6E7iUjmZFSLqU09If+ZuDXb4CbNcjtpJTAIf06M7vm6aAzPKtQJ982ZcUMwgeKSwjeRkfaAggwR7YaQxDKB6XuZeoQF7bfswr5ExIQNI01GkkpeJsdyin16plOaLddjZ4f/wnsjHjz3ar/2CXzFcSeqQie/KrpKCDQdmQMROuTxxBcygL12iI/7DCj1ck53sGbKnKlaxSW0u1/v6lf9Z8bQPp098rRdvGrJtojTf7my+7Nfzd2YLRHMY+7yeQAc8S3X+/A+1ZWtMpSUOxya5S69Krn1MUlRIetxEeZuNe85DaUdc6uAIzvlbEtjLcVk8+4BlFjhVWH30DowXERZ4KoOJ75zw6PjgS/OLpgYrcCjMgYJp/fTi1KDRjDq/Q6N2kS0Azj2gXll1ny048hRSQMK4xU4xacdCJvG/2HyYDXCt1nmvYI3efEJ7IQa51mt5HWsH2y7EUniHLrEg2NWi3IdykOqEWocH7W3Uqqxnhjf8MAGMCfL0/jV66yNXFWdeUvpvyBkLW9ddsl+6oF88C6zSb70oGuJWry9svjFHH0UZtSXKHiGWEUDK6NyMyJvZ4toXeA4YqOCk3EqRH33pScdSyjQNi1TXCc3KIuUEFhIBUURXHaUeUXK/upAvIcJeyHlbtKwaSlbGTqajIvZO2dVHqYxcdjeb3TUA/SlQ0JuH0is0VIywNF3uqIicjtDeQ00AjApuK1Kc7XMU4qT7VAxT9xDaHoTJN/oKrbPogWHRPfk1cNu9ygA/Are321Sk34+gnsqeNEnqjuLQlADqOuaCeyIdT+Gb2ld8lCA5m2SQ5FLivqGObiOeR9xFXbR7welPCGb31sukTWM8mblMjVwRacimHpZJ4NsQcoDZ2D6bBXKyW8CYKL0yQYwm9kYFIdDqOS0DB/uKbiXZb4tdPxg2BajLzAtMfrM+rBlf5HBL8xWx80/dF0JXtwaBUuhACwdEYP4uGehp2i6WYfQwHFeoZKJIn7/K/9utSGp3VxPk7rG6MiL/qLSmsHPWIF0AhW2TsK/axof1Ci3zXrQ+N1npGaH2hdncDGCXusI6ljDTC611QpJ9zRSecG1QcbcHjQp1+hBjTkUqrAQjfSS3EGkaZEyDyaPvN1uMI5xqC6ON3qEJNi+0hBZfDLvCSCc+zRj3le4eHB1rM3dnc71a5ODBWT9LFWc+gAX8DK1/ymwsLHmYO7xBACKndilYSSYgqtw8Zn5CHfi/nNr73ODF/1X4Uj0RQ7HNSkaH+roSgYTGBuGdyr267OPkoqnyXfw/BOExIH0/cmZYAxHRd0G0bwYEvFgAvLmEnwjzCxrUkySVegEHQxLCruwwH56/UFV7YZCWUNE5o9AsxZu1xoYV8yxXZXRG55+gf4MqdJ+ymJvroBQyh2M9ED8eRgVAZnruoHw7w+5adaBZdOfVHAZgzKLiPggi/yg6se9qRcBsGGt/uODHcGnCkoJ0AU31v7R8d4cF+25eKw1b13QqJaoV4BAu0RZDLcMG+WQDJspJxV3QnvnQXPbbJaphB+2Z/5y7NSvuWlT9/RdMR/4z60zJM26dLfesOE3BSxrTuvtbgdkAjXonj5UVcyAG7/ZxZ7DZHL1H0R13gzFljGDoFYo/iYsUho/EzzjaA9OPuMMGjFrUt+y2dR3/ZqOtLkV9oLSLU28AxUtUs36vxfL+RzEbltqFSbCfVr1kheGbK4DXBqcs+9eibjH2fC/G8WHa56Donc6lMQDEBm39QMkwC5hNMSvoxptPHxkwQ70nlTItnvA9iqfItMCPSXH+c7UuUR/8HmLtF51+1cH/G6dWWluUqGrlGmyjRGGB7jRBwmohq1stircyDRd7kVEWaxGfrozzvaDL79bZp6sfvkTT+XJCID5S9UwrUDDBPvmM50OfuJndS7oKMoNF1591xSfgbCeHSw7Y7iIOgnoDux4qTgpq+CUXJbNK76OeSjSzjZWClwFvoM4YromRCT9kSDkHU4kv/iSxQe0N0JSBwO7q0tDa8f5iYXWDg8SQO+Qm5MVIglsBkoIm0vYlOMYe9iNYs1Eq85kG3aNDbeGKkR1P98OgnIXw5OrerZZatBgU9dMuwVf+lsNbeOr8tsZ05vlpfvvdt5EigdkXpd+VrreIr2UPWjyI/eLEBoia1oA2ph8zUD7hwxjdFJ/1YW+UZJVs5RwKTzXRNZmra71H9+syPDEr0l6Lk89+c/t7za3+c+sevkcFpXSiQzZI2+ahS2d6C2geDFjQdpXPPzK0TNrqaLYDq3thklc5ZF1wU8CdZWDYyWDtytrd8277uBuVg6j49uLui2PtTdNCf2TSyNtZg/ysAb4ZGLCxHt1hvZaQ9WHfUjrJQANXX636paQYZ61Ca1H6J4wcofNacHT+0Z5X40BMBRE8KR2ckZCfEuCbLwa9al+U5NPp44ylhCvF5OOpTQkCmQc4tsnUHvk4FwiYYrfgT6TnDgY9M1qqWJimjZEOxnTT4MDSCjhY8ljEbyTJFF3pSImFNLq8tbYGsCJ92+OVI1JoRaUes5HxvGB2/uu6qpOgwEoujhwOrtw+mqy6uNT+zSSLN0zCs2tCT4vRxUTw3xcunnZsjASgPHgTwReWrDJZ/FJe6vutGpL2H2YxAgb1dAcRYbC3RBlQu5W48GnqlvrA3vwywT74IsFnoOI/LixZMcZOmVfhH99eOP+G9keBMEmeA4BCs5uUHBhyjXrXzz6O3c2XaWveiu8HYvEnQSx4z3F2guH6nCsJKktkAA+cGxIXk/AYcDGKL5kvYGbhL6ydsRpLCGt4G9t0Zx1QKonMl9SAD0m0kTG062PVYlOTSBF57HtNvVuExOllnTPhAnqgTSyzLlGSfRguusdA2hh5KhDg7KS9JTwB3ibT08+ZY5bgAt1CHQG8zLxLaOcatUt6l2ue4yvrCn7FPuV7sPohaINFQFG1Zpy8s8GqF4IgPmPCL8AQFzX+5C4A6XzNLsQufXSLS0POAleKiS3QFVugOA/IvIfQvlH/Rs0SjiQs0yB0ny265jOizV98LgaJs/DVgmUOsjOMCYuaxgwRWEEH8O8DJUrGVyapa/rkyiyMfeDJ88yeW4/h12J+Dq+2Hgt6zqFJExsdw9taQMqFbD0TzVOXTx9SJWk8rEVwF4o7WkDdQojFlJ0RabueXw1KsqkntNh1a4cLBxpiV6HGNb3TDkoGABtwLDPTVB5C+XgxvArNnn1f6aaRirYWB93I0DfwNnxDkHO9beJU3mBojcmtUY+ThQnIFGFgq7mL54SzgKCVFn9FWkROhWkF8x+V7M5HP1GIwq0EgLc098nIC3pWNkptzDFZXfL4AX5JJPF0zOarps85ezQE0vELbECPnP+pvz8AQKC03M5GXhglsq1Q8MfP5hO5VjWFzq2XrDNanlIqxs0r9oA9nRFypRrlBcl0lHndUh1Ior8UNJYb5fFuzsBXmusjZxmViMgktk/1G8897GDqQakjCzDycXMAtXvXmCcdtRFBw46+MrbtIWo4jBWdq1/OLSgWU9DXRX1weWJeZvPk1njVd8BcT442URQEH9ltFC0Ky2zqVtlXVyUr21p6dm8pFepMYxBv+uIdoqEMOLNDYTCBijbeQA8ApjmC/v6klQr8SVh23MMVj1Yh2mu/j82D4XcR2Our7JRHHzFG7eZSZwKcCcvsowoVL8DuEzo8izjudOwfyLMRoask4zKuDGOA5V0ouQdL0ulkb644eUXlbuHOhAad07+LO41OjIpWj5W7ohJ240kI35PHZrUd5OF59tHysK1psrcK/jcV4TEWNRntpKuisUdQ3EwgYzqrTzanoBfB2ips7GCemkcQL0sAuty9CmOFm7zAWoehl6gMQBFENBNm8tMrRy/693fpilf7cqlZ4B/n7wDpZgBVfjamP5snbrGj34C8JW9u/D8r/E/kEWgTZWV06kP45TMq4jItsFBRZgAnDouxCM9tBVn9UZ1EsXHp5wq3rdPdduQNvW/FzJSy+doiqdsH1NJsK6+d+e29oaF8pXWogO7q4eIcWZEfjjyQb/iTCSA2oDfIaHGmSQJhOnTwVDPkT7ru4MHXIjYKNgZEqhE3KYNfBb9HUAtvyb244Ec0bc4ZOgIEwRTsEo1HDt3nmH+grzeH8lMYvWhXjg0afoUEGtlxabGwhGGTaAJEX1q42pLzPmjkSqIkF5Ka2PeHCkfKvwy8mgn1GEyT2GM5BDlX5xIQOgBkyXZdO3ulAHJdWBPFLKBPx0NrHAKRnpy8go+wRQNly1lxzxRKcgkQNyTe5xxrSV2p9C0F4aUXGEjhkhiP6SP7ZWqS4LTtXZlaL23SLjlADzbE0STXBBFJ25xncKaVAqsL5maosVyEHpJlJ//0bysydU6CC8/aTl1rnGRLQJLD5cRcAzj0STqxHxwtWwtUQ29kl9nLDNX+tTwKfVOsqrOHRPGHk5OqKqXktElRagwxfHmi3agONnTcuyS7kXNuzg4OlNTb2N2dVXyLl2vtKDwhthbKqFWghJJAVh8kEZCLWobspwrAuQEovQK19nNIOjvefdzKSawedLYAg6IDSft8yU1W0saIm5xgSIrx1FL9UFdW4xOYGCwhELgGXM8Ji6sxHLaqFbGolFjf7N+NTEIpBBXxumcqjvJRH46G7aJl31ovRbp+9u9ykf3fM7eNMu5A4A4dhH4Vh3v7giVURHpCPbJ7hlGnwXTx2yasqcgO+dBEydMM2//5vmdmo61BiEF9w77cBqJ4jDFugmsApkEr65tkhu5pf0CP0k9XQS2W4WF8LxH0IzyGXBcj3rpZUm9QiJuuZbsL9kQlAYdRai/6DnWPaNyKSaXoKosF7EOCich1RyAyDQGg87LVvE7RpbQQkBWvAOXPb+V7N4NcUdLIS5FeYKde3v/aOY3LHmWvvQhr0AkqNaAMVpcqurxleKSHzA41RRHVryQfP/pO6h5oyDwZwfaePoTndXfJh9Dz5axgsDNvHt/LKnQTM0cmBIcKLMW9WhXe2MSOLwsFQfxJWhEUk4h8KNgFS191zRjwpU7R4IaOl3SoRxU+sIjK9yFeakylUFsTc38fcGSLzF0TKhZU8/wtSAimEDHHCl242RfADLcsSpfSd8ADElJfuDBibRLNkfYdwcUKNT1Roy7+MKtXwtY92JcD22Q5e5EuWVgsfC97IhX2uViATHVgJNtojkJNP+T0f2mh7d+bAq4/d0Z2qM5rnw3bp5hVkJn72EbryaSLZAqm6bbRYSfw1MmjPVrVqs5JiAVv8WqKRyYzI/GzoyiGgXJQndKjS5NHKezAQxGBB85b8uNSc5PkUVlCzCAEuDGDcpuKY7tZfn2Fjb8vhjxEMRT1Kz3E9I1kFe9l9iFLHbWTiQcehCWj/ioXcq35iH8yJGePGC9z1OG0opoCm6NWHCBDEn+c1vLCYHMU53cU1Rhpwc/39ZAUY1Fi8FcqL0TT6nSNgy9AYuywQrAE1fGSj04kOy1an1tnu4ezVOnccu6SHro3naP2OejCyu6oaSxlmoXUMkhXZTWtnKZpSLKq+cTGfu4PUmRVDmtkEhsf+CuEischGHblTWz/WPeo3RbGzfoqHUf9DJ8A1ZYEA2Vzpp/NBht24VZ/OS0BsNec4+dgJ35v1y6G/OJMNcfzwz+P37HzDH9ygjz2y5OqRDyZ72ncGASdR6GK6NlT8Sb6LQ9/vVBTMwnFiD+eNGszILJz8sYn0ltgC5ZkZJfk170G9kkk3EyMPFbjUzbqjiv15DZxlU50jgnmwZhObWE/FQJiHe86rwsAYS25b4EDps4rM4baUHvzIkYdj4CV65wo/WMV8lGMPNgimFUrDVVukRM9ME/9Q285vDJNr/DoqPRM6nMmUkilahRCB+EhT/ZwPufz+gLOcQuylqNkE6qBGsGOXgNlKIaNWW2Dk440Xh5J0OlvhY5U+Kx2sdZ6IfRFfbckerHJwCAFSEoDPJw6u2xmHGFmw2ru2W39t7g53HXR8U7jLelxY5ZEi730TNftHEG2neGphfRp3rkco7HSMbQw0iV52xnT/7KMi3tDnLPoZ4NcFC0ahJq/dSjBaXshFJRvwjhxaug7ZmVJ1Or7ri51Kup+Ll8qqOCOsDEYC7dw8t+fq3M1JbgUN26Xl2DD8IzE4e4nTEvlxDxMTx82rr4920/Qgz0xv5sysTxw/tKRDCQZEGq2i4qOSTe+Pz8tpEl+3Wp/OQMIqnGnisMnDBaWuhH/Zs3gG7nDtJ1o66UzDX/8gsKtVltk5g6HQerpPW5RabLvDm5uFfHTtEr6jvnmwfHEgqBEhwNCVkjZixlCn/T760d8/xtjwVQxCaVR3/K1Jz2qDdUPrQLCMQOaq0SgwwLIe5oV112anfSPCT0kQayRIhs4lt6ggigLOoPhxkT6OqbtTTu2yzzxTImwEebuNfsQM5XhvdQJk1H8xW2IRtlzV88YXKrciYHgUl63ms+4Pr+pW5Cgfv8NvoZheIsA08uA9ha/8pXFDS6TZeulc7TbyI/nJtPNpW/DqDWJ3UZWepNJkmsu0ElV0mvdSAlTg2jf01AxcTo8IQ71BZtXoUuVmJmsUW8/56auXuF4sgvkgiRuQq6GoVSyevEx4SjOTwIW1gdQ2fGeV4jJN1VweOnHtQvoqPP+AMTNJymcTEVKBuSocpbNfjjQwGiPBBdEYOzAZnv+mWa5yJGjmWuBK3gQjr9jQBV5NXr+Hgt7zq3CUj4gM+uNV/xEQAdRO0FE/NJagZTJQNnwYGwFuQssx+IzGdSN+XbOe1wKYfLLOo8SdYgEVB65EVAZA83x4q77egOnjckIzJmxl8lj+omShsmZrtVNRCYFDAd3bRBFxowjEYXpR0RsGiT6g5wre6afsQbHBBuMzvQONIwt0+eAQkP8iG6aSfrBqhyW1jExf90Fz8Z0x4A4I3a1zKGy53TQn1HMq9MvgY7Myd9v4unAygKLAW6PKnlP4mWXV7xQ/4vGcqBlxzFN6a4EoH6gUtJRPXOJQ+YKxUbP2byuCrnawSIYwzoRPDQ1Dsrb+tMwdtnuWNoslvCDVn1fX4KZp6tAcNqgWpNTRQj5tYGU5Hwo/gWlFuUhRoYd5DPe33B1ZiD/Z/Ayp7sQPVL87rriigeSctsKiMHfHdl2dKo01Yk5CJiWy5jqZ6mN9LktbN/Y0KG9s/ezS+T9PM8WCpvRcHR6OcZFVI7/0SdsYsAfeVyZgYkVtRPv37zjIzekGg8/xTXEVekX7hSVEEpaNzU1CeLIzF4J1hDNr2smFvbkgPKLk12eAzaOlHKYQslIzx8kjG2cjJpMZaTvv+cPD1dsCq7VYKM4wWQ/ms8EiF8lUSWnQKtkproumPTyAD7j+unX+eLJzuV/WegCVctOxrnMNgH03xFRAybMyOhx21VKOwfwAtyNUyoB5FULFyeHVM0zmoNucIB0EhYV+KLJPd9oi+BQJaKMVXC5VMb5CwOwrgskaEh9p+NlJDo95Pr3pllOnyRiIbxrmrW0lp/b+glJpuhr0sTJBElFz8MY9yqLA6GsC8Gz3TPqtBlLCcbqeHIxxvpm6HqcQBeMZZqAuXFbatuFxCswesxJS8beWUKPJSo3RofqIyHGoOuoKPTFTx6xk9YrZjeJpTa91CkEbYaWlE4KnSEXHJxTWEyQWLxsQ5wn/FxbeW9+mGTrIxX9h1YQO16jQZJTugjGIjfqVlPUUarm9CeNh4QyyUZm2OAM14uHppM3U5p67v19XXqiBSHGU0/YZ2V9h/KwjiY+Kbuv426bNaJULfl7P+2C4L2STAFSjl/TT/QYaCVyMdvNSTzs+0j6n3KZrEPWy8kVWJyycezVdfmihr+0m8exhQR0zyFb9QSqww7ccNSgmyfjsSH9tFucpXQ4cM3x+ISl5cy7LjqSGqRMpyXhsdn10pbYi7FiV7N5l36EyJiTTISJ89Br4dhM9eHXuBKxanZs4b7y1j+bLVII1C2A68SIZ9rQCqd2BudhtYCPR7Wd7Nr+vab1lthgJIe4vGtWRyFsHdxMdibYagW4//42/lw0pkhUKPXCrE5Vm88kOTNxd4A7oWYuD7g5Z9EttlqCIpO2jhwz9NYM26RykLVRIZ5753eYhSviPMAa3ffZwPrTxvOlCv5TOEpP/Ub7uCKuPkJau1mlh0MShOslo/m27gD5cAMlpp/1yHPTswPCrMEBKPZ5slcSduyBNTCbEchG0kKpceqKC9LpvnVMUnI5DUsKGXxRqH2c7LN0bZVrhh1mPKtu4Bk7DcDpKOmaEwo/Y00BbHFE43YYeD8XO41oIWIPi7IYQqT45fRSVqHmClya9YZJATqf/fl+jLAbaMZSkVqtH+YnzcAWaVSCCczMgWSqmixIWDONoW816ayfrN5nrPvx9KefZQWcLYuBtLNFZv2zT35+BiS3mIoRjN1v0ZnYq9kSSNLYbd8xe0HLs5AsII+JWxo5j+T1AJsl8GmGblfpOKEh5fe/qAg6iuHGyqNzUqDt8LdEMvN+NU5Ryoo5RDSENXhjKkcPaGo7Tayo0EUDhQlM3jwuf3Hkop93ohqqwBCsvQrVDWbflB6VzUZv52g/S4fSd8Sbhr8OjFGnrsnI8EQR8uWDwjqRbMxqWUwipBct54exTebY9OSVqBMNol+Yl+n0ZdR7chwuSaWrWefoPqseQVbdF+ju3MiGwYV9zjURll0GY1Do99kTBtCAT8RLBORTIlNA4qCOi2KPVskAejt+vUynmGbAsyv9VG/iKyF/fTN42ZjFIJNVeQfqw+DJaUhDv0Ns5DR6361b++J6+TB9I361palP56XX8+eNKRUIIKrb3eMm4wJKO3QIMvRm1b5YblUKucBf6pyhZJ/hSaJGfLBFnKZEAGh7RBdJzdv7rj0cYD/XYSV5m0O8xbo9Yq+t5twQo6yI301LNmVXsnT44pmGpTsdoHRmnW8PA8/dz7lxMaT0qmu/Wj1QJgzfqJ5N66kFfZM/WnAJmnf9PS1qiZoDwFuYkNaAFYmly0LaDgCp3navIOvUaPV94owjS7IjrIRyEzS92OtkeVHu8lT9Z79FsC3jtpl7ULG23peUW4pAfIN5LpBvylvmvPAJ5XMRlgbY9lv9R7I0Jn9vXM92WMIIlQBPmSpxiE3tYwTwxdcNzbLYp/3/uAmXN+izzNV8MbLW8saGqOrQiEOOczZYO2lJ7XcNcu1QXE9PuILGhQ60WXbY+Q0tFkfNrpqgjOnxVY61el2isFFvfm1ZFb8T2nNXiiE384P5rXn2Je0Mif8DmAKKI30maMhtPd9ZDn1y+bzKTe62lcTs4nOscj2hVlbSf7P/xzxIayJdjAC+biGY+2cgmUqMAJYaaPT/pXIxPB701gXoXvhCmZPTCMOtwHxfoVu+O1VeifO40rhBFzrzpdaWHC7k2vL90zrz36oYdMoTEq/qnJQfsgenAD70tutl+8riDSZh20VeQET52fN40POmVdKz8ErjACv1gR+XTRaqBliuA0bKwwXCyiJvYt/UCoJCSuX7k0GozIObdGl7nsURXOUUMlt+rUyEYiN7t/YWtHC3Qkf7ZCgAMsg+Ahy9BD7uDffzPbQjgk/B2O0XIgbVz81XC1TlWVRY3rUd75QNQ8XqZ+Vqqp4le/j3bzVVePttkLJLeFDnn4aOKkzPrHvGSTovZ7l0/Uedr2pZ214U1bCb6jZK0e9aOqtRsuTvV6Wy7mQmChIvxquMQFkyOjvMwCKbzKs2eybXpEEZruXRVSUuQJUulA+SAHgr3rHAkpe+dx7T1QvrwzF4yaF1kqLwbkqbhGXW/xheG5zCADHUl9QMCF7g7HMf4tiO0hbdmpSATr3D3lPPIWdZx1ALs2vKCYjbdrUnng0GDojOdL6QIKxCUV0HZ0eGU4VsmAZ7Gl3PbyHVmy941jLd0xj9qxmVSWGfU8QPjGb4KR1mH9PiHFfae/dzrbW6GOk9el92vkdbQimbdwi0l8GxVr8S0tieet7mF+ExN5se1+p8TNie+dWBWg9oB36+zE7ms38JAzB8ZtCnIV2ygDBL2ZUxFq8sf4hbUCx199w9zpyPa5f3vbqjSrZFdw3E3Pro1A46AbfyiDG4GI6i7T1ZwvibGEHX3Mhx4X5PQcUiOCzvil3jSRpwHR3U6iF7keLkDRUigi9DNAK17Y+MCHouVQW4x93PN4wQlquSJOSJB+zPy/SaQTbqe9/SRl4U7xpQSyqxOkUWFQnKVSWKavzt1lw2xb7BEUIH6SpeT1hczUFF+5PbOlnvtGRhwReBVEVO5YcrThhuIHgPKvOQDHRYOA1ZSmzCb7SQQQnYuWgnEB/GK0YBMiNFX7Nns72HnPvqlEh1DrmhwGish95QPmoKlfDl3UKVTDIgFzaoa8AMU4ABcLmhFdirxUI5TARrGU6zX8YOndaeF8nozZvu3mpsi7cjqazfeaYPcmxV2jlOYNzcP/PHimmGeytpFMDF0Uq2PGOJqKGqS00d7jncpStHK9OPUMuRcyi9fkriKeIiE0AYBuflPQeGLyHZTUcM+K36w/t7OoUdStzkyGIQ7IlVPbMQAaTwIksQCwM+sbsnGVIpUUBGr7zgoC9cmtEbMcsjqg8DiwsFGnrPXFODG8/9XjYbEj+7QaORlQOB+3ikH6QE8MoecyhmRnCaMuAudHULnpwtwERmMzvb/v4/LLkS1vGzz8YSWtjon8EeM228MePqLjnhYmZA5bqbJpbcFrnqoL/MRgw/+V/MqArAAG4lh38I+k65J/cO7X08ill+hZS3Fy6wT3PmAqLkiIuJ5vkz6Wy2oYySnkc/o0z8hY0DW7s5xmnj5P0qLF6WPtO2NezgmkUstVhI6V/9rxBRRNvR8/veaAdH9cvm4rf7HDPHVGsDc76zj/hzsi4TJzJ5yFvrfhe/Uph8/cvwZktlXybJnzU1rEOp+sP3HcouARTPKX3077L/vY8mca0i1Epbj7HjmHMKM2lYCxbZCzxo0VyviWRhz1FBGuWy5FXD5pcoqv3ZATDDfon/9mwiZxesQxwU+NqQjiH99GjjWN7L97HgTgTSqrF4J8oPIANHdIrmMYCEQ0hNFRZCga7TvjrOtKGVkFor68GrvlKTJUBP/seOIGQFEmpaAMmKQO9CyU2DyqN8uo8dzFWgVNY4R4/wgYlR3DGYhfCD/OBeV22ZNrIvmgT1nTX/qEVY+9fPRmG87I9lkmR2MR38O7hbkSmqX65JQoJTejK/nYwE1utqpiNbdrFQdgInJqnCYqHgtCcHLU7oM2Y0u0oAscSJatO2ZKRBP+fByk7FHKmj8Upsk1DG2voAwJuedALJzEiE2p1j3p3zzSgt/YG7hrH3xSuaa0bFtvw3kfdicGaezq7k6EHas+jcDbe8L95qZYTzXPOJN9rgF5mj+xvaVnAZmHFz3JnGfhoRW3Ff8MemrHo2AUP9b0hETxCW6IwhzM+S1tC8OpGtYGNFovUQcOK9wG8sFcNF1SQnpmuErAnm5XrdVwLwTu1rx4qXbup1nhV9ahVFTF9r7aCY2FoVtKlaAYFbvlTKw9UjeQrV1cSPnW+X/CUh2iJyV3M9Wkng3jKroA0UF8olcxcWSp3NpioX/3owY+km0I0Q5jzCEZIa2VfS1wCT8/yIrJxkxDNQgOjzpBhwTCRT/KbbhLpL9FjiowISzxuk3h6YD+L0LkicCrJkufXl9K158K5dmiWffw6RqivE5AU84AHJceO99EHixjTMwSm/Q/sMfYxIXpvlfpC3gNW6qXsajfXg1iYbuH+AjoDe8h4Vs2x6f1CbaGq1542SplnMX+P7pZjZbXixdK251ORNJe0MD7pq5AAzWPZ8welRyDP33iTHrFX5VdSFdJJ33KyBWAPcP3Er+rKE8GHfj/NEDLTMsARDDO3AsTzVf1hlnJbIAhJfuWXev4r8eYBu5EPJaA5iSd8JG/AihhYPnwf3B7c3de/BjnJ71zwFaqBBN1YeFsrtgw5VwCWc3dysqUSxexsY5j8BhxQDHINV+wUtvdqV7ntkQ8mwt8ipeVvE7mJXVQY3uIaieeuT/Kzvzed5JKGFhCWTUgqh6FcljaAYHir8RGFUoU7ci0awmZiigrLrGISHeRa5dfFhf8o2yd7FDfLDi4Gv2+u3y7+UbJOrYOlhxN9MsZkuQwIokXwxQucJ9E7PCNptC/N3Xm8Sry6XffhDTtkb2fbvwJOX/DbYhk+4cwJobcZR6FPSTAcaA0hRY2kXeBeHvIIRGRAwC+A+Rra7wK72T1wnoGEhIdqKhS0DgPr3qVKGS46UfC6OboVdFxeMag5cAAxTUHoZzmgeuFB0goAOKJMMJU0JZrdzEOOBiqj9OJjx1lMtMH/8mF31pn3MNMAWc7C+QvbkgC9yofMYCoZ0sz9eq+43O3GxfeBrg6DO062SV17vr97Mp3YUTvjfseeoVQ6dT+3r75LUBkfjiO9izDxuIRRNjUXehaGX3A4pL/fyYd1kpGtPFen6lsr+dkEcYMvU6LGng49jG8O+/3JPmbjVPPHZUItPMyEXV8IA+7BI62BQN1BJxTWB2uCthK1u+PtkFRpzXj4L0zqoipPnEt3zzHBIq9N6Ob3tOMGmB8MCuOOxb9EqP6rqF02zg5tgyEIGuMHSoWXhiDtag3UouuY43NE2hRhNGmWYOCTI2V1sCCVB8gREg0dhcYEqjk8a1f50t0GeZtnZaNhfY0RAt1vwNwVf3xvvT+k1u7a609KPxaaFXGxvyWeHnv0xD52ipXSlI7Ro0umSBhHdN4z0SXVz3/Ci938ksJE0++C28gYNnSjxZrMSpTkNNsH6XXIbLxqLombXuzEO4QJgM2kYwUcHHO7IkFuZt8W1IfJmDiMNK874f4pDH6ZDTJHNghAC14efX2iayHmPqi0m3L+7MQQjsYCPQ+O4HV5mpYWqlT7YOgNWsjvZkM7F8waCbKunlOwyLQ2zCfAAc0LdlgMwyp8KZGS1i643yg109pQs6uUpmMfcEKIrY74EWMqyPSJeHuNANtDCdsGLAA8fEmEtdgurWwhlPeLcWIhIS9yuBVPV/f1MoE3DKq+VP7mpJRsXxXaxVT5ZCcQjbJVdx0VpQbTnvK0i2VJj5iG1TYKFLT5/XXNq/usEnx5XQMGbNGXAidg33P3bv7qyzOqh69KJ9cCM0nQXKaWzVln9VvUpj52Ga+z+/94am1t4uAjvXflmTBUbqkfDLRFgkNPy9dfO8lYGtNMH5c5hb+5HgXpez/DWKvsi5LbcwLJaIqMdiHgJLYDUuGLQAtSj0aie2wn62583KCJFSIn8e1tb382YP8Wn0rXeMb7igkSmyWkPn2IeZR0tCLWRnsDNTLmRUljl+5yRQ8Bk0EphGFS350y1nye0yvUupwUwsJeniM7Hw8N08fm56aKKew8qmdDcWLMg+nZFgZwkNQEAEgPZdfv9TpcQpnPXfH1u++2dET6e5kPtCpLHbfiBVWFqYeXL6NwVd0PgLMFkuT7eh2fnWheuWi5Zs0KuCcjlnHR3YV7xqy9+kvaltJaCReL9FQmyuA5HHYijTE43RafSVaIm53no+Z3n2vpP/GhPG47xKLH+v6Y9CnL4pqkP043z9wjCe4cKeqZ6NbsoMb/mAQw2yrAuhxoWC+oO6k2RfVl5uwG7UcVXebLMcWCqepxlBw4zcwVR8FUr78YvZ8eR6Sy0yEig0pfjsT0wL7zyGI27v+vDwNIDFPQXOS+xgC5MZ6+iFfZQ55g2tJKfHSwJ11h3D8BbPkYbhydSmyDl/D1yL0gD02xSKbU/EER3ZHPSHNq60IVTCIe8Djegp9Uht+E65zNNgk5vp94gwYysCPVqbsSqR4XJuFtWlj2BtFoCNtEehiE1quoUcuig4jvIyBPu1VRS5nbCfN6H23eZ13dRwUbTXu5YeTOWCWf5OhSSWjxX/vkmrBlgR1SzeAHMVVbraBGznPevAmAKrS3IoWxihBcIgJWPcx3jaxLeFgUbJvVFQCrP6fvcp4ZxsJJcS1rWWcLHQ9Lv1JFks8FQ2uAFNdELhf4HTARtycq3OAUZzbrxHNSrU2a0WL9DD26PZbl4VAqVps4gGylXkDgAOBd3TSf3OtnAUiFrFhw7sXy0TbX8DVF7/wIj39lSA6LaT2ZN8y8OcCxBV1bXE647Ha/hOOWXNW/igWGcz1I0I3yoh7ryayTjYFMNTrPtSxyeSGQErVhUAPRDCwVn+f2bP2ff6oZg7wQRf307wQ1gVw3om4+fWbmL+P6CvauQrUCvNUBP8vVYy/f2XT13YtN1X5Etutk1uIAQf/scgFNdQdfo75GNsQ+EFbEdlL/KujPiQfBFv9ykNpBhCBjihC6U3S0ZdnXm6fq/0+ckMhqEHuOCwKySh0/ab7Ov5R/Ra/A4mKGh6HRjkr7givSvBWo9U4y0cBbTfdekcs9RZKQzBHfUXdV/W1NAcEipZcxUFSmsmOFWJjhnS8uf4jN/ylCLTZOMz0EpRPgXBgSBsZW03m32rsnkH9xBGimOSb85IOboF6et1ooIcFuvbSg6mVmLoyHiJfwAP9/V/MkUIc5mtX2ITSdMX/UnLOmamm1BzLVeXxWb55adBdd/wtMN3QYMxWRMNCrftgmlCNXX+79/N0SVfsB8LMiZNLNiLuK02oVwlcyGOeTwrwzOvuUT1sa/bypC12Vio3HtyGo+DED6W4ouXagl3H7pxCP6WJ/UwgI33bJc0DSOjNzORAuOVpmL2zL2B1ouLh7B2No39CoJd6jpds1ykBpN/r7qnxEy3c16Yf/YFXvoTfQFRVt0jVvlr1s5Hj3oPH/Ne2zi1bmr40o18Dmk3UE1uU4C++0hlf6V3vz2EGTFb5EEbJK/gI1q+II0NgDEGULohZ1OR0GVHRtS+SnhOzlhQw3FSLm5/3Vhe7XZR2R8R/ocpn7SQYSGCryLvsy0VQA/rYfu1nl0xul/aGE/aLJN7yjoVv1MGvjFYqhd34dNe1grl1i9G7LgB5oCgGE7kCnPI6S0SSEH2Q0prDAQWa0MC7pfrlY0eL911WMDCXPilixh5G+5rAmejyUac/T4vnxnRq3vVATW8yfDtzcAhY4EJSGDGuTz4InxKiRJaiDFmhlzaaMacJuWvc2KUXvm1mjEoQXJvi2QCYk9ZVwcdu8MEx/A/LZIkElye2eFlGciio/WmfG1ebj07j6ChrF6PxV9Y7ls5Z82+oOa7SjpdWNZU+HWHX71eQo4oLwt52S8brJSINQANr1XcU1hTsNCapGV7jy5hmC1i91shwBRdoJgw85RRJagW274/xAddtXP30AMvzjRLd+KB16/BBwe6MhfO8KfDgQVgC3zECxaUde1Au0iZkN//p/ybh3w26f7foYXKBc8W/6bxJPjQzo1eIPX/kC/ky5nbw1zVkd+cB6vaikjFyqgo+az2lD9yVFnmFr8SW010w9lph4rS2YpUkqWDw5KLSxiq8tSwVDRUd+fY8yUgLjVLDWf6AfRhsqIUXZIt1Y/9xa6rEN8LCun0bsznWkmKO53Q67tlUgYUoYgXW0hxVGAf9xrm0fildnoTRGX44vuqhmb1Lt8TkifB4C00ADkzoVaQ/NKzuaLAaq69UiAZ5WYn4fN+xtrRBhP36aY0cr7AKql8+nKelnjM/BKDwBPuWdR1yHidjmEPc7/yDjyofbSM/mzqHQ26Zmex9+o7hxwRTOhwkm77wvei8WF5v40GQSAcnoE0ZZvMmL4SzkwfnfGAWLjOVfAiocH5o4e9o9N8IlQ8GQ86VfB2ZgscsK1YDbdVxAq08zw6O8nGqIzwb+zbkw4aZQ/YAPfXGoqj7wwn69uh/flNWhPwDTyFCtInX5SqTb0/soQxn0WrVwDdq3KMyEw0HAz3bz/cox4ZTYBIsZKcmhVALThPutBXfaczhKK+QmeYR/ZM6RXLqa4hbBuFWghVFmIqcqUfAEQijbsm7yWv0kk73VhbbhHp6JqpJH7y6kLPjJAbt13XovAR7QPEyUwOZV6r/0QHLuocyLl6LN8o48amSL9DjnWhxDYC7DvqgmipQio56tNfiG2abNYk0U7lAl870xK8TTLiN7dNI9kpFmazsxJiyH963mW5yAUyMGHS2TMg2gOwO5wgK1eZmRZfgaDJajvv18NcyN7vxvZ87inT4Hh71Bkse7Q9BOMi4ve9r8OlSch+lXZrLTTl9eVboohNvhVj43QUQhJBo4QeXJtaLB1rl5um/DZQZ7tiMoWIFOdRVoGM5QI/n3u2xNH2RpGXrHtpQCMn6vosxLDudGV/NPB2IxdDMEtYfJgvxTok/QkcYH7chRaq8dMA2U05GKzKwiie63la3dBfcKqXligrHpUJ358KdfgU00u2DQxQAXEHk+nUp77mArnpLWbA7AYPbsBHo6hRMnM4P86mhEy5H4YYnwMMhnJ3IHcMPPbOYpoO8jSIF4SfTBZzHO2d2XKfwxw7PbtIn+gOku2hqXOMhBAwvo+2yq8wddxt/o8fflwnww9Vd0Sy+Bl9VQyUswyW4evLcjEnJ5ulSe+xrg9S6/IX084ulW5PGv4BlWBEIdFLbIzRloT95n28FT7ji98JmzQ3uNrryBsM+OhLEUDEcTZUXsPwNSGDysawspAQXzMGFbKS/KzqzvVKN1pIDXC7xOzmKts40AmbdCiAUDMEw2OOJyRBTDZYZrm3/h2COjirG92NsN+7EYxJ0e98deXYLxu0BHH1OOVIfXN6G8HAysOOyoO/QUdiMrZEHSDnJTiTgD5WVJAZCa5KeKEqrItoPCNP+Q2jw+Ypr+G5g6XEzTKUxxgDUoYPDef4/gTON8gM2zgyW/KPhZukC6qhLnH8P5ZD97Ui2crFT8gRTYUKeKchlP8Wv25zDPYvFtwUE4lkpgH47fZ/oZf0rdmG7A5NghJSaUre3KXiDlSqcqBU4aWFcjyDCDB+qMekbD1LR+lN4w4oO3R50cuXraTxgqX/L0Mhms9cg4UqOUCyeeGHKo+toENuwyMjm2yPE+Gpi5PhYrFedXHvJ9EaAXv7s6ZfprZCtgmwM/LS18gT4zg3znKZHEF+l06PaBilPXv+zzJJI0syT5EC1KWXLUXyflz2c8xWRHGx9WNJ11CRgczO1AU/11yYvdZMZVj4biBpz257ZsOy7DfCKUHOBSuriKASmoP7Sf+CeZr+uINa3qPQTtJPjXqdf0gkZaJXUnPd5eZwqtCPttFqquVvPZHe0Yytkwp8crhxTH3fHn1eisVFlg5OgBuxe0W+9Ny/ypzpYVIWgAYyr78xXRbkqJFuq6QnKT39OoFmOUiBTzyuTPav8K77Ss25w+jqgO/4uYGDv0Bey67W6wgBYXzmnLwGoSEvpzaZNOYa/vNhdzilLVBGbYRuscvJE5/NVre8anhMZYH5XT4W5O0bGeUixH8tYIcYjL1VlEeU60wwfkC1uYC+IA2kbkQn4xnIpcEEkdUHnhIxJ40Ln6wbhFAQypDb0qBKDXn19ZTL1kQ787sSFXLm/DLydtanAOFp6cYoe9HRwJ04v2djgQRCvgZRgyZddaihq9Li1X/Efl+LiOiAkPW06CIB/kI5fnz6UsMTQekd0OUM6BtL3LzTYyO8c9mIQCK2lK3kKZGEuld4z8W1PvamhdYSNHWt4nf1dM2EyhwWOz8tKgJ1IuiZh0e2jMeSkmcYF2XBSvMXb4BEM4JIPIkLuJNncLmzh3z4i94Jgd2wHS/JRRapPY06PBoulBLM9pmxUmLH4aEn2TPp/8vYWv1nf2yFwUGLdjwHlP3hkdVREx0vAK7kli7/veAHql+SNekPQfb+ykzqvA6s81/pryMX09CAm7zNYEBdUtmCKy5oq7SZpi9jO4offeTKHBbR0esxnhp7HkQ95c9YrehYrZuqjIX9TTolJ/wnG86lzglO3MF6IKxUvNJArxbAvdE/RA6pOU0GcURu2prGLaEIa0fW5EDwFZkYBBW+1SU6ScS+GnhkHij4wm4+HWjhGqyFbpivM2VkEJZMY3QsjsNRwU8JOpgTr1o2cththPKVCwv1SCxtYcLmOYfJP5Ef8C8yP5hyfMMmS87n3pDTT+bTqhUJyrEPHGILQQszy0iFNsA59J2dOAMVEiXqmcV76PWVLPUKonhXkI/PPDCnKfbyOWflApmerFv199OdXveveBXTV/nIZHf++ie1mlmO1tuEWOESFonYnyyg8JOLC5LZ4Wf04O6np3AppbQ5B++4NBZf7gvE+sPQvZXVJV4oMzraUm8MnVvi1ZLM0/q/GI0csg+GCm08MYVFAAE+8Z2vUIoioH1FTeFtgk6Gf0K+JdJZiN/R4novJUuaT0d2QeZjDmAV/QEd4C9Z7uolpfs9rDxBd2Hlc+UWdKI+Fl/IKEKhTG/uOwZG78F2YBfuTEcEcqwzq/QLEguec5yODhk6aPUg0cWigDVnOCuaQzyB7bnf64byxqp3pPus58w/KL5U1BvVoHVih61DD+ACmLAzQhOOZLim7NceJzJ+yJpbfqClhDd7ll42QAd9cFLaysKO6+bL7lFxqB2z9B9khx6TEf3UQwU3+sydck59pi7sydOZP4SrybltHJqftE6a6kbI2v8RnjMUC2XBqjkzTuSyr/x0jcxxyX5oJAOgr8cC7bqL2B799oYo6M+mXocGgRqQPfnwI07JuNVISDFO1ATTqiOWzpdFx4f07ZLrqhdbtuy2RkkCeaN3iGIOoNI38IkqJCeaP69IOt1pOXLWAVagODQhDsfrsvSR5xHDGe/2RmmJD5gDWYQmrEDJhG1OtUNNLVdfemqmkciby9uqsjKRv/7ziKG+tnBWS6v2VHIoe671E8tKo+76MlGbMDRnBoK+CKZOBqZ6FkbEU00gi/d3PZZxMlJYhoxx6TX8FZh5YpIc1/ylPGH0+ZTTY7eNfbKUd7As7PABo7BdzuMEa+jltl2X+C/4/BHze2QsHHb9hHgq9p6ejqlr4yWvM+YkEOEq01cP/pDH+uEIqiD+HKd8pCtpPOVknAMxk77AZBEvKpSOugyoKd09Prj5X7AS0iqclDces+B44U1FvkwYnYNSSpDeXE2BOkyOgbxgf+VyBK+gG6EfoZrRiMwmZb994bwMdhXIneQKMyDeHfpgrthV0eltKktZX2XtTafip77ObrfRgVyGDkRjsmcyerifSCMJ1eCOvulTCh648c1lP2FjRM+UHUxxEKOs6dWvXEOJk8o5mm7dpaBiQUE0JaHhaq5z0Jy7qCLYA3hy4fZ+G1rnkedBwzxZvV6c6QxsY4JZ1Nz66mnUCeLk53CQ8evbPYW1ibFfGspCe/7IAALQJjqGs/Ni4mXwFxN/SCnXxxR2Ha6LheY+H029LzagXD1FAVoBhBgYMx5hcAfdrW5M+kh0gNZgtxyVnXBg+L0LJ3GrHjljDGMUtX2/knWjHYi/5SrEGqOSgZVgC/SF8eDJxWLbra86q16rw73JwOuzlF/8cWTMZCIia1piN6Hyz9SsI8RSlp+lB6TEoG224loqkvU7xF7aS4gqBqBugw6paOJSAP/BEu9JR2xsFVYsIeI1eUXVd3HtaVeLMf90GvsUufOVwnp/vSU9fcYJMaHMwTO0CWJcCJPPDKYW3iTHwwLc81pRIh4ZGJyt1UXnEi9Q247BzHQuFixjdS2mWXcWfLszS+QEDLX7mQZ8z3jlhfe8+hLRgwvoYhZdXNIvzW3B00+ohMUAjqoEYXIsNcBpEIQSVJFPnyzEmVGAS19EtO4/8l0HrqyIMe21M2eSUVLCDRGxcBJARHSuuzcOMPmVh3rapbL52VUHZrOn8O9bWdUt0QR6bEYSLwztZrOIkiC8pGf++o9v9SQmRjavyocF/l6pHo6uByfTYVX+8TbozFxu5OWX2D7SRmJVrUcQWFbnqYnZzEnNX7vovrGZ9WShKNmzPRLETsWr890WkulO19kv68mxIauB7mGP1fmglqmkn7EgRQyDFnXlaV7lwO5oZZLkISDNiNH0Y4PWzWjLRydd2UR2/xW+doFiL8ctkPFF2Oj63iggtJr2482+d7ZVXee87RAu3kQv+4gDENrczTUuz4q/aipSCO+bVCVCwO8ib3PREqn0YZFhyYrjMis9JMSvLKXeL2aDO9UhF0D2n/uajstWq4TYGs6R9HikqFcWZ4hc/RHXWT6pmg9hOCEa7nEgLZ1Iw0S9rmZzUNEvtre08blwNXcoNnnFph90OwYJ6tzMhTeszjYg51fLV7ndm5uExA3EfjhrMU1JFEoFgQHIZnNbmdRknFZIE2UpmzIvagjVuaW7cuws0pInnduasee8ZeHUmLORseikHz7qUiNtSVS1+AW3RVqXAVotTbb7xvmtZAuod7/ZE9KPHEw7s4RVv82Sg0qOxyYjO7DI+QCcU2+gGv4ITVlHoEbKZswoxBPanmPDci5EIJTTB+exsABFAPhWS3D1tWDoQ/iW/BQvg9ErmgXl909RwKN1707UU2NZDQFGoxObGMozvcW2zeVXnbqnA0uZ97Xt+OczxUj0Pk6yF2+oNzYuCigFrzkT0ArC/j+LPm5Zt4pI31ArkJSBtbTi5khW+DQwqPtpYYojtlZa2WlphsO/rU7ceO2AIYTWocRItJKivxrNLuEb9IHfxqyiG3+bQGvOpIvUaNd38RqqsCxuraXpN5KuY/AA5sWghyiveQ4djSBxNEDn3wiyFvwbj66QEC34H7Nqdol/KxvZJV6vkWGf16ssD09lFmsoK/mIfO7FmXE08NvB4ejssKZfC2oxoZPdIGcPA/H4DVAxE2grozYcXtl3W6bdMyPKEJ2Z9OvWKZ/3lMe4Ul3G8bYqBnTdTd9JUmoMTyEpL3mv3pf5c4AxPoszxGmD0xr1MURl5xJPA2pZ9522qhE869Ftn6RWPVlKGHR3rBTaGdPFy8rOPnpXDKetND9gSEHfM0Eu7wMoI0A1qKLwf8onxx9GwRAP8vRNuohmPhz5+0Qfl7fghVqhaJaYEiNz44MepUy0nQh3HpuOLbc64WMOO2Gb96rEeyi9zw0FjVl+nnDrIQE5mmCaaqFrfToU7RJiCsO23i1ioPYbmxK34AACHMbxni9K1sgvFfxd7xiX9xO+02Psa2/WnKb4PSQk/kUMR9FU22WxIPZ1qibjgywtWUI4WOr/4eofzPUjEqh/yYxCFP6b6L41Mkfdjf9QGO+jUxuWkeGhFbflzNfnSqetaP1ju+E5+hz2qHGqpf/OAufBQQVU7F9WE/b8eAP/2inCLudk3RXoDzMODViT/pSifG8Im/hIJIH2RiXjBhnzw9mQqnUFKM/Y5ylHG/IyfrrgvTgMH9i109OKqMETHLfGS9sVL0+ti6YRaP7Yb9wh/sRBCaVmJmPE/LaFPFka5/FJuGaXHH14reB5Zf7tmS6qdeOEYsTvnVeE6VZkAvHKFhqwkecjZVkRjKw5ru039OEhLw5G7RrZtqDeXjtaVPuI9zyyCGQ1b7z8Nl8nirTk2/U+kbG61QA4gQ7gw4nK63Epfw9nQ09mm8GKUPnJuMSAPmwUeWiffJfxoqLkbkMymP4kk8NLDzAQxaIIyyhha5/9UNrBjbBpGBS18jtHcBw5tZlZsu7QSl7aIq/H6dybfoJliY7I8H8H2Q/VzEg5BnCYoxtgaIyIoptBjeIRJIGgBDx5yv6c8ergZ8pIKH2XtA/WLRTpDy+rMJ1MeyAyxQ45cKhr0VfgPzf0S1s++pi4WvrcXwNfMY/7m7mIRoUMy5Bf/ee5b0FD6mPL9yfoebO1AAt5YAwWA3+DM1nLMjB7mvPQcpLX/Vj408jpb9FDjFUQbFVcOh/VsoSCl/vodzuOeg48P9rAOMZ7NY9sAu0mI2Zg+LFE84IL11eTDLnrAhAj0/Aa/CkvftjJACiMm9pRHH5AYuqa9HsdsgVdgvOoZJ5zKY3thhlZ7vJndV9VORBJrx+2BQIWBbsM6dbrc4Bi+WsnQguX8DQ8jALDZ9h4qV2K/z+2Rm2CsR1oot8L5SY347KwDA/Rjp7SDk+/GxQHVa9tLAyMT3aKw3S/kQ3npdWgzF5tS41DCAsU/H7F0EO+TU246fkMRjA7hoHDN7wEBMEsFSRFTv8zjslvEvmhooFureqvcXnIr+Uf64VhgNOMLhEd2EFD6wwQeCXlFaV75KYWyA4zAVORj4a6aWt6w2WO5RoGjzjmwOXo2Ggx4WixqJxFe1xWwKYODIdxFV4nHRVeQXohU2wAUFrErZxRTRJ5TdNl+Sb2UJWcLLKlN88ZcWBXqHXJG+pUFR46SBnPNdsOAwNVvkujRgRg7Vi4kLyJXunf1BiqLzgbFRH+vBJsC6tFbIDNPOkWJWEIIWeXVwIy9h0Nnidbje3Dh8W5Rpyzt8+FEDZOhwHmAi4nKPvd69qrr3LgP7z0zlpB+Xmn0Hy6MoP0SoGOSZeK4uibAZs950Hap1TP0TH/K5BcSZWV0VapHTeDzAjhlZQ53ZylFi7j+cEuXmlVVETraHg3a1tMd3+XhtFGFRvHyg9FhvbOmqG3Knn/Mry6OzN33P1KldSFOjgCc3ZXS9OBwTMiETe0HDwerO4MFc5WwDg4Z7Pp7ggVs+PKzvSmT+r3gf79grWIlr7OBbAQd5QOIf/t0VrZwADITrZT2ZpeVy8V5CNW/SEMMXBReGVlK2exiLvT5FF/l7mR/pGSTCb3qZwykwjestsY7VzpRQvBrH2WE9eZ8cEkcsJ1uwnz07TZ/RHPwT/6lixZd3mn/MLp8jr4tnGu4SHo/9K7hMjmsKpTGDU73gJfVpn/opO8XRQRCWa3Y4My7lBCqjsJbQio/FUKEEvto8oaz3odQpezZPPjCyTDTjVclU+4axrZXf9RE6e1bOspGSO7U74Vke8TcDdJ5828ApR5dZvu6asO5c/g5n8erW/RsS1mmc5LVjkq+K7Xi2CH3mD2olF9I/Gn3Fj8+onpABe0UA+xgeXKhZAKnuVrle7DbY6tJ2vl7YWrFJiVoR58HF8Rm7wMoq0X8LYWBcvjySqON7FbxTydiz/cLzLrDS0Hu3Jlq3h1CXek35iDhKxyk8hY8NV8pP9LCWgLEoIUOn9mZyv68LUpows0pbcmfi4BjW4MxB2e72wDxmmO9rVHneIomDYYQ9i+FS5Oq5AsXNXmt10DqzbvI+7P3uAZY948V1wtP6i+hQ7jViz0mwzBqttIIbwoNtyUGbhwEQRE8eyefBKPZJ5DdmC2ESwUM432NjZJl28s+zpZAQyDTJHUmBwNnrJDD0PM2zqQn6wHL2o7E2eot2bsKpGuy/BFfUh/QzGVpiJnuadNcAtxyEDB/lUn5t3xK0mMtwJHcVU+QF9NAEe8GPYauxZ1jf8QZJqO5KVSatVxJovmubMW6PqVxBO6IoPET2B7x/8TU0B63xiZkceyRyXG72bN4BBwHpOjPSnyXzF59qQ2xFKl5vBuCfwLt4wkXX+4Pi6Zy+dK1ScZ8eyhqokG5K0JbBEibC1FYCIaMOQKJQgmlWDJFuzolF3GPeTavcH62lqnmimrspBKQHi40qh+1T76OOVGpORuAbwkJ6AoAgKIn/IlbpoEpLCkf4F9stZdm2WKsZURnIX5hbApc02Rk/PMhYqVcSW8IYtNAAkCHp8CJa5hjdHadA7MApOw4CJlzz6KxbJLA3IcaSavZhIWHrmb/tKpjgeDafbuBY40Tj679kOWirVj20QpGKX3Se8vj6HJdUM6wiCBf2UW1yww7PuX69Tz/H+YwDCnhWpPVybXGIDCYJpJKbrURh/ptpMsAd6F2JSPboVfW0UY2jD4m2OOSRqwLKOKN3PIAJuHOxKVTOYgprq7AC5htxJjhendiK4anJfsjVkFfhjzX+teb0/Um13FTvuWWq4Wgd5cxWrWEgZ2uskMoy1TPXAqC+mSOsMctk6ZU/bFcQnp3MrlRfadgk9PaLrIzcS6LwgkRvhR9yYXlIs03ENWlPAhhyrOLxp9bGmofUJrIGhCdo92YFd5cdEJjjvtamO9eOxXjdWbRFNgU3l1h8COJ6WGkdBjudlR42zug3Y/FDuXGPdJ5PeEukNaFiEE4NjZFucOIRr281RE+4Uxs7pOa8/sRkBQH86kBrlFzeb5mLkU+Ab3LxL8SP4qAAw8wvrTtGEx9iSzFSpllkX9caJDaSnMqpMa4gunBex3JlNmVaNLz30w7TXJfOzG0H5kYHROPlq0lyv8Qew9JoxLiF2TlUjGqQi11SvG+o+Y3IoVm0LVdkZ7ANloZonO8Mufe9aFK7w8ObtDHHFet6RDlQyDTaUI3B//Qq8uhiVoEwVy/GRlPlKsDBXb+jxTWqHDZ9IYDgD6e49kQYaJLT+rFlTeq1lxJva29mu9mL6KdNK/SKPzybA0EPTS6l5RB+0Qh/DIfRQnLIni70XH+ypNqzCJ2NNm1sQAk3yohB/tC1eOYhuNPatQMzhpfNrK+3tn0t2A6S4oyH0Ee6nH3vV92yxoiNnVOfJ08wWfCrPq6CLlNFuU546XHSFBKNLCg0RG2pq+jvFrtOsYO6iMllFtYof7Qu1EzfYbUnvZbWZLM3DbRnexl8pcb90DxgN5Px7cuh41gLHlz3yYVbszyLz4aTPtEmHPWBma9yBrCeA+S+viciBoG3kFw/xpczEhEZ6/guMb5yFs5wpgVv2Ld/xvY1th0fCE++FJrxsiUHA2s7Lmz0CiQtRhR3QOtIzb5qSshtU+MTEptCUvN7kmPG+7xfjh3x3HyEbcpZ3vRDzZkv/EFSN3/PfErZYDt33AHLRrQpaSv+1rT0471Oj/xUyzD4d5tPJOOWjU/fpVPu9zkbcXYn+ssW4T8FTl6wGslSomu5dnVDGmFvYLKR1U8X41u9oBeUnhzZzLR0Ck4MfwxA1pBwvdeE2OWGchuz+KIopCVR3yglJLyEmxhUFtodCV9Zo8kfoSr5gVov6NVuUg78Yfl+dS4RdUhHibTZVWrVcI1rmeU9oty4jcWVIgEWbXmPyJvU29W2tdIXzNmdZqCQFYH1gWzCK2AYtMYh+qhWsLmERruqasO5GI/OfAN0PJSQrw5n3+C0M27dbu0dOsX8M8S2akAD2zpKMuYDtxOouJ1h7Y01842r3k4XR4NUjH189DfyhxPxo31F8hE5knoFnCX1NnIdhI4UqCYK0djTiJ5HCnShDJu54omTloyhzoum0NzInmkzA/WkRxnlKQrJGLsZotZGq2vk60rpgEzDWisYrAU2eHSz97gtfK+mIT+gZY3rgHTGNcza8v405AYA4npnaN8z7CIctnZhGAyu23UpxeWslUntT35GXNv4RcvC2ws3DZl5n+OfYsMAP/ZLif9o/UjsppLOYvNl4whQDBw/jDx2UbXO18mm1pbeD2xpyP19vygt8WNvGcrPHC46IzXqvSophA9Lzv4dTCdvYz3ODPKViZCwn1Ah2fP/YJov65zB7E6S2L4HSmzHyUOqzYzYnyf77msj7oB8ZSLgzTlEpZcvu5nO9qYhupWPs+YXTPVeO6TKdkLLPiE6LAnk+njJvXM8bIV5YMG3oPuPE9w3LOk7Yk2XV/+5KOvzopFXI0y0bA6PTtk6Rni15i0+m1k2Fo5UJRn2DHwYgwxSu19Kva6cah3b2yyRL2cDtjXCP/0moQn6khSDKPdeCLWgjFinAbFAV5NG0HQoMt6YQmhX3FZ3rNnIANTNSobv9fxjtdHoEdWPCXCLSG3/oiGy/VC0pX6XSLQFSaZN2IeLALmYbNmaiAt1Jd8jWYuVXoMHvpZoSd3jJ4PV3qwU2GUfWrRDckf1Ie5qbNNEfhUiPl9uU0oBaPqAcGbpMlPUDauMvsGWfkcZCeKn2Vk2FncTOOG371qzVgp9KeY+ndQFm2nSYzf0NfzHf+ARVaeTP4upGO5wTGkQ+Zrn5dHlmSVsN+f5SV3bu7aXVaURuemP0fpDXn+dOg4+5zOUdzKLMIZpwdll3ylrBptddcKOhu8XUgGyp4ln/0DuyvQSPlDxroaHDlkjkM9/TEBWW/0eweJuIKyL3lvYOJefjsCGUcmNZUBkdC2bw5Lwf0dvaAIzYRk9dnRjM9QcNLB3HqgHIS9j8swT0+52u9pJQFRN/eIBGzGZiZxvM3Yiz9qXO7IOkPXDaJDR/emynd8REl2Uh5J54C7FPNEbyOSNJjgvdgQR1WoOv8g/uoofDwa3lbp2F85Hlc4Ev+llHICqK5j71gPIiC5v4Az+Sw7VzjdlORN/lU/5veh1ziiEHPNTob/IrFrQQd+pgfRFKxZjZm+MPePzyOMsGoG5xdZVnRaeaPXUJ9T+Em4XMt+EgMk6bBVKMFNa1hBLwsQ7elZhQz0sCPIkirKW3pzcv6gy4GCFzjOMVMCAcnSTB9zsMP222DGkpPUbYgCgLQ7Dl2XfgCAHqnp7brQx20gUm48Nw8yViizvGr8o7wNyzZz5xWW62WuvUkru3rkgAqveM1BWhbG0SiHxD+6I+k8n7q7Nah61g3sKLphTC8qV6qeaRWsBP9yLb3d0a9CCYYssQxINkWYW22l2X8q5iySUogNHwE/M0sFLTPtrUsdbS3N89lRIX3/BEeIzTFIPdRECWi+9fa0k5AwRJbtY2jCO0ffRHWrrUs6iQrxkczsBS80W2uT9GK4vmVTqQKCGpZ4FSuQirrWuERihwuSFiZNBo/19EB/guIpV0jnr03XHlS8WdEmOUOSc/czijlKJv7GsTnHsO7MZCRbiMzh4aIqAh1vGrGtGeo01jY7hm0w1+IHm7b8VdpG7sJqKpmPu1tIZdQDuFvNsJho9kcOaQH3MU8cqB8/CRsfm0n+1XZOjp90Q3ld1VwVVcA+F33cJz8f5gr0f9dbF3hlF+zGLgO0QBbjy54SSkE9txUdafZ5HTXLNvKwkD0oaUc9Kxgh9gpci1Qpc3sPxSOYtUoiaBXqjHOWOFdUR3hoXlNcn9uVDK0I9z++zXk9E2dMdU5lpuhdqqMIaBIR5rF5d8Unwp24t43UakpUlL9EN4m5/MW/ZFiuhROPWmKOn/tVb/CL/BL3Uf5i/FrDuxIYrNZfZznJDOaAmelcRxbMXQ2uH/VM3IZLGh17RQN9NR3isTGNzVP06N5RgGuSwuwzNSDhgJLfzdYS8dYlUcW3Cfoot2QMTea5Nrefwqi2nrZZ0j1vYx4Vv39Ka2+338AyJvE07lvyufsfT6GtUCw6n235KIGasDpgK3V32d1buuPlgNNWyx+TUnbAdS82zPzsvE5GaJiu91DKeTDS4VdfXmXBRvPM0l6fr23Pd44C/TKWZg4FuT6j6aTGnwbI9w+IhLMwTsn/dtbRZBuQoOFES4kKMpcn65GZbLHJDFXwO36fdxBDjbXkpmRilKBuSaEJySQTUFjO9zogjVjSlW+3/bhtoV662qwM8WnfZVh16gzoxaFOpRE+oaYDbA8m8CS2nRlgKVwRSKhp2UcqcvhUUCwcfMHBWf/m/608pIRicN6ru46TPDbnrE5X7diusaFQXUCWY+fgkA1xAIFgNVbD5y/zS7nZZ8IVZ0JLc0bJdq0VB+m18JMEVmMQoQQjSUVFxJg0qoiumDjMZeSbxGLnvf3rCGuf/v09XgawcVBZMLj+saqkMG8Ng1p20o/nZUEGvwzdfFNeXo4GO09k+5FPIqDMImhljHMGIw8jJZBVpIt27NKGRH4KSVvsj1iN/2EBfNaUql7Ex9YLBAuqTF+72og0rBvFoFu8nO5rnrMthKkroX6CG5nTcIVqi9d/9HUav1+P0q/Tpk/0TZM4pinjrHOTjtWzYGdd8ZySgidRtSnslpFerRDx9tBKFeTd9uISYB4CnZhrSgGEAFaE2f5pf1BmqMgK7OXBreMTFSlTp762paYg+sYSW+/HB+3/Jz7FH02ezQoNkzZ/0zhpgcBiROhEWAn5Zr+8UQgvulnKMnjqYjpFneKt69tQkzk/J3ufDQ/1Gc6bLx4yvHeRt5bDzkOZHjazNEEfYqlJCz+BDorBS5PFr3q/kDNLsphzaTwQWC1f1egmvTUli9ZNh78d0xTNrYppxLhEF7wMXWRWdE3z14JFzMGyu8aUfKaBf+Y/nQynKxsuTqdtZWBGscB8ntCXWL1xs/b1uza9pE+2bySx+HylM1P0CflXEi4GgSWKgcjGTpXS7+4r+5m4AiDzsf9laAwxZnua4Pu5uhhJX+QgJHbxLrxPpG7kQ1rOPc7z/3RAOPR4uzZKgBXWl2SHQu/lVgpQgVzwXJGoZey9NlzdWDwAjEa8miNcupgrKxP+1nQhSlq7vLUu9pYM47EIjCROfjkD1eWmyqRDgGolFe4jyabiqR39V6ahT9ZCxKloopWCmuUptdmN0q4FNA3Nv8nim+W+5ecYZSLABmZM7n17mgrg1OEpFT3CBpUp/kefPvkmatvY6Ja8VXsw7o6fKDGqJ5T5FQD/PHfGdXofovtbaOt89EULiBBRhGQzvgvKFPJ6MJKrsDpRWmsQXDw1Ns+gmCRIJKqNhCUqZOFvCR6QK9/YJkjsNblt7EAlWMgJ/kYcT7USEQa6UTfQPDjGpnmafsg73CYeOUm2aGm0O9Qeqcx+Up/5/KmVAqHBtwbXSen1Rv51/w7gf8PJrZ2JnQDf8RbY/YaRVvvYIi23O26ASYHNHgCwNcmNXTp4SKEU8eVU5KmfLOC8AbGcS/O52Vj0s0+O5FNu9u45pAK/tbpbGSwPsytTvcA3Pp4721XSuMI/A5F/rXGw9eX/YzRQRaJcKu27MMCuLf42P8KfItJAaHWrG6uzTVSzY4oCnmDwwgnbXmfooND9jkqHP6pqIw0GY/nlk4Fk9oiUNGLBsY/CRetBz5b77h7PyzHfNo+XB4qcrc3Xv7Y1qNnP6hfZvDRmykq7SCsRgI7MkD72zKmksgqBTTUknvX/8E8vLIITuWLKAN9+hXehM4Izh696uK6PDVAsQR1ZHdRKhFitySI1AtR5BT8mX1VeBd/aWwlUObBQkrmfFpEEMjr8uGvwGy9R4Rc0ONXQjLBNMYReNjm9pO3xyNOY7ZoRY37xbmKt+931JNenjDJ3XP76Oms5mHH4WSofmLL1n/S+eAt1EpcB3itK/1nu0eu9+DjmWK0NgCsy84gs0d769+EiV+jZ25GL3WTA8ep/XaIQ5Mr1qFcRMCrnsiuACkhBdNSLJ38pNFr7FZGLCirKthMp7gyfQyWwctPfc0MCDlLq0tvjErTQyh/enKpycFr/zUQQ5HKa54K9PwJPqJFWMilhBjgw96eWh5/VqE4rNAFbxPbpfDm8CkxZjjlWDootfJM3G2iv3CY/t5uOU4RWilBNZ6KP4PioblcqXVzEqEYiH8gIfWd3H++iM3CtJ44YvjUBjJdxz3TAw+szXpHloD0ZivM8mqxiirgj9FnrWhQMaA99EkS5wyyuKUFUJMzpIJvc5TcYUY+A0Y+y8SYUUAaJkXWldToy1N4y2Junh5GkcM+znZIj4aypQAt+VSKmTWj5aS75JyzqDhzE2DNRAnjVcdsROUeZnp+juTQyJSKuQy6v6LAAWyDwiS5gqKrIhvVM2Xbypwuh8lOG6KGuovnK3sgipejcz2wh3hxqaxJeOfZao3LuwvuEdYXse8l+VeABBjmeL3mzDW6HSpkNfAfE64pOz6uEup0UVW4aFYyApzloBoz4sBS4F/18jzC7KgM91Nu8cjTPtbk4f1JOICbUHzD/CmG/cla35BmHr+UCMKAhbVsk1GFCAXdTT3MNKjkZPSiyKm6hO7eGaoqJDznWmNG6EjQJW7e1UKG5ciNkiFGDoRSHpitk4f6FYdhoIBmSrb0hbS4deVJSEeyaqH9gIHpf8wfeZ8NVGitlCQM38Ea4XAcpfFLr2XImQT/iQP0O0UEcRc1qXtMzOe5d0cc9qytwdm/dQ/CXtl5tGMPYzUYNra8wwcj2+mX4w5bxF9ts0D01lHlN5ao/2ZTHcNe+5C+e4+Ba5sJuWJ9Xk0TXA3YJvDRqdNCP4OOi5bciTr/Hx/CQBYE8dCREVtE05dPVAHyliFBLOSfl3+MWAqYx+eJT6TEyGD22tb6SDQuqesvgcxUTAv1Zq474AwrE72ayCgloVyohH5gASq1YCLkjM2af/MgkZm8AZMqTDL9wjPboYAEV+vhQI04Tvx9jBuTMf1B0PSIGb0n4oCE52DrVdNwLpxfwyEJD7U8L1HTD+zSz+vSU+dVVAOukyD37H2pwIV89N+mRGkIHXlC1AhNyFUd51zMws0PSkQaxksEQKYyWRs4A3t8JIXzCYo+uZuwI6SYQXt2U/B0ukWRQbIrOZvFYmP7DdDgEZGbEtZP7cUiE65I+28P+Vx4a/qR3BDACqiS9SEFMHJMePYgw0022CX7Ue8Man3ZjfjO5GSDeCAdsG0/a/W7X3tSxl1C57RLIugLF7YWRatCcKiZfZyEzt1Of8pdIraTz4ljFUX37dvYRLOsUCXjWSIIr3cNchtLqzkU/jSCOA8ZYqku6FPv/ACALwUcwQRe+UnO/Wd9uH4vCxWVTy03bm9Sl99x7tgkvcV/VMMNwHRRo3SaIk0vxyKMNSS4hLB8Ox1iAaxIQfduOsZCfora68nZYNJSflsIfd/mI4JcmPn5eHoDzhyB3acDPOd8lLMwFMlYJehCrhJ9NOiVbHaeHQE1HE74f7iqxUeXss22brPB/0TzA2hIm7R6Dtw6wROrPRkmZd5zg4ea96LUi/RQI526O+/92xMDMNXHZGuVrKXUX8tvjUGoO8grsAKiId5QzCJVdXK3ZHAuS7gviJ/3WWJedWV/aqfl3V7hrZoXHyH+MeSN/jPLikOyJjS/P1VTtynuifOtq8ZO3vOVj/aR5A7nkbpiQxfR009kIEw20HbuXUCget3KAHQIvmMBS6CYeuacA2aFhCZvbOf0YUIMqxLSnYxShhqDLRPvsl2KAHCfgSQokObHPKLciGMc3s4EsSNYjPtA8TQ8ChWlOxKuJwJS1k4+FfVX1eOlIdxAUKo+ET2AeEn1RNBjNKbJBQe3ZN9oOAaPEIoxL1AR4pZO/wXTKD6iQbyUVoXJUDyaF9g73MMk7XhRGN5axuaRz8xG0Ijz2/A3xp4GvnVqzfd7fLwcaG5SEJEXMh5dSiRfLZTdWsCjV8sK6XKPxw1iB3Nmi3ryvdFoyZfVR5GWuZAMCYsG0RL684B3ADYoEB8V7hdQDtDEtVUcU14XycxNmyf+z3VVHc1H2W1ho5yHDNemfdJBFrr7q8AgUk9jkd/QYEp01815Td0jisqSQXG+kltkhEtV2+l3JXZpNsADhen0TK3vbHa2ggamSkDv031C6D+rgGWSXHV3vhz5mGMzonTo03XNfp/sL/QPjVhDhfnGnwP9YxVW/lYPF5hy7rqjnjVdljLktmwuVxHiqywAgyZZhNADf9KMvvZ02faObNDL4wcTZ2Bqb/Hlf0qPYhcWDGEEBLSUQmuBU9PnUOGZP/DExXD6k8HqxwGW+n9IAtqpe3X06TUCXrNzx8CaSVzIpELwlBOeERbZWCjg12yA48qKID5Pw6t2h48cdUz+DSUHPDVcByNt67F5nGGGcrs39boBQFJv5dscBRzTt0bq2caSnKcc7GNS26uP8qKR4Q8Hoizz8OS4TNco4oLVpqECJ7Ry9Ok4RcjDaNNLIc5SdgvDmKKFQ3mJ0e6RaWIRw8fPSwR7YxqJjwKSeD9z+P2qVJlb1HDEIKPK8V1QW8bwUXUw/VE2P4rwwS3k7uex3qLPX0BisPlYwFvMxvEcSG7/523kI3LPgjrNTGkKZztB29WGnoRmIuN+IDf00SajsH6sOsU77eE8noZBkLDCjJMj2c89KBo6YrfFE3Xvk+r4bpHO6HYU82l2EoqMw2yvfn8yWkgOfIP9CmS2wA65QEc2kuiYhvkyGbuZ6pJlplY0dNXfo4EO+nxVhwAOlsP2cxcvWsW08EioLANNL/uGqKTBWYVNYdXVlqonzsIvpLbqAAMF0zvrFrtscZ0EQPuvmYaC1ngqcCPG//7wwZaZyy2qLxka2CSlQnPDRfzIwu5yHFwJC0MCAlhOJVaNIVVGmlbwqjEzNz2qPrkc8dqAf64vNYkPUeSTOYWFx/VRKK357Jy1PlCFMsfbQOVbAR6jHtHMQIXDEuVUJKuqgKhvPaZpms0OAHzkQOLW3VK3jkSlp40H6juPx2mNwKDrkq5VOZGFE8GH0Em/cCYNySOw/oDm6eQjVnbIbBJYbV2Cum79v9xs4NbAXZdKIXpcGV2EpicnAhLz/togCQKFVSQ/Vaz/UgemEKRKPaTzguo7qrQP+3Tn+03TKQyD8I6Sp8pe32ufqnxR1JRJjffc0itLKnVyE4/DKx/WB8+MCmn8gQhmOckehh6pay/AmedNhNMsmS+Ck9Obakg+3bi2+Y1DhBwlc62YaV+nIREv2TQCiBgokR0E20CtE2VX+nt6FApbUg7ofSH/xFcPqKh+kxGrmowKyoojMq46Y8l6rpG0zippQEnhEoa9/NjXw0q1+PSkJT9mJo40jzIc1Uv1IBw18ciUgiINRDHnfUZ33rYGR1Zg4y1PWzB3/uVzxqxm/kI3GfwKxrVMx1eP2c1BDOSt44D4eSg+tgbBfEL60sF1x0mxsxDgRBvio8BwbbA1LYDm3clJZmC6iYaXskQnPKF8/UGDz6yjx1HwUE9rZv1E3bk8Dknd8b+aQzb3RulzWbnxkn3oV4EPpBmSxdVNO53LcHZaoZncGGQhw96e6r4q4Xgj114vvdDhTCU6VjJHIwtAqjGZi6whvZ4vqCYbWfgsPdpBgm/HFT7AGraW+DfZZJppZXZrhxkvCsOJcOkelPFOs9YvaDuNM2efsPE85Rxf7LeUOTQuEY66jUJNkSSV5dPqVIKG/YwGA8nXBfboquH6znzjPeWc0iz5egNEpyLSxiEhRAndlXboMFct3Lg5RHJeVPsWN2e21uDY58JNzQiQ0MV9N8L5JgjY/990NRyIbxrU+RASrZcIwbuqONQ69/miZqQYAban6Gjy//tk6EKKC++R1A0Oxl4g7onminj3E/2KHBtYJVu4G1dPI8NLvN14GNsWuSHn9FnLzfToz8DV7Tt37/SZxR0KmhE14Zoz3IQsh3GoXnxCdC0dNuSCeGp/0G+1wJdw6TRpBP9HYGwAMweXPNIoQJSVk9zKUTbvJTKWOffwsOE+CC3gdLrDupu5Qfx+1tVSJQf7UYw9tJJjgcES4hUixOdz8/mitvqWLG0NTQbObZbSoGilVvqrtT+BDG8bGVTgfHpHOsReakACSDTeFIt17lSxlAG8/EMz4fbPmKWwQq1xTpd7zh+GWOHVrwsOojfnIO9t00GkiszVManmljoqogS33ee7SWaXFhVAqTM1ZxsViV3lEiF44PAm3HbGFUMgv7DzdcqLa35QTfft05AcIaN0OrZEg1ZgavtInnch0JeuOAmeDppCqBMMjhdCQq4h9i+N2GOJa+TqSeDz4fgujE46ZKOmA4TPnCUuQf4GEK1QUc2svnbS/8QQQRe/fz/DsCCtZgZ9oSirI/F/W1WZ0FdS9LXehWUVnGKaR4Qn5s05+uRSbZQ9V4gNMmbs8BRenC1zAS28yZWUq+Esze/Fx1MU7W9zAs80RLy2EHfWOZE4O+8j8mYNzlrFt1Wi4T/WMfQbK086Lzo2BAF5BPvm9ZqRJZ6lKx9//aQkmWqreSDXq1EXUACvKIPS9JyoBqnX6MBdR7OAJOdPLhsI8oQSqo+Cw7PQf6LKQdpPn56NFBjBD+Gze7jumhmL7IowFvWUM24nAJ+ZGNB/IXi90easBlHqhRqvTEQIDrOnWgqFdiabLnbmreOYSxhXkEwWFyliGVUYuI5q3iq6QVfex6VRkOZCU4kaWN15wDZNi4TV8Im7PjDkdZagU2/sE1IZh/olP4epAmAigGtf88JKZM25AUDaPZogVo1gJ275lOfY/m2CcsgPFv5Qdy641jcAzBXiMWl9HRPVVjxNg1FLGFJFqBJLWa6GGzv78DY1ZI9nvEJNg8u4q++EFjlucTFu/jBgaH07w8nHigS4IdAzybRWa2vIIcnLJ9RYPzIXh5VhSKAjzbh4xikkyrkSR9wAiySAzpjVhhArPyeB/IUqpx5sU3vmp5B49ij+xoQG+IiTs3AM2uQaobvbna2W11jNHM9uEsqWNxT7BYmNY11Qxi97VYFMbFrHjOM+U7mrr7Srp3GTJVlJpl2WYN8GZBkfe2V6j118hHKWAb/VOgzmIwOLX8HDrkp9+DMCOzXQhGi7wGLbWOVpaLd9ktC5Bvfp/g7TyEC4Qio1VPrlSRL4AoiTL/2Gl/LuqE8x2omUCrZ+XsWZ20qtUYNIKX1mGZz16ukw0UNvKBNhPNdbYZB3b+HPvM/sm7r+2Wtd3I4W1+/fTIuC2UKw8qbeTYjA0djUrfp8yUrZm+4E1ohIiuGZXA90jOOWgZqZUzVZdsfmHlegzAbFMgtZ4EFzroP1c93pTcQzFmVFSEmO2mrfi6hC01xUkWvLdi0W4zISHhfzjxRlDHEZb/VpaJhGuqiCYJqaBbTyVGkaAhhKSFE64SAWXBWcfeJzerh1Fl5lTU0r80O5NQSwzERc7ygndlKfUX+KZZntBOUyiDlGOHp5jofShtXh6Xvh2Z9nfXjNcA+EDmvYcLgE6Dny2CIVUSRz2Ppd+tOCRQJcbf93YLfy/axLn1/uJlfJydxEWsPGd95aRK/uhjK3335eujRebIYM28UdZvY6lbf7mCa0uFiMrKR05f+vz01o64Iu9S+FQAyER+l8eUpa5HAbl8pfUSXVBRxfs29yhgN1wOOTlyeuXxpCoMHORJm6Y+Oiy7m5JAMsZozMm5YwntdqwM0ItrJl+gGPzIbNgN9TTDyxKmu3MH3SLH6zzQEHk3L0Z9oN/xxBMd3HoDeYFpgWrL3dOQjcD2t4GpNrYOOFjZ9QcNklc1ikbL8e3reyke+CyWkaBlNPWWglfz40S4JgN+yBon/z21p0svVpzs1pb2XM3thPBn0bCHNUK6auaJG7SLueTIQ5vrag3QvA0wLUVooKXoXKkdDdrF48kkW1nIqoAxyUzm45CZr3xBERonE3CkIBcAiFV2j66L1NpNE8cIPLC2v4QndAqPowwEUE/3sx/xj4DV51pGHBj/To1jrMwfwqIOImx4z5hRA050x3y8sMq6yxsaqsZO5/3PT+Z8wRdgdN+/9CWn+UaSw6Lp+UviU0Go5ogPN2DVd94ZFwq7ivekRfBDzeqwx9gJ8TB78kRtiVxz+LY7rQlF/rlGbuFJyAIh11uEl1rUipt68F9ndj0++qNoXc9B6CnQs1vMp27151dDw81UmSGKCPOf52jNbDA8QQtqfP2TGYh5/nFpXeJNiiQb0AF4W0wf+xsCrUx6WxSQCtFkf2sv8lSoXRKiLsVUr/LPzS63eO+/2jHZI3FwYStYnstRvXL+es2MNGQPM09JP1LgnofTvtRnroyaJvUKh0yyRFbWorkpqK8wJ8yVx9ZXewxEgRC0L5KISbQvz8Wn1R8MGt5Yz6ZwfvkV2lhzDNy/rthMnMKUfgUPjpJia7YZbB5cYFThvnHx60/s28uiYYUIz5sSQ5oI7KvCxLcrQ4vackO/mHMGHnQc/1rkGoK+RlNR+xJ8K1jMvPSqcGqaMX8ELSwM10RdFPS/UfJjjf0diZXpGwdFkbZneCyzvtyQ1fb3UYF4tNzgtK4RwOS2+1pJjty8EeMAxvXzVNyVba6HS7nlYclcIhs2Fh3I2gTAfVwux0SXLkmS/x9sZhHEOfyP70SwVa7e1RtY/Mh6XZBp716WXyQFklV1h0/PDBZlA7xcNazk6Gch2OFT5UjmoDf+enFX4Up3y2faHOSmxX3o1+dpyGx/YCWKqFuE3baZh/tNHFopt/ckukwXkefIs5Ff9bItQesFrkajIhEOeM+I6xM6z2Egc5BMDtjFmWZxQ8tx/GSonLk/ulf1DOu8ewShRDeXHld6HC/CfOXMUTzIvGjMO4wIo9K8QEcdYZmV/6QCtNI/0EsPbLN9GRrKe3/9HNStLSw3szN8LxS2g1rTarV1Y5ioA5s9nB+w6faCpOnGB1Zx8P/ntI4PcIQbRdQIReNjrAWV3Pk0wu7mdkHFUUocSuhYYzuwUglUQgj4cF1MAxlPiSuFmR+JwJdneS/oErFZvrBqExGJqtCqmLfcm4kg0X5luInVa2+ReOT8ozG4sD3dLJwrOonu4vZpI8RYvQEAM18j4C8IYpuO1JpVi+eLCIGJ+MOVhnhT/8R++NcCbDmxoJN70t3Ea5b5tvkaxp5GysdzOZqp/CP6kFwNkhtTBUxlQbrEKhAXYWJ0+p9hbIwACz6onxdDgYCyxInAjcObccxHD1/EurcdVdrQrGumtRWqEmvxmPvm1mfUzRAklJp94NhLwVMDF8/Gh7CTVV8LxATG7orAYlNl1iWhQMqAxLGygOKHPXfcbqd1Myv4bhCKTxPHclTB67n9YrCSwf7E6oAybfK6mU9lWfnaYr5sjd4rfcSsh0DSRYvYjh4QS2t9J1V/BFdKePjCvkPZTGx8iQ2seqXjjOdhHXoOmTcv9s4PdfGCrl1gHk6Yg1RgMY4MfUKZf+BIKJwzLHeAAKu3GFP2qixlMusO5gUkMptHMSVx2fG32lDC5mi53rSQO5aSml/9KkPiwy9ExuvYdVKEt1RUd1mdSSpEAgNpFzsxdLOJ51WgPCwMLN/gviZNympWNR0OjKbieRUsLvrIuE3o457sF72AYnEIYAmK9MZuszV44eKI+HkYDUCQu4c26WCC/+0H9MsY8ZEf2rSTZg++BV+03PVbDotRCyYeTOQpEToGPbYbnCqPM2nj33H7VYxSSVzPBWW4t+6qJDWJq6UIZASqKmx+Ew9t3mbPy3dCgXUI6rwUK0YsUlPLvCR7ynQpioEpMlGjPjy+UZqbBatehN6D9cID0cKO3VZ43k9ID67zOKrblU7JSHMkh9SpFl6Z0eGo9N0N+eH+jDkm3xZJkEjZZp9Znh7I1ZU7FyCDi8VZztIdkD0lfyGbfvbU/UL7KvS5CdoWlBMTXHJJrXdGpJof4x/T5P9hesdWo40zXHqpRcVYpei+5MU1UnSje6J/Zx7PbS0EaKL4/ENPCEGUuUyBA1ZcTWFICDR2wt4bDY8RFvW/uSdMgdqfep3mp+SMpJToG+EYkYweuGInZgDnDUe6zrNQgktjRZIK908xDlfXpu+EGQCSQoyFDHvlfvTmTe9wD5aaC13Lc1q2j6bMQ76/bSvsjFGzaZKhpHTcvNed0T5q1DJI0k+Ke4rYM5n4HLWTAHtsRSAI6GECk1XOOgvnwesoGuHfA6NqClHL/P0FIgr+aEATNAlJd4Ro7r5vfzkULky7VvS9rdehpwD+9qtMEdILIcAKYw0nnl98WWZGdOYsV4TjEaAjz6p7yeH5wVXealB0+pJ1nEAH+tgCbWrLeYYUC4PLcnFrTR8C1/DMBJjSBFUIzvgn54U3NuBnFZZ8RqwW3d1xXpvkygUn11UBPDRtnecmKe4ueo8yMwW0r0TbZiqXGIuFMUoKCqFGRNdWYGHhkqrYhUfzLsIJtB3Iz19LCVyKyFgIQsv8T2MX703ICuUrhKa2DFGuoqCNZY8pu8X/qAS4Sea0wb6sZg8Mi4DQN9b9ocpWIJA0ya+3x7upgjoOMZGAM6pja+mdBM0g1QoQODxiDM3knQokYYGpH+IxvjV2KC4BjXnnDG71isrIAg7fxrYYbSf0n+2rFBuOhlFyyujMAm4kWCF0fiP19TnIK2O/aBAlAJ/H3vqaLZqnX6PmBISxHv6gSuqO0FvVcRwn7Cu3A1ydjtxpCoS1/sXWo4Cs46Wh8vJcyZ/89LWa1t93i9ggG1oaN/PjMKlNQ3UkXkarnfXcGe+8sUIYD9TRED0blgQLhoeOEug2ezvthp27+8vaulhRmeKw0YEiq3LfcceNYIy4D7fYhpOjw6xoCcYHZHdo3XlJRPIxKP+8RK/kUOZDK1oXPvFYmTGV81Ogy8ssOkA/PjHYanBdFMEFzP8ltEIWZ3uDObtb1/x3QJEUTfzhsAu8eNlqICBb1ln01V7juQ9y1sF0I+Um2XMdUubN9fFQkKTw7tJhCi/pwSiDtnLQsiejxIYz4Q+DBytMoOoP9Vc1LnqtR1MDbfLfZQdAollM3QTopdbyOP+cH8+iKByiDxzm7toCSfgm+IJvBZnIxsRqkj+ekEbUzPsyREin9l+9kzQV7409j4VpaX16BtAX/WDzB/BUFvmAE2omu3goXvRor9ctzMJ30Isbn5NcEAIqwgtcSNdzWEqBsOP0S4SJxZI5K0ln5KrPRz6GZpJ0HVGJa9LkV16+QucaKPkeFDddanMQFFZOrs/O4HJfuP7FdZ3ZBReNWNH05+mEZYSrG7QcbNrxezh4bJboDpSj2/YA79z2Vo9cZbPMeyiUn8XvQD6pZneCrwbRQDmjLSpyVcSPbQ+PHmx6qI2Rk47VyxJ8YdeZAbF3cr62q7WlMSu+utfhuhCzprmYXmvb3wxJfA2Fd1+PDmOPnL1Ej+JitPGx0a4qokPWzXtI1IBNBQs2d32KT9RGOoA9UtSWtj0srBviZNGiRwyKUF4tuRnhqgCYJ5JH7SZVoUkYJHMG1CNNfI/PvwHmIgXGUIX9Q9xSQsJVOiRrUPFpGlA6jR0iOrMqfxdbWHNLS1GJXbxzxk4/vOE6f7U3rM0gjzZfaC0sKEXx5DlP43UGGZw1nK32YCbPA9S0CXGP2Ax9y+yBPFCgwjl++5EZQrOXsbquf5TvvMfHHPyr5AAdE5llmFHe964CjCj/tT2YHR2b2DmZ/pdr+sBe2HeqCzC18jiuMBEKV/qsu29QFF1T3xQ0V1m35qRWyau6iy6AjxWiIswEqO2PZqWcrPc91Lv7V8JWFEH83u5g9+cZEGycNcQHgYAOyWwQv0dHGWrnbqXxv8xVeQhw5pk0eIKidq0VjEvzaVEXYVtaESJBO6j2Wl8/LF1syKSVM2tuuoxKQcJ4ENbTlA0VDT9gPq0WGiMfnjqcWFIrFMKw3GgC+zh+2wJS3CJggGJX+v9G2zuGdqag0iq6IuPsRJhwOmdmsBSdRcPOT6dMKAxM1FzLsd352tnqlvP3GITEfEnOrlVs3c7Ly8Ca0wPg0wyojm9nn5GeZuHSR04c4rThm9oFuSgBtyqRDyagIKaCoxZq0CDkRMsKYZIaZKwBIpP6xaU288w5Mhqht5s836a0klQGlJ9zroS4r3cdOVHSaNBWXrHQGYE2IlDixFB2AbISnC4FZZmfZAQu9/4RvIA2NpsswJMxoqAlnu5LFDQznmR5nuqfG80SZI8lHDrRmJpHeMG3rSI57DHUxIZEm10HQVho8AhlJkoEa1pe9ocajb9Eb4xxOGZ2W6OCE6xlSmXuVqdwMZuAYQ3HXgnFJHuC2w8UCUuumTFT+DM8ePm9lqLLX4NQo5jYEGFvw2ROFrcP5Rb9s9JgMWByF36taMpY0myoMkkmbQ2euc08TLdDoMD3ssMCFEqxakOwBCZKMqUWJ1NoRF13BsBXaotTrZCQ/O90p9G3iokgh7uNX0oZeRb58r1DpoB5Lin/PxlAFtIeqIej/vAW0P+1UjxF/+xz6fKcpzF/UAaE75G4usXdT6PRiwizWOg43pF/tYwJz+N/U6nxD7fSknyuTg/QtxAY5J04OvAO314ZTJpad0dn6/8PLeRJqp+Bwdw6EX3ImtiRxZQOtzMreQgcwRkm8nzVuUKB1PukBaCo4ZAyukQsKRpqYCBy6wU6dEtDWx7w26vdvfzgB/dEPS+dyZkAZaZ8nN8fzCR2KufyEY+1GAyeeaSfiN/3vD8g9LrOc0BDKcpWAn0b9FAX1IQ0/9yriROi7mhiP7ZDOjdhexHt95GV/Pt31Ni6GY7MmienZeNGu7WyikGWiJGyVVMXA9ptawSI5giq5QqGK4QG9K70zrqIrSWljmp6gd/wpVTWsH3BeAOtgWQHFi/A49iJTnjSSn3Y5pLIB8aaGMIKgiCrXtOpqqawBixGQ+b1wYYanfBn+2u0WfnfrwlDSm46ZHkTJD9/BvPejUAZuReBklyXcNVMfqpgOM9l+/svioW5u6f1ToRbQHHeeT9CPI6sjxw0gTvmvw1c7puWdoq8w0+LlmX7pBr122LgrDX4dEQtUc9qrP+PQDOahgJYW8AggGaim+gbih8NM3ymSQ8AUtpLXBeIYeCf0KCNVCLFh2GWiOaFdtr1Unf5FKMYpqWZPZAsm68w+FqdMT/akLmEB5bHF+/fojszsVZIEQVmRjRJhabJnXIbsfY65fW0zyZRtQcxrCXm4AdvJuGe5nuWVEPaRnQ493tm7RDZrnMlEgeRLCPMlI563l9pXa1TQ/7pmTtERHyrYqCs26b9nmZSQWWeJXB4yTR6nTznTzGEgyOEOYFkxrF1s/p7KckVeDodz59JyIaQKJ7kNXm3wt6LNGLgqRznZYfWC/iMlP6k8aGBgd6epP1kqy5U2sVjgX3Gn7fdc5Z7jSz0OEFMdlcPzZ3NhLC7WJLHQlIQmpBiTb2FxzFmJoloUyhcQqF02rg/l0vsIYprJi31YcSVcR6FEKdezQPM/9t8UtyXRLZCBRlX31FQgWC6wQhfeb06Bf1xZASWgekCAdaXH/iQ/hT4FdqGmaH9mXBEkZKVaGrCMZGpy53EjwBMHzGvIQCcncQWDpv3F4MeW9CUd+q96CmPi8I0ULOhTR1HZhwRyyr77sves/xH/3LMoRju1xo1MSLvbM+VYgwjsmkVLaK/mNkw6tyM+JP/nOA861qX9xtng7FY31K1Fwn//u2FE7II8uXryAfdUP0iIJ0gl5TlMlSKUvDN/LB4csM/ulAqXsIl+nwYORel2AbGGpwk5qYPJGKRY0Ps0rsZAvQF3b6j9jNPYVzr1pBjfUIR/0XqncRz6L2uOxVM9Otkixe3LDAeZSKmE8UHANOZvnpyZSQnpcbes33d/ZKfdxybFemRbQBT8crga6b/s2xsiSmCIQJRTA4zWLrwFHbhpZh64vN1U6h0EDhDuxPZc7t+7/jSmnKjQ4BFZaYmQwMUC9zNjQpFv8qpX36b4eEOCIk5R7hwkHZmzgqYYy6/6XCr1cLEP26iBlfpekOuqGl7mEYM5UGOvXdYpL+QvfJUjQ03S+71E3CyioRrYTT27QozD1GM3oR1M8ObO2VRmUGXvvSHJI4q7DAPYZBaPVOHIRhWzXnqPFo1WWF9zLNyMd8vSeDdYACMis7Az//EOiYDdF+dQO9Mo632VO1sksscTPAXat/bvKnasJWBzLVrcefhCPnx2svE0fu/uHuzBBFk4mFAYeFAOGwecyYLHMP4debsF56KQIblNE4q3ftpYG1qGyWRL3m0cA0r4/6JY8nwUVzsUAwQCje8pY327mz6/kAGk44cAkfoGktSi2/0K8LclD6mhpNt5mjYthov5TIeKahbwVh4IQlBjdcU6PFYjhkbNFZO3E4SkSyuigbjoFx6Si7+8eiTLIRKApJnevOrl92EoLNPaGobF4I51k8ilgkKoriuTZUgl6fmHW9xuaYlhfjL2aLyMNGcBnNLgA53c5F8TiqvXanns7apXgp1XCZ2D+VJqcHX9MtfXawxEcC9CeC9JgB12K/X6fiEFxWdaixi/d8mMosMSDPe9J7kP1Hk84d+Mxj4+BR2fFho1FBt3LS7JZoew7eUsb5ilVnvE0r0rpvIhpm2qvp6uoBo8rmefMxQqO0XsGaTnWcJZ6OCEeHezjeLC7Npezc8MApGHjqEvgFCOiM7HSN60kmAto9XE/HW9QSbeL8hC7hrT5/PjOOZTHX4cEx2anY0U2BjPSjWJT90h05aiGW5xmG5ZS5w141gHveKAdPKCU4k7Y+AfHbQeqZGvKTh+27+K4qnhWzmc7oOt3bdREfbhIbNpGdurJ7LQmRbs53FnG4rzkSJf4mpFam0JMeQ29iDIPfVN2fKe2ftF5RQOYyZwHoi/qY5SZXoJMOmnDqfkZ7lTh3FiTwdqjoy8njZQoodXsQqFty84zBjD6f37Q97htc2dIb6kEt6iu8KhmpLjUS+hrXw0hxZwllhzk0nqd42DXSHuJZlzS8ixM/EBzfysJ/qaQD5m7/2g5KDKzwBFtkpZhCnWY7BvpU5XXcg/iwGY8VPNWqNSx/eHmmhac2uaEtljQtNpe6c+MMrodBuGO62IjrCxjfOMeBqc4gh7krQMNuPtkczf4tzJSsLEA8oLyOK4NSjJI6GMjgW2UQ2Mc1jfAHCyjdsvGL25RPJj+I5DUh3Czr3nGy9llX7Jy8RPcthyc7HoaBHejQQD9PtsU2krlcMqDWARTW+ZMHhhARpz0rZxNe5Ep8ub5rx9A8oTcZ6u4RlIY+83tIkQSgOTMMNZJJyZvGHBY8/2mPSefwmmzwTJDjADYCEpekJNHj5o47IFoYByqN7QxUn2y2Faf0StQhk7sJmO4GnsMAXmEQZWnwkfx5zYBK7/gQFHaF/Vpcj3ZRD3MvXzXDdQsz5LIF7nVgwyIPxad28/PuBQkRDkS1teklqFacHsKYUoaYT0qTUN548VlvzJYXUjTxoL3XtZE2O5c69j5zVE2qAM/3IouUKZt1jk1VLTYIUsUBTFT1fdU4zfeZPeWIwOVmFmF9f0A7MVkAtwEy9WqDdRBwlD66wmMPEBXI2H3Wa+9/cVsEtwopAfebR265BVPx480byDg8nQnL3zH83HiBYt80hqrLCTfZh4bpESHUHGCEJd7V8cuINUCEMaliydNcHMuM/6OiIYbF1uejd27Ss5G3eO26JBFamSQSF4YwLmeXPxblk2bRQezwsNeceXWp0vqsOV3uA9m3j892c0H0aPQDws3rt8vyksaMfGlWidGgYlV1Z92MM09TDGubGCajjAxnZet6AjYdu8ABlz9njF1rj7MZ1tIlEeNa0v7CBOJWeJFzEkRu/FCChtlgTtzJVUhcWWra0CvmZZyKzf+2KWUFgvUTfMXvfbiV4s1EtCNZwfyXEj/hKs/Ik2fqKrQzq4sFfrF6UFDm/pRGKXPkZE6FnRN+KbzzXp/wr1vDt7MwqFbCAXNAijjkGkPAELyZEywuH1cYluMjxDGgSC9MRUIGDeI0T12brBgrvHUUnyg6XEclKhgVyCa+CtLRA6xjz2kwVzdtTMkjA+Bgh1bKvwayxr1rnJl19Qm/8iFTP47rZTpy7Wda4IUn1U4pUX1xtjqd9jgm8Pwkqpgbr10xiAsK3xx53q+dhwNTrqJohIF2vAgMcuulirBCuzckgitZQy2EcEO3BE+dh6fIFmHwUWHj57EHGRX7ZLP0HrOeBahpjbKFiSPfwmlFu+evFnnRXYWs9wwWxQuIXyM2z0sUrNSuEWfK9MovKhvhynrThxl8Hyf6pADupVfSvzkhr5pA/7p5J5cRsR5O1kC4bXbk+y0LnQo7XrKQvhs70kjgecE9d4cc8JVytYqy79Q/aiohGYO8xIbTcyB4kz3l4lsV2QAV7Q8WQR3BDwzyCZqhaRjgg+5WE1ikF0GT+A0cbq7DoM9nUxaFWkaCkuonfbSZa8/vFpKsbiAC1QDgdqAKAgKDmb4m2j3wMoP6qQPS+2BvCk9cZPL8B6XcI8bUsN+NuyQnc5sMssmAGegzdBYW1/D0wMtV08o3ajhIZ7x8W1RluglC9cVYL7TA5CZjeK4dvTZIXI/mmNo4qMYIgPcicvXmDtfVYq48TorbioesVOz9tZgC7yiuZZsnVK/sTlELht1th+zOmtIHJA03OvlW/Q9XCDo/V7YIM4cnANKu7PL1Bh7Z3lHWmAyNyoQ2zVmOHjMtlSiiGrQbZ/2u41kvbOTkCcr8rYuv92Kndgosvx/E95fcUTRU5sei4A/Sz4D58DleHTbNy67aeroEiqXNXqND0vFzxiEUd/PbyCWi+S/Qty1m+x0nLuX6l42I+DrD9Bs5BRYDwWwffaKPJvQDdVYzgNX6+YgssrjhopCRfrZ1KeHy3bdQi9a5AlfRkrBw3BSlAaw8ynzX8EVEtvvCxp23s+2SIlPypgFaGhn3MGQHs4AevM7L6BH74Cd1U9Ol5+Y61VfyYM+sH4CiD92WylquWDqfSJHt2aBM8Us0oHgoMPoWu7Wz/99P3m+8UQRqeYmQK5WWsIkdR0sxuRmtGsuPGcZB7GAXrPHrvmh5Jmqy7ww/bkLSAKxlOO8VHg2WDvKcvGi2FF0ijexVeALZOLLAHpBL382mNyYp207+hVlEWXXOMHjR6DDUDSpxTsBsbMMVxWFaxBM1fLuqdGPA0yma4acNzdy3XkA+rtAU5OWtt7aJddLHmEfrYRcGxctYVvCuDsvjr34uNKofonTCEuE/+pd7gv3dNl0zj7eNgMjjPSBTE6Pa+6OZ2fUi96Dpgj5haJkD/4aUTveFGPiwq3vitMTKJOYzvb7AluQwyNL3YWN0fpwwDKoWbZ5oKEln2BNJfoylBViSdFi8lAgKlXVLEW7jOl9tlCrVLJi54V2tuTM7UsDpgXafGjGsctTKbvDDC2ORa+dS66zg5sMsk/wnzEwcd5nPZOiQ6pT2LB7wgGCufRX+th0f+6IPEGUUr75ae9mXblt7se/N3xjevs5XrUWycdEFSlWyrb+Bt1he+W6+4E6mJn7xdQunBXcMelpr3Nf1QD+XJQ5NDnDm6EDjH86NniCpHOlZria8+CzJheJ71wW1BboTWcsZIEFQ3hmhNhc8+lWjLaROVPbyjL3GjvUjcxvyeeUR+QW21RjQdhkuhX4Xj4rGcdv8XGQc0ZvPC9F72tcq/zlzCK207eDUXZBBCM9Bqi4/pcZCRRx+emGdSO4ayzPjgoEaZLSEdP7wO7lZH1r9cXtC5okohP1Jyo0RA0HVfEwIJwHhLvf03gKymbYI8nChN10qDMIUI4fw8C22xdyquVZ7cV9GPWvXo21uS0h0xPzZ0/OeeDqKZCqTaBmdep6MvoyQDyQ8r1H74u+4MYXa6qbMTThI7ADZG5ZxIISrRi/hmFHWD3SlgEcHtXJ9G9cQt0zEulNTjulA2PZ7g3LifMfeaAJU9iYeq+cxXyDOHqg7wb5oi6E6W5U/4qd9B6b1T5/qm/Pkp73ZCxFoYTf618iXv1lM9P5WJPJ7mmN5if01MT/Dp+Gb256LwBuCvgs2iGBuKyu3/Hz22niO0+7LUXO1x3llVgSw/L7Lp8XQls+hamiNVqKweDUacYuIVetBbZzYYdBbfwztT9jyPXGhnysq79ClYAcBcBzg/3RM0rr/yg4mcGIbTRg0cNpyUkDnK2PSIcw15JeGUvGJNcDBGZuqU9dTEAhu7aJENRg12PH/eS6x805DZI1IUI/dRFJ1OALyOpFYBo7FMq3C7Hdz/wW2MW9WKmrrSirpfXc4u4n7VBHi29h48cXljp7pwQFFEZUjAmDjBZhBXXP3inQo9jtCULcjGDL7biRvnm1BtdzrBOJx2iGMzHogeLDVdVPTd2sc8Gkl1R/6I1kkwnrZfaaW+HhVlwxmQ/sfZDLJQieUW/CTpc5SlqQ4GuVOD0FMHp4nRj/sYPaaTGZgl8Dls0bRI+72D+Jw2LWCqYQsHXTNjVTh6Jvabh7dIf5Lk4Gd25GGO1/yxLSIerevTStiAdeF0ppEJg5xgOaADk+3e2C/ceMNAhyK9YVUg5OO7zTHvb/zesTjh+uJzmfJzG27hhuUvePoZeiUB/9duiTjzYyx1MvDtGD31xjqIwNRJ2nqRDslFp5y3XmXyRt+b/qOcIOBN6XNiauP9DbCR4tP7V+wMcqwr2XgzIH4+OGg1TzASOlMY8f1JQ+7+OU3HZa0eg71Fvk9t/EmKqRXhb2bbudTgQx50BT1mhkTTCx9ejLLq+hHy0YkYrY++1iYB8wpQBuDwQT42vy292+ZdJ4LmflfKIaCgAEK6h8xTdVm/p9j+rNvSleuoFGSRV7wXVtXly10rfwLa/qZjaEpRnXTIXn+OY6CsW5Ri2CN0hciw356XW7hr+dzPG+7suK/xjMpmMbBvdMR0rRg0B7qWgvQ34cPNm2yrlbcosWKt0JWsdcYFTngR5lYVICu92iwJhsCgMU3ZEDiDTNNuOP8NMZcdO9Zw3WZGfMAOeR6IoS2WqHThPOFx9IOojUnhUrQZHSDKYM/FXuGQCbthBxcxYCCC1Ry+alI8ez1OX0TP6FJ3o040plMzv4TucJXAExgAfC7FdSgVWYuMeYXWD851wsZD/93LE345JXfEd+TV+9fItZHr01Ch6nI74WzJVAGc02bNzMV6rkWOXqwoxz7MIuhloYMZOA+WynwffY8Tw/sOTno79qgP8DNRnb4c/5VqS/6eezdECQ3Ir9lvO5d8dGgEOQTQmuN0iQU16Y00FSRDa5hAtIvjKSPNd6v7g9kIWhCczpdRXs2XVg+G3ekhqKZaY61E8dUp5rJIeMAOahG94ZCUJM6t0P3ZLoINDeuLq9HkPU+PnGlaj638tKe4/7Bmmja6kC8TBTkdhvpl/4lOnkBOPd5Jbuq0BC5iSyCIRUDtDCkIrqZOaJhatsBQw1eyf5CzR0YVPGvBHThjBAnrpwU7bCMLka04OAYerLp/CH/w7ZeHANwS1OKT7mtgkC6nh6tcwDS+OfU/2It48PbB/blPJ8Bf/pWK7sDS6deecgr5Jh+QexwTIQ7A+Zzv+8Jo09B58zsBsny/Lk+mtZ2cVooqnjWqeQnUQF/GcH1/1vwJdi+qXvxzPY6JjLBvk+nmAQnFbD3PI7xlAmSu5xjjnWA0chUwbUkh463FEBkN3Na4Nx5lmIEmPGk1EvldHMQPBBi6N3Ju9xBI4xn5L3w1BkZ9mblwJUqqXNqEjxb/Jx+I08zr5ZIHTuJ+Fbb09n1e71yffOff5PbvHXizRLqJy18oUEQU63epM0TrNsxNZJsSsy+X2kZR/vXaFP65T+qadj6PrelhBbAzEBIFhUHpt6T6Q0/YQrWQil7U1TSsQJQSBGCQH1/pnAeUIHOC2QyFtAAm3kTIBGdxKKHq9XKrbmRFhgKqDFCVE+YmDJmUCwZfuLmkFagqpua6QGsK0YS6/df1se9AqBegSxp+ctZKSWS/j+B98NLUchnYn0BtdEMqeHlrRihjjfXnR9Q5YTDYJnmM+gWHmK4jOa8oyaR/xDfQSjggU376NWSdl6MheS8S+3w+0h5ed+sZDP1uugumU7J8Xbvp6GVMUWU7YlKr5yQKOuLVegGukN9/QF64X7OALfJIj2M3hPE3KlfhuyY0C1T5uG3xzmIQruVGK2lFrkpic8oIiuaRGNcpXcZ9QNCoTIbpy1740yI0BNRFejd5jaXAvo7MPPZaV490pt3MO8MpbG5tmJIcSqJo77jvEnGUprhyuSTyLWh6AbUW0//SSk5m22NmYSVXlIXeoPGhJcQfAo6R2hc40CTiSzQsGxD/+cvrFBNDy7AogSo49wyKA/gGokHb97ZC4yGMaLnUY2LI75sSL6OOsb3sFmVrqi9au8aLS+ydQZUOfY22LwVnGFCuB2TsT0upyy6FofwAg992afCJM5ripY2y7G0CLxd0vjGx4uswolt07f+dOUaSJsEXBrwI5SzJ9YwJ7eYgwMiCNWctvKKXxG+OujLpS5UEw8DGibPWoWyN3Psdv0CM1ZkK1rfszXxsx8bt8adVl5JXek3/qOCG05jQoDk5MkecPpKxSYLg/QRyJJvkCd57cp/UCDMXyPjYfzpd11X9I98G0v7w+gnFkdZjSoffDKlJkZkreS2AIHVpvYCKiHA649Tz+ZGZgwTwIQmmfTjT7EKBxp4M38D3c842VOX8HijOMtJ1XjccfrCb+PaFnv/dXS39E38K8YTFn/RIEKKHcQrz6u/FYsvdViR0GEic21G4HuAPtkKzlvg8lduEpm8h+s5pUf2rdmw1RgTznUW55EaCiaY1og0jI6EJ9MRUAX2cUemohTnFfezU2fgioB/+ir0u8FEDExWr6rQH3eE+tEjiSjKbkkCfVqAMKcomddnf+2AyEoaElr2N6vWtFD1zmMYsOskWlUkGyCyw6q93AUN+MI/PPDm3bJVCrdUiVH21z5jDZ3no8f42gAPpmX2P1i+Ge2Eg0A62pDKoVUKYUzU6qkDxIdMgYck+wIELQNAvn3BIczHlCTJp7DDiM1v8urDhwlmFIpskp2cS9VEp9exuTHEXCfAzLEbqxymE95fNnTtnqxnnpcQ2HQwxRI6EWeWaAKAJvlazX1UM08d3F+SXWvVkdhqTHu5szLbjZad+LFt8wqM9uO5N0VdzHuYg7kqbGh+ezdyCbYezEFk1n9LStrWQp+iW58uhVYhHVkzL14kXTEuEm7kaWd7OH0GW8hZLKYq43h6/FU5sCXOmo6VYJohy+eB5PnISnvr8WMA4z/6jFQ6t7Maru6v2LgI7n9DImEsjCh6wT5J0CzwFgQ9P2p7/8TZ4//Mos7Bmt7pAWAVnGDIWOmrWCmDUnne3OHDXugS+rer/ba27ziKe0HnPH376eKSzZpujnQmNVmWt3cpQShZ0urcso1FnvHWXbwKl7KJShI63copZRxsGP6EKjrXmWP4LC543pJdO7RzKfHjunznpK3nnkKHWoW84QCN9AQFfmDcPxmbmkQpv2nVJ4FV72oHfEkJ2iWGyHf/5T6RMAiC2YK9iHMugAiBa3MXHLpQfcKHaMYnemKvRYRrHkVDuj6PQxJQg2UlPci8QVgoWErn9zp+zaBLUjXJoErBqJgH3VQTRKsXF5RYdA8QeBzWZ5T+bJC2zRH47F77TCpj0AwYVxvFQnEX8CTPJ0EsDQO/COt/NcOgy9sMnuAmIIV39LnZlOZg0tZjH2+WKAhOoP0/xnG5wXDxhRqJRXnjga4rzs1TCHJPJRL1/SSuz3CqZnNEt7PjK3nXIPOL4emQHvXAKOcRg2+nqeh4ipD0Eh9XY9pBUV/5u/2K178YjwR7yZUiX3up8igyw68N/z46kA7GEIbUiexkqtMnj8mq6qSiemOivg9MQTamZHPE/HAFPYxp8IhcR/eaIg4BJzqh1ZE1vc2210wO1GXobdicXrt76yzsDZwm7HeyJypRQ58RNZu8PM+wQVhUDcS5/5dXqp3tlawlBtr9l2MldKfYHM70ufXgcipWtJwB7qlS9mhVynk5MI6lsARm4mBN/+ZnbIDK5/u9o4gWcTC1vbTQ+kzntRO+oHAjQELdzlSZevnBOsVU+aNZZCjGxfBegMCDbGj6IG1VSg3A1BlKNt/GDK83P2E2r88OL2YYaSudlUgwkTIEeEX07fVDTtTc5jrGrhnJ3ChX9UWCiAY6uwirwQPeVVyY/OYKXnnrKseYdptkkqoFgj/l0zFkcjiFtEW5jwyXKL9o6pvhGygNBZu1DEGcqsksjzMM3uKG1xj0nIvQ2ditUtEUzThoooeQv0j20Trc64pENJdhq0dSiJzTCIZn4n5R8SLOm5wcjSAgCVvhJjhAXh39pVziyg8ZZoA9bQyKO3AQvEFH63AseUKsKEqBpXx9wHbwMUAdf1tlWLVPZy/IqaDvXQk2uyru95T8c4KsPeL79o2T1lH/XAIiH+CbCBQzKAMD0oOtgkWdPVW/QdhwEhiKzxN7vEqHvQSp/JBstSOmNKUTdipslu+HWGBrGi7gSctK/s3ZZ+67hTeCZaANaun5durSNeGzSRFfxIUH6l8IzIY2bgqYiShTATyKmWk="/>
  <p:tag name="MEKKOXMLTAGS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jGqWYA6BjsAEOoBh/sxdjbjOIlqW00QkN1B+POn69dvO2kRCA0fuSBYFoyafyotITGnUIttRWRAKVVUostTOUW4G6tNk/dAa/f5doJqzRe/HmvbAcnAxdWmueMgyzxaX3h3SfB9eHN52y4NT7gk7QJhUqVDBLhrauqypOt1nxLoxoSFI5jPFrBRrZMPDKibYoCySjNoWEPvzPoeB3wepnQfLpSIIbji4P+Ocp5dXeiAZBGey6G4aqXrv9iw1xDEIYxKGYbGtSJ1xLLq7L//82aJrz9HGaeqrIESgDW6QI3mvbuveUI9cK8TtolFUANe9vAZhj2wTRaX8SJopahQo+yNbQDvcH0RLt4Se4JPB4tQ05jC3VSOf5XEw89ajf9epjYkBUSwasLHVXsHJm6Mr0ynIFYctjWACIrvySCqQoDuueSIp3i4nkSz96jaj7S9RUGkN+IWWzS83cL/KlNbm81rn++0KVyh9XgMXQJmt0xfmogHgC4XBcfYgOCSLAuKpVESoKWxm+H9sJe0NCND73HY4AylMhyhiv6uvWtDQG3kJGKiarpSOL9qsGQjvQqMHihE6nds1E1nUgLCF7dk4k5HZUUfeJQj3bkISOSqgDg1mD5bVYKzvYMUCjiR+zHije7jSZZZZNQ8G+5e58UtIYrmJCzEzZckV8tOLuM5v3oYLkhHmSLRbHddYe2/GsJeIHwtzHZwpIb6K3LivamrYleF5EFdGMGIgS0D1i7n+TU6xfxLkknLQxyVtbiC1mVc3nVkjg4QgE0KxJGgzpEWd0vI3Qejf+YBoqNDQhARF+6/rD27HlNR/aU5OEdWLJnuGexufSmi9sfzK+t2Dtaycx4GXFsf/9uiMpvH2gJJAvx8CDS3tHh7pScYrXOQXXJ5K62lNlJrZA7eGCDS0dyTjfEJpAlorS3BqICzjbx4CJRWfT5WDgJk1NKTmzdnacFw1syiLPh0p9160HI4RpfxdUpO++aH9diGt1mtc1eOCvXNrenb3TXS0BhvjPGhVUBBNGATVlmrfofMM+0YZ4/utex3q2xL0Rp8Y6wppr3cIGHzW/cojcC9o4gg1zmYJcdTbOW2mDHTuxt88jblexGclM8Air8r+LvhYPpZ6A+0E4NfH3BFtkSe8nn9GF+ir7ccOc9FwT+uD/XzRUve638zcG3COSc8viNbAR+yhQmO4rd5yWTulpGPDglVD9VR82Coh7SzMbjgt2yVjBs773TX+Zb1QeMCtH4kBL8RY2AKMxsijjewen/cdpKikEp+ov4vecaYJh9M/ghCtEsFgwbABcR96Vqvxwd38H1nVQEb5R3XOCRHlnpje+5gzDa5WWyMlkASpx0HL9XnXuwSPQSYCr3+PwGICUY+qmMIo3A4dUvnkRcPE1/ULJRGf9uRHZAgyTA2T08sRk3I1bmn2QSk7vKbCXoGF6loA3XFVg/LuZQQDlP/kv7fbrAJNUuPE63PubYn7jJdnYdFzTM0gPBG9E7CvhUgqBYmz6Cx+mY6BIAp0mcg0ocH6cUl6iHiCxUfuc5v4H89H7CxLRg77gJcYOWKK+JnZuE2rJZlOpMnKaB8o8QgMAwpJQuqdqFtPHeO6icBNB1+qFfTTz0bPgiyu3zFiZu2avVSdJbHbdfRlQA4scY+dY/U+3oDFn9jtuG5qXueriLeWFnNQedz0KG9/xESADpt/XghRUqBvMpU3Z9jFRSWVfb6haZ/QQ765mw0xX0R9PBDBy1tVeQyB41JxREZKv8e1+jrjU4ODQoz8j05YTuH0fyMuxKHz9qCgmpPTdknYyWGnVwtPEqnV+MBXXYxHavalUuEYjG/YIe3MDYGB2O+ZAgv+nKQ+o2TKyZT5mw0LZMHSL+zvySeJCxXSWIyBSH2W6kUujZf2muKAngMQL1kpzH7QcP/h2ANrk11H8OO1JYxDM9aIrLEE3P8CTXFkxf26BkX53BKWPaNpSq6vVE9CQqxGmbGxDMnk/RPGyB9zjOJZWJY/2RdVSFKdoibaUy5chePZHtJZ8FV3qMvkTrna0M8DglQ1adxntERPHZK7dwfDYCAkrJj4k+r4vJD6tSIQX2niVwC+0zmqygNBZfggqwbDzaAO43ReVXVzoKEfb8CaZFs8kT9jFILQcyoUx8Z37TLow2at+j17Nzwyfvw1SFuEOx/6Jj4TkoYCoc3i4PBUVcPzz3mlXFy44SMwcK1U49UmqWwJXTom4PjAJUox7egKRW4giL424Tbf/wCi/D9561p6tX/nsoi2JtQXXmSlUQ8LMSjo0mIT++Y0KNJDpc301/SIVmna8alqLzk4989qXQmatYI+1Nm3I7lz5Jz6oSYYgeHzCvjyZn3tUK7/c39Ppi9acLERyzzy+VdwPFDHUGwueoMrXyki8o6a7tZnf3NZ2gRu8OreazO64ElbliiKXvT45RywShuHcCjG3Sf7s3swIkP+Lj9viKzdjyRITJw5LlqaazjgiSyTtAXVvYpp0CKQ9ylhTT+r8m95Hjmslp6bgGAyFdT9eBXJ0hp5k+6u4IOs25ATLdaUFBw7LC4g0imsSA0RxdMHaweO+2P7GXbIrjTUnSU99BAijLcdWR0WUYZQ1lfsCVtlEGE8FlTeU9yhECuR0dhOJX+ESmKCTk+DmB6pZEU1Hr344UbFQeodg8oMwjhm1DYRiCFObmm0T189lkb96n23OEKNu6kSge2YkUdtHbw2BsLg9D5+onA7wV1UgYOoy/SI0XiYOlNN1YcWmGPkNiPa7kfAnCUVGM5vaiYTMQE1yAwDR2b1JqQ/yTtQSqjXZre4gn7PNq4oevddPT9NxpLJ2heC1c+Poip+IuDnu1DqP17NIPigEA8iMf1VCSMh8vrwU+3CJVjDfNADxTARjB0znIf6QBLxxuPLKVvIanxrYGlDy0RAybXWwa82HpKiWkONpuzk+DB43Vk5sOmFihmkAD5bRfY+5SwuqJjW9+je1bDFaaLBQ9SP/LKqtsjK/bDt+liMIPHTG0LkrkMBGa+3zIwpBsjthEQs2uLJTolgZ0v26gTXZJdKEXNOPoFxD5z/id/639a7uB7fs8f3kTUatOYfMzOGyrPpES1gHWE/o2faNOPI8Iq6IzaEHphO86KCOFH878Z3oJ7NUu++7cKdudwJlgdHDdkpqx4FGi3VsRFwKp7as40Fa9IANBv68Pk3UXcpMs+2WwapqWf3XuIhPRSpwJmEnNzJGAbAS/MNV7PIuUa9g25sj6lfZ2p/56b6UAJIpVyPYgSgwP637KWpEjo1pn/5BJWLfNAlMDY4ctmi1IOTZBs5Xr36MBz6+FUDqlw4y1qmDQHgCyDIOR8lk2yM53CTDTHkDlDDY8B5890QMS/G0VHVt67g1kiscbuQ/Keh59FdN1F1f038TuxGqTyy7ox0CYHXhVTM2yhIWfF8qzNCIFEZufy8Rl5A+Jubx69nyw1PIPgNTilkDrE3nVwmBulFRExRveuSz2s0tOuxv2fimLjbybmYN9S8WMt3Yh4BFBKYT0wJUrkgYnS367tASohNqtSeywHF8UFitcdMiCEq4sivZNGbZOcbJDPVoR0VhcioOFhHnSDnnB2BeMY/zWkIzpTOvSGOhX4FprCTDpkyop7kviD5Aa+iHIeCn7FfOrEqaYcG/KGWdjI70D+/ygC1Q69Q+EiGVCVbfknLSEm/O8Caa/n6jqT8VN7vPptFfJVTtwGJxS4J629Sy1k4CxsWXGijPfYsNRnIh8HbbVaVHKhbMfkA4eS5edeIm/1+XVaQiDweSaJDBlvlpcRh4ikk3Okhmsa475LQ7wdPEzLybofwfNxWD8PD5oflCvejRnmw1z6qGy6GRy4K9lLwGwsxzVkYVhQIuV3HmzzsaSuXP1mKbgKvhzGV/LcE8LI1t4rXppBA+vOdh+prV/H46LINLMH5CM27OP2nO8d4CQbWL+k1WOeke4sJ9zqTulQcE2ZIJDZQWTeMsCcCN0q2zWfSLVTwYWZqxi20vAFYQmqBM9i5ec+9joEt2MB/zPxlN7BHqBB3CMEEMZNePXXi8IwRyFsYptWvLQWlFBuAfHW88zOebMjuFxkbbZ2xadoG/4VQVQFw3z/K8EbuEHPNCdobHol22Mn1y3V9kKzScGGHbDOc7/QGD0bLmKqAtT2eOsoyJYMZvH528HlhtKGJP452XatLbnOfniSVVDqaEIi//6dbLKG6mx88diIhwAtAeLeNiUTCtmwrXyo+ZK+/1lOsqe8lZ4SSqk2CZhnegTnOhI/l3bhsE9cWyCpy9AKB5v2xM2LwYLBxPpDip6PxNBxqXFkIeRKVc2lgBGOXOnrkzuc0NaJSopaVqPo6strxK+zBLKIweDZ25DqHf7ZoWQV2ugKGnLeg+rSV+0XstX4QQDcxLsDwBI0mnKKwwFzI7kmJepQKa7UQDarREuExj+UBi6UwjSOj1hEVINga8+iF4HimJhX8n6ijCnKczy/yuoigobyLi6QjM1gCF8ObNKx8fIOgaNtXKWo7hnw6Tal/NBeXPdyN3zxP53BOeLYp9tB5bsJZ5BaAveoUGOg1C+dW6u9JQtVNwsuiVAICOvF79KBPKDBJeqMWnzzPkNyp9ySjgCjIbePXC6Q/haYT0JKGWOTcmNPwXCmfPyRMgFLxcyqJ3KXWe6aThGHGLHhPGgw+K5OcLvAi2rRApSykWO1Jp8etrq/Ix6YBAvy3QVByEJ27IwbtBsZmIQ75yzEALJt9K5Q8XR/2Y/BYijUyQhuVHVsokpdRuxDvLQzTfEZ5UorO7/z+DTLZizYLX20NRRaIwW7IRfmEEh5tGGJEEmbObo3iaas4YAaOP0fFPElVglCo4iHhieAeNGLYwxGwR9UeK+XD4Th+Ceym5l1mb478u23PRpSL1icuDi1viHQXnERUpBW5XDpm54h3WbCnSuZ/xMJlJngAE5QsEOtAnVQ+cR33E7Dw4F7AAETVY3CzUyj+0/qUT8E4s3oep/ABvY30O1mCLivcZgUm6RRxYEAJ3kD5lFuBED27zayPvw4DBOI8d/U8Z35divnXFUJUcyhRUU+G5RCtHOOmJd3rOt4RWHcaxY8oz7fw2u4qAGn31LMPn9d8e0e/GvRvLQ6aeM+kDAGwb0lPwWZPBGdpz+CaZ7P3Y7gb/KBasgN2OnJT2TIYPybE2gpZEBQnmMXkyDgvoOhesBPdNo1yOIbWxyK2XYjaTcDJMYPwaxfDL2dPz3IHmytrkSSlLw1NRJPQcQCCTHEd1YWyHAJOmFFKZvxRRYG8Lx3HnBGZmn+F18M1P/H8P9O1VFo2Q2NHF0QJEzUPv1plQ88V1xTrZu+uy0MRyS/JcAInW82ojmYeqiRldW1QSEhDVvEL/+/WwDu38KB1Fpq9/NmciBYlyztBVmG8iOUE9sSW3qHQWyujmLZFX+7S4WAhkPp81ixwytSDN3ItQ1TCSGLai8HjO04S+JcdZUbIiUQYaacx0IU0quHp2MRjU27dEnvIrN0DDD9WZXe+gnfZpBIxamD//SYTHokQEi++r/Nl/GEfbu1tkzcvjVMfxcSKjiwfn9+60L+I48M95881mU2j62uXAvmNT54bSdwnYatdYFXOJTBDB/Oy3t4E0gcEu5yzoBuloPRHTx5Sms/+rYBgPEP45s2QjiDEDWnFynw2Sb8t3LdALbEF5t5Q0sYxIgxMIHKR/SARJBAnWA0s19XZT0t7cTcBw7EjebxluJHv7SVBMOXS/yj+0L0TTpTS2yO5WpPr4mLXXXjU9dt5Oou24iUvxE1y3hY6kei3MSAsS3q9VtGP95OfrIbOyhXQeSestiCy/h19Z8CzgU8VOtfGI70shwCb4si33ApZPEVB+VyReB6rA1uqi3LLYUFcEEZ7Cc3Pgb6r2Oay5djMLnHKcGac0wyPvWkQwXJl72DILD8Z/uIdCQeuHj2s+Wdz99qYTMJ1jTDGlx5jKurejm2n3QAAfp98zXXp1RDKTh3BE364BAFeMkmhoVsdiNES3ryIZGcj8SEbmzh9zvY7YuYgoElwX7ulZW+O/h1bwgX2ji7hZRuz2Y2R1vs6m2u8tgowDcsw+sbafLsc87Oj8SR+RSooAaeUj0UFDb9fqN2ytV0uBaLnlPP29njTAFTwBm4h/6lb4JWsyav8itiJ7RxzknRnNwTlyKIhD3QTKjGHC1SqDLpebfyCpa4Nq6TUHjuqDayXPtkNFPu9SGydKKabiKmIMQm/mAQ7usZG1x/0ON8oPrhBbAdq4fl/V4yPAOJ02ybnNCqVCo7VWnVtdca9SIu/2C7LM0a3bgNCoZEeZyE2VKgbfMWTlgynGMdzn55bXEByHk+4UC1j8fvG97VM8cKxKpT0XhX7xlIa7Nu1IW5LnHz/Ga8MXjDjCwLfCnDDLlpNl1o7xgDMiRVgPJgxl9r9xMO/ZDnC8XBSTS2HkwRr651JERM19VXL1n06od2WLUENNBk1LTbJibI+VW2lGjtpMdsg8/ysywu08RKfQGYg8eCSDHZgx9iNm9LW8L9RUcmSHx94ZQEXzQxp40uYb4qHlkIxFjlRRjsEt08C1XxIY+7dkBs0Jd79zgxastI4hx5AVrzUFjKMUGmLuN7uJqEyxh6O63EB6LWLpBWX2JfjLUYErFdSDytWjafHIbiIRyyNCNJ/D79p8df7QsL4EEfh3r+7HmEazP+SYzmlAj1aqDG5oDwTn+A5YMkj9/IXE4NuTouv2xUvdbO1QdJo0n7u/yt90Ia02E0H0IKeD1lGI+4UwMpbLHPDQn5hSNrdzr5CmJfHjGMP1VPT+CVqY9dPxbXONmPv8vnhwpGk3EGCm7RIs3n3IvZrOi7quDRpITejc+wTYLNmJBdQCWHgYxw/FZ6E5sb7P90wtYWFMWGdP0A2bj7UqzD093k0iT+Sa7xkJ9yu8Bs2OrTlwcnKVcDCPFkSEvlOSt/RDO5UTP944Hs94LSTJOqohluGjR5So07uvTFoOxjnaQNMtF3e8kgunWISYSFxTawVeQCD9g72DzQSQ8MUF9oSlPfuvkztkrkXBONO+JK5qPQ3juneGgU219g1xPTpq/gIuuaRksuMf4quixq9B2/SMUrgo+TSDIMIXE0amC6w7tR8C4cmN4uaGS8CTlWsTwl+2HTY2DS0oFufEQ556P+YF2/TwFVhzBIUlT4zGjolc25g+6IOeex9aDGwH2tYDs650bm22pkY1IAOnug2kZRWTjEBVml735HUGJth5MFYK+jPwryq/OnUFGII/ctnjzcjZuAdJwm5rUv4cyyfplbSZ9FWSrvAYwebWdE2akbzH+4z/5J6nI5XbfrKXOViYFusC1U6IbGu7IHKFY6rRJ6bBgt+w/cGC6EWMPtObjMLVY9n950ZZPRzQb7Rjgt03OGDjmpl59YzsAXuiPKZEu8reuT4U1dFlcwBg0/pirP0OhchGiNV0KvU4CxQnut5+Fks1Ajq3om5sW95UeQ934Hq9tAvtVTmXICnlSVD97f2Z1lOL7QKNq7vU/cDNhU8y7jYpD9jWmtrpAErsu4tQGiDYB/ADC3C7+28UiBwGodMvkTlRYIilQGwaWDna0q3wiVKKMmR9uRC93Hc2XnYudWA3d1OPI6waYGXOGLA54KhOAysXb7qgvT1xU27HOcddP3ORBkbs9S1iUS+uzyZUDKYQkcOqGlmqV/NB16bk0NIjUC6wd1zKl3BPsikvKIng+BC7slGMmR6PZyW4eCFHGwYOE6kAfvwAiBtZh6d8pQ/+DoQP+D88lCEhHLFHatJirb3O0M2R64QkKIL1kwSXsCYobe3RSxl6KUpJLW48qUqiEzjsCwEmHhTGpWfaDoFLTvSgEGqPTpn3p9Lt3VV2HeG3e9sbTXvyyeT2z7wdSV4CvAx8it+70bo9OHBUGBJrIbnjbcpZ+kE7PXTzKyaFJ3Xwg1EERMikflQX5jUsmUvvYLRFggsRu/95kZxxNf7S2pzUij8JZI4MKSQV0loW1/E9MXOp0fW60jGoiwe18xVYcD3415HZ5YAacyXFsEPbuTO9Df/uohMxLBqYdI6kmy7cY83oCMtiPVzLv5Bo2J83pFDlxkwHH5xr07TdNgut5fMUkjXIobmcEnwDTtC+F8QtCHCI08kFzPhBOkMaRGHOtCk0fKP9g7DfgR+v0zAHWJP8EACYr4PAII8hHC3+NR/kqgIPvXa/njTfDcSVrEoFhKUdlql9Xa82gRMf8xVsILs3h1Cv5fd3MXq7Ck6ncq1kOmjcc5knLZgaxAJ1AFarjA4lM8/wmLxseKmwmiYT8b/rxz/eB0qygrtGJ9lMXa8s92gSEde73jG+dNEZlErBH5414Xdm6SY91fGtOhfrHAOH/QkWCWcHavPfl6OQW0u/mUHYf12IHKLew/LCqcjVFu/gKXILLfTeGe8xINhHbK+z71sPEOo/ntPKb+FTjNgf6oEhcUB7RikxyJStuHpUB5sRcbgcAmqHpqnxSxHR7xvQOl2pE26I7LMXUfaY7lKgUwpxB3fvib3QXFpz8UsXSx+EC1Y8n2fgM3SqmhXhs4mKhI4uikNeiVVkxjUTLoJlM6Xj08E/YyYb9/wKdA8bYSqn+B/7j1ZpUt+IVzgzM6oX8HNSOuN89/LUXukSiH6u3W8RFZZ/16PwNy3+t4nfS8IUG0cY3W4PWH8id3aGOfO2hgI+K6T14RN6j9hIzf925ukv51pP/HkBMFW7mrr1kLbq/oi1npeY495sZ0cYb/RfbVUyjntEY9cBQtqbhlKfT2KWYE0O+B8naZ4/fWg3d+gxPTDBERWJAwDdnC9auQWGiXBdi+xCSBCsGQZ1FNW/kenFvmtyOCjpPKmLtsCoCE4S9gb4I1PZPApbgBv7hop+xExkKn20D7L/li4nAIgRebRGdPTutdlkK4LbQpnV5llBufbFOYKfOFjya3+EGV3ppO/rVBySG7GHOw/+ZT+PVDKa29/y7pXpL+fD5J8qvdA5JhqrCZckOgOSY+ojhbc1z50I7iV9dXfMOLC+6BWLUpadfr2ylTPk1Lw1VCPHF0ljCsCOP8IoztiznK82lcg9AodzInNUUWRkTmlM/W6/xJ0pQHcFxqEZO5wDwQ6cw55K3Ba3uz0Jm1PExI9zlNzueLEDwfcdZxDhtEphTKaZXCK4d5jcW05FAIrRvnst/VTUgloB/GZro1UoewPFfor3pKfgFpDcSkjd/eANSl73Otuqj/KOzduFt+Z173jtMdFBc4VMFJfQW4+I9QazIa2Xde6qwrOtbFbbFUJ/2/8AwSaLEQ8cfpexVoD5vO32zei6DNump2/iiA8LPa78TdJL+lbNwLbhN/epnzNXpcssxuauBShazZ37rQ9TcI2TPlw6jt3YCUujKj2oyq4HUAElQuZVZh6yJlNEBwpcvIjMytz3dPyXVMkXuz1Z82Pba0nO5xgt6moqKEB9QXmFu6mVxY6LV07VumMTKgy2XK26piSkCsBnFs4Tn7p0NAoxTgYziYL1IIaT3HTgOLqQabkBjH0dbcgTZ1DwbdtqGO/E3YiOGA4jpxjFmFXYZf1h8eBl9MSgBDqZW9Poo6jc6QvAFakR7n+s9hVbJMAUs0cr19YLk+y95YKI/JK6hBMVVE2uSx/WisjT3QdzmEM5UQk6+UMfYkSOC4YY093pBCPf2JFzTHgXzBiOyd+iKpTy8A7ENyvNO8CNqmwK53qJ4+TqOJQfAE8V0h+hfPdygMgTcvokKw6CdOdCPoBPd0q81gDWx4T7YJZi71gO6LrHwJ3Gy456b7B4Pg9cY0T8g4zIT8YTWG3oX/td8DecI49rnovXaP0GBcQ6dJMpW6ptWBLQDHJm3fdZn57sNHm6dRO+7SyFqQp4I8mXEL0oUHiIP0BUgaNBlZdyoCYeiKVu/EbFQ+GTxuYYfdiMJdfCD948vfh3WWCLY1uVEzO479cTyrPWkeiWDmXgfn0ClrOkoahQ2vNjI7C1oEtyQA022sDFZSXqGj7mcyzeyT4I1NtM3tNFn1Zi1PXW77jJ7tBrdUD/dT5q/5fESk6OshbBNcYveWldfcphyLWg3br/4om64laEg/EOirkqYENOSxlQ2Zah37oJGFHhQTyLIFdSyOfHaLQahlRoA3b2A+ZlDUxDUHBi1S7iymdN0e23/084mjKH1/rSXlXo9DrsL0H/jDnlkz1kYur57MXCHeQkrwuqXl9bU2oIDW5104JWX1oRWuHy9oO6VOoUFhE3zQeJJJOYpKUGKjSTYZZkWU2FKHWfN6HM7iklpzwZ+tQLu6ZbeGUBauQn3Pir75nHbhbxTTXMOQyscoNkFjjwXrYfSr/0Ut5AY+tJHTgrILUA9sJBx5GOoVBAL2q7f7QocfvCj1fBSoC/Fcaj34tY6pq/EEj8KfGu1KxMYxIMBPYz0wwZWsO02MODJlBVdB1Q5dR9tiWiADqzL0EyYohLhHyBHt1//g1tflaelHbHfwejlPcNEwBAw87Jo78lC0yBZzS2iQWkXAcbSEE9wrQk7gOjiBHLfEVBdhnJ8gIykQSwFduDuRUl5pRBk1LIODX2AUB/dvU0lXrx/V5Fa5/toiba6zAxZV5zBfwK0zXHa2b6QeAdpau5getKyWvtwOqCnve1OOOVSKDYjvLpLTRA8y+fQY2ugURb1HhGGALSWPFTtM4SyEMdVETSdSOEdcLU2BZcxqeaPq5dDda5cH3uiN06DKIfItsI8ENRbsDAS/0KLQ/TS9SRngZKNO72oFXPSub5ldgITmizcN/09tLi4qWgD5rm0vro+nE0QPp7jlOnNAqGjds5XGMJtaRHGKm22f8yFeVRB/N0EdPVnUQez+C/9OjZN3A8/qsyvNZmLi5Mo1YfNT8yC4AM0lZnOBqbQReyYuQMY3guDhZ76S4TpsSzo+uSFegF42r+hTq4uu0Mm9cs1l9cYnC4vXjHOgohFJmKeaq6hqXChEagBCM1NxY5Px7mrtV5ho5BtV6O/p3/Ld4PJbW4O2Ms3db9GwAnL3WJxffNrkarZU/IWuhiHWwBiVnk8QR1She4w5dUUoTo3Yapb5zN/79pHuztIkH5hlvQwMkWfJtADte+lUSq6AV6vkfrSTLV29BUVn3S5YfVaHPqs72ZH85XC9VqfYFkt6XLpAJnIZvUczanxbf0UxVl03KlEqtt38f7jW5EL4dzlpWZA3xuzuAQ2ctEx3N7lBHAgqRLpxtRJ/8pwEMY2sZFlrLYtfFd0oqk4QWh9Q+qZV5El64FYcTAppUUdX9Qgqu4xE29Dw2/c1vUQ5ImbjKa82Uz3JrnhNixDSXSK1sZfJCx1AnxD79BpPA0/9Ew5Pr6FXwnxbwC9Yf4GqQ3KDIfwqNfY2s3vjDwFAvFl5UgG9PSORSufq3F7keoRirAnF47YQnus7QbPP3rMitS1fHVkhDA6v3b3RxUqp+7LNzQ5OhfJXyYXl5zzmY055bfJvL2S+PtdPSR9qS5Ch1w4L7z6SMrziuAwK9Lz1+Zryc0QRdlV3I3EGSwuG43xlql1HGBEF3S40OiJqHIu9j1OHdvTH1za4JvdAtSJej5gKgrOE5wUSDchcpn6w4PzOkVLc/rs/ho8rTbNsQbiOhJ3DQPUb5ey/ILq7LWD4rQiUfIIGnPL5K3aB1fjLjUz9set+ZhbQL2dOHNc2YOjM/WeAhVdFTzS2urRP0fhWV/K2Mty+Mhg2nLBW6LsP/QI7a+hZZz3GVp5R6efz6pVLGamMym+5ZOIIYaCoWu36wAW+guppKmvSikkGRFps8wHBALgbFDwl2Ea/lu9pkDODqum63RUOCCNOh+K/iGE27fMGaYIsbBq2uCDSpI8ges/UuCn5ioBByY5gfX3uxVLvQxR2J/fF1XuCLtECygFrEfjeQiB23fw6SO4iYOvxy48d1CH0k0L+xjdd/s03mQYebPbxDLwqH3/RCKsUJh1QaUDMEl8KBoRfC7AJte33f057c6npbIcl2tvOAAejbEpL/7lx0nJ3kwT0z4PB9/L+ZIwD0nRGGZ7gfvq8E+KNTxUB5d3950pCyiTI0n8tyb/Jj5o1pBadQJqSYgnhOzUEahvSo/TKeCrdQwpqnrcaqACJtqfLJSQAlMpQ8t7nLO62DaDtGmZRUfTXF9TbD0rfjSzJsHYueMlVh+qxUB8AFBTNmqad4+4IoZI+unjNty252bOX7XYS2EAWdTfFvlL0scXdp1EP+Vkm4DsllZO/DuxUNv+4bWiuSz0+02UrWBjUOk+qGF7nNbZB31A7YkAwAbrUb9EEdFV4L25UXLRr1hs8g03BQMO5RT9Gr5s2eFp/T8Thvb+Kcdg30N2IYVK+5JQ4hBLNOdGNzpyTLPwNPNtsLVrVjg/WfW380UHj8lnRDUxiddIw5OrI6tXv9QjUoVSIc7rgszalQavDOUa2C527ctKe6XBA3ICZsAbmbN8x1QzyprLE7smG7beod91kss/vt7+DyyA5xHKHGzYMCLTthNVEucFxMyQEpUA5J65Fqq0PzdcEF+rXm+/uBxuSRt7M4TuxbQEP1PwOmoiaR3sMYkRbgmc7UaJccutF6qnjawBpUpjKaZ/d3cQ2Hjl2JbzWQSvjJ26gJvpFiK89vOoMVB1O2GKHP6xI96Cu6/bZIG2rM4vyJUUSEQLmZ9aLDB0X38WPprkZsS9wYKd62D8TRZhQjmoSeseqN4bX951jSdRVS9muvhk7HVXVHtQ3RXASGDAjyO3YKo4NhGYvVGPbUhNIG8o7Sd3qk0sNm5lGyLH7Kxs8XifZs2I+OV3w4y4Z90/6oSE6jEXwmIzIaBUBKF7zvmMRN8hiOU8PB6E2Q3nCIrGbzbL+8jQwmi0aR0A2ph6WZNZjAV43eFSZXtSqzDdR4rdCDH1WbN226HZLuWUhIxqTBx4M/s2ppsnmKiYAVXEhONRFL8TXfga9DwZNR0dMogYMrpw0yto1D0WKaHYGlKELMAfyI+Iixb/WFY4RfAlIKyseYLySwKjWsIwg57F6fQel2MH50KyPSUTHP8BWm4bs6w7M0ObaNZSXirmonk5N0jw50VS7X3jup5d8ZohPBK6sU6RMFEcUkCM45TclVjjMmKUJqrAU9qAw49qBr2YUhrsDff+G7y30v8+b59XdMAnH/uDrVBQXBIl2NiNjixx0Wn2Pdcvw916rVPWjFwnCBQQvu6R70A1M+NkS/9gz71SZ9UoSyij3Kv7Rb7Fr/7gyyF+Cr/63fcjE2G3ZxjO1ZcxUyg2tDVisLAS4s4hytrX783BYo9l7pom8Xg3XhprFHnXDplPRJtbDQmTsXBJ7Zp3stYqloorOLY7fr7zzE7RyuyQ94hZ3U7ySppeJ2T5yHdxOy8TJpjzmPqt0+Ts5+/VQ52jPcdEA6r+4uOSfghh5PVE5ZqnymzMkuGCs/L2eYQwcbLcuvGvoKmlz+d8fhf8TbyqXn3L5ijXPLRwHE8Namuj3J72isDUv0SDyw8z026ExYUGi+VN3sSs9Vc7ZwmkytV02XjGxRquuKuUK7S3QpW6Umv2I3b8ZwR8rJybW9ugYO22n5Wd7/xUsdSSNVhdf6hMiCB2dXiGEXZeB+ICZV44ho0oZ8gncFFwqLaIw1pJSN8AjanbW6nV7dAwaqWOH3zx+uz/VNXpUQtMzl5gEbdgtyQiiz/P3Y9OpApgrz1O5nI1drEq0ZkFzH69FJbgQ8Sk9NmUxG9zxW6Hs4et05a0qKZGan3/9Jo87+slasnpP3fnV+unBY9J8SxLYmyCsN9k3M4SLRKVVSTkWhB1XXCG7KmTr70tmVcIz7AhXUBoDIKGbScvPyRmVlntp5cNjfHZGhrkGn/A00ALefQJJbWBe5ZqfQfZJsDSZAYAZcYQNoPbsJ0DrPlG4Cs0K13NeJS6/RFzbPO2XZiGV0NiB1uV3uVjH60lr2hrjNyoDrpQueir7gIIeCSdbWt1aS+QNPLA8OoIejpoiLFEkxOqQyxrCv1CN0ntlmfbOPnfvG2Cgp0EqyHQnixHePjlzH9DSXhZ9gt+xh0KFaWYKzGR+McTPrA2hZDoIA4TTBF+vQXMemvKJKjF1pSpV0/k2G2RX7fWLB7mM/v7lx8XVfqCUk5xSNgxv446Q8WTfLI3BudJ7pXmQN32u0C+856o+CDma+QdzSsGUZtWTtOfm3B3KReZFkFgSlenMVGD31N4cRgEG346QSUjxJ1Be1osTDIMzFwNAhPY50EQqKaNRCmKy0Nke7C5Mft7Gt567guts71WliPKXrjENzfcWusSEkUAR2B7QHd06Pa7kM/lOVtc6F4VyEhujqTiwQKTcQxe8ugvzf+mcvreaZi70j6xIPg/X60fOlJo3Rgl+p9r0rCEE/vuDSRp4Kk+IrOlGN14RIw74UBcYF1D+vKES5Kip5K1hTQvFfcUKKf2g/sKJZMEKaCSPn9DiT0QcMplptNCmWGj161CGv/SH7iDkX9oAeyh0Y04ymwjjYHGRz790SNzhou7TOk/6CFG+R0qldOv0D8qmu28dnV7yXFVhvrfBOb2a5PhwXgysJMaxBABO0sKAQoFnXuTzyOWq7NOru9ldedfjSJu6WqLDZn4rcc2Qvh95wk3EUbEWMDc/deajcoND5mU7Y+1M4JmhXIiXIbMSO94a5PYXqZNUde95RcT6fSnp/+AV34vFPTc7iERuRpyD+qKb5fMR7Kmc6SNLn5fY69rm9EpmArciVpviKmphdWM7g1ROIS8lEAQSljaRjC4dC+hLTJZeXUV2RPs0KIYBvsHZVEkVLeBg+49/WYCIKVMhf5d5IZokW0EQdaL0qOcDiRcv4wthtjhOTCVIPdWWshmkMqrVz99HKmdleq8Phuklbt2O5BYJlQtoAYLLL0JShC9xPzVBgRhTa2jqm2lIbdkAV79MBACNMuzRGYVfKLZyWYSB4v+91glzP2bAvMlSVr4CW/FCAHvFrFuagbQ3/wVKbY9v2dkuVq8LaRzuoRJwwUVHyku2BRkKgJqyyHjwX6YCJuNGXeA45AsDBpELIK8qqqs9iM5MTgFf4z8sH5lXFwwqGCjI12CXTn+Slktk+b5Gt/Cq3Mv3lawc8nmJpjW2Eu6ce7v2b8SEH1qdtNgzvsVVQOViax+96pjEnQqBi3XNVJzzJDADGlaedYQyM8cr/rIZuwxIiYu+op3YURTn9wBeAtgEkLHQI7Lur1eQKrtuBDNNccX1ZTEuY/GEEoxDiyos2LeLJtC62nzoEFd7JwFCJ/KvqQItKFla7XR8tYKK/4bZeLFyM5/kFtkqHpnjv00yY0UDEzySmOFIfw7krwSmNIfACwmdsewYqKXAZc2LbTb5KvrfYXIJrIVCi3z5WgbeXMGQSkqQL3fgTnuwlTzmEbrTRkUKI+DCIEfBXTjM0bJCWQWt72o7tHnsPtknFQzicnc5MQX6xjbBh/smYm6JCjXJ76hSHOjt2lX0mfeUG6ct+vAYgHYHemNIe4mimVldVwOtEq3nXUGftjqSZRG+0HRuR+Cw1wMBBblHu8a7QvN/Ok1HVbnix+nQY/YvHJWSoSuJ/etq1iJ5hIA7AW5vwmefAQY4KSgE3IbOH0qAwBe25IoCpPExqO2nu/9iRh4oeb3VHBa6yGjM1o5Jl7A7AEGPLgI/YoGhRYx2rWGV4mNyhJo+Oh8yGJHkRFMyYkNSmQQkx5rx3OusjnHMDjBnVgJQLzCoWwFo25xzGT1Fk+ooZeq7Whs20Tr2WBIEMS8eIzLi1bOYMrtGfdFG1u8NeIvkYgNVc1kDZh5IcKlvmxHcQChwXjhL4Jy1hkxlYYZAI604KpFu0NKoh8ZsdTqbuj7qfDttq40QciBYxxIC0Kjnh+F/6DloT/fGopPw6qskCv8VUyYlEufPOZCeQsVJt0ZaTqI7sZNMUfzS2ZRIw4yAUiVnpbckGGQ3pGycLCTW2H2PhQoZTC1s17LiS8f5egBoM4wamHLIX6m+OGzuU9ypF/G/+nMH/Y21/lPC3jwZDaoHkqpTKs2WoVfnnENFHVSstiCftsCUUIkKOC7qGZn/VdOhAa7HoiISBpi3wq2v+OHrIFzGWt5aa7IVNShU9qyPonMR8fMj2MzRF7cn7F/uaqWTxc7igjtyEz1H/XdOwzdfk1umZyUmWuwCFGb3SUguvf7dHvII1UuvLMzmBIt5kiZUcNEmMXsNuw/uZghKvzhm79/eqHabrn2wWtseMQx1zWB2rn0LPnF5ONDwCx5GxFy+jOx4NknxvgY5YLhZeAoI+nV6IxaK0Ja+DXWSMm/S2HX8rKQPb+7KepWTx0JCsfqa5ltk5CmVUZ+iI0V0DztLOkr85F8NnHvlw6U8sef2pMZY4jNpHKNWTJsy5quWyc4wgN5z8KynJ6X1TdJocqny4BaBuuK+NnpsbyXF6VBnviFeVVyQHn+GWbxKULeQCTGT+5kMs+nxeEG2zR1eh6qg1CfxcWzvY2FXTaDETaOpzmHUyjrsDgPZR15pcFnKLCK8C0Y+xT3oX5Eg6j+StGtG5PqGolKHtjy/0rtEVIIp3+GgNv3Q+SVHaE4WM/Cc4tdYPayub17tXiF2aV38IWxDeejD+gtZX9IGCfAgd2FrO7TfGIjNGlJmxCoSlfxdHPEGQVAWNcacyGs83gNeX/jmXXRXDPNVa8UVBoV/Qb/FuOCDe9l0N7xRVenMU73UVztuvFbVRD71ycwLkFGVwtxoFmwh3URbE1Y1Y0E5gtxalpZKnxTB9y+sovzbwDWOBSdDNOpk+pGlvydEbMudOqTnDbeAwzd8o+Kpeap+jB+UwVELzLuJ9z8puFQngo8crUkWyppzXmkWbjWAjt0hqpTWG4Sqy8prlFIgh8BOFj4WcZ31krfr92G3664t9/KtAd/r0rufwFypa/qojsO+5yWzSdYbJFIv391UP4gCxBj4kB86f7EzekyX5Rr49BQ74jRBGwjiD2sOeonCc3p2YexwmtKjUP1tQ6Q2dTaM3cwgW55UKtrPN0cx9s9vJqGd6BDnf7dKTye35mlUT2B0pQYr1qRv+A3dmARBjLepCiboxXDX6nW2Rprnf/yPgaW6Bw9tamI5nhc2l35TWk8UDTHE/I3ANP7WyMUOj/to/FDsOOfcOA1lUMBCn3WA3S24TDjPJWP7QQg9vQGGpQ9qcAxC1tmPdyK4shO5CGwvjcW+KF6VEi4PxQcKMhqIgspKHypfH2Xoh2BysSJ0c4K/bpr4TjjIcOYIO1hhzUWz2Zt5TxliJN3ycYW3NBiogXREZL3cLdc46AzGmuvLR/CtcH0jUh8TiEvZNRGyuZBgJFuWfHCg5ijPQ9sqy+dHU5SYxkuFTpW6ax9M+VJoeGD6fK+7XUvnFn6X4JEp2vxS1Qpz0sOqPRKbE5O7VRksTOqNiZaN1rYVUURbhwAeLUsLVLyfzK85+CLuzTDbit0ejitOflXXGk1iaa7aDvByyvNNJJelpXDoCMerJ7IOpzz3Nvqy+SSd2oX3O8G11D58sR3Erqv5BaS5ruOcJYdu5Wim/FfHrrAvxxkWrGPB+KjLk3LbVySt8+Azoc+TDtrvxxP/4IrDLm/d/WdSDc8b8PZ8Eq7i4ABIQ+p/sYwjTxyYUWC3fJpXYn0sbLbH/ubYNzl7XDwKFt0SrdhgH9g/FCuqVlxfIKo+QWBvol9T8zQrfegIpjJw8yyBoPkHON8Q2vwg+Wb39QpKGdepCGKqjY/tijgsCDpEL9zzpGxZnyf5/+/Ymdd9J3BDRLfASmVvhMLReGbSCGypPUUsyWtyXJRei7ubCr/iib5AsA4Zc91byLgB0FAtF2jKTi+RVKdZPfHFhFjd1bK+zpvfyViSREuMO5zLiY4tpQOkGvLQ1DSI1EMuQHr2g7d/fc1Az0lRVJkkUIk7vyK3u15tC4duRLNpq7z2nUjJO73ZwzxvTbfP29mf/B5H4deiNlyVoRr2kqXJVEqoFdDgst9P+OsgzpJZGSTSLKSdFpxdgZHWERmCi4xT6FpPOxw3pdmK4EHxdip8tPzXK2gNBuZLazfZD0BA4Gha/c49k9sgtMBmb1vfuWQT9DwV0H/Rsn0BTG7X0HwGXA7BeFc4U21anR5mG9G/viIr0oI1K6Red4iWrrFvPewkgQpjB8/wiP0akI4HyJleAnjdVTYRaqGGOYolqyVMjTsFjGzSe6sA1erRdyZM5kz9zTqwg+MOgFdJrDWavZdMrAanXvkgcWiXwhvyBjP1YSF8CDZjeUN4iNRf7MBQXtlPJjMVdyIOOQYZxXoMncXjEvfKiI7Djmb5EkYfg2dtbf6pW38yKZc+fixvDnjXT5+aDSM88Eb7bfrA4ZJqTfe9eDKg2YMIwrABQxEzwhUoKEhpI+DrMkHl2hQYbwWB9Plm7RdaHwBsVcx+pSUGswbBEpSi11sMyK7YhxX/GtAiHRfa/uqlJVU+pURiDdLOrKBGoJUwK2oKwBrnVhMJffkR1429IbQpPqPUxa1jLtiVDkX7xBwmKvVCtrDmBN+nmyX7TtsGihd8AFzkE5mJsouqH3Rn6gg9MNVL2oCqJBBpwf/RT/JLx3C5XbhqHa/N/RdomamrlPD3fkT0iAe2EBzfKP9TSs+XmxGHgBMZ3vzERoyv39lrM9kkokxP3S0iJQypl4TAe7J5pxQ6JqqfmHfRhLK3b5We1QpOvkynXyKDn6agrLt84kgFuAgZkLDqFJ3HBD8B4YZcuiQHq4mUgGVDsHWZTLucTfN4CSJdvtrs20LdW5wa8Quzep63WusnNqKwdLccX3Oh+JuHQ3LnpE0SgJfNkFrvoN5XE6zQzZ3K1VBUM5rKz9mw3lSsdoZBtmPCxlxMxC8PbOaFNaQPoh6FuMojWIu/l/lTkogj3VKKsrUa3i0q946fdeJTuoZn+EHE81a3Rb3pyArDHJck3pqFQjvvtuk8Lm8+keWMsNos9UFcpnle5KsIAZdClwCtJIZXIaAGSWXOVjtu8gfQfzTsrNmZLpxll7Exxub33V4z5kzvQS9HF48nm25hzWujKrF65HiPHrJOt77BKgJym0goP981nMbO0GpFJVGDff5N5E1+GncQ3wHEyn8d4fBuhDBpouWxCVLqRGXpn6rOlNbRtlu/fWMqyW0QzaKkgraSKDVrCUOfmJA4KV324bvVM9Nzoj2TqoYAiEkvDPjqnwSI9QqHliGG67gTSJ8pZqanXxNwnc/3qr5/pg0q0ACYMRS/mQno2NLojNw5TXcmuT4BYYq74YEwFrZnSZHtDDYwYAnrX2QyajOMD/M+2xw/33tN/sjJ3V6cLMm1jpBGDXHKhSSckq1PDJrUwrgh8us3AtBF0Bes2BwNaiiROhpoir6hga8dBbkquiNe1EWHUviS9tVJb81e1X2163vAGQhufiGIuCza4NLD9dAu8IF1Pr2TNuOO/7Kr+nt1W4HGMPymPMQqkLqTwzF6joicVJgolRlu5zTj/ew2vwvQbXi+CfzlLj+s6rxNH2OpmVuM2SBHSwV7lLjkmqf75SFsZDmLCnUBDhcSSD6sv7Ks/Ekh98KaJPd2FYDGErDLWIpIat1/5h6X0/8TXZRO1sh9LKxxNVg6R173tm7jsoaJJ5W24PkBZh4/uriVOBs4Ph9oD1jCUTN0PAzaJHGmnzz+mzJYsFomsFACxrVhTSd+LeZQUM5emWi6hZGY2MsNtbN+bU/zS+r18aE8NGmbxS2wuR5ENuV/W5GIg766aVkoDnoxa1aFN8wwRh3o4GtN4b5PUUO39XZR3RokcXz51LnWaOOA8Rap3cTPHeWy8Gz0I5kRQYeXmHSdaqfKihRje1u09t0P3rMJ2XJlKZWk6Au/8AgydXK+5j5u4rxn9CKbWLd/lU7aJFpS7sQ3CDu88CZLpD16GaoWTySqqz6UrOO9v/e4gwjDW5sVHShmBaiCW34qlMCxMfjUVbI5MVYMhlsg3pOlZhGqOD9kgj7k+Fc6nRl8j3GmNvhBC/K1uSceZiY7uL21mWPeAjxf9GN7/Ab4doQzc4pnbrBLYjghi56GHNJ1aJftRddNkftzx/9VD/DOR7YOQL9qhSzj0QoVNCREFFg6OyzKukszvd2Gep9RD1FhAsgfEw3ArqYroTCL23WbMzL5moeOOPV94pOeT2csQgRuJVx5kQ9PIlUXuN28TKsVGwXgYU9/QUO6noPsdHf9waTEUC1xiW0WjiOLgBd0dbnxLHb2N2xBCNScvDSdVwTtK0/aoqCGLlt7M8VzRcYUdYjkKRLmWouxbIMsKuXtlRc6OV1ZAanQ0mL6XcxCs0ezDHlhnKw8ooxoN3q6RKUmEE7KUWCUpHTcrdUAyV4PmYKwyWUwZjBJuLAgc9Y8+aIHoNx48gjMhdZuiQIwsS74OcHzfIWGqStRgPlLj1BR8OzEM5sTdA8+1fVekpPE2Qq7ErwfT0zI7MevGjU7/WmfqhEZ+u43Xix70zv6wIhivYrRe90A1UqhbzrDxdYvGR+/VgmVDxMGCK8f+xUSfsGBHWiULvKTGSpeHfN/K4Pq+ocE1DK3WV8EjeY46HPqlrIeu8ZAB5cIaBn/IEnARsfsguVwj6w/AYGJyvuaPhIweHN2KK/hwy/vdkklZ0Hg8F+uP4sO8xRyMwAxyKndgAUe8eJ/uy4CXUa8DO1a23F27TPtoTkNE1G/cCDLc0EOXnrAGNrpKdhNWjAxB1bvnHp4wsPPCNapqzsULIsd/2+8Br8PmcAtjoIbYUmbP5pJlj/x6PlmQnug1uJ3B2lNsYvojdQBIjRUR68bk1dzDUb1PPq2xWy6ZrkzhUb3o6z1gS1oI/h/yqd5Eu8IGBy7U2O6HZ1Q3sFQpsxvZZ1S64uraKtbivkj1RhdwmxcKaPTyvg5iWF3/Ch8Dr/KQF8czqvtFt6ezk8zTxqsnbHUbJkRoEwEco7pWgVWkhmjZM8bqP+RmMLCS8tGhY/doqlIHTq+W6vymQ0SJtDG/Tl9BYvfnP2epo0AgvGZ08dta9KtU++mSFfR5nS+WspUlNUuaOBJvhoLmAoa4hOu2PghR7nqsRRq7p7xmB2z/4+rHVi+h3a3EMR0d13oTL2n5NuXK2ENfuTHxy52ytpQ2kuNRIlwRY9SePkC6gP1VwFGC+NTQq1AP5Lzs/UDtTIXMSpJiUJiQWizoZkY9BB7p/9KjK9V76z7+ptNTpwg6C9djpIRhS9hd0lCc7v9ieKLD2/be8o4RAKRIftQl+68Mi0Ph0tomh+DfH4epZ7XHxqyCYBs3rDK9ZpTjzHG7M+CToCgjZJayTqKksZ0Ilw2dfJbTugXWlhqIjnvFWOGA5ZsCSacNe0b4LO5B1eHSSHWhMOlV6tzh9NVIzxCePswk1AgRQJxDpQNyzSqIpVDsnZL1lZwhZkVvygoOLuaVxJHMYEgqCNy+l4bWBddkgUM8fQdPScTmCmxXkQOMfK5aebHreNSd6vcjhDX163HHBMDEZFYNE4jsnlYDE9i1oViZ9Co2C14l0/yM/0EcLkg4FKKDO+WL7CRiVFbthTtW9mvydvY71umKT2qud1CEJ1KyVRgjszmivogFY35u6pQGfqFHXwKPpcRcAo4Jr5pzxXerf9oobSHGH7ep06+zzf33oLoApZ4NUOIY2tiSyefalswFwdJwjXe/CSVIJVGHXTW4GC4FgB4XTUFYAbvLSQlARBHQnwruib7LRol4HmHpi9c99tBeMYoodx4q/gLFzYcLsiaENVIOQio/q0eNQdHjekOXKb7vYHru9iY6JQ5roNsJ/HFIG9kUF09oqNpBSoGO9KcqLwt5+iepF6PvHgQaDQdvfOjhLVFBey9llaC4HIeUJUguuIPnYczD8wUCVBBnb8i2iiym8f691gxMc5kYUOE3r8loaf2oAssDE3KWrl7bikP2S1sjcPUpGiQUrNAxUBQO7B2lDrM/fuAWFhyVJcfXqBWbv2rQLty5A1TDkKRzrby8hRE/EE3nAUbGCetVLxLfVJqFwkLcJGokRrMXNgoHqhnFBbLkZ/wOfk4jjJF2PknzpRDSI9yZ7vbapDWsF/kv6lh0dIBAH28zrZ9kkwLv4zXrig1SaIus+n6zAap3lx+zz1uphxpLZ6MDefaBETK3fRyWHewURi3PKmwszFTCRD6ECtwGjjAAm/EhUCOAd596fQTU88nB41xLuRryXH2BHk1jBePHZF/xh16rYFTf1qdgs3NS6PXqqFi0JZkU348U1RzQ4hWt9jIlCcvvZNoA/qam195B0H4K/zjCTPLu6n73RKYDPlDoG+CxbAMAknd0/DK2RvCPBR4yTgEXemYfL0iGG9OpMgKDRB4M5iD+ermrj9V7kp5GQLNuVxwibJMnHvqRU6vC4vCmILMsNyGv6VsBsq+0TlSl9tNWNoSzpkSnwcr0+eexOviKb5eLofuKMunCMaos0gEl06bsFlLlFNUrRRNxhtr9Van18eW1xcEai33zjnHzLttBVdE89fKczIdcgsfBUOB5YI0sjRF8P4+FE0IVmZt6Gamu/swrbeO3rVlSsca0vKeGcpktZcUNPTQI2dH5mZWAAgHtZitH99qrxOF43P9sJLT4idlOKMUC+4hyHiYqMJ+VlKn6XloIVTm2Ost3WXfAbDSaKf2xUzBfIuJnv3oAIemRgZtNZcLhiYc72z1HAIVFl7OAVko+Ad/r4U+vdzcYTqxf59ogKtKcwrIm2L0qvk2y30psmC2FreBRQgx48ZNkoKqTOPc7rcD1Zndy3OucWQU2cug5Bkitv7uLbbqlpdvZg3Fc7zmrudLyGRNEkhilopjbJeIIcQvMRz4qpexubMsx+5ybrb7AoEBzmrFqM1202UsNmBJWx7RTxzyFYU4AaImZ6lBnL/kqiOACZBrwD5U3zYzNBci/Li745UNuEV0LL+rZIKVEuykyqOHBekKBqeJYtkchDIFvtXn1yMdbFHji1uuSgW2ayurchHUGvpinrimW2OUaZ93wXWfEFOW7iQtQC1GWp6caZ7E+EzZm/XblhJwjLvJU56wG86FnNp1q7gUbg9j4uHW3ukHIwG+GoG63PJt1G9O9oKWLWD6BBTWG66AumNL44DY7u2WKhifvLXHEjBYwM8wamI8ub8PenoDdmsvHU2M0cWcJLhuJymT/xMu0CLbVxWUIMgHO4pWFWlmcwRq4wLQtPpAoMv6wiksx8JFHfLiFZbeUtHkZJKRizqTWoGh6X9XlgDik4NTud8dRZBf/5y2tyxJzN19pwFNA95RmOLLJ6XbG0AaII/XMBolmtfiosWj+QUkdpkpCAFOfCYS1Jdi7PFveyoLdhmaYu/d01K/9wSfxCmHuuOT+BtNptBBvb+ObWke2kr7ND6+ea+5+c2YzzcWP9xUA0i+f1Py8CK+uans4h+iy6DRJJeUnwMlAs6Qoun0OcEvWqWhSRd/k8mWZjdKPKr03gZjE9c9BOVlrCjpv36UlluwNM3yzRPjcbJq9SHU68LUnMwnEzSrkiDGX0wIroBT0rxVdS4zKRPfi4f666E5EakQTwnVDs+iJpVDr7zZqFfWqbZPxvzGSsAXmIqUqzrc22WuI6SwmzO/2iIQ4xZYJLsA3GxUzHGxV2s/Ptyr8W+uZSCpscpjobciwIQrNuy9fCQLHX6pzGx+qpelBtckX0it7cC61uK/JCWSrdIjNVgy26HR8VIV1givhjTWrQd6Te0ZIf8Ose3qfxQXXVrbq3U3VQLtsZSFWy0rh8Lw/XccG+dPY/JafuVp2Mw35yhFjEQdvL7pUA5ka17mfbGYAQkmWJJNwK4LFvPGH5wlSW57ZXpEX7J6ME+lkL1T8pFSi7cAUzxRt+TBej1dWHjXe5cQCYQTll8LvLKe5EmPDmNW49pmyxKVQYekCx/7L1bnA5zpYMY8cWlt3r7b3t9zZWlCCODLwEKNR4b8L/g9cFsH9KsCJFeTM3QL2GE6Asrvp55n9JrP9b6NgC8tKbW9KF/jkTRUwrW/SdFbjAUjRxhnxuOBZIevxyYacChUB7aJMm+k2emdkPsvLcfiDeg0Pfdh5jm1zNsoxzM+3eYF/5cANt2SUBrhd/OBpQZkWJLq8EshXREqUl7lmzo27yBMKb8b4sTffi71Qf6rJ+9+QhitjY0M5I3/lGz2scIQgAaaG6nuWSbXI7Ye7ciE/Zcl+O22X/UU6vAcqLnkSP8X1L7492AVTwm+bAbpRKqaUmIcEx4/g/kaKPzVJiScnNr2D095qPHJtK4ZuG2hY/hbWXxbByBTzXNvM6eaX2ndwFVn3UMdfK/K15X9tghCPefGJ4NukeYS8eKAk/pq5mC3BMIkvtFxgd9n04Ho6OhJvRgX2iz5aGV0J3JTfwhFaLz/I8/uqv1dDrARchRq7Qd2otf0EpgWDk9Ub2baS4/rgLRYjOvacZPY0raId5dkTanPc547AwnPmNLBU6FmRsMtA96xKfLTU1Z1T5AwA8+UqjglUMvF1XpNM96AtaTywye6IKZ7S2m6EYXdj19gLsTjfgc23BMocTQq9xOk33zX/uJkK3CBCoiHTbn9rmLJbL0CyyFt0sT8N6l3hxBqsqwHDH5Rbyqq/UBP/q4mmFcbBwgl58fvO77C6lJfEzQJt23qzb9T08OtTgrdU6wMqQPolDXjhLPxCB3gnz5b9pcavSqVzceNgofWziFEVHlT6cBSJ5mbIeMXEXNGDQK8s1n4o130FVDo0a+cnFHextXczTD9Ujj9Wg2tU9FJyR8xqkGEkCs/tn9/LIhonlskph2v5hDYNfO6vq2b7WB4ImUh1wPXNrsaOWKQOntROSrDIhd8ylJJ0aBBEI23haG9Ak/fYk8dgs16ojF6QALtlAKdYyYghimUjrPEhzYXcFZ+5vk94b6+OCGoFnIw7xz4OoXSm7D0+ai93JkUIzCX0v6Wu6yl82t2Yt5PokKYekzN1ScrZvKX3SE2TbMRjVKl9Cg2ehbndmbZEvKXzH9PDgxB5uA12rQN6TqSa7M1iCYZhu7KBLo+f0RempKIp9F3CScwBcBu1bkI12Kwp9PnrIBYnrW1kPQn/BlC5rkSVdHoBcUdNOTlO7XPTMqKZfDCFpiURx8cPwQuA7MHDc84ogDQDPHNczyLscxNhIIPSDYqlri0xgDO1fGLt0cMzaPH5HlvrADL4YA+A0RlwYa4JLKXU51BCXFAETOazyMQxU6zH9+VMpzzuMio26Tkp0N/LCeN0VBBmwR1gmFBcaZeCCA0UCh+8iL+o9heRGS4hL9OuE3fzZl1uA6DrS14AoaQANA1Bi6DHjyp1PSRELWyiZiTPl2u66twNZ86xCLQWQGLmkoCXM3SAbBDR6RTta3fXHHTxjvBwnZOx5f0nt/np7r206EBccHtXd2wMzBmmu7OO68tBVpfs6sC/sWQ0Bejyatuxr+umjsFb/VgdNEEY73KpKLM1jJu0Uhr4oPuLgRkS18crtKzv2n+L1+iO+gLzITpskg3xX6oCNgXw/jcTu4JYfxMBhUKbR6HTgKgxG/4mN/cbv06GD+Eh8v7/RBj5epdjsZ1XV8knCT33MCvpTeV0kvh2JojMwH4XrCumy/ydQPHJ6bV1YDDqrFGagfYmQ+uH/u+rBSkkTnM1Ux0ReNpgDfevCTbPpdEnc0VZnf03dzS/L3g7A6tYsW1Lxtu36xMrGdG4glq6iBsKisiW+hnKg0P+PxlBcl9PJUXjqeFeJN3+3UG3tK5xwWXy5Fe6EQ121TV+esPtamUJwKDu5s8628njX8PtM+Dof1F9IVUWml7MbOlrPK1qme7spWsDpxk06YrsOIBkV4DcOkAn/iszGlFMPeE7a0+HR6CIeXSqff+SrTtKsvAppdtK6unMoFXpaYOtWlPySNmpqWyk4gMUp0UmWJE+Ao0j07t/PWbBIBS41eBr1JMraAKSwO5fHMJ6Srf8qmPJg2X+1VI5K9Ef3a6FmzYlapAfWXbisbwZ6EzrN73AYysKPxNAFD7vLHXxWx6yW0Kqvc2XyAGuHaAS18CBA8En1//rWvUtTDc2hOor2jzKtpAeK+Wbi/wepSRuto4jNO0+DFhmJnnZdpoHU64KW7eu7bnO26+nJ2/rQ/xBfSP83lNOHbo7MB8HvlAKGIPMyf9gkP17AT5izAcAJKzpTUbtp6wGkT2s5PJK7sPH5nEF7/JcO4w8R+0ybiaWnWjZLUky/lp5uXa02vnvGrS+b8ciEMdEkvxbo83xOmoWkqVJGQCOYOe7n36pAXxivLCgfnuEuwL49wq79TfzBxWITY1QTPRdhBGVVAbSHNZ8X3MN4BXgz2JKkJSyiLyHo3iNyXUhJbm4YaxROE0c5PmRMnboVVXs/sLd081Kizfolg55abndMSH6s8qtMI19nxdObHXbnCPxkbvP5fImL+qMN35aPSwziR2VF2GdSkMQwUf2fDVprh85cJNMdVotVjYRUDvFbAbOSFCyryq8L2J0uUEOZqKHdh3s09wseOowr2GXPXQRy3tCPC04SIKSXQQYlPnhqGWAzxd3sdj1ASPFbl1A2E/m0vqon5P6hehegDrYUDcmF4m1YYEoMG8/63r3vZAXUQt34dhFkol9HRMx6wgvnYXeRIKiamGgLeRNBTaHkKZzMTHOtQucTLLDpLjUl1YBqFHT+D7a5x5/4H9S5G2HmXM9647YMWkrdibsB+PMgD3j4FycrIkkKkEhJnwUgkTIpVeBAlkE2hv4QTmMIoe+Krw8V/bnW/PFHXem+F88oPetzO7v6FIwhc+ZnKLHe2T7XVRHhCS4dV8NKFbZgemojhoNGWchwQFc+GLz6ZhSeIxb7NxZTefjB7NAJxAaZIO/Bu976QMeho4iyvn/JBcWrKaHiTKUDulFWQy4y1lW3g/Q52mkK4vEhTCNJsE40s2UYFrw3wCdo44gIfGBlOpqi7mQ5LCD9IpFZr9FIwU5tNH9FBsabovPC75XeSX+yiapVHMGIN1IX/Fnz7S6AhmlOVUzDFa/4EpOuR4627Dcidagst8KTTOKnIcB6d6z4Jy3tLLipuqMsASQ563kgUt76bxP50iFORqysuf5OvTk0ZMT/8yYemyCo/7y0ua7g6UpJ1iPAUbIGm/Yu77vwFvBYQzGsTS1Uivd8pKAz4KByxqulb/d2bxSgbir1YVk4qaBEhnX4IEUx6BXdbDv42TDVKgVS7QS0ZGFx1nSb7tf0yh8B3GLXElVJ7bwfmMBR5Q/i2cRtluLpRIiSVuhG/5meVz7QTQY6MFokL7z9vPp1DMJn6IldtnSYKM4+1HZBmEo2gHGB57WJX5X8eVrTPPLROURtwMvVvjbO+ds0I+rfppTHL7Z9E0W56feDUQe7qAbeo5IC5V/BTYShwX8PePZgcrJG5PEF+bgQ5k3hbh1PRoXayDk6fmUvdouWp39mFgxJ5UdDXzHfAlS5moYHDDQfUIbMMRcSCoouC4qkyER/J7IzUCF9ZvJJ/jCfY04lOueeMY9AEsq9/AmQnUPVh2aSXoazx06RtixrMtH+ezr1oqO8Q9xy/CLTDxINw1RRT1y0lY2zjbcl1Gj86rO5rPlMepFSftp2gxtVkusLXAKscamFF2SUTYPCA77yQjpPtcXVuRqg4DknMriH5GocDbjKxaKo6pPiBjGJxf+V5W9D/pbq/uPytIOZeydOU2G71igFZpKjKZamqrv97H7QVP7Wc34+o+zBObUIdQjV5aC2iFR7s1+zfF1FbvREoBRvG99mEIqrAJ/Pv7Qx0SE7lw93gZEhYmroEthn3j3DHxi+B3zm+VvV2rV8tOHBvAQPs6UKZXLVw3ZCSD3cVGdytjNddcXRylnS7Ravm13nGGXLZxH/5Nfa+NcBxkI2YFK6P9/sQMnIaDi3JOIFC7xXqCGErySOKs/Yl72axJ5EwHgV3LuqzqiYFoxz4MBOlXTGC18fZ1/QWh7eUKwngiUWcG5JQaBvYnrXMs3WjVQ0f21v1Y+/dmV7WPrh6R2iKXtnTMRsAiSkJS/lWo7sy9k1aTJfKyoAbHpiRawpstG+WS1bGIX7VRaPPv3LqLZ0Vp952Yb5QaFrNNtsIiOk+02f5ydaY4BsdTgOMT6rRHLpu0EHZlYIg93vjhAR5VpQaw7Bh1Bl9/F1hrLcOCgtKOHL2WUSKjP9LzGYcjlxliDInb/GLYgx4KEYVRY/Gswzru4Y1z5ZA97ZNOg+HJ/4YE2on5Jlx2NOQxoVWuGb+EexatekMw7WeFWSJIHZIZRt6E2wENcAESo2j5+l5BeTfAGNqlR6z25DcH+dEbHCpqHfdvjrugePxg8bEMy9KVm3Fr3IZzUqCwit3/kZ9xfkjRwjuE5yoXUKKIpgYwmwD78GG5+JeWTbHRnDHlSYqMwTDTvafPraaAG+dWpMrrHGUDjLtQWJujDd4IF0Y6WqM6Fsui74ry937tgkqFzaz0Wge7ChSdKENmFMXB7jEPni146TQyai4VpT1aPQLpnhQItKMkXkrwHskuxVC77mr1D9iPOAvrMsnsNOS/UgKqgmNbBUPqBvnltiJ6/wiV2kORUiNSLddDuFFjTpOBk1YeJbB5tOzwbMC3Nx0OJ6Tx6GlreZ+Eo6eWTAi5NfCJ7UWyokDSxfthRZRcVJFkqzXBHlDnGZ6EAP8ajm6pEntbA77OCPAhm8xD9NSRaPLdoLyrXPKFV2g5QLu4/1t8EkwHD6uAMDZ6D9U0cPteKrM5DqvKChhGGFClaOd107+W4VoYOASw+oSmTev6aD7Y+zqz2Ykx7gFVj5NOZJO6ikEwClAParZIrAy8lsF/9qoIoEPt/b3qmsYh37/99KJOm3/emNpbKzxsoMN7la0ND3TgVCJ4xSrbrZHgek4xL5D8q+rWCXbm2a3u9LVxKbcSirFlBpeKeRKEVDZIgT8dTLZumFU8nDYbOqTc0uLnSzsFIeLE7Ibl2q5/7Eebr+ge39VdqW7kfka4hTkJVWoGbiOoNGurvfo7vXBU9Z4l97xlWyboLaDKVtIqQP0ROCqMYIHYPnzPnpQgjQFs6Ajt8Q08XQzQl4vGkevIPNX5ba7DX3QGK6pNwdiPg9TKvpeXTqytLxmBDsKtF8EGn7HHi+XXl52HvWThJPBTSK8Yfi/dHYe37FQXzJoET2lD3Gl6yJQtt/tyGqBlVPnzAETz8R99/vsKTPnUqsNijMZ0ZZD7BHl1aDHZTvxKmwfQa2D0WUH/wVwtxc62CCrQn6jRMppULHD08qwvHPZ9WLyBtZZ7KjghqhpZV3Bz1x7sDsvGDUcNHD5NN6AhSkuMIzPR2vpVmGh2DmuQAg5InOsvPq+yKiDi1N/DLVmSxQoXDWHBLinTEkA6a0gwXWkUAfz49+XumyJ3vvoDYCatEQo8WX/vNISolF0/UlQSsevBK0Q43H3HiDAJN5UO7LRm50mPPI+ONJcVuh302082GVd4pabMQVanQWXf5pZKHGXPgQ20EjdqOO/wdXpXMEGhI4NhrGsfH7ufyBG6RcRYzoof4SlwZcwLjZAvPzPodx2O0sSpLjxE7jEw6aEEkjSHWf2CWfnuPRCHlf09OkH258truDZh3vfQxgfaqkncadWuU3ariME2LfoWNVpWuFyxG3zOoE7eYHzJGzw5yCIcvf1dhpWhbpxJ3hTcOar/fuY+9VjY8CjfvD89Hnwqzj8JElk3uDuG1ZndMtoC6oJn8SrmMguPDEhMfBF1z6IhcZCB9JHD2x3M+fFRd88I+fzHqGbOhUrb2RDKKpwmMDvM7uH9UCJTw5CFmiukhxjZpJMWae5VO5IuUiK4YFZVID3zzBtn30QustL+vW/nWkuGpSn5KJZy5i8oLL7hzbCJmkMc051cIiDeByfgQfrxOVadN4N/JWnUmaUzXdeJHbllwAqcYEeILFLKkoEHmXvkxV9r3bDTm/nsH9XiwMunPFvSaxYr4TrISdKH7SPbcNGjcGn+BO9yDeSfhDFdlgmUeGMjC4QJsDMUQjTl0iN5FGcHPOATcqN746dWhYzv0MaJ1dDapgA8A5zvFw/F91HToL9ek9OTW/HO3fTz4Br2n7Lz9uyjsQTGGGgUfZ6FcglLkxdcDi1gh6nVkx8iQ8lD4agyQdXVSxLE9wla7GfCWGRxbW9yEqllm9xgqsieDMjqifjjafYoiVhaepXj4beZWqUtTbqvSkVmhQyledaWKkoqkfyi9mZXOto4h0nihyXsIAe7AKmb9P0cL269zrhIbrMyRe9JSSEyo66EOYaJ7scjvwAw6EDZMF4Uerph75zPwkTac25OznXZEq75kC8Nim86Q90SC7bwd7JhIy4/uECfCQhpGTsz2ymc/hVSpeXP/jKg4HJExuMe8yl2uSeG7eHF6iTKhLzR6e5EW2DoVCOvjufqQl5fZ5mP1IsaZy6IFF3pN0c8Kxao0bxrT3oTFhwWflFu7nGUIdg3R0xc1BcjcAgWB0tSDYW1hVsKYIBfftWqUp9WCQbamDMgcYakWRdWEjoP695dep19AyNEDPxH3bU1OQBZUabIeLmlsKvVh5VA2Z40C8WR7nM8G1LxfSnDpFd6+3ABf/s5Os28H8025Yk26wfwqYT3UjoLdce/dqIUgM/dbblXxt4Nnr5Ihk7ENYgdzy1N1epIs+BCdCcc8Y+agXx7+ZSVnqpmB0ctboU/tBmfUUcKLdHnDSKtHq3F9EQfJdRFOOQLYVpyLx8wtMsyI3tDwmfZafnwypGD8PRKobmyFuYL5MA1w/88VOW2TaEeQBw8e8nYx2rxOmy0RPYgaZ8NEl1czxYfMw9WiB7sOy7hWnnwORt08Ai9IQNuOl1KCGKM5Q3pKgKTMZ0nZvtE/NLr9BwIGnVo4aww/2SOMuewhBGztgKG929YL8cO1JWqS1Pzs9PnlMrag2E8sWET12KxXjt7BJwXdYFQMPi4tIOjnXEC4sRkLRHyaYtRdDaxdfBiVG6nNRxtbYMXk/yO3g8xZYDxN8AouH6pFE0Ef7YhhdMJPPGk29E4rUeJJ5+73oW+2mlFOJhR7w3sypIQesm7tVKXryLRBtS0B5JaQYoaAF3lWJ+TcRLX/oRCLTGgH1tTQL9cDlIkIbDBbgy3mcS1yR1SCoNpBo3QjN/S+FJxNrNReS3MFSeuHa/p/6Cx/mpLRZC8vKNq2vM0+fYAifoVC/tsx/tBSIqxOmyYAhC10WDQzPOdN8pYoyLhA0JxiO88kw8B+T0D0cgsH8P4en182FK7WPXnua/4jEH+zH7083VcxDt/UpKWAYj4vkJ8WnmQWjAf/fx5uU+ZwnO76G8toMQR16hetTaip6wY3XLa1Oqz4F0EYcikD0OoYyA+A//RmQjMcoQCXCaZYUIWLy4oRKHze4sfs0TeD0S47xvrBFGnMqlOf1gkjmEM8jfOtVpY+A2pE4nBhS5Z1tzb/gNmCwKXSe1Zs9Qu2Jp86XLoMnMVFh1Ej9eHk4MhhrhnO6/k2UkV1od3RGku3puddWPSP2N56+wzVXNrEQE7/HrKuIypFXnOddpCSyBODdvWwndX0jTXWubZgmZVBNwswVB1gFaoqMaXNbZKU1VZyqlTxxt7mw0xhjUTt3Tnbg3bERSiiIPX/r03kWJYseo7Vd/Ubm3UrxdTAXGtWNSqGrwmvYvr0TeJi5b8m6LPJ5+91tkJdmzC6ita9HH1Wfrnh49oeWam9ByZoMYnzTyKxcwUQ2BhMgwKwfEZxo8C/hTUY63hSq7mn4UAqPA56I0WSEE7+hsJL9sR4hns6otckHsopzKSl+z8Pv3k1FQoyJGNAhjbNAEJttSsTuRnmlIGSzFTAR1GK/wCaN/IPJAGveZbffEqKJnfzZalKUovTxS+47InWLXR2ePCXRSOoBv7px8CFwMdhxCxQ8eSR5d2aHuYtBPOiXdXclGlF27fpgnD3dNd4/ynMJ/xp+dcPdcpx9hw/PFBKZiRFcRhgmSyBT3pZ6CpRsyrIuk9vL0ywlfwqua9ygY1NYDMEan4QnbZJ+02gm0jKM+CsVDRI/BI9+2oI4+s5iq8EwGK3SZ+UBzzl9bwC9xgxS2y1UaSlRb/EIrRAAMD3sZlgRCNXL40eXO5B+s+q5nalodYM4jJj6GgvZbtyRXYAXywtHgniujhMdU+eNhjc/tyCa54O2vGrXC/ulc4JeggN3Mg7r9IocwUg3zXQpbQ6NwsJRlbtcxfK/TRHowV4lHW0dJaQhm4LwxAxUY71MtsqdBx9A3PQlHJ3Rqh09Yuaw2SCegwELRHfNl3nH8OVAxBP0R58tcOQV1/YhtH07jt6e6rFVWUa+TbCvrMSm/ZkClaH/YtGeQF1mpuBlLCnVImdK4hQMGoBN6ycM5BPf4n3BhjHYaWQsdIakndl5ZJgDqeXWDW5nBnZCPansVz6FfWbkkA40MLk3odw8lSJhHJSBrwXIPnw1kCjb8u97HMB2lLH+biGZdvRjn21Z6K8Qz7nuE+5/OwS/SU7kq54n+KQ4RP12XnGXg3NG1hj09v3YAVNUALSr3T1VybN9jV1Evi26u7+4VQX4GpR+vhH4+MjEW1Y57MvlnNct7o8YzomoWztuz4m7PIGw52fLBjZfONv8rem8OuxjOzzBkff4cw1pAtQCiNfp6vKgCFtjdRrDi3/vBEuHzxCTQYJLR+2VahbyOZFkGoqLy+i5/3DOwWjzmUx2HUKAwUfidjLT/l9IboFzQhZufi0gZa0T+bYvv+8JZ4oQzUxlSqTveu7aWUQmHKDon6+t6IPsI3TG7ZeOMCO08QTLyp+FPDeLFD7w6lk1hhf4fKuwO4QS6tOTW36gbD9Q54LGXpZosl5PbdaKrrNyArUClYK7xq1NfTuB6XXuEzdvrIsxwP1AtRTYw3CF8cRN+EQxHDzz4H5XoP68fKyjtRqw3HkhPm5ZlQ9IDSGJ4fuqdbUFykSuf345GpwaMyjEaYxxw3LBPbIuJ5C6ObBFswmETEUfcxOyf8YcKgonm8SCeED/4YDCPhdeuskZj9jvbFkDv0yyj6U+/OU/Y4HmstX8Q25wsK1L0GE4m7hqGhlozNGKVr+1OoOP2ExUqUwKSi+TRxAScPhAVQbCzb+FXaQy0xQEYJFVwIWFsN76xxDjWO2IiEtenpRn8uoqkuT5ablLKb3w3/2RtfYiQMHZ8g/Fksv0zpO+WsPQZmbi2c2HOyzdwdb/oxAvD4NPLlK7XT7z6Qb9lld+XNQzJfhTKYkN0dAuKjC9Md+sy6hSaGog4xqDG/ThXmVqPjlcrjuSJICDCHZtoUBMy1rWAEyTeKzq5VeiWRwP8MA0pjgogDWYSADCf/OHmaMdNtdlC0l9wRaH0EPXwZWJ5FFJiitU2zVT0w7PATZZO5iH/1CdvhseaQ4wG1TsVfVJ/4R4/cRB6F7D5DrcVe91pFH5R5vfvZg+BkpbmdzQF0xOMfVedsXJdo/wf+wFPn+wDP3+3ET90h9yMuF1qJeK/dVRoMKEtinxjw4VZQL+8S7qku+4nBTcFjuN4rW/IqQXd1v0/LVPyUqMxqbWfiT7VwXy7yqjqUugyPpsoSqxZA1nZOvBpspaFyX3B0Eko+hTpqzWeIxYBqrTuUTUe5EWxeGMi6QFDk/o0xeRUhDHsYAZwl/mdAd0Q2rpARBTP1yOb1sGBnJmfh7ntsPDBm84XcdYjTHRlxCclPeBD7MnwwsOz5pIIJaXl5/UNO88anYqfocwvdpiPAKhmZ841U614gPjysasQVikPbj7WXMsp8IE3MAjgSb2IN86gJalvkpxsX7cvDkgTCtuz4VsqHAe5FHPLQQGXGeyFsThtsipJKNJersOj5DISxJFQBnc8HRu6NhqULId+vzSwjoCJ8goFMJ8FatYIlDfXLPZ6t9Uxx1v5Y5qvLEoq7+ETD2bOsHm/3se3+/WYD9Wq6TY8pkQAzRwl9s9BWU5o2Vwx6aC9KACKFM169wk04VjBMP0OzSzi03RAhR+aaP1VNwavszNJ60wf1kMpWImw0bL8+CbG7Bg5U/9jKLC9OC7FAwFLEhN0qoDuznVbw5YZXpKYm6X/i+E5FemUwqZ2bih1U08oY6ER+kMgrjSP+7Pdtpyg9KOjG/MHcMoOC+1V8NvIrsGD0J5Z2CPwu/95v/mPtLcFy4QxsVt4990kjfYtxkbob5vp4hakQ5DCTXUU9UB6UBWZ8/AdidXTwx1pme4H5Lwh8T1G6bdLqtzZG/DD1PXRpJK+zcCEEHUMTh5jrg9+JGr8yonPXf13EBS1NzvKV1Z0GRHcYCvH78rYPJj6sc0UinNZwkWcYLB2bVONRzy/mViuMt4+GfzvgbxLCRGCvc/Aq78FDCSen0L4RzWKjMtQD4KzvREqm233QDQIB0rFHXNB5nWsTRCbShrniF1gmFUVIK2O626w0rFMx79cxA9LkOsKyn2VNWmXf0brUgQXPq08xbFYzBXvnKUBcBID2XvGiwfh6YB9VZzZn0y7Shzrqt04SjPPRJTzEwsvJV+YLHkBFlPP0FhPXPlmjoAArypBEmg0p8Hq4RrsqSKcHj8k9Z8icso4UrVNdMMdCxQwUsn5HCmwX0lJ3P6Kbo5V40yKbJBO8WM0ayPL50ygDObU7ta+s6P3p8iTFsTZxwNYwoBBxW5DHZ5Dpj+4DSQQ2XtTR4e3TSGzhf3YRsU3oNTZSNyghBliurA9DdnmXuOutOj48rBBKKbZ1XocQ7IcXCDDBczzNkxf3ILLNE3FVzhMsxOINicTP6uczsSUa3oixSo9oGQn3neMRs5F8687xjbqONfiDPB0AcV81dStmmL+ppKrV9YjULiOSb0JnMXX7cZueGwZgDHDI0r4/cS3EAXLgF98cCPawdLgz1CYC6fsJKgLhlzOplTbtSqP/MTqsiXirOm7z+8HtHIA/7RBvHU3gzMvdHVi6vtEL6Ai/qn7cjxQpmqtrht1AVD9cVrXVFlwHr91W6pK8qnos3a6JXeORISUiDYCCAPOdWSAvcQWN2ZbsP88LVdH/yY2WJIgelPEFnx2NXRkDyXWKv9xYp4/K9l7vpdRvKLxa9xzzqVOSGhYao7ya/qBJ90uVn0f6yh5xQBoB/UJg8GT8g5MUUkfinbQRzo81kvyX+in6JElIueg9PsKQQwMGbqexT7YQL2b/0QDeOA7XvmlvU9VGgm0QZ6fm9/wI8aYTCcfPlPwso6y3+oFzJD7ABuIHw4uEOETBgajmRIR6QI7f3LbeXn+PruC0EckoiuVCp3oCKqIxYLDVdrkQWEtm91Ll92FSzQ/XQh1EmQTHpx2qFzvHcd54YEvOOlsG98pd0L5YlnJvz6v60vrpmB9x9cmCo23Wa0+L6S1O3QAYJ6t+znBvdOhrVW4G5bv2dd+pG6Elm7RZ5XYXGOwTump81TP77ZafVpWhcrMjTBL+1Yn9hracyvz5C9D2HjlvcuZk2IBUbG6t5Pl8HWkbqBicGSfYTYuCEPZJ5BEIqj9/rK9wUSdffZkeR5GszQL4f5Cxr8ld0kGIaktFKiauLfioLmCsErR1FLfWWTi6EAvCeHzDqVoGy32sX2SepxlkYNf97m6DXcVA42yxAvxXZ/g7l2fIZqVcLuxDs80lr0yN75Yv3+pv6Wu6kGfGdl9dZLX4N50ZYLkfCH+6ufrfZCqF5XOA1JVBaWp5k5dc3lT94Cj4Ce9jEZjORHyYwQxVpArGCjZNcryVxAQ82TuKLYAmCRKk0uBALd6wbHIEmxAhqSb0YpSYtOWZBWWAJABt1E80QRo3iVucnGVzuKtl/Rmz+e1dmcoRMUgAyso5Pc+P6TTc12LhxAWnchY5fbS3fg5Yt5tryUBCrH9e28eUv8gcRSR42DXvthSFSlVabz4Zecrkpb9HmFPhvrP0sXQa527hrYC5LhN8Ex0NAcnnaeA3GPFHfR9BqyPbQ7bl8af0v2y70UfbI7yS5lKIeHmYE6KpmBX+BELxqItdk8Ni+QtHPogDVsbxX9kpIIaAp6G8JjUdq0Qw7rg6nWHjTGO2LoEZ7ZSMzGt0+eidfWQndfQ0nUU5AYAE8jcvHYTl1BmK1t++5EJz1icilqoPAR623D/AliG11HTnpc0z+arHtsBJQojDZoqIumaV31glVeEh+lYgqyQya1Aeh7M3JLXvTgSD1MufsjnDHBE0rcMpAmPXibMWrJ8cTzOJCmdbijiXkJAzNGaJIBcNj6Wnger/On5Pi5CAhDEn/H1FNWvUhK0cbMMPwxgk0XRcEZ0CuhwCCItlVFktF4mWsbj5JIjngG4efI+0oKZTfTzF0kgws737CnayP4UZAIbUzmlT78CFy9CYdnwjQAoTE8baxFBE8mBWlE4jJru+88Xbwu7RQxAE6zSDgEXbGpuqJR7EZBDm60HsgLubIvnjCVm1+5OA313x/32aWSRLQIINVHFl32OgNFYZej1TFxR7+uWdc+hlBCAfHK4cBrkNRhhO1QOn/p5hwm5+UgE4vgIE0OJmbto3udBCP1tJqAr3j+MyTzaPkuFcO9QQQx7NfU1GiJQsuCud9FaFlBFY+8fQz0TF77FQpBd97ntu4KsdweZ5spomM4pIn+RHxO2FRcdvgwqGot9qo4llPEWDYztsa5qYYTeSMXY2vEM9md0m4/guXtI7izyvGA8fUsnhbxmZSZ3cJ1ZimfuSoOykCPHmDx2N2pxNvWic6ciAIxrSN+Uv5RTAyWkS33FF7a+CMNO/lgYsvWVc7A5lOkVxsS3/7SLK587vUvDLpN4mCAo0u1X4ddLtspoVUlXm28yjjDS/SzPF4KMHRu7YEO/MUiwbMo25xtsVgQJMi/uULWnpGNWItQgN69BomigDFK5w2lAJNeX/tJEgEIPFHPHuESC+IAAEe6QnljjG4JPam56LbRTANFI2jz7SnB+Z58JiVsp/a99X3WTqx7URB1BMWr0GiQ6cM8dNTYbu0eQ6pGSXIAykYHEDybHQPuPEcPmKZSSGO8huVSHaXzvWH5EBzwdCqay3kn4PZOxfq19AcAtUC7Iqy2hqA66luc75X7c7I9/fVbrbPHDCbQH+ccVo/OED8RbO2I7YyyNJPHMgTwy/oWhy0Oc9B20kSUDIfd896QYGwy+w0o9fGR3ykve4ensXZNJ9m4A7kbs0VnLAy+N/tv2yBGWBka75ZlRthdo3wBw8tyFMoPDF9B7bRErpyEFo3s9EZFub8Ig/buVLXPvq/fo8qg++a/VBzSlKV9ogbgpwlFlHHm23XX5fwPYM3bCdXVNLtVH1bqCdvwFuurkQKgufWVK53zqlyAOu1A7ko8un4MTijW8Z0glFWs5HiBN5tyLejHXiyS7hCb45j62U5GL2HQQCenDbDv9F39IzgYHRlqCiT7XAnrNZlMK4FuzRwAuB9tajJ+0xr+hqOfTCt9V4pYkS2F1LBJd4d7hbtwZzFx9hvO/bixjIisYSBhVehbRMUpX5RPUMIq9uL1uj/LdPU8v/9XU2tkotm+9FRvSba5wp223G2YN+li8qVATI3vxId1sV50MqKCA+do8+2VRiKxdnta3KNgzqVEu55QoQxuERGnHaBHvzMoLbnlIEhqnwQFUrW/vzyQ3q9o6OA1uOnTrmsOQQTvSC0MBh08NvzymJg26Ut1DlTw/HgiWBQRlBtNK9Rsi2vNn9r5pmbN/JMQ5Kxb0pulRYb9f2/4aHgTa5euNvaiuaBMSWal1eKrHsbyeDD8G4Coq4N2/NGfUDgxdXf6ciom5Ta/rg5WsdtuWU0J8zPCr3cwEhpryOpmU950MOmzbTpC+B9DYRQ4Aj6yph3jcqZM+SkJ0+MVsfiSkAVtoDzNmFNi2T7lzxHIacERj2Ya7K7H/gycqnGHtDxhA9xnA5KWWi0xr0WGVwqZ7j4UCt/RqhlPu1wyMERtvI6/Y6UCkICZVnnA8T6devFnAh0bAhUiwm2pf1m5MuIXejNrrcZh1ya7d72yF3cAYINrLDLdEmOXWCpg2+osyFselL0OMsplcdbOc22+c8Bv9bajWqoQiTGqcYmq8G503+pmacYDvkJRg/9PVd5UnIBrFY6dTk67bx94UbtxddaH/ZwF706QiQn1bnJELlJr1Yxv5kNPQdAJzaghhBDRsnU7q8lFxYlXv5ZJhzq5+5R1uneV7Y6cqmG7yndyO0cwCewHOLDNqm1DXFwkC9wuiGsKRILOZ0C9g7OQKIlp/Hkypw7MYnXWSq4Xh9T5GAaog6fxaJkChit0FrC+Cshs8h+H5eyw2qJ0YBE1+VujyZTRr/LfDtX0I9d9X4ksV/dX7re4Nh8IYmwPN/kfqe6O9RH0ekwuZK0MwBjGZtDhqdMIewgIhVWtKojOlQD04VWF+wsN9pjug+dSsKBLvJR/IoafXx/T++aO5R6Qs7pUlvDTNStHwvTtx74XcLh9OCg9esw0AXH6/TpzfrXzojncf/kNVbUXDrg02pHGSZ7/7IWHAQ9TgEUv+BWWu8d5TA/JsSRp3k/J3UDAhj6nxgS5mV3b9wqQPfhGrb306Qc++vJR25pDZJwYm7WY0Y8YTcNxUjBDUp5Tzl+A2uOm5JxmZynfZni/BucPN7hQydZ1945zpWjR1LJu4l3u9kFe/43jRi5tWDCJz0o/HBRN6kXpSUoYlCZ9XAY/YfuhsbGQf+rMWQqM4JT1C1u2JjOAUS7VDjqjaCFCikEdCtKfmkin1OlT7aq67sP1wLGNehePY4Q6+37nrNThFUMaUZ/uVjtdJ47QOJYWKnYTVPZwsedWf8Wlba4kIe9fw3lCcsPc0pxZXlpok0Z2X8X9kjWL3O5z+MoFqux/B/GI7XfxOFdlbRScg23E9kY76LF7VUzyRfnVme59ZdF1tRsNKDo7hi7Sdc2N3i5rpMf5UH315G7KbIZS22NCTrwAtOiEQCmqdYQ/5bb6hCyU6K11aHlZT+2SOFPnQJQP29vfBzjT9bX+IYtzdxVR5bAvqBKFi7FrtSqzO5fNRniv/LE897cWIQuXkGV3i+RT+3DQhx1TYPG6PN6uT8duPJyTvN6zy3dsYHG4gRaQoXgihYs/qe8E6clFEuTReIoQSQMpcuEKDJTG+VHyTeyHrEJnnBCN0fp9HkxeH99BrnipO7skK7GFiH6cVlJ1uj8kwZ8QGUkefB669OFTmhDqmAPs9eieoDNF4zdXZ7GMoCc/BLkYxcAiO9U0K4icrCenAM7/m37XrMzpkcVImYXtDe6ov7rFMh+e//mzj/fs3Z68jmObKl/8+FMyONUlQx58AbNAOy6FlfAQ+2sR0NA7Ds47WDrOdtGegQgFqVP//Xd5Y5lOeFGszGcJ9ND7P4GPzYfLmwhyV9/HXietq+h6abPotEOjLne21ztgynKQWlWfjlp4qKUGFsgn0pq0J0sjnT+OA3SRf50hCsvgMBVtX+f4+Ih5B4ejGlquiWav0ZbqNrZXa1ILOuygzrqaJNBCoiMI2rh5r7RUV+myat8ilxP0nU9ChllPmWKW6A2YRByVnV7/zA3T6bBe/iXxSNyp9tQJd6JVvL1kfpEF+NcNhNPzKOnas5Tn6Le6kXY5n8kNZhJCizUbUqawiC1EO6gu1Y3rVK3JaTZnVSsdvd2u5UD6kZEGvZ7aHUZZNUH81mm+6Myxpc+JqwavfUPEMmsDxVcDjrrwUrsJ4hR83iHQK6QtbqD938U2yImE0TJyYLQM1MYPRoraz4qTi1Oinc8VUvhVE4THYfjAGnLitFQGJU5diw0gz6zILrDleqrdtPH5cXvVWo1SRAF8O0lLtsX749Gh4KNiyoXlLeg25blBTt97XW1lT3Aqg49FeCL4/AAgu26ap6Vz+8xIa+F/jUwsjiRw7e5p9RDMfU82FMWnH+CsmVOHiAVUmWvKAYayxVloP+wnaKLrizfXrnQFrqALcY0GY2yhD787o34uMCCL8LY8fMEmh5RHdoGaF/7P1YY/GMwn5XwUSaHgRwV21CI75v0UOOZVPSl4NF2oFc+gsUDYD/Pb2Ge6/NepZjMacfFpQnOGRtu0QD81vLFEvbdYLMwzVTfRL8nTObh97SKjDe5eJt7f80/LrDaiEFaT1Zj+YBBTdttngXkf09igwa6yANvn0tb1i8C9go8HTCBrmeK1cmxOaPN6IUHH8AApD86OiHqeerDleK/Hncw2ZAIlpbXitEjuZubneK/IoUOrcA5dpx1zb1X4Z7GoTTQgIkrnGmA7JMJ+n88a1ziQigRXY8KcNbx2kTHgjqB8305vhFPdp7sJVY0Qbr9MYSsbc5xImm32046D9zt6uonpbh64jkKHWYamcQ2+XRf9rz67Xh0QeQIT9YCuVVnIhyjDhV7TEhoEEeBjzVDj0gVMjCFvNC5Q7MDuli/x8C/c7EpgJS67HGgKbTV4MMxUPRqfzVXH9PC5Oo6/f/iC5PgymLSV6r5WSvl6iq6KaZPiZExSRU39rzSIlq5QzRGCSh8nWjSGipiLfqU3e9Oql2Nbvc2sD+R1uXsgHhPQ3JaPw6N05T18RvZPMZnjJ3NIdon4KY+NLwjTt2gODtS8rQFX9g3dLcon9Qtge8YR61rdA1qp7aMBoBxI6OxVCDMXnVv5OA6f4PiQ974sVAuDnRDDKPy2N2is9PYSEmCNRj2zbhQeQjp6yHM6wZw0l8Z1OLiWMrMd9Lw1mrJut/L95me9pgGbDcSxKLLNFmO6qWudFfiLGDNydhiswcrg+4k+r3Fg9zd06yvGmGOCPucgTYo+/GX1ZgEdXl4D+n0vZFiUSzWNTbvkoq8Z432UAXmKfZvxn0MVXw3Uc5L3mBiMe8xvCLeBhxLIVHjYPPTO3Z8Tn3gzhmNvuu/ETDvJ/ash4gba5o3LAvuhvF0QuKaNnxiK3PD+pnW9/LdQreigu724wmTAAOD10OirNRL35ppHkPseqlyDEIGPzJXQ5K+ArcDsKo1fsug3KVGCmtIiarWhLMZwM1RTbYkoSpy3p8Jv5MiLGkHM0MMHSZqvnebTNgF9vSzvU5PiKraXA2StG3QA3G4Dj2C+omWBYPXIAozaNyPa6Twz5MEx/R9yopXEvEUf6Mn3Gf4K5++lhW4GJqvuQzPa3LDqFPIsOy1eaaFphckpRDBC0WepXy9FCLYs/KMKADmeE0942g2KcnRTQ6QHdj/oVoqTcAEqF2dTvhWbcOGwqRhAaByuerWuzKBIIlg2MpStK2aZG0Cv07yvCPhoRN7TrIoaZB8q/ra8u0Tpul/tIQxHqK2BfdHi+46xdoNe6ZdpQx82/hp3udsJxGrWFVV2kEVh5kD0Kdp+lC2Z6r5NDugUkUT8m7LNcmlM9A3zgqXrEOoQvjkzO2k7Y/fwvDCNKV/RyrFOXDXqUylOlthpvLSmdDzS3wz2Dmock0ao/BticUtN+Mxn+Pd7UUzm8wDFs4D/9/NFBw+Xurj15b0/uCwp8RO+eTs+wvq6JpKSMdDWGqWC7pGS+X20MYWUyTgmVItVFoxXsTxeWPShDnTJ4MUnAj/mpFZLWaR8oHCa1Q1O4cv6bJD76WYPUQwY9nz3zUcVGGGQuErwiXFNqFT53IZ2ZgyOf+N00O356R9rbejG2i+mxbPiTRiRC6jhmxITWggCrEVvcWSk5gvPvTwl8GfVgYNjp8NHk8uxawZeRZU1su9FpM22or78+AHCOEPdz3g6fRjGeX9VhMsm+EX/MisDKFy1a/rubUkhWlJvHe7ol0hpeYDq7V0wa3ZY2FXTCB77fDp3G/HWTM75Z/IjnxW4VNsuQ3AGQ3gS+2IAT0XYW6lFMJ0hf0g/h3LMylyhNH6JnrJ/FSrrK/8s+/Az675AS34VmSsw5h98tmU32ruEanWw8dvL7gWL6wYfz4eo3F1hYFFYrVags33jnKmcxEPXLxhRIAjp19vVqP5DvsmcYf5Z4bXKNVGM5wAWjKNaH4E3l/K7YzoyVsmY4JxO81RfjOqeYl06W+squzhPx3eYMOs6i17PP/s9zufD+0fbn08nss55ZYUrxquN5Be174ouknDBdMWGWuPPRTjf4PfkouiMvsWa5N26Gy/h9RlxbcVN4L7FxGMBNp9ka5N+nlj/B71YUEbbnGJasWa+vbSspsHNPwWU/2ljQgE80F9HfOHP1cXo2lMrRN9XqRLc5D46V5Y98AFNWVaxcfUa2AAWuHgEE1t0oqiIIianTVRQg8IJlKPuKyMJv98FFbIHedJLlN6joBcXfXdXYQ3TSlEWaEgCyWLSXC4M8UrdVsDZM83dVohfwaGj3I+Yl3phMWWtCBpjheWHpgM+ZfMWpWREJuK78qlCDcDCRcMHkWF4OXLPrLcg3qe0MvQIbS5dQ9aznAAONPXdTHZZUaoVFkwPNgVqeTnqlNvsQWuLDVzEn/O0ZCtELZr/uGlrxxfXLnblLYjfBeUdYPn6qWxPQVXmvRmsimig+KxpSnftHaUbQxnGMo1hrA524NJz2Q622xCr21ALLsSPB48U2qklC7oqohtRDut5Xj0JBj7dZk0fDwbHg9q85OHcdQcy2INWXImUTKDita/i5JypIN424dUKcONiZ3EI5dEv/ybvoNCM5+rlBbS4AJn3+teSH6VAXQPYcsFiWp/ze2ZeIGkaKM1lrzvorztIz/ERDiAW+XDuKQjwkV7Az4C6fIeEwQDJEQyjIH+R3qaZPw1sXrgPLBBIewQYfdyP+U+k+sHXVQ5OGNTbNCRy0z+JqQqbO4r9tCCeoF293GZPE2oHPkkaCIYdQxVUXhpaTicg6ezxE1RCnxnmC9Kp5ClXLzHA1tb7Eu1/BiQyqOy5VNe32iq6aVkMvDKyaPjBsbSrNKjT1gf8bOL3jt8dYYnRo68GUuVLRcSA7CIOyGYpUp2lyCJwTRQupJX/KV6XJYjceaoD7B9AtlGn4ecb642v89Tucgg5RX+bDde/yn0pgy12fy1spYj8mpiyCjMFqrluYKMSqZhvQnchrGn3UevKYykbVPnI8M4lkFDnVVHLawyf5cmSUqXNuoVqDu835asg/XG4LkfmwRHM0d1b3tiILClpGesxgkp8kuHqRfTbc9ukrurrhoO5rlH9iOqMpllPwFD7tA889Wz2XoUNGv9JHyHVtqz9sWQwnWs0bxCqFgwAzhcrMZC/a+LdQdd7w1O6lQdiP43tYXhZsbTpEMLe81G68Whr8O4iYwHNPI+s4+0PfD/s/514HlHoQgoKQdRGrX5c2+GYiWOb6o+r2L08NHIp4PFKbvRJ3WvtbxFaKqj10u+kiTTSpcqKHIsGHRtktzwdnh/CvpRA49HXlKpnYHYQ8mJx8fUzpreBFUSLBbHDHO2Pa0kCDkkUFBLmWIEKMgLhJeyKSaj38ZvJO8m78Pux1fV9tQnuGY8Hw01o1k4yvqdH6HK9FugSy6gXv3HF+6CrCR6i55ttTLW7q+U5gD0hZtKRLMdvp05+LOJI6CM0my/sBnsAV3PQu5BELTTRkCu9u7pzLn4J8Oa9V+aVV0rCgknnsn6AvhWVpOY+u5NwW0WwUH9XTBWvQ5vuSY8kzMnO3hpS+j2jrJC8q950ZzmkkaldxntSkcudIBQ/tCPC/LXQBv6q16mE53D9dvve2fewv9kwFE2e9ubJge8HdOI5Wxp5KKmsC9oz7sjnWG2AC9fQZVupfHnvf/66m9fZTYMQkc4EIVY9fJgdrjm8N+5hdWwG3LwSQbJDvFNhmIyO4KDbEpvIt2w+W37YeEJWQzmze310gnqr+yXVZiZaPWAcWrVwSBxTLvwPsSUCmBqs9MrWJ0YIM0StHw76pF3q5KVKUUYRQhmRlRZ2c+h7uNNoPUvfy/zYXsOrEEdi/71uqdoOaqsseDYg0up+TcK9OIK8VX3aPBzcxTVLSoVNHIGaK/Z2xDJ7enpGpsb6zMGdFLpHrDSYRwBKQhbTO/79XsbyvL4L205Fg2+5r71ujJUTywXbseDcBqxTOdCwoFkh9TZfGGgMshtiNJAEeRNpFoqdkWBpwlNpgzafYFvAUJcOZ0V2i/fJgYyT/cuYeyehtoJfLJl4LoqfJ4u1ftF/Ncq7XFOYef5wXEKMSgetUP0yaRuqjZso6cQfuOVDOoWqYmg0P/4YrRbJbceou3JyTENsaBVEOWQRs96X5hBuilnaxYVJbamEvYgPA9QJ0r6RmLqujCQFzSMN15BQpG+MOnrFcrZnZ/8d2pCaFUlmTjuGLaxf1YmqhxeSdR6HHn6aanK+ZEtAtNMRusxXjiADdrHxJYbzxkF96D0Bt6Fg1y1czOU2EufbZgx2EZRs9bQT1eP0PbrUQ/4a/IA6sIo59kniQHDgEpHtmOaE+6m44K1KqDR21z71yWqI5upsT7ql1WVxu25iPvQcBDS/yIH4elsYorBMTi+lLhESkky0wNt1BCDtkzS67toy5NJs/pth5ksq0P9hu58PrYwYa6/SSAKgWbF5mUI5Kv3qQDyeUM8u/ag0+0oozkJb5OTJ8zm6O4xrRzmzevMqkPGYIQM/gGAWSdnS5hrGWYqBOBPyT1ohz6/lsLvTozz6VZKi0/vhGJxmL80DfusdQkBGF8+4QBUU3Bh5IgsQ3M513CVs1+Kh8X61xLUJws7WG3pKVGL0TLApw+1+d7o/voE6s2S6L23in+/AgSub0NG7JAA66PNXOe+xMic7reFOYZSZJAt2jxUotTJfaewzO36+imbIDPbomIn0LTjs9BORyQGmGqSce6aJWad9S8yQw67n5eBc8lakSqHQehFUXytwelzHw2Xm/sdz3E81kuTqNLG3/fBdzh3k6Fl4wCv4mGCGRA3b+8Ay8gYALnqGQcmBhMco8tmg/vWIn7n1Yg7Q9XNJjI2wqrDY+5KrtWn/TOgbRg9yJ5ofj6FwpDC+xM2errCl0FdBXHwD8zdnDbUhUe8+83+YUtmDFL+VKIPgtnjaHxQdrG9EFOY4nJa44Kkj6TfAQG8iDY+NjEiGthH8TmvIwDsbh2/aJQ5ocMiwL24l1o2O4P/4eEYXFj/Zp9tlIYvs22sSdFPiex1K8ytpV7H6+617tV4if5YjNr/28gdSFDfLgZ2JPWLGq3t4EJhveiSHaUiHq0AEKFzVvyPOgj/jGJydMp0r0r7HmbDfzijR+LPxq8uRqgQlMuwkten+5vpWwN7v/GKeSWu1j0fL1BBIwW2JXeUVvE2KyFO+VSWje6EUyedVh4V2PXoTAfytB2euAGKzsxE9HC8h6LbQuKLZN+mF1mcJ/alvqswQzl0URPReyFKX7KE22cLCVG6q16xUb9+BkvODboiEwOvmQBktHzHqmtJH+B4IzYaPHxReULB9FImUzZ3+gKx8G3QHFsUr9nk6yD9a0ecfdeROGLju8K+SZmjNjVnbtbs/4QqWByMgQ4IzI+9f+8ysA3m5ph+qO5Euje/UYDk43hwk8A8YNR+cHjdW+7VB3S/ev40K6s00Zvc1U/vpS+DlE0Ku12EMRcETwhHq4OanYFPW7g8qW6C1Arsaqqi45SXVD6kxpvOaa9dH/f+olU9GKpxZ9SgLWW52UbeLZBFUKys3Bmf2KRtacnP4CpaDx27yA82ylUoHrqAG/HI+Ug+5BN4iXEjxYJTHhgGOTyZeEHO9m4fIKxHxPVVJUK5ewzDfzMzU2ndNtOTJ2OhK3Zkk0v3ezhwlZ9F5cMW8kRDLaHbb77QNr9Uvhjj2UPQcR8oNm6/cJRJItZOcOc9jd270d6xl1QQuLilO+djjXBgBN93+a+vHJNAa0nH8Shj/oFjQyaK3WKjZlr2Fwq+kfJNcn/Y1U4EfBn0WDibMymbM++An5fE9F3/d4YPjIAHBBsC+6fIDj1F8xizyrwatp6tjDBvLb4f4MW9WZrvTZ5Lv/d5qiHuPUjwOvwjTg0LfUL0+fUnDd+Y6QU93fpP5sdOZTJNfCYJ33QHVVg2/UoEo/U8QrqZgzuVAqjIqK9nBSA1HdyBPrMfTs/lPj56S5SACDh8wtMriXw05faDpU3xOcCnF86MjzbC6mSRbCzTHIS9LSaBLfLN1bFoRb7C4NfQ7jnJA7fE6u/KRWi7rKGIigd3B6az25gIHHQxfI9BSO2dK0RN8SB9+XSKe0HohUf/V9NAEbQXFHHbSHvLchr2XQtbjR23QagYbYS0nVCktGDTXxIQ70o3lI0sx8az7BVJnvfjU54H9mIh/0ouTZR0KkX6ltasR4C4iBnZ6xxMACpoZqzTCdjYU4rWkhhLiGsGCTs75jNj1x3kBb8c3kQ6j5jggkeOX6sZZrU3YsCubL+UcY/gQ5phf7hSJQYMjnGi+A21MC0KS12fb6xCXGNMJwvv+S/cKsUPh3SQP+xFION2LlL3xo89ayv+m4klQPKUQkkedtLqRL0a7kjDF+1JInkMBEaTvbkMRvT2LZ+MVSRsZoyTlcJgG/ssyt3zkgT0Gq4P/zEach/rWejmbz1XtW3cqbeDt4+2O43EfnjSCUWmQdVyOqXHxhltZLdmXUamxuNe6tgi/X20e9AyVe94CXqJPw/TtF959zukmhqiHBkuKLsQBiHKU3W3u0Tp9D8+Vo07g9scbHOQu2Vf2ysJIk7EPK8rDD51R6/ZHQZqvPH1+AmQAU0+X6CeGFsO2iNGTX1dCE5ub0FWSdIxPJ0doKG76ipD5h1ZtFmV11hC+XoR2rzn5TgKs/y7MI29EvZOPTJgmcoYyndLrNg6ceHSyyAwTrdepmbUN+oNdYuOd3cgBGwxcYoCIwHG4yk2DzkzdaimVqM9sF0+HQW51PBxhMBVhkUuOu5dAdMey7Js1QHcxCkgxxX4S+zsXJYAXYw5qazm87Q1/9F+Jb1pRYtFOPNjzxoZLUWzR1X+jIaNL3jfXvs+SIUJ/oqam93QXtGHewg8j29FS6uYpOKpMoSx1p5plp3bsDrpCRBKVze7Cjvag5OvyuBiQybZT0UhsnfV1SHCV83Ftj0VVMfKxiYXhmAxZIzAuKzAaWKluSA9i3aP+Yvtxo8yC5DG+d41BHyZmbKGBRi9IboGi36j9VDqvFYNGR+OtW/hOOxPQ3MzxF4pt6KBehHlyecEC17IAPXXYYZqlzskRqApCoQNn/dZw9IqoqN0xD8HmnOjdgCB1U31zXjCVENqlomnDUu6qAQQUCdkpyCHenz5nLkQUnCSQQBJzuGfVKXLMu/Ws1TBAWmzPd4EjKfZeMohay5zfgpeK/ZAPCPrWA2G00okKfFxq/pjc/1gk6y8lK5/NbNkI8EKwX1S1mO29NKM2oAS4izI8qDPbOw1i5eqZov3+0TE/SbfDvKL8GTZ2/+MoNFPySRR3SdwPWhA1pwxcOpy9txCMbv3z8UW3ZPlwtD6h9m3MMQi8Luvk7qv93M50i2p7kFidxzeRqwTDw0zhjr1aQiGlXXnLOy2Mt1C0jCxxkQwl0tiBlVI8J13DjUmnTZX8v9nmbzNsVYGidKB9BbK7UXpFK8rUnqUUPydZrbl/teJtpC+dAEy/EeYGG1mxcVwDHADOegUhh2/PgkJHqSN/9exwDLBx8WUq2zMWqYbhMNxf8t9j/TqhwMgW7n3eVuFrDB1vCjyFPhl0idq3UrNQr449JOkBrMnB0DLwVIY4rDRk6nTm1aj+g8lF/7++7lPDFcOe6vZdwsPbuDARKN34BTdrkLHxByhuQpoxtMV0tdmsNualTQ77TxLbJcHAFqSXn6QPdDMCYev2EwbXpxy1dsC0n6XO3lINS6q9IhOrSHMUsWfE7lBeY0Z1B5xWjarTgp7lJfB4CTO/ZA1uwi5aCnSfpLGaZa3TPL86jfA/IqgRdjk80M6MHH/Ila6IKd3hNYB4Q+kqlT94Vr4+D9QVP+1IX84j+J8mbur49jX3wDlcJw4JfLeY2Wp6CwjAH/TN03C+7Oa8AeodHENQaleH+3AIF+ZcdacSl4+y6HrmzctvXTGuq1/tkkxzmpLgq1sHcbz0OaAmK7gOoeu7QNtvSwCNOpFLrjC8rfglwQ6qa0y1w8p/Qyh4VxIC59RLVgq+E25b8FBRH/iTA4BcgEJGi1LYQY+aU82PR5VmmnhuRmOev/4EPxoyX4TdLDX7wAw++mG84FUcdD8TTqyoPYw/v20w56iVHLgevzZT6sXBbnd9JLtqw4KiufOMu5N4OZ0AZ7jPqZ6lyz4KZajaC4vL6ajLKyT6R0Jzd0PoRtTKzDtmrJluiQamzodyUF4kefP8/+oUaI3c+ikUHMWpLKIzhXJ2jXep8VnnpF/91VW2zzsWzLSbJvh6VDkROb6YuB/q7wa9hSEiU3ChZw3VRl9Y0Fh/y3py3/OrUiDcN/FuAVd9wz6ysAdBrvAb4FkbRhSKDUIA/vtYwaQJmZihgi2Y2qb8AvWy6y+vrRQcmmzBgYW7fAjBH4qSR05DQI97epSv55SJjJvnCLBOEHdYwlSvoGlCs6oixPwA0MN8rFpiLpE8c/brdYBgzDCcgy2/B09deSRlYz7qO9+UnJsRJn/0Md9uhbO0tmQnHXA87aA371TJV5A3TBRe5s3kBDUIo7LFPYr3Az3icHzb3Tto7b1g69hyYjrLjHpZ8ziAOcdx+6QQT7edz8GNFbFO6pE3d4H5nzRIEPYiobSHDKqs91nP/DvA3B/DaZIWwWD3sBPItSxob/I2kUshsz1o+cJKFJ/Upkl0qClR59npY7+881BZ9cs+zbqpqYVZcGhLwSYAAclEW5GcNYpLCl3/6BcuBSpsB50fAgzUsvAW4By3HdZkzSLpjnMwhah4ZJDybtu9NESx29V16ggfhkr3rZijN1oilfcsrKMKGjzL5/dvIUBUi8tGC6Z5MJxIEHnK5IkMEMufzw2RwaT169ZK8I3ZJ+e+MOPKbWWbgZU4n8FuHCGb3JXYM0VWI5mxKd1EsXh30LALPSms6YGW0vppNf+kgSCuH5OGfgj5iDq3duFuMzT0Q3vjXCt6jMwcIf1U2cOTDYKsqNFajOOpIBg+qaM0Fu9qD/nOIjExPoo6xOB/VoNmobh5Tg59cjhNZWMN2WuQCNazZYUO9p8XrY9WZlZU3q/u1ufMiUBIc4+RcWEdxBuvFJrSiZGSq65zZtKjT7Ko+SW+m74DGJWYAyoNSFnCBMpZbsqB5lQ35zUYIB1UZGathxaIGINKKEcLbGPE9Fjx22e1PdTzmW2KDUL3MNdfI3Ww5M6jVzu2/iy4HE4mVr2kD8Xpre3dlg3KIdgdv4GeJoJz7tA9x2nzkBC6niOSWpEFoF4wfyU077iZmHo9HqZWOKtGvNZSL1kUuDIH2aQ/YuanMY61D7913yKMBlTwsQPkMHaSFOxj0/2Tg0YV41ei/GvKMZG4UqrKR7vQ7qL8JkxF0fJYfnVoGVLbic5EEaJGFDJBpofySle0r8ZjWIij7iByhPCG7Urydqrv3VVRhQu3cjJr+gfzdlJ48ct7D8cLEAPsD8sahIk2SqwZyANZQ0gLQ2+fnkWMCoOKFL8ChN9uW7s/svWQTE586HJ+N436BSpuw8rc05HtLaETe+laYFzFSA41+eZ1xqrMpvgwXtPxOBMHJZeQBvYSkN8Uht9BePHqj7tunX9UYwMsa4TKnKJ9nilUV71ZyE8SGJ1WQhgSDjF2FuSRkT8VZAMEcmpOvQvf6Y4961gUHT952Yv3Sl3FnFI1nGF5Rb2ivej6ZF1TiJlmgMR9XcI+BhzN6EE/jjt/4CYNSfAmNBiiRC+K6iVdbg/rBRonGAE2xjOVCFgkP6HVtdwxTU3tOePbyc/9REX4sjRTFdSK/nYAr1uxmvbn3GU1E+Mbbut++d5BXIXQ7dnMbMlUImWAEGPNn501WJ9pQcW6U16O8VEGBqxp4IKiSe0BvrXfR13irsGW6oNkLxCOPfT2qefOv3HM7BWNX5bwrUCTd0BMj4R5qs+F3Q1wt6ilGaIyy1mSSHjEQwEZXI457ZMYlbNHbH017ZGeTO9YlocSrhrx0paIJ6IErreyPbaKIrUsMGvOxASQfV8rjmK/D2gPn7uQ7PPSs1RHWbjwn8e/0XPvfcnxfvvG4IsV9RUPZAeaLNoB0UZOfMsoqGBhSNhmG50TISH9gTUdfN0Q+afGukr3aON30z/c2bmrRz0Hvf4/ieiW+dXSeH3MeK1BmwxUimdMw3U3U/gjFN0FV9qJISOEk+JKM1sO+OgUprAeKBkGy1Vh9q95tv04hDRajOwyBxO/tp1nL3jNb8M8i32JBalfT6qdgMLplqAWUC64QH/BTaXT+WYyQRAIlmbxbQwSZf/l4lBF8LAIC5fFb42Vowg3uQVcX7wQjeie9py/W1Yl2gmNLQaCX4wpZHPR2aTFBkfEkr4IvaUcYuF2TmCK8fBwuYXMPndbtJFH5vGDfBNOc5imsWzkiykccZe4mfPjljPQ1mtaEvuH9ljqNuZYmTZskiltCl4m7mmHsEdt3gq8YnTHGhLK25TCs6V3GU+VRvL6GQzZ/iN/fZ6DENSUnrBdv7UxU1oWmR/J8QgICOQAe+8kNYnK0vMEAyK4AowdHpuM2e3XI86yoVduEkd7gjgfmieAeaikrVVQ04q2RZbdXbe9H3VCxKwIaSA2E8/lEUtkZxdheh4ZR5A011Ql5fYr9RtpDm5pHYhCbUaryODVJlpW1+DQwwnBLUT3+YonAWFZ/H3D0wTR/1UgVADrCXFiUiUUybynMt1MNXVh9N6jsRzHX4N+O1Gmmv0PjTzWkRb4CEVck8bDnJYX8MlLbXdoem0gswmE4BNnpTyH4fpZgJr87LXqoYnk1P9pfrGAUecN1yxBNVGEVbWys4HXGAJaWdSRs06jzweWyveGXChXb5RZYtmp/FBq4EdXOLQJ4UvLhqHko2BjPpOffDqRca7GVZttBn7Rfwu++0wfRVrIF/4MH11r0Vdt/579e+VAj4Vfqb5j1h9VuAcie2QByzcUcIRcl5qEio1JvUpQ995DV7g+hraMbQxGkfKJT5gDqKK3JoGbeIGkNG1VwJMsfB6qlw2vH55MO3ikNYCV7B2y1mUWCf3SJ3a6cYFa2PkyREaPSDSHjNOOzY9DMTJP9wimXX2ZNVhWx0KLf3gUk330iqHDqUXHRdILLa5t8M8y95KQmV+d/1xhJHq1NyHjiNs7F5d7nExelolhfY3+Tq1nwos09oJZXPXmp2P8RY2HTVo5DV/ys9vs1ohlAvzjZ9i+x27CAlEEzmfm4L6Bh8G/WJu1ga2jhK44Fx8lhxai6IRlCF2r/KesN72vZ/+gJ+6RmPUrauFFnBmodJ64eL+KZwCyUIWm7ZUiYoYisRmJCdpsa8szN9SJhE+tEKmY5nKVmavw0q07XcM1nSjkFTzSBs7hPiCmXTKsrKpfTA2daGaGl/1mzWb+Kinz8pcfMK7VBUhRkRPXviWaBK1RRbHWyaWhnHnxeYrjRYuy4LJzSBrVP/t7k/WYF/vg8e7yLdedW1bRLsU5w8aotp2pc+hyQw50+PKCqBJw8M4Jem/QWKlrlL0gMWaQgiGaBJ9REX+2JwT65nihsw8kMsbEexL+J9C8/58bz8WrQBUxn8Y+5u5XuHVYSW7dl9okiqYEIPEzaNIu+6ycggkW/+jrlwAX0NKF5+3ZiiScH8YBrIAR4GlreizPvFoWXLHXWS1I0UZQRyiRYOwZ1h8uM36ksDVkk/LddjpeWool3LAbMeTIUSNIWawNOtGJ2WhSDNJ6uXm59hkn54KQtbYq+c3QbtjFSJNduVHTJ7Unkgx492QHsy2M7mUv0PiUre0LGqC7HRyie9wgtfg1jQ5D10y4Blx1c3Yv0LESNY6XOnAjroK/7R4velvK7lI3ryye7DumAT/f0ioTFtL7AbyjxnVcABIKbAPMMIjAkLsQW/0eV979OkFpRtN/OI2xWschNZyrK91roDxjotZiK3SbH7GVxnbDkpo9+n+ofkp4/FHuND8lGvirKkNnTERxRNhBU0MUtL8aDHJEsjCoSz2rjmKK/tK3E0kik6zdeaOTQvuxSTd66ngafjjJ9bGil0QhPFSzbalhLXBFQsnkuEYwSTiLGPusD6XMskpqc7dK3Tr7aDHXqLxNLPtB+bpzhNeFHQslgaNfK6Ht6/bPn3nrwYYDsItf5fQh0L9aZ1WIC1Fs0Qje6lSZQDF2S24VPfv2biInooJN+LnlTvQaL3sNzAr4ioU6rgJwiD1i8er8XhHjECfjdXLJJ5K5VYLIDr9Fq/9THpyK5dSK0a3jxNxoT79yXC6VKvluc9it3gft84P4E1+mifLLF7ds7+utk2/uN9aq1G6yqyFl6NJ/CA0LzFVv60mxI/1D2y8RI7Is3HT8Hh81Mxyi5DtgZubyaVUiQ68PbeWBANBCVmauXFLa+i8kbvmYd0cw0yYhVi0S2ys4W5GfiOLoUPe4ZGcw3YFbnEKPnW2JQKBC0049LpxAISGAuS4OpogtbbWjj6HLBzQz5XUQRbYknW+X+7aY8+kUzcUEMJVfMmQD+D02BoX4DKWxlEZcjg4WSCL+l9Gya0UWto7agV59VVMVAAptJw0B9XvJg0orFUuUljWn8te2VB2HRgrrs+pgx5f/3fL86cRUBvykIEoVCovnqux854mLdA04Cea+tvKXiqUuNpc+foORHNyAm74RRKUlNKMrwkqqAmRJxSY9sSS/1u5BVPwUvXPPgT9wZMfcL+BFuIeH1Yc86pTa90htSitDEsBipMZtWqKL3eR8QjmzeLKFHxYVNnLxyikzW2U36VfUY09XnmepX1cz7pc6RtbqkgSl1aI2HAtf1lmUSngv01Z5fsspLDoxde1cRpshwnz1Qns/U/qYLjvm0JaBDZVSCWNJ8a/PW/k9+OK1I++u7KgEAWnMTvQNXi7WPLXYUkoyTjjB8VmD3vtVrcRQzYjnRXCnPTOkCdaQ42mYPpuon4NA1ia/eLS0wSZvHa25YUyOlOx3S7Zo9u7P10wPPVAQFTbkIM3wntrudBoIozWqJN9G82TIUiSV0zV9OsSA9FRhnq3+WhTqCkKMg/cPlGG3zfXP8x3PDksdHIXSCRbsAXikXBERb53w5tvNpQCpHJclyCirCL0nOJc1TSl+yOhKsn18EbKng9XTJHkKGrCX08ClSeXwKGfuomqLY4oSnnvAwDOHEFAu+Q0wGp8s+lzrvkjwXzJiBBM20vmfrJR+Z0muJ6PvanLFYNxg9IDTqVFw0pB6CtVp/8Lc0vYpw9wwwGZlAWK4pUyo5JThDCmd3FTj61rzx4VlL8sNQlqRKLrUzXKRjTg1fY/Sh/S2zACoab/7VwrVUod/qHG8XUkZNmEiKGumwAY0iX5c4axGlQPoUqraMT8LtanZnwCzw0TtjBQVuoOSVoL5j8AkcHxw3kow+M5Eb/EkE92xOmeMxubMZorEA/tQS0EgxDxLzNlLx/b5WwjxJwYcK9KWQoXJdyf8DkQf4sPZFL19PXARl7DYVsfvr1QQiAMCFaAHuWza0RDeO6fByoDU3EtHEbUX7ZsXygDfRtTz3oLy8CQ8Hxt+9pq6dRebkIAgEwEXZpv+6NWTu4PwtoyDL1k7IbSgC0Yb5WWorHF0wywT5duq38VCkpi4MOUSIqOt7z3O1nf6Le6l+V13n0lMo1fsWSRk7WoCLFe3mnOQK4sQsZ1gHKPrW1t/gAnlNhnbvTP6Tm8B4d/HaWnAGfleVwUtBYcleBrhlszwcHfzRIcsSu70GNr5urpQbxXzJvZShj8JAZig+QMAUzWHd2x1HKWR9Mbln8oRKnrckGCL0Nltb6kf4I80i35Wwbb/RvRK/JO9Tb07ffizjHcfaat3NIkclSfT90iwEGjKxiYPzJNjZzlsUYLqMIRvIINLOiWR8Xb4dLpJ4rt1+e77SKJOYfbf6NZhR5MGKSBASiAbCvwceRRgrSC5c0gD+xgOxOgaovh2x1Og8UBySOxdUQmw6BVMH7Ty+6zOG+Zc+ElPCx/MSyMZIzB6SnzUWd3AKxTez34xigJMVtOM7pFHjcEah1vdwWSQTCj1oOX4H5E/9pIhjPhcZ7oK+t8uPfVEjEW/62TtvkGsCQ/jhG3auW6DnuGTz6UCFYKLExpfPcDcJ1xCoCRbFyyoNXb9A7u6XpDog5lLJRPy1mKgG5D1aQVVnGLGSW8B4ZS2CadlrHMNKn+MNQcJBXMO0OU1OeX8q/cFDmEWVONvqlydTV6bevgf2un+o9CDhnJtcnWnSGpucHzP31O4K4f9G4HP72vUDlqdXM8ePWzKGufzuOVSgyP7nNDTVvwDvH2fKTiOqtbuwId7fufmtluun0vy1irTk4T/a+3S8THi4H70TrTN5fgVta3+fo/sQ+MUoAecXIm39fe2s68VH6GQY1HHvQDT2U4JCN+2COF1WLAEiiz/liURJ+I6Rzt4Uc+c6rCW1vu1EuCF78ouONOUYgEZKHbz7ore7c4WqC/z11YKtY4MFwwJ7FSaOVvbg0FT1yg+wkZ3K8EF22oXL7fhrDxBlHBYU8mBXXAn67b5rutojnMUSL/+GJcvPHRwHPZEhKsA+ms5nLq4jAbNxJd04MF8+Pzk88HKu32lLecMNfpsf27QZEpF2Tc9TqecHClbl1HRmOZFOLbD55O0D1TC2TqH6Dp9+BB+YxatR7d+fJHEl71ClPto9Rbe+LvfjBO0DEm4nOxntfm25FnrIX3tv1p3WAzglDe5jwCkwuRQ2vGfGE7Aq1wbEhpalWr4SZGxR10eD8lrI9Rp6gLxHgYhPRkWL7FlJfr26HdVerRbOaYEAiWcjE5zHLwa9D4K/DJrHgweu3VXA0h0J08o6O2IE4eL1IeYy5iccbo5htXYpEWpb0Hbsp1zzu5+iKK/zolAUDnIO4EbHYd+b3l5R2/XWWbFMyfholM7hnUzvn+ijYI59XZ7FRZUamiH39l+nqzedvoulh37HfwVrUnzay/BMjjzzkSR7E7+JFd31AAAcH95jd2ZdWoUt/s8nI2TuOd99i4KTI0aQJRtyYYyO8Ec0k8/c8l0OQwQcIUXFXzoGpuX3UvuBGVc2p0KU4ae+YUi9p5DE8y1A6djEtA0GPxcICoawblgIEVTgTBrWvU0W1M60aB9tM6D7TCtrEdVLNTxwL1fSSKdxfTudiblq4+ie0nAHksC++EVG68dUtsNxmYuM/obMYgl3n0/Y2ZNzEgM9LizH52hJ4LlqP7iTyx00IW8JAfwuoMQye0rQPOV/NY7MP/4Ig0CZXA/QVMv2bdZsLZSqv6nXyqeyNnkp68UkJzuzO3Fo+v0sQDq+DyIk+VxUFrbZ4FTtYKIDUG9/V+Z6hmmL7VABDbyTE4mivyEwtKwSme0iuySvQbIQOmAOtenGzmqH+HM9D+9UlBdIMu2a6uH/o/JW5/z3EnWLRkc7Vl0XItxisxZ86ENN37KDhqKXKjXPkQ4X6EtRfXzU3vo5oD70e3AajHDQ0bcI+akoVjIDqi028e53X2h6UrAu4G0rDGxgAvonI36KDnFqkP5Hn11IPphGV5v+o3j4lggbossHBFNUw0RNQsSBc/VebqwTWaxfyiHAyPI6h2IhoM5tEdd64J6iCyPOwy6IlO/HWtWOdXQtGXtYV+Y8kkYE/SHSM2J/m5XB8JKXTkwVgwy/0LrVuvlH8kjK1ptw+ufP+NoAkU7yNMEV2Uq/07Qip5vdN1ITRDTsPBuEd5pIavw24MFaeZM4eXpPhLpMfpcpGyd0SOdXVWKq4W+XJBHx4WW4RRvQkpMoeZOtV0+0O96XTjrR3m+uOsSnPSdBWW5DxPWnsMvSedDekTVXDcNs+XqU8baJCg0kJnzM+qttvomKM4+l8kJfqyQT3/yn/Zi98OYlYhgZ5yFL8m3teixyc2HZQUY3HToZqPbn2Affx4Ag12FoX+qnZCEJ3Pjrp4fw4ahbTDovauDaGOzlq/msHA18VAsSb3dbMPwWBWB06/7GUU987gXYTB3UdV8LE6qbpF76OXYo5KLL7n8BHI8Ap3leOwGpACA2SJuNYSjSIfwWvY7TmnVGndqKn8k8ex/yzFszNHiN3bt85GoyaBCoJR/W3bgluIlDmRcDSiiPcztG2AKABpdpdqB0EhVHSHEtc7ZDQRR8B8U9962eoWezeUHNipl5kqZizHcSyC3YxSBewyPrStfb/pZpyplswD/Ofl2yY14Tp+oQcNrVJ6MD8wTmt+ZCZaKXXDcKI0GiHe/gWNvFiO2cbjo8IdAhJ6eyg3mDLj7IoloRBckNJZJ7wk10fHthBeEr9WNRdfCPSYredzq6xG1VkxdBHCv49yJtUnCj7dQMpnGDWS+n8uew2z5G/YbSvnjtAZYTjVGSeccN3ZsDyCar53mEux/i0kJfhlk2n4lFUkfswWbiY1MJh4VNPVfmcewYTWbFlBBYU7R9x3blWmbTvRj+GIvWnzwN9WLJvh0+I8rSNCfduA1DR9e2KcbB30aTleoNNdZ4JED3FkhG1WERrBDn/GqHGaI9LLEK8YxA2EapnnKZYbh3E2cl8pUdMlJ5LJBrSLp2jywEclZLUfipP0U2Wdgsd4XamQ7nG3kprwLM0n/t4ZPtA0P9Y/Qty3objt5QK87+biIu9Qjr8LCgIExPdOZE6Vtz+CqESjK66Yfzhyw+x+rU6IxhMQ6h30WKak4HAbUKwXSUEqLAvXoOjwHuAYKoritleh1WDixHaQEpCg24LW7j5oWCpCz0juxdE+SbTQuL8Ixwd3fVSY5knYjj1GRy/kWczMlue33azbTSGr4UuhZerYm5DuPB1Aau2O4WXGdwVZ2/eKcoc2C8aCLA6UOzLQvufIkE7A/osv1itygbsYa1pKPePMfFIkvnSaDeP+yNKebt9nBOneawb+YjDzLfnYbHAK3KP0vUsDU8J595r/l442lkiGCDMzEwtqWGl3VHwZoftyN5Fj3ylWsA8Z5wpkyeiwmkKBZfzq5XjF0bO4P/nAAIivP4EcgxBm0d+qOYHYQ9cpyennjdkgCJ0qeYmyacEau8MpbCFeBY2cfY5D+NHp127xX0U1xL3ajlqjaWu5v2cZPiRlslrsIxMeo5td4riLgrH6xi7nkt2xphm8YuRLQjDLuR9JZuH8PCclmrDl59IGPanJ1LuIwM5jclBpTNZUngsX4WmBFh+saJx7xf/oglRry6zsTbIOIedGRH+gRelz0hKcso8PHuqQ9lS94tQfaMR1Ym5zeWlPpKPs1GoMrkeQqo6TSxF2gWtCQ7NNkxzx+eY0zg8APhkDz5GoOfVx6fDtomL7iFgNGRupiMX89EQwSZtpk43snTN+enDkJzVUmGclMKnQdsDoz5n972tUh9kYC2kTCm3DcJpfOViVCcGvi9ICGTDbcWyxlygtwdRv0Cv0HufJi5HYCeYtzVVjIzzL+mH7LjOYb9Caraasl9hVhYLzGpBQ5EJIwLmEiH0z4eU5/1xRqYTEXwPAdxBZUFYtjLgfAo03Zls4b5iJnD9SwFvMMaQiF4ZdSEynM+ne4eyK5xuw84kE6uY5FAzN4WWm7pcn8HvegdkGccpcbR5tpiYY0Ho4WxSO4S9R+bsgIQnStya72KcAQoFRBOOu1rbjahS7Rw0w6Sd71YOrbnY+OTO3Bb/Oqd3xmtxRJbNN9fV6UIsG4p2TrSDNzvHj9X0ZLvkfqj/ij++L1Ppurv1IhR4/h+/yw5WQyyRKn5x33VLiP2w/6kZOoG7QmmrIV/8u0R4t7aX/Va5iAeE4AyOQHBOaezq9pGK5lrQHPZOlizNanzSp9USSksTlJUvnkvsIRfnyNgjBzJt1HeRcxD02hsawOF5iJwFFz4BMkkxfdA+SkafF8JJxr4pjf9Tb0AdLHFCo4u5AvpVfwSry1tTzxOzmzPSHqftSCJqiopu1bU9if6sKwEIH29IoOX1f+o4d4DPu12fSvMXnU/z+1jkYL3FeBzNmB5mhfQt7hF7sT3U1/MbhNh3JiBznBhUL+/Jxev2cM7BUXRETkyDhMSeSEfdSvobYzJzOIe6PspuC9scI7gxne6Q9kPhnozErn9IV4arIG7+9pXcy/IK6qYeIqrNgLsr41TCqcj4OpuD+7kKzcWI7MBgNLsNYWLxQLIvw6u9dkUh4JEYVT63POcbLA5uVGLszB9YpQ+oKSRyKuZPFPc88qVRkiyQk0lIX6p2GfCJ2cXzJj0s45zhMV/V8taIAQiN/xc88lbZll5V/IlwyL/hfDTY5YW4mO+vL/bGe6X3/08u+crxBRgqvsCydAsbkNJsLJRhkt/svy4f0RfCxTEhLUL/usaXtOin9ABoCoGhBXqCvaXA05fXGwQO2wASEEV2MyPPJE9xfkuP/8ORIQ7ENMQUXu/4/kxZhyntcGMokmA5NXPbK6bmD9v51UQELb01cDviupYTg/5OJUxTOOQBgGwD8oFKxoAtztuyFkLwV7UhdxZexfIjTu3FSmopq2OV9Dck4uLgmCTgH0xv4NhShIIXbigBpM5It1sgioUmJBxLvB6AZVu04mHh8WHrEjRjpAlpwpzFs7YJnpuxCwb/IQiwzU0L3XKbTKoavNd37UFXvc6vNE9DcbHAd5M69AAT+159pFZDNGqd6rR32B4T0W/AO+R2LXoDQyW15GwhcI6ZcoPG9+I/3kskYwVQOECR2Y7FtuVIs5vaC/+6RL26u2wlRNdDJoqZM1/rBakfU1QifzHzzgiNPqpNYDFLjDt6OPcuHtPUOfL/5eZfjv373Yru24HTQDptTt6p6Lusw91Vvn0XiW2Ucj97bczZR4nVszX4hmDCkKAQtlSE7DXbUhHIsV8dKjEfqucb4Lft5M3K+5Q4Dle/SkZtL6uazxbqsSdM7y8LaK/sFvEH5KN32kjHNYpDLK5DEJdVNdr8uKGwBnKuZdE8pM1xSzOEKiCXFd6bOXhSLNeMIjCfdSZzlE+oxk3XeAAotuGK/13rXV6dURggiz+GiIaf3V1WMSZfqCvSoq75Y+UHt5RqtKTlzAdrqo7BXNKkeRRJdliRP2XzxS7NyTGURPkZUnOqIrVdc1gRNcNRJFs5GXu85IKsX0RzVsKaRu649lvtJto0gOrJc3eD1P8m5exR7JDhZGkHdLKhgEl76q2wA25maytnBq6wlnaQ7VQ4gjDJ0or8JcmmTGGDok+cUhUN8li5FpwmMZVW9P1GbEIuSibGHGOtFlu5qNSNsXX2gLRGagh5Taa8Mv6zMi/lr2ct5f00S0PMGAfpW+u/9xjZ8uPGZ6A221HBljOsDxrMFwueDMpXJKmfTxcWsCqzXIuoe6qwp2lnDEAk+sdevsDtG1VP8b7TSH/h38zLFPwqBG74/sNemSSqqE3wtSTaZYfUz1NzCZBbhhC6P1Hc4UIn0WGc8h4d9CVX+5F0LOCq4waP6pGRfYmMtQM+zsIRQfrbQU1usSg2k15Dzwbvt0VmiaFm6VDreFndC0RpZI0+z0i7iamPqtUW5Intb5LrSxOMVJa/hkYWHBtfuPrZeYOkNGVelMjxuxdeJyyR3rgoHXWePJROiZP85C7zSHX+luPSrcVINMiBH7wDKidqXo/WBPIdkeMu57YUjBHdqp0wx666h/2SjVmWsXn7FvSnbIPJv/dh4WVpR9oxZvSIEUk46cMQqIVUCAktnL4DGNEtfc8KhHkeNCexFSQF35z7ymOMgFTdIDcB4Lol9xZ+I8zo2ukUTf1gs5Ohz+84CHzqOWEeLpKyagfLmDIxmsPo+Fu9RmesTAdXZh+GAsRu+JXlObJzArfbk6lFM32Lj5VFoKEnKWFAGOGQhmQa/V0H2RztsVwuumI3b1q9c60DkZAaAHAfxUpwcpG5Q7Dc5r/02KVQMfjjDJnYGlAhbR9b9SuwAYwqr43LMNCwGSK3iKmbbCBsbOzWzG/j/ctpk3SXrCBRyquw8ekjkpHW2kiTPUxsTLHeA1VY9Bk6gCBbKYTjkBbpsCmYucpui9gnStdEpu5ptwfZIxKSpjzbyeWdObE+8v+BHT+L3/A2TOBuwhjLF3bY6Y5f6+E+mYWRNnZxCVCmi90any1QP+EhI+I3eYizVE0iwNoCzso7j7e5K6XlJ17CyOp2hXITdQNSB9bUZxEXiraObvJlqLtw4XxUovzlcWPByrBXe49vLR41ocJmwV5rhz0GrA3FGKQe71jaEWFFf/Kw2iLv+ZHl2zntl6uez0hJkp0OT6IgXY1RzfwYCEVZ8n6+J0n7U+o3rtW2T6uZSswE9FdEJw0kSFUZNT+3Kt3LRlL2V3s87tF6hXuVQEKq+Ujk18a9in7cAAILS+YvWZ3anvjXdaZRRvHkjXGUxp+icrWg+tLjo2YyusPvItFWpyFvI7YvnqkyOdOJzN/VBvLbKBEbM7qXEk8pZY8hILB0gmpo8JfuYBlZcASjJaYdRolQgvWGi9ZJJnL2w3jAy/8SHb7fsDpaPIl9BTRRltySAOZaLMrcnsC32Q7Z/I2sQVgDLCEwZw+dsH+/dImhIA5yHslFZw1t3v9/WT7VX81uB/pGriSEPxQa9voryFF0Aygh5GqEXCw8bWYBKk9CRn5Gly0ZuKLofcEkrSmw2yRdZJR1hWPg2zVEb9ys0Jvs7wO0A7V1ByBgVcUUFyow8EP+c6qlH3p/IXb+iQN5CbCxLwW74CFz9KuMUJfIHIWemkIExZHfUsX8oIYsTMisU0y5bHK+RKDyZkkBT3OweBWEv2NFnAahlPpT4H6eL3VtAblhGhT/wUgIlu60j78srEJNdIGVkG3QK04QAWIEXkKStrcW6wuK1Le+jwRApH5QkIpGUaLbQCCSnhU4cesibursirV3pqhiiflSP+lk2WKbEDPkA2gJpMnzGkvXOsdZ53UP4gApjlo4mKms6fSCWWRzJ3ckov75LUkqmes9cSTaonTftyoTdRsJhTH/A+fLUYvap5p86gOP+i7eqZCKCokB4eOz7umbi0qptGJuJ3ar7tXA1JlNEDWDzcdnER0QcH2X7wofJ6zneiEDW9T3jCy1tqrsmmps0j9g0H5FUGHLruvIjhijDlWfzxHevX4m7n9sUE9UjgSZdd4xE8Y9R4OPdpY88MzQO1VUYLDbuI0EWogQUUwD0j022TD/I19WJV3F9PTMMNwOA0LkavUVeeNz09gBSQux7z947zoj1SSFHF9Y0uWdeTFpO25ycT4Luru/EnawvFZFhVqH9dJN6fKPUOnuBqBL5p9z/Ff5WtlgiWR+SYCKMqCy5MeCskynq55RVkQz1NhO0YSx1eGqzODGSB3RE5G4bIRJspgQY3ZTSZadPRlmTa2eTkBVwJu1Yn1vKuMl94hNIv0W5QVLxmBoENyzGNrmDZ4bueje/K6hSG4xnQQkSNaSrG2SoqOg78TNRM4qkIC2SGarpW57Ywuu1djwaxwwY9cuxXvQIlJ0i2xPf102CX9Ktjzu3ONHHFb3gv4UJNnb+QogLEoUBn0JnMhi5bfLIBnFNlnN/sq8jTzae5XB0mCgYlEKkOGSrdjq2BnQ5Wmslhj2tFjGTNeGwer7oULKToKrXtSXMKids/W/EUNKR3RvJh/QXXOYw5Cg8MoVTYAB6/i/vkJ/TDbLKTltibXVe64oH4tu/z6QJpsiFdTLQnaNGcQzGBQCOPbXaQ+PdDSSNNzT+NIQfpAAZg4Z+PlsPkkCbnFoxBzDZmDT+/IWaTwaEk4S7J+bZJDkyf3tBseJwcXWdQY+9d+TF2AkKuUCZPhWgwi/kafk7l9ESn14TkmfeXwm31GAKE3qo3Z+wbfAHJYpcnx4bUGcA3n5qJ/Xsoee2+XS7Nu6ZVidGjH3Ort0ZZjtWbbvwh0iVvgKqF4l6GSUd4RTwp8PddQdEckZr2w4WXMskl463bum0A3CLdUu17ZCjmWU5YH9rQ9r2p4onhw84vVq43e2MOPZgLGtRF2eW769Wplbdz/+CNLDTSZoYGHojgA+Bu+KMg6L1/wnaD/kpU+aSrU9wJIlq2d+rmPIhqKOE2pQUteRat1L5AB0S52OAu1j+OIf3hcAmOiGIKjGxPG4RlTn8BOxo61juRd7yiR7hn+QnMsiwNCnzrtS1IB+S2at0KSlcN4itXAkTXCSucyV/FdPl8DeiDL+sUJ7BzKmNxaJuz8c3PlFCgm+lgZ7lCyvhZprJ8U5yEqJbWriEwrGqA9VQQADzDXUuCFMpu5c00+K6Vth3l4ADwHHfhGgjgk9ZJkWWLOex0e4MQZknyp1TwVcPn5OownqLFL5kkVZ6/EUAda0PO17Nvt9Pk0ME2JJ+x8+o1naToAx+QQQzSrZ0lj+dShmDiWsJbKAkcwNnKfnT/ItrQ/NuT22l2xEGN+4awn82qEYUQamJADPnnZ5lwxWJXoPjjW/FsuotMuL2iLI4Q1uXZzdI1FcwUtQkYRl3chOYCdinTPsRLMk/JxGDFOTTqahqcMlSHcB9my5Lopj8Zfxdjujo0EIoL/DoFRZxN9xuFEVLcTKT0XB6I2iAKbSDQSz1tZeeo9IFupLym7NTiQygNKq1nsOUOmTtPOem0uZnl/1Src0DyHlDYC2HMK9Is6TwcuUW+9ifyaieIuw6FE8yryrgrQxn4cJJIOfswj3GbsERBgGvjrnNCuPAhzx9D6oV/gEmUMzC1elCm014j+3R2Zh4mRsVEj/Eg9C91gUcjgLFxiDteTCM0jBZqGlCtbQRfSttfnGlGwdApl6H0hfikezprwDK0YqpWEiQTj+1ZpD/fVvmondFugOTmXUyeE1t+Dugs/VSYKuGq7l48W9b2ceCbwI1MoXNegHnKAbUiBIjWyu+W7K+VpNFHNnSqIOXASgVhb/gZ13v/E3V2AoVCpGs5A62lWNymIrFX82TDvv2MoPT4odAF45ujQo1uXj4rV/sZhfBBQgk+gt0TH/CCOSvfEr6XsZqYCUrte5++7adIN8Lz/YJyCIg+RGp6FHvRrtcWzqjJIZkxO3VjgrRLBzLvyn9V3xzysLKuIsXHL1crjXHLhr9cHXv+aI78JgP/09EAAcLWumpgtc+8UeoH1Y2Fi7uaDgxPN25Uwdf1E6Avy1PcRD+18p2oCYxuLQbj3sQYOBC8b2oPsleIV/5CjZ9RihkisgU9R+Zud/AUQRiwuUcjjzupLCHJjVrAuYuuTuSgnD0MIGmPzEhubn2saosmuGGQHylr7+ut+b4vLeiLV/ljbHoofXwlsPFIeGPdwEmzWMf9lv4qbPRSxblNtphtRV30LIitXklqRaxfB/bVtjFyvxOmQqKyz6BPzvRuCIryjJ9Kvb6rJqpwSiP8M7HufZ3RZeHVqC5/xU/qDJUWfURPPg0WQ4pK+vFUfcy69Ju8/bcfxVAnssGVIdwp867U7yFaMDIGbjGLtRsOHz5/vbozlxv8sPFw5imF+ZO94aw5rhPurzNEQKHUBLomOQMY7yjBzwiBWKkVpvIEoxWoHiOkpRc/R3U0CFX8HPNQKzTP6YCbK6oqFyEeqeDlL7nlcTuLpockjh7fRtJ1+nLbzOx1qRkeveJZczYD5XOJ2KDFWa++RJjYFvYAdrIOG7fXhT8Eh4AlDPoA94bigeRrmY2JlU1BXiQyZfDVjQUANeUOn7oTJWJuB5bFInJ0rpkDD5+i26ZhFmkkJwtM+JiY3XsuG1IK3Nffx7gQGjOx9QsxGC8NqlfB8jwjhsbXsaLBnxPx/HWGTPAHxkp/RImtkQPgHM3xAK8KShy3EHG8rSgspo3rRalfCf4OmIeFN3lcDditjZKsSUfn8G81aeX4NH2FfLjhzI7XDoEL7haIbGO/s/qVGiyZSjqaS3+0bmWhctli8Cl87HKZ/YvFwg4qdOjuk+EcvAL42XHdC2GphmSVl+W9o0S1ADXtBUCh2OOQmaHAw4Eo1x81V5ZXp/LB5w6gQ294Rwy+52PPgFDazuLkcChcgcwVe69mAzXm34hPY5MJtlbK1xdO18wht3WchbFTCw2HpWY5LKuKrAZJoQgdDBRTyQXIP1d3jkL+3mq0fMxzOHkPuUc6K/5Ka+4vsK9is7l9GRmZRThO1irffVTIBNnZzJLtfvEgIcufZVmjXY/3eu/bF4vlXJUG+VMoIQJc21isb912KyxO/6R0oHG3C90H6h3/rPsa1rcrF/sekKHGaP4xsKdX3RttHYVgrol7uEL4N3T6Mvri96MUxB4Gr3co4L/ZYYQ2eFJYPLy1p4jHqMGUS5eGpufJ9VHx+IxIiWsEE6yNmxuN24enV/QgjPzwJPQYSszHMT4c5P0Bqg+BkZApNYR3B8ErRc7FFcYnyDeme40uy5igG/V8QMqBgYhu7NDvQ3InlNPEJhLjO+7m+oaJR3N9HpnYfDiwDBh67UortywXK4X/WK4PE65ZzN6qzyxe+PYvoqmZ0LHKeQtSlV0s314FLhY4xfeAGz/G/xd790tpbsjNC+rR8wDC4UT6KWYAW+C3A7q5CKZ+TW+iPbqVRCRVo5W1IblL8qGQNk7YLrEinRrLn1pFPjBoKnAf5zZ3wHH37u69mcqM36TdzTWn0Pedukd2EP686Nf720FW3pv+qrX9/GDCxnsoVvunbbGso/LHRaNfFyIV3RrdSf7EWvSffJkoN7r1Awpsjw2eLUDM5l5OzB7jCRrbR1SPjAsTaSXDkRRpbdjPTMVQI5ux/cey/rudTT1m0QkPwAiN6K0eq1wBvn/CxvST+BJYFU6y83nHKmem2eiuFIbBP3D4kWR2UbOpYkzYoU+HMlSgnJ/CqqBSwx9r64C3nCxRuxEMKl7coTadM+Ue+Xa8RWR+YKRRo9ciovI56yrB6Rp+WY8sOIhF0fxbD3ZHx2tAiveUjAbG6Dfo251QWlX3dWN7FhGo/ITlHo4x/+HEHA0/uR9Wn8NP1PshtilpBiKVeNjxDC4ZbTh7lCQGN/dCVLwjcRlkiFZ3d5TYN4TTNH1G6LyHaxqwajXkCxapId6n3f63IRY82YmcHRC9fy7WwKwMoEJVdniIbRW3GXRee54a1Fqtzpn4PgsbV/97jI0LLyGwS1jswkOQtvv7icON43/q1fPUN2+EsCHB7ZpQ9owuu62ZrOuP6OB9F8xk0l8skfiiBDCTk9KWi/opo595Un/iZ/PzJrcJyqg/tfKIBWNHy9PTD2jDFINv9oIKA8uhv9l8r5piqHzXJ2VngA+t3rn79gwJymprM3WsYlK4WgJfrgnGoIuWIuiu2PiXXjitMTXdTiKqSwmj2KLSiyalJY4nYO6lRUgRL4XpqIM1Ls0OI4ZS9PsqyGZk+CI9DtBAmdArmBkc60Vjbw983Yyy9TOQ4/g6gFkaPViB4EQ/tYZCFcTS8p3QzQ2kdFXg+3UoKipi/7iaQkabK31RmgXsrnaf9I8wXV3GeEUGucKfezZYpR0uFfhwx+HuGfTaJCTxlbzRq/ul/3jNKPtOclKI+PGLeD+R+cFK3xfS+uAyjTKuVi6OLxbTL9MSg6Dp9WOKLB9hB5OSfrDNPLd12QHLbEZGEiY3rn8yN7KgAyeDP4BcxsQ5gLqMmOuHzoQk6otCz8ZLD1l1z6+6sz24BfdB2S5nNThNJysqg68/dn7ijbvW6q/k3qm/46dmIrJkMMbuxzXDRs2Y/zC7eDCloFhgPPRMfYsE8iV9VYVGBjskf7sMkY5pBwhmTD/x6YP4JVbs/gWpwf+rsIs9Hd/sfJSvw5L+DZWwEQY5Sy3xWT4v/cYKYUbHYTizcWMZZypgUxsFp+C6Z2VHzd7v6cDk87buU2Btq5bICr5wG59rHpvNX0dQK7sv+pobaNbBkvrnOigQPFmDQLnozsa+WzcnRCB63jm9eFMMrL7UhqZK2MZRplfiOJzL/l34+5w5YObpIaEx+vZG2bgnyll2WkOQSBUviHmpJE2qVjY+MKD91eyMhn6Xxv+sh4rozD7V8J3dQPSpme+ANttDQH0CIDx+vcpwUpDsS2ROFs6uztqOrRzxBehFqrvmenl6L2+Zuy+/irkxjpshj1XFbzRLi4w0pJhElfflQpFv8HC+oWIjVrmG6E+9hAQCkUx2rmq0AlQU2aUDTM8fvvYOWh5sMN8nbHGD5lJdIcAxwexelhPZzCFrjmBkOsYE0kXXUBB9X+BmtwlSnSu+m4Y5+RNFfdum9ti6Oam8NjfloYldZw9HvYyIQlV3SU9MsPFKZK3z9ZVkJSTJ/NMY0CCVuptgrvx2s+Apk4LP1d0M0rN2Xj/VuVP36lgBjB7c3GZ1aCJXDZUkoibWxfaqH4xF6ibCfLer3vgd7coFGsU70co/y/Qwmd5Nc8xzXxDGkpOVOAnETfXVQ3pqFspFZpY97NYsHJ5Rr2AbBbpb3bOIAwn4jOFsddxAWAJVgdlQgsbLgAq9zr+HtlATodC11iYlWWG8dE034oLdP/7a9VxdFJhvVU6eBa5YYqaBA/DhmKi2u2zIVXIUztqjpLfIt2gqPFXek6r7vOiYvABSYzxQ6SlxzFvXsWVopmIBeKAyn4eyULJSQnY4CJDR4fnKxH6uIgAG/dTRsS0210pY6Rg49E88PQZMYbn/iifwoIjk4xbjv52/3x6JQlBsDvLkR3NbmmCw9LC9aCP1UASqMLi54Ma3GF4zrBAVrBdtu61W3NpEKEdkLP3onoTvG/RXPLgqijGw0qF9kUOzf3Zw3R6o4fSwgTWNWArkuBnWzf9ZLDhzcy8nivVnxqDhJ0bIGaXA0JdGrJdV2Giu5JReIVWvbW2pCBdXSViqNOL4mRncAAZtODK4zRwXuaiRzLguLdgAhmK2wFHKwhH9+uD0kVz1crCgTOUUbTiTdV113dwVWs/RN5J4dHorjXOOyKw/KcPtez7vnlvgKxaKJlhGqEAKDlSeOR9dTakaO3IBUqUoMn2JsYnjbIkRGYhG+zAGg2UkS+ckjfoB0hWmyE+UlkEi62bIUiGiiM225OHX/88YROTKwyXsGRDig/sa0y/IBAanztnfQM3Qb4Mk+3YJlmxdDEPMGQtCocVNZwWtZfEhWDoETb6nlkz96VzGd72NDCtna+W3qP5F71RNyiyfiIyCssAjs0TRyAVgPm9Z/+ItP9E3qt3S037CdvMnFoe4x17TU9rFxIhiZhPuUImr3HrhS/9tuGmiOUCE7wi+wAg1L4btMpsrkPUUNNM0E80DZex4JNmyWF2h2tIo8z0XeVrqfuHYXklSb9Ph8r3NCcUcZw3rG60dagq4YB84AvwvCNufzqO8daEtKrIWDL9DbkmFyoyBcvzwDzSokEC99+knxxlvJf+eDl8K8FmXgYeIzzMxGCr36yM2Fs92Lqh1rh/PeV7ydG2hdHGN9STx6fjaYRxYcYTs+LlZCiHprFRiCKgNA6zVlcbaQOmXbMd3Lrv2Guu7YwLlnpJtvPH2XggkkFurpkSmFSGy7sThldaGC/AAi9d9QErf49CJg+x+4DdzQVxbaATHYbbZTxRyvWibLkJqhxOoH8uJs8S8/yeVXNliXtOYBIbvIVG3UnU0vHg+TKB7ul5EoIkAoF3i04R2i7EANqdn4R9kNkZ9N0VSApn7lOZgA+9t8i8P8cCtRdlNXCq5AQyOr/5pBE9ewufv0EpcNt3Qq10xfN5dyhhhHFcw3djFRDymWLfXuzyThsmwCRlnsNVZ0t/ObvHWH+ndJseLsti0/twsapICeCaCYTvnXjLrAC62N6Tz8vUHVG3Z2ueSPVOu3+r9p9+xqoP4VyJdkp3UxS4Fi3um8GQgyJetfUQX7fhTDPS5aTeIboY36KqDkPfHZK7SH8EPWaftCkNtlHj3wQd3FW5IyopMLT9U60oSdKDfkVx71Q3exrJfShQW3LRQpcJq9tFMaAZllHVxAQHpBAZ/tugxr05IISiZfGYcw5fAZkNON7yQU5Wtw328T+/oEUIQAtBWDc5QFAt61gUo806f5I76Flf8vsOAIMyZ/icut/kHBJBEeNukSV5Red6D24RkhzMgWvfBRYVY1fGv710vMfU5pSNB6TZjN0cgrnA2UlVj7RORfhOClpvN9QBhnPTu2SizLS3UpBxgalOwFdkEdBmfHcJ8O1Z1eh2ICQlYhRlEc+m8FOBLnWe2ICxg1VVBKT+uCLgHMOzEgK6yYaY0U/AH7Vz6/KWsP7SZkWnLcNcg0YU8rlSRYqanR3koHevZIvB4YHEKM6QT5DWT7NRGdLcK/C+BDW7kyJGgNCUjruCz9rlnH2W3hhAelt2Qlssw+DYp2OfyXD5vKXGEFk3D4SUYhpNEd9n2qk7w1DOWkXeh4Rp8SLr4sdVQ1fHneJrKMvIukukS6t694grvPqgkci/CQy9kEqzlGawXY5y8lXRULMImEdyfyFUD+VPdmi2rA9W2fwNG/sfVuWL/A7Cdoghob7YqtLPX0K3NFq6UBrUvoVj82YsjiVUp062Q7VjVx+oKX+Q5sER6DwDAuJURhrdR6ISfMTqjvguCjoU7C1UELECcbUDDa4aQF6WTWd8XbpvOqKDuq8/vK8KC+QT/3DP0QuzGvqIS9vaZdkkj9MhDf4txzoBZRqMdKOkEjkF/+0ggqb/Az8HKcleEdrgKd4kxlxjymIxJ37KzBk5W3ENpBnkZRn4y1fz2NWSPJdOTKne1uw5IUh2IL0QTenKipqQnbklBNh5rRljvBGTESV2GSStbrsy1sgj1LV+M7sGSvo6Vz8xMH/2Pv5lYSevPfceacgUbqzXocfEeRK+3RAf3qNJZa5nGAx/5l6gBGRjnsAHuCHo3MSVY7tJQX6ePIUc6G0kuer1ca8eQJWxEp/xh7pIp10tqm2E19jlRLH4jrjrRgg+f/qBVd7qSCZUwXdLcdCeagtdsdK2JROlLfEqnwXN5ONbKbrMTCvthwTi0JNI4asLsNdhwiGz/WD4oA+qkc2stfeRQE5Wf3FONIxV/v2Ytn9r5X9zvAwQ9CHZLtDNbdkBZ49L1F92s0a+paIziDZUdg7GNlVPNhrfgc3djoqBzuyUAECaknukYB7U6paw3F7P+jE3ys/3DCmpFek9AwnHJOjqILJDh3r2XofTgejdcYODxjaKw7xQWAC4qY7miROharFbg0Rp2Cs9hui8/D963cscZMUvOtI+k8DNVdgZVk6DFQM6FisqJ4MWM+YEr6JpwEeDTCE3tNFSfqjWa0adX/kopAGoxmfcrQECKYLCAeBbBExmfBvOa+O59zdS9GpwKUZyAZIU+SrNeuU95yAZvgmXIBeL/KLqlzJynh0ZtJy2UsgcVyPykCzo0HhoD79MTd+/oQrc/fF4g9fXxBmwVyashrmxeOVbmOWym0ac3JdciY9LuC1jWkiwdFLdD8yUKNykY8oXufqBK+nQlok5DQk+PZFXxCYUoM82lljYXtJOT8ec8vtQiQ11JNFpDLsbrWVeM6esw3BRy/ji4joXYAaC1eS+JUchQTPsnCwSUDGWph3cRwnV+IARpfAxaQf5BUjvPSYTiIliRg36vmsIMjyRmvqV/kRrtCEBS1bZVRRbFrm0FpLswtWAeqbevg9atOuesxtpsJbYT53Hf5GFm5dzlbaXPFCrDL4OnkqD/DPxa/EE1/VfGMuts2kz+dd6ZKfg7UGSyIVc6x9xnvuRUQedR6S5uB6oG9waIVHQ4rEWQoNewmwCnUmyF9l8ez3Z7BsbPWhugATTinmFNyLuN5z1n4/13NHDFBi1mXezn9L28ck1cV38ofcswNS7Bmoef8CcaqTO/DTUIM90VJEU6gRpUiNZcyyweEFPiURmhp83pYB9v4jYme4Y66TtEx2D16bUkJtdGy7a9/sPqpGv6B9gUhCT2iaM15sprzQYGanwQ/ddJNz+1r4Up/o2WhyIrLiF+gA9vnEr69jbJWAKyrtopnJcW+w3sWCDDTkG7bj1MhGHNMpZHN+UrTRIrdQryDY0V1Ag22EQcana0Jfk3tFSSVzu8n9V0eKugLSjnvp4fl8w9yHz4LoHmt00kA+Ra5wfbp/VO0XtC5H9Z0ngMc+xKKHCSGCe7mfbGZ6dlawgu/RElutY/1NQ2jDRPwT1a4laUuW4zR64nz5UPzdtpZrKglgu6Z70OX9hLujIb12FvR4HYu7r/6/ltX0N6PI5d217Bfas7cFFjArUtKJomfZrU49HYFwa7RR8610nGD4Psr8x7JZ1g47VoXV6mloD0lHZNdNYFcxdY5kv7IZjY5jOU935mbH74aFhbdKUmy7krkeQTri7SOt9AfFUCckoWp69j9syO8C2hGWFVPAn372j0thZSQU5d9gEDXbZdu02PuV830w2fLqdsQVi0fHR4rVtZtrqxr6DWIU8ISFD9ouQURrRagmkwk2/P9DXHsVRqiuhqvj/nwxCkBVQi90uQ1mYYZf+J33SS/h27omDOPLsjz39q1mLTOX/AxR/YSMsMx9zSBc/rsYXPc5OJTeh/ySKNcFI/CztaMguw2dbhzBEe71/ESQK2MgJqLHbejG+7xP6iVPr4Flz+1rvQhpfDwU8s7vE2w3A2+w+H023yVNzRKoQV/pyUC3eKrBt8V9L4+IbNhmatyEFVzY8ELR7ENwNLpAYecKaTr83bss6FKYeZTkaYEmQM4PZn5rSq+ogn0tzY+9QosIAJUzoUof69Hfm9F98FPcTubUK6hUevKO6rvYF0PSifAayQKA7M0494Xs7vgeSyNf2zfiSRm9iUcNA4WtGAuyFF2PzJmfTlChBV1csoI2OYVofS/tGTurV5FTjRjPn7fmP48UzT4aXT/2WqzPWRVdExUVohfF+krKlUxNRGP5KzjQrhoHQSHtdbUwhf1R1f0DQkWrXWotCs9rk/l8j1jVjlbLm+oyWeoQz8yM6brZNNbjthuF33YkN0XPXzn8euBqsmsRdX83z7QP2OFDlqDAZZWODvdv0+AndsgkwPftZPsii+fs+dAVQrmAdOmg8hChlMe9XYAVOo1l1UQiVhP/AD2ZmW+ww/bKm8SMV0qdb0vkNPq8nTFFUJXq9L+s0E8POizQFoHgctMqjt24JkYWC5bhKgqwS41aBOz5cH0PnOUCStVNn5xPQCX4YQcXWEy5EBVcuholBp7cqo0MmyQx+2EvTkwxrDTwlqbNRzyyJyp7OY+fNg2UjzSq5+66nqSDsBzDCLM5eWyaNwXI2YnQj3r+BkRnYAeU5Ti2/tc/Zh5NKtGUi4vG+K127RFc7UXcVt6MoWJZVB2LvX1LGuQZwn9MhP2UrVI9dAVmvkWyrgvETNzPBuYxkANZGiqlIGT07A8G13hCXb+WfBZRVjW7YE+QL98hY6kV7FZuHJKCi/z6WdxGhpurh7EwzA1qcx87EhD2V9WJZ6AhNZh+eR5QqPrL7SjZEm2txORfdi4/+GUbPPz4C9td5lAtmD4VgTZBzN8jCZ1yJuxjurAVNhUyH9I4hkK/B9eSlbaTApNN7eIliS8E94/XaMZ+IB7xeUft3+xHBnIQjWzIoJAj9Lqhot4RJuaBSkOge3DW6BJcSYd2jdfFA3wdvpFnQ11FGbDXFECdqD0CqR9xu/zhCdUtydGVYrj1kt5ykQF+5DGjgWLNbEtHoA0Ws8ooEFbgG0wtzm8bbfv0yV4U0UXCfvvcYDgN94L45qG3M/s25UOAx9JralGltLZ13xVXPMSRfDyBlAgBfmTB88P0xALjpPI5M3W6+rAnLTUUdzL4tBLD2fCax3mKdDmENGD/5pOZxRzTFqjoXoGcMNrXSFUz/8712eOWaUgHNLFKm50dTFamHtIkdQaj9ceILkNzwFMMKANE9ENDsEkSJnDF2eDkF/YLr+HNitNP5dqa5UD5/Eeyho78Bj+vBT4k19iTm1Fd475ofMHn5WUYopQtdrk3SVPxohKs+GQRAKm14FItQAR8YBVnWUHu14uf25gYamKik4VEFsvNbPANgeEvM0C6qGBgQSmTQp44NwF9rwZMc1FEBWbmx9T/M8XB5XEkFqxNXND9Ea0FQ8ZPt4OWsOpUn67fEQKdIl7YO1wD3YYrEeYJKwCIxhfLUCrdGI2QEuUqkRakSwBBY3y0vfdTOuziQJQIAEHIp3owgbKfexVjKW2EV8326mDPpsogBLePpDVpFDwMQoAC9ZpZ3tfU0XD9dOIa70LOTo7SCn57GpS59mbCa35ssjQbfbRvAUL+nm5+7kfJhSXLqMtv0OcpxJ1E/C60g5UtzPL25PYsd7TLdTBbsra6233wwAEclRTynjwwn3FPUrtkb9lcTMMCPqVc3UJ2kE7ECA7Loplfc5MWUsgaO/OEwsrr0nWybPYy5zznht+6k/wI+5o6a99CfdTbj/eVIunkPcTDvcznnHe17g3aW1H1EMnOA+RbJZeVEvoR2ACvVLWiIrWIIK8Gm7cZ3M1R3aHjTuYuCtI+mCr2KsvNynAvrmdk+ExTJF1in2/URgCg3nW7qpLxSVNShWoowHQj2Fju9LffDoU2uqahUbl6TW8yl/yXf4F/M5/alIcYsYTC/uiD7fdBqJBh1wSg5qt2koCZn8CxQbG1dg0HDkL0b/o6JNwSnYQSHUjp1TtMaiY2IL5ZGhQh/BeeFr1MrcwQPT2mLzJxm65D77a951xKJUoOoESfBhSa0zTk+tlHJEO3SmnVil6MGEewCzQhjXaTm9CD4Q0eDzs85m6xct6ccGFDr3VtVuVeeu7HzOIZYFs9dd9vTBLrhZu2cVNbUhyhSoXf+wvJZ2yYd8QI9ZIz0wZG/wDNT6mdjASFzDpZhAmoq9YZW4NNnoOT8V3OrpRzYf2MGNpyN6EsEFR9cucy91edbPRvgbktJzOS7y6EXbjVzJgx74OP7OMJ5P8R7iPhtTSh6rd2my90UrZnQOsY7FtkNI4jizKn8+K1XBlSuquM5onJekk2/sgqIgyIimQGTGUqx6fYuNxobIfEAs1ygFZNr3JeFSD4bZas9of6fl25MCIJMGywaTlLYUzkfJZhFewNoOJC0Yd6Vx+6uefVc2AdUZujhzdide4lM41jj9Qed9Ps8sGrkPDJ5LNBZJJFja2eYQEJb6xPvLIvOT+KBGt9dGWijuEzSX3YqfnVF+OMwvPB4oPycXvfKs3AvKsaqDYEz7/yxI9XfJr8K+Hosjg1Z08Bqg1fIMz7IsebW4wLewm3Rphx906nKcCc+ioBQ9xWrpzxgcQVJOY+4+942MPZ92A7vYQABXmtcUfKovg70tyxJUF4lXt9d3xDu2kKhDJosv19PgC+OvDtqRPOfY/kVIrnmioLdWFDvLfs00v7Es6FAyC9AobG/NJAlbfWQzKrIaOKHqGEMbs3jl1nBRT9Y33mgFSyPPkQr6MJjqJApzct9x9WSAwnKW+r8UOj4dZ6yNIO8NBfGgx+wS4XlkJg/YGf6hSyXHq2HvplY9M36hk6O3IPdL7FRVq+dATme+PU0ThbtSUUHAWMAavKLbidLT+eQcaxvg0jg6NP+klImR+eXU2zKu7xIKm3HcZbcblNmMyMKHiYdR129qfGI2geoQ+tv8NAY60COttlgpOhPXDgSGdukx/qaPMrdl2bXQX8Zh9W6eAtiwYnxLv/pf23UPkRwDpXR678Djo3dhfDX7rgsXPakmjsumTWYA8I4klD79049Dr1Rr9qGqDulgd8+nL2oTXLkiIM9kIKfGv3v9NU5qvsHX+y/MGb7XIH7QnFlSMtZjcn0Deg7a6Mgf00aBDXqH2B65d2/wd5DHgl8hJdfo+QwOusYm+qABmTipDv7/J4M4XZIds1UAwJ+tMJG5rvdT3s8INoA+ET9FonhqaG7fclQcvn7IP5rKmiZqiDsv3BuFHmc1yNwUeEvQLF9jn3pxiY1CUds+YSD9uJgnhW00FCg8qHfUwiSMq3bKc56Er5Y8WJTQo1eAeOhzpaVRwD2QJmyPLT2bTGpH++APw7qDE90HUcGdICzKdDgTP6Fyy42j8ep87sAiCGVuoLLMEVudh6EQlHgKFTWeXyJCSUGTtrzn1HMoAoaIllVBCw4Ta5bIUrOdr9og1ZL0os5CZDnaQ7tLPQ/qQiNp0n5BRBtYKCTCmp0IQp6qSdYOdC1pkhzurxipsBet98hrByyTaWO2pMj6frXtfuzTw/5V3i1R2mfl7tDRq1gWuklyv9Oc5ar5gbdplDPSDL9wqAeW/uVU+Hc+aqCWnrJRLXcmyr8kj+UEd60DwQnQJbklJT4k5sJG53KqbqxV1GrRB3pzgKF6b6uijbZ7vxAkOw268M/s67681GiVU+dKizPz2PnTzmUU8eXVGxxhblRh3J86GBFMR3A8AcVt0UYSf1G0iudj3Lbnjy9NfRNizhtMYMqeP49RVZJDSavZ6/D0miEIUL4QeQD7JKKP4V2MRHilreLXKUmAd9yTQJRrhBEmOzvGb4QUXTjR/m1EBLbcJmuT8oginPm61PJHmk3m5yZ/7p/7fLohPloqelKXVbLny4k9y8bu5uK2JFzOOgsl4Ke4y2Yi2otjiJ2Sf0A60r6mao8/HniqKJwwJVmFxgu3oQzji6pb+l1AhjkF8dwH4YGaI3fvzLyzfmaeK+ffAHvbHKyXy16xjB7frNItyrqSBVKUkEWJjf7S4w082tX4I7O+AaitmqfIkvq6BhUx74lbu8DnsexvmCRVO3xTCj2ZjLnS3J9hVB0wIU/Mozg8d93WtWHG6o37T3o0+QZtvnBGbogLTjywtKhnHOaxcGmeBWwt5yyLwVt8kK7WWkmRu5G8uY/5NQ4dkLgzuVrtaRWISmKlwcllxcfL31XEEDwJhuZsJZRb7QO4hbbGETpgdQpDqqk8O0BHfyfY5dKhpA4o8+1HlwIn3Y7k/IDcBdKS8EBG/1Ri5ecezzx4zpEW0gcRC33rr2Y+FdDsbEO5QhtrmgGIfUmjEDWb8lT8SMgXMzHiZuSykxfVWvkjPje3Lz5roQIW8K9kLEowKjMwkuifq94p/yDhRta+oX9c/cGw/P71DSxM24xz9O5GMFMEjykOLxOtVaRN/3d4pwFX/Iz8/rg9xG7hAcfOWGSWvxf+Tt3U6qo5dxfxJuGrF/bnPUclz5XnDl5sdhHbaLdg5oTcmCnSygyrpUeEANw8oua4RvS6qE82vbYO28rbArPo5RRNP2HSp1ghfvT61Kc0+r9fimlplZQTvhiFzVcbYwi54iWmeXYHtbjkwi0+Qe6OEf7OwZzMw3Ufzjuvm6Yk93Z8ULPI12sFrfTySFVvjsDVvgInaphKXhBTFDdumt1WFVnZ3ixT1Exvcd6FRF2zKqxZfavZJD5mCMKZXTgzL4svHhpzMLbxpUm6M/5NZu/k7AkImfmEcwUEehHUuprS0biXyGqcj5deeBS3U9LrkW62jt+V5lyy1ZKfGgnpr4vQulDw7W4FE6unMRYz1bxEC6waZ7CTs+JkJXXBLLemzPFe8Wg6G3r0k8WC08FddLgCE4dMGPb7sCB/hyCN4XDI6/CWqaMa+o1ZIar8lrYt3nhQxMbgVktGg+xC2iQNVTNajiMpKBj5+70BbjRYXvufb6Sz2ugIy44/XyYWb9OD0ywiWWHgy1JvHigFxjrOMDKyi1OJozN3AT54EZxhhvFIILrwvn0utUqS41YTtva8CN0smB5kQP0azGVk59FdatwtEQoh3JQF4qHSzZZsMLqCmrvaxFlPLH3J39huF/ped7Un5i5EEJPYd0KAYIWT+5o5bBy73RMVdjzmzMbuZPz6PBCKTNOmjcFkq9GGLauxRD4b6h8UeZswiU165GAKEAuIKvJbD+11REb6gONPKfcg7Y/w7uVS10XnnJfB1ACLaWKW1HL28mNOYJomk9nuSG6WR4fiDGWrxpfMLEQKouEB10gc1SMOSbNHMNERdf2Sr2OL26J1Z3NgtCV6b4onDtFr4s7n01EsubtrvUYCsOpGl+uBOeyxohSZBAVW26hPbFByBD4SnfNPlZ4JFXT8ZklY5PLA6XcPfIYa5Ekw+2TbdK7SHyhXqlSaeD0IopzBvZEZDrSDAum9B3PHwXjPH76imueBlr1TKY/Aw1YnUJ+QRFDtrliJTUfvoEy5KA/SYMxDuow6Q="/>
  <p:tag name="MEKKOXMLTAGS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z2dD7pS103gZfJ6l4USC3jqtWOPR/ue0umjYEY9KlLthURXCUyUuZbmGDPUXB2idlVQc+R1c0j6vNnMaKvr/AghcgjyTjoGcS2U6lyGcWZbvoYqQsrFJ5DN1RdHsB5gZU4BjQJ6xKwDUEsW8X/QQ4uIPkrhyjIfLLN7ZR3puqzBiN1rMnctBA0J594at1EN5QJYMsPufr2eabAYzIDriNpy1GurybA3KWqcTPRKYh436jQqOHiPaCJtAtzpRgB7Igk7tw7BcBhai66Lc0jpyzFEK/4NRoFF+cso+ThI1HNgDMZbpFoCsJQtilLqk9nQPGX6RXGboCTf8hOOcHaKoTUKF81dro10jOa8Xb8mBGZBE+xk1l9MAy6INl4AKPS/xvQ3JR0aqwpvNtDkGosyYwWymj/vBrLnyXbJgwJXiwBMArpWNWvA46tM3UhSX2a7Bmpmgv1jDLffPyIi7M6JmKkGREiFzrMfZjcH+8MqcD5FImHbYZJqbOnb+fesaWYS3zsI+yoNngH2OwivnVN1X8H3wWIc9JzBj8iomFAhvvx8UNyJTY4FAOPniGB8lFqEoAlWw8Gowia/COzBoo2KZUA9lpmHa0Uy3rwYhw6wCL6neCbBStwzAORWBIqriCE5haYi8FIbrb0Atc6gAJc0QVv5cvdnwRb/qOseT5bJ70NEDotZ+0L/eFkzCHJxyG3i7NDSnMHk8ksh5t+1FuyhVcjshGX7QFueVTCQwLaFygerRvptghjXUkKIz/5AUWvRgbOeDCYzb5kvRtRt5P9yDDUrn97gQKUUtyNNoKY0yZ8Q+sJxZhAEGbuimPmtAe9DeOJlcBI0pNRg32CG491vQPvsSjJV0SZQNxmzVKK38FkuwOJqc6e7pT/Z4SdWG/E38AtPvwMcoSLqXsHEJ75Lf3NEflmdPIPu9/ztUZ8j6pbwRd5Eiqc+1QqqKtQcw2dV9yfWQpGpDDOgfZHxf8A/NWh72J3PafHcsLDYitium5QWQTm4a0LBPLLoXW8BRMihCs+GmEkgLTSACJpdbImnafDM7BrjddJ3woUtufpYMYguxLqP3x8Ip7BQARYOaP6m3CNOCsTfFQ6GtvAu7wQWXZLGIWZ7MiXV+w46LnCxuA8QFfwz4xWPK6FKOIIlWOZam2OExutY5gBfyjYLZD4z/4XvzWqBGMBKl5GS33T3LGXcQBXgPEnbkqeXob+OFcgYfw87Jyg8fed13fa7T5FxK/ynGrwyLRLGj3L5ko/mTZFebs2kMvSVNFK2a9TQsBDVvjNsLAZJnKO3SlCvnpzr/2eT5GwxGHYEb/ajv1XbVxLm1Xwtxv7JJwR+I5z9EF5ObJrznvSpfIcQV8il+x0bbLAuj2ErVbIaG3mtgf8QCVvBlpX5AF0ZCcmEytapaeW7I+ZuWGiv3xGtw2hXPaZUNfMtsKS5f2Fn4ialSD6AZ1syZgkqA9y4qW7yl9ahKsCklUbqDJtFll50Kj35VnlQKnP77t11NER4ojQBcrQy+/6zOI8Ht415Idjtrgflym1xB02loan4Pb/G5AJ6BN8658ra5S2QJhm0BUdrfiJsTMyxecECWWyDom/XtJkAVK+/6bWBijzaHz26LJgYmlvS7t6HHI9jOc+bOKEnPipxf43oOx1JwPFZR2nvG+CmzcR/OQtyvy8iL+UIf+eDdrgDzBdaj58ICU72+G3JdRaRqeCoLYCfWUDMsEIrOwUJe0gzF+xp7rSaeTmcCFVmbtuVQQjwdsP7H7GJ9HG9gSzzZjCzYUIXfye5QyeOI+8H/fjwPR3ZCd4a06TWPSlgc/aUKjQSkKTnMn0+VVVZ+HEHF22er6hbcmG89HPFBpIzwNTrEp+Lx4DcK+KD1G3UYTCC6rSZrm+yGZTgyLjylZpV47+ExcBqLR07xlpzkItviG5do/TAv9QLszXgFKFrjFO6uM+4/5jPIyF+eNCRRzyzvfuGpaVQQGXO0mCOXI3J185slYRXMF2YHPpYwZ0LbISvj3tLwKiKh2zQJSLSFRqzeXkVhNQsbC5O00h/ClHYSJNb3/IXNWxayKMGaZnmnJpAIyQQMALqpJVp1go7wICm2gAQKGkzDMkQjkiQMozoIyOHzulL8mDIwne7NzzvRHFg52XKek6gbt533MfuHk8FZa6/otAG5ggqO+x7ya6wihZZ/hJ4gbMRCBbpcy1cnHv8JX0mlQFTlI2/kuN8/r3mIQCbTspudRVuKeDurPCWD3y8INWfrNEPxXukDba05NogGzSmF26i9LNQ5PZy+UPlqwdJfGk6vXD6jb1XYqb98Rpc80FQBMEQweOHQj6IQ9cWNyQHMUtVnDrz9tLKdx2b6KFeK0SH6podqxGnDk7QzcDLD8qXETw2wj/kljUz1+2ldeqKBlcLILVFS4SFnQ+LLi5i5tbfPAFLrV8yrdT/nHTVuZsnoDqhOHgp42zYV5q0Q52NvoIfo74vqxiftpGhtv0+HcRA2eIOF0nru7YdTWD55kn0d6yWaBSYRNIrLDppmHtTuTDNuWuoaV9xxNbyQMoHsKWlmR1N+NenV3KBQs0oNSVx5qsN/55wlJNBxdM/LQK6F6J+ZDyvqAXsII3fwa2Vr+4o7jZPvKpmdTaeyDQ68r8TKh0UoREltU5mNM/wqLgQ2pw5oP6D3dE+J1gwSyXr1h2uTbi2MgtpNrxT2UlQXw2/bxX5dBXPKY0d0OsKxjvgLKtdxKhfB+SdwLJeD83/9GB2BDsP1aEvg6pHW9kwAEAKsshrnMI8W8bCJL4j+4YGcSe84Vo/aiBLaNFzxHjDqdv7s+AXvKyfMgaehualOncePXVx5M0lsGUPxl2de8NNfT5+kVT4HEgL7HGalfRA/u1Yepzxpo5OEQtDfCNS0AmTfYTmYsyziIyapU+sVKh+CVwcvqNxJxewuLM344fSqTEEKlfj3YQudmP1GqloSR6Ghk+eBBBbupQdHH3W8r56SFQytwcbvQpVcvcxPJejBr2Wt++3dSZ15bkUgts+G7dd4qt4Er+AUxJJuHDxeWoGUgBPKv9XVikYtcs+MsfxKmHkPah/KQINlzBWvtv5Afsh0OgRplnTx8d7BC6A68mt9z99O3wfcd1gB/5uj00b3RqL1Jwng6p316F1WGwQm9Gc1Xim0MxY9wdHM4EKjwQplSZ8I4ZF9KZRVX+r+Aidep8b+/tAvIm/pvEV4X1ShlXxBdfFXGjKFiGWRImcev00hT1Db+o3YtzRax7x6qjqZjtDDWtQGXxpogrRjbzmZALGkkoASl4d3yuGgSKNyrcE/EEUdQ9nvqlAAXUK46sD6wRaBOZ96lEzv6kmF28mMwKJeBRYrVELLLYEksH4ntcbJrOZSkTOfihgPXrG6Vt/BLEZlmyUSmIxmCg7o5iMJvFsIkoRwUo0XA3m71el+WjwkpUdSXR9VDH0qgNkeFRe1RQVHwx0aWd5VgLSKIBeNOepqWiuOFXis7xvUQWdDwBPOIXNCT3sULoZbxwKQPUi4GWtHn/G/tKn1tvnZTcbg92DVbWKJfezOTUZ8c0+t58sd669B0+GVQOiDQfp9SnOC3iGWuG482dKHdzcr9//vh+e3crbv2sjS2hxkqzi8V29PIXZ+/cOllyskvbO9jzgttjIBxgQRF/qmOBHSE0IErrypPNsw2XSOXsJ6i4ldyEyeIt6HIqCdrBzZNLIrSCyePNZAj9gG5YSwUcNnqkulLip02vn0NFY91ZgGPWiQTInqU6fuUzeul+wTPht3bSeFZYv517c70Rg3Nte4veruwAkntGNYwNvFrlhp4Ea1byLAwGQjgalma0uHgN5dU4nXBav0kZoD6GpNtxiqot1Bmz4TZKt0c+Q3tgyjLCkfsLYx4LLeCZB24Qc+64+vzgSZ+vSnv/hRbh5I7SX203SjWtJmZzvJIYzBrJTOL5YzkH1csA88Biq0KmetmkV22qz45qZik4coKNDpAmXm6nf7Z2sjhRBPBQT3cR2/8RlxOumzCmFWlpA55UZqJ0oOkuSf48wK7Hr63h1T9+BgVPLF85oIJ9a5iDqLC/QTTzAsae2UUeK7aPBSpP8PZBOFqzKae2K+Rc0PSPT1SKIT2UtFcCLQvXwvU9Fcu7GZdNyWBP0dT6XCyd/D52fivEZP2ky0zqnz4SxpLgoHpDzZGKKpo99WLFRFclMHF2c+bi9atk3XV9IuCITb5a6YKIBwyfeLMsB4BhXnuqL4g6eDQjv3XmskQy4AUoyJgdCIdtCUn1NtGCMtH8r2INkwVLB/XPoJ8R35wvsq/YSUgF1Tj6flhhTnWxv1fhC/t/PyW7Dt9lJUgIg1JOpDo7Jpr8R7w1T0CUqnUZmQINhKURI5HKHS1wQShxEt2HHJf+VHwrODzAI/S+mGQZBoUnc5CSjf2RmAJQX3ustIwO+e9xC0a1f0fwdsbZrw6/yDJl7JsBu/MopT0VFsrN0zI0kO0heH3fg4DCoH6htJ7mg3t9+BuK3IN0Nleojb7X3MNwYAAPOpNg7gu0bSWxr3peNzcfQTyhqgeQ56Uk8ciUYoZjQoCpC9ATrDFw/ptHmbaKnnzUIm0OZNtE9r4zJens5NnS17TshGkx5extb5qjEeFmMyzBDF9fo325VY7kWnqffo3DAXtOBFXhGMa6tA84LtT2NSKIpYOONCH0EjnhHhksR9bTSktSIr03pBiukHSslORe8b0QiQsWOb/laDhj+exTlMv8Y/j9P1ajpIevmJp5dx7ZBl2cbtlPlHqT78SrIKTWQo5cznwJd11cOHIO4YtWuPdWHAZGBm/tUcRymUG8Dqv/aPlQKUryC3e64SE2e2iSx7ys6j8fnGkRoDer4SCM/t5mO9494bbbfQG8lgKC3qbGYuDk18BvRpXoNnb6V9inKIMhBUYgsAqDvs6HE8Y82MRdYIB0Bbl4KX763+MpMBrpJHDo0Rk6EllEvaq2x3sp0o1QZFLjksNbbngD4+sr602bdZJbtbvoso1TIqsgtDe+hZeHTxDAdeYZFwdwU7+/htk+++YQMZfJmDg8F49OtajCx7X14+lRFm+O8nxHFIijKuyDo2uvPWqR1EyLrd6LsOzxAkVIbNnMaumIao+WIsHb+NEHho3c1jI/UumaCejuybO3FRTFU+KpZzcaBmG3XRCMxXKdjemUbgN/ZFbuJHF93fu4pc3QRER4EnGyb9lJaLlzx7rnBM8j4zIkw3kubAv3slaMCDJVsS/2KFJJ4qKmstk3QvXOwj7WKXLXMpnEM1fQrskOxHnsOiS7M8FG+hVXzMytAcHraGrRn0nc9hlvgFq3feUu7uZmbuRD9vUeiU+zSM4UTGJWnHRImYO4vIFzqjRpxKsWUTE6tydGsorxWPjORnSo7NrdFxpYMo8ckYaTcI1ZDVMqBlYZv7LxtN38fCc1SKTfNMhsw5syaUGbXsudR2XY5p9UEDaDOfUXOjrZDWMMvTEzWsBDJ2vyNLbD3MUpXAcYGMAD/Q1/v5WlZyw9OnCmDOsWbQMICe5ZR9YCHRlDpOHsu7bobEsVs8bCpFjZTj+mm0bIqUdb6J4V4Tr1xTFNS+lckkeqafqNmsTJ3u9cdGOW+VCyt+qLzR4SqLgf6sqHiJ4mfARutx2O5+GcIQg12WRvWeS2rug7RImkUiLN7ShfNt+yTI9L9iurDGKXdZCfgdGNhmfpO2E/iPSvv3m4DIDhYBgofuDdYaoHp66XLZBy6UD0XktvrtXwksUxPlkFjijiwDbzcPBNhLhYRSgSi83zppwIjU9NIH2cNAgLb62OMuLs0G0TmgmYyOlCWkFzopcawssUKXgroU3s62vIpQRe9kX12BHsf9tOGhZk5y0jWANDj7RSaYnv7cXh6K1bTJAY0TkzBgdHWBZsV3W4kdCANKsygsFmoj2bUgpF83UayEgci23BMpbK2bYSeOVcKy4WGa0RqyiJfJmd+DmhGZCGyqqf31dpN+I7oAXwhO0e+nE3dGCO1eVjHCIuZNr+Ndpr4Zf2AiFzD3jf1/Je3iSkc+IO5qoQVvUvSH8SfsVZ8Is7hW0g2Z2nKff/5eSyce4d7rKIQi/YD57LtC3LPY3U5kH3neXk+8L4+lVTzgeSkVZ7RF5VLd+darA9OQn0DDqgF1TREMbir1AqMMtsJMj+c6wOib+gKGSI16E1V21uZgX2ghJHuuGA7ZfiLATdHxoKmGpOku5oxKIkC+FaJeGBtpITpW7fbrkt+U3kTLqXijHLWo/eeC/dosbdr3P52B2Fuo5H1LLPlXSOPKbjOIKUkWKq90MQ1sOVZWGCGu7uF66KDuZcBN9LksMFcqDROn/Ze7kyClFkZKJG50pzaLFKV5HJUvSAwIxLyB+RI5gq0e6Js6oFTlPjZFNJbDz2mBMiitVO1fx7fJhTvjurpLHQJJjf/1FLzm04tDyi1xF26kwCeAaWVLUAG65gakLI77BCrt36EjJdvqBFLGIj30NVG2rfsdpUzu8AVRclVX2HyzxrWl9uWQHA+gJk70KWRVv+3/XyEhd5LHVE8RZE+EXHtBK8XuMkICnhd5cvTsxbDx/U9M9q0pRO5l9NPOSiXoWyeFY2EooemRN7+zk3vHtFljjoXz3Fu5uBfFuNmlQS9FqlS61/tWfGt/X5nk8ktt+uCv053LRR/Boa2RbjFTNfhB6/G3tX2/bQUkUtV08FHEWnBJ1sT4AJxjUI680R9KoDZIMgV5EATk4nIRTyeRa62So2pfzkUJNocMqF2/1cn8S8crIZJRmwOd4lj7mtAUUiFevJndYOFIrwtv5yo1i6Bekp/tItVPrkgEt6ch+cCnZZvZdrv2XICveR/Tk0WOvIg7E01jJHVS6Gbkp4JtsgFyYB2HFadKLRSKtIUYPkJBWKEHScl1ayRE9gtVchHbNmoozxwix5LgazY84ghScNghw45zno1oa/7zDtXaysCa3w8Hy/omzuW1XjigV2rq/h5an5h9hiV3DmxqFl5crCbykLby18OenX37S/cSqv1GvWajvTn3WIzDmfz7eNr1mRTu6F8GbbdJttI/9AT8Kt1ZrTzpwixGCpnvzFxXvGGd2V8XgtM0epQuj1MO0NqgK68l5L/3ikZxTvL6eyRWbmWYRcprLEJDda/4T8paRDpSOjur4tizjS+NUTkYaIOF59fSk1NgdlwSFZccH01slpd9zlq9cAuYZ5j3vVTMIFjD2DxbXhKtDlstmuylIM57keDH3zcK4Dxf/v/bFedaIgE+rZSGrWqcir3kFoYJw4OBsDY9+iFGvAwY3vyiXSLqVC9CEO7G+Ig1qC/mPR65jqCMWAJwcIGT0g/AfN7RnSKfiA6iAB4rVBG5oRd81wyGRxo5/ngIHTYNrcwz4eGfzAqYb+8WJOFg/Mfki5V6utawE/4Y148PiSKsX8zi7SIcucfsU9MYJmVc8okfb1PohzDBOscuXwNI08zf1iRuP/Y9SQZmJlneqrT6cqcflKn8rkUOZZxQx6/jWhrOS5uxUKAB0A4ZACCHdNg/4N6OffZwCVuZk9A5fiYb3NpTHFJao8XJ3Lea6Q0yS44Nr5I2zymBgeRoQs8pi3wbKOhhtJYAOSnnu84zGUThohIwQy572FYiWrSENugrbukTWNisBvGJGuh/i6xMbPPzRiCxpRsjRR7geVu2Anll+R62AalTVF8nBFRtjRJ9BuVSMPva2XCMdkXohna4kh9Iq6qHJsrPNadkOCtZU1dSl2IcQkl2ZqQd4z1YCjeOAWZ4yPs0/JijbDSir1ZL7UOlf0zRYGzJp3jz4diXYb4ErXUgjDxGaXuiXLKsw6xtQM4fIJtfwUgoIsb3ZP0hKBiYzhVOE+N/LqHM1qEwqeqd0C3GDk9mJc1+3/+bYRcGnZ3vACFWh4gpc4mC63pjX+k3rSeok/rckYKXZJbHVX/rJdMz1gTNeovLIs1xkHcteOY6p8bMZlUSLG6aA0Xd6/sGR+/ubv6O3lbVp3Vk+ZltLr3UBSmP6MC4ejcKHeeN07Nm2gfaBwBplbIMaNmZJlMeTP7hL0b5mesPDbkwzbg1TL8Vz4HrWc/2PDgQbkfQ0HvmeUgtZK8hL16Kl6D7AjSyRRv5l22oBpS35ltEF/oGcPc9sZoGF0YnYKFxVWpX4rBnDmb+wPR2a7juxSb7Gx8iEOLOO1fJpJvxJAB5wGBXmdr0VRusZBUyfjpPQYKHowCrByRYDpjCAjmF1Gr9H6eRa3GwxBaUgWIRniTTm9b63FA1W1ii9q1NkQeWra6kgeAbXUh3uR+StZPjvgkWRB3YuD6sgIXjhPdw8ieN3FuQvOM1JxXW5Df/1bhg10gJQnXid+EcuOkeg2hHBuU4VKHK2NiTBaw9erPagbZBC/wZs/Rbr5uronGpW16QSt+XZuQgYeRSX9vT3Hol/IMohBHECz3cJj8Hb2hcXStAONe3LOkJBNbS5tZhi2+OLI0OgLJYSkvP1hrkzDr6EoXzLXquuw5V9+kdKr2USE9hqaGsesI43bCeHLFn6Qj6vd+LJcUCZpgWUFphbvOHtdaskzTByvl7W8eniT7/zyTOEIYKIZiMlpbqZVPHb10TAg8xZZFJ2HF7cLeRpsOTHaRsjWXebKDKTVv/qdP4K98lLKDI/lIF6NnLuIgCXl9O1WubWD7WfCOIINhOoipV+Q1q3TzXnOHDXsuOkL5F6hOeTC9c75qewblgI9LFcHnfDg3ajPSIY/1ETMmQ1ZbCs6P01JyfK3tra0IRD0b98ZYY075FvNlXjOWYnl6s32ULMX7ptu16Cg69PFgjazBcWdhOFJ2nNplXLhM4xKw9Tjgi+xk4qvNnK6DyUwuSk83JWt8Cl+1uY/OIj8repQobBSr0zam+tCJF7RBDa5IPXnStSEQVmsvmaPflCdxosgYTl/fUpM58POhgZStBv5U2IBDnhbEx21CddX7u0nasV0CDebLAG1J9+WWgnhaWQTnXzNgDL0NPjg7DYEsm+9YHjtJBxh40Sn7qqoUONcN9+zilOCau0oA+UO9rdwfM7Kk8rPtfC0uUu1t0ppH8GsGhgckX9AeHMpOdpXdz0staWblN5uNDzvX9ixz0kramiPqg5BiS3HexHraJDDJMmaOZ1zsThu1y77j4GGhrXMY3K25oczlgluhfdynmY4LTcLi1UWcsBRYwuj9cTnQZS3aZ43sD7YgNeZg7/wlyw/0L9nPVvEKEzmSchvwErvsQ5uynWGbNcr6yGMKMeneQ/dTcwODIbLqQZsMPwygJavvKwwI8QnllSGh/6nRfmExr/mLxEEc8KdHWlPQKZVThtujRjMuUVti4QzkW4zXu+jAnA61+dossJugiSMfOOjtTMFE9/3mHDA/5ZYonP8wpKlyZwAvzugvreZW4RciKvzrPdMgCTKdi+uML+bz45k7bHOj82W1my+oYZEQQtEhYgRjwDu+cICrG1ORIawsfkdNBew1PwL80kfBR2QchGcm1aSLC/EEIfZjY40NQZ4ggL2mEj4oVt4+tnZc+wc5CMd6+TzepJdXAx/zXVmVHLJh/1X+q1qvdFoFbmYN8wMx11cmIYMAYy+nn6mOMmGNcS816WoyV3zjtgnx9JpqueYh3xZ+TN+CgGEWT2OBfZKSeSJiOH6Ldt+QFbWTIVgnhcz1tq6nHtRsxKDpr1mvDGgtw+dXfrBWZP7Ntge9gDBnmAKPXy0/RCVBRTPKazJchws3Q7NFtQKJRoNXH04qhAbJFMWrB3rz/71SdI28MtaG403PP+9Xc2ULH5H82rbz4bSpHNMXzWCCGkIFa5Zw8TFJv+v2K+WwJT5g9z7BDStwT+qax71yXoBxdRageJzu8cHT56HpcQH7o3Dhx3ZZloQ9guydy3aTgxdcB6htPXNiJd/kUPD4ujGRUffEJmv/FebiTz0OXubjbYMTGMluKSNvazz+IuUSO9ccDwDJtc2eH1J3PstbfhqcrzpX/p+aVBjJ6Ya/+/WQ3FVZDGEs/wmV8FMCs93D4Mubxh1pCBzeMnWX60yG5Z/gsZs5RzaUWpCY6FzDhQ3Cvpa5iMRpDsxafWdy3vFdlsHUL6lwZp77TbpfBrjeftGe6clneG9wFUVjofxwctgYDMS5mxG4WgIBKUwj8nFMa5KYLX8D4xf7yo7FeXkh+TvVktDWlDanpeTsI8sxjvZ0fHR0bDw5hPZR1EnaGWfWALKnZS6t9AvCiFjTWfoRd6hE3qhMSn/nNNttjAJCxyNuJz8m7fKI8wD9BRp97u1buqxrU3/C3rYkBd/dJ8tH771ZENx+86Krvu5BMWopRkimUevWhFKqgucPa/DpLPJKH9CDvn3Ip3PUVGZ6Xe9oHrc7WNl1F7WNPNjE+79srVDfw0slyhQJAHLfkSVTroP+7ZkTNKFR+uQmvwsWS8YLa5F8dA1jLUT16SgmOBk70WDFwkGBuKMt1MIopMY+4Rw9aWq5kQ3K7gsIR40a5OLYWzN2wQ2HTmSAAz1qgL2e9lpHJqBGr4eTgjGGQgwuLDmqQ9k1TjdTO97pnDQn6/ceilHs7z9nk4SmYcnV9ajO3r0Lb6xSjfkd7x7143YnO76HGpLbT5gEeL/DExkFzp2LzG+hBap2im9RZuAjjZCoZt9whqclvpB9XoJzp26Pt3J5/dJSqsA2AG0xTGpdwWkbLVD2CLbz8oGFDNPVOJGSW1HZ1vHFaBAKJIVoq/Fi/mQx7HM8kFEikaMex2dj0ngu9FB/HdIHmzKV5lwf0GZxYd08U7lKV3T/JeGcaSp4BlFASdWE4nArS7iBBRGIm+/a/D7dY+T2nvjlEz559HkX4kv9D2uQlh+4/9vLy86RV9njFjr0slQPh8oxdBNkmcTywSydFrVSwOzu4zQL1UeGlxQ6TFYZrDjxcWcbIs5VfmCamYNwZC/H9vrI6IeXz2U2s2a0dlWlM1tsF2Qj21dPEqMOtDiLcjsfOQB70CZDyuNuIEj9YvNHdttlybgVDxUieaTsgfAV0HG5iX/0J/jkifi8YIpxoHxgNEDVOOTSiwQyGdR+ysvsRBihrZh47zr+WQE/QaGWgSaGB7OavuwTpGaIg3tDBrcMJiVW7qrHPTnyMm/UVA+4LvHUqXwAVKAAN88fn7IK400X6tl4oBOh53Y7yemjePQHA77Yeu/LnWcK+tm2v2rj6mnXLrxm1n4/qWFdpmTOJYnW1FPZeTzde3sjft+41/AplIJUkdofwJFVVtnl/5Yr5Zo5YZbMMyADVodOi350atcr7YhBtKLBEhozBtJQG6rtMdIA39FaKq48tZy4iWrvZxTNn2SP0R7UWstSbn1444YdMp/j5hpzut6VUwnoRf4EQPhOLGN2VlhAx05dzY5GXRUJgdK4zYsWgoZd3Gj2HmwGlw1TMYq9jV/UgbWMcLyIGTvMJa6QXlQrvvWckG2orWT3SeWleVl2S6niUzZKeXPX+w/LLB6ITL+y8wcF9hCy6HD6Jteqpl0rA1bHpFe7//pyrZhUwxNtRYUXqYKJZPZSKxQ2V4CKVs8zxqbV543G6L43v1j4w+RU95NaOomQaCs+XTkCfPOB2svjvt6CTGIv/cS7bHIpHA3MRmzCcx9GDYS8unH8kmmM4GgxnsxeA9BU7aZ1X9nfmNVgiZSb+hSnbAuMtYY1G9w9s3S1K5RcZD7BtwAwChSrvyY8MxXp8ToQ60iLH8eEUBdl79usW5WLxPAbgrcTyYeHxkGcqKxd4FkGxpIJC/xuvubMcvShKTCetbYCI9bzpTg3f1hpC+i7t2j65UQP/wnzFi8/KLi08+hFhU2xf2NI6zDWnYmR4mXaA0rYQwf8hP9rXagSHsvGzUoU5GuaEKNJqUJSKUerVF6gDOW0Mb/nIPWdKwwmuqwFj+JlUgkFJFcoOODUYwPHcI4S1lNLbbX0XLZzg8X0gs91PiXkYMz24BlpwLzSQwJRUSNONbVvNE9NMcH3D+79+kQJoVz8vKv/edTIYrrDJBZVllMH4w7O8W+KU//E7BHde7kxeSKILBIfwwHGXm0LcvrMUez0K+oFy5n+bgZKTfgqGiPDVbl79WgZm0+yMeriZrhAXH/oOhj7S3IlmDxKl59VuZXAaDKhsfb5HP5p0JkB8epXq0Srm6YnI34+eFhmWEfeQAL5rbWTVOFh3uLSpidJbqgG7bcsiBoq/mgIC9VkF0HpruvUVxi22IMsZfx8wqUwmG4uYczILNCqXOTJNbqbtC6sim61FERx0IFo/Ko0PBiOynvv/sw9/IAHetzlTJLYmV/kb47lzpfyqkgcobr9QJw9m8nmMXvYRkZfRjAhtxNowxPHZ+52Upfx81Y1r8Xh+8F2NI9AhZjPQHt5iRV2HNFXix8C691/RbcVU5/kWLzgGvegxPyn6p/w1BG9RMGf2ymbFQXfHVmaNKbp4ZbZKDY4BYXq4S1f7n7bwTMZIAtxv2wAVG++o+kzQd2ZOk09N6mICr32EvdnwS8Z867TIkHLgrd1vJya5MlVBJVIPH9h406cFNVCfSltkKKqysW+ERMgrnUPAINyV0voyrQP3dLwv7AI0x6pTvK1gvDPE0+v0OJHZOZ+qTjFLm7NPuSNF+cmgKXbcZ+LQkJFCvq35pp43/SMWEPZpkIcgxm7vQUPZklCARAcnuXgXtF0Z0RuvrJf/2SeVtsSJ9SqHiyFdTUC9UgPlZKRnVwFruzSTahVhG6wD1vg4R81z6HYoCOHem57m5unjLtVM+WMdmyYXEEHz998jaS5LsnLFV6EWJN+xsoyQPkS821FFrYs777PSApun/NwdS47IACOmbiAJg67O80qM23YCW5mLOJb/AoYiMVb+QxabRDHsA1O+Q0Ec5d18Nv5tTCTZ12h+akfUn/aF/vJWlmPZSL6uBjg8j4sCUgFm4MlAGIp9lEaY0WIwBrKdvkhIHu5tQ16axR/JbEd7HnBmHR0WFaTfNKJhmNkyvaLVUueQee8+3SJKrU4V/9pd4Su1UQ9ARLRJaUdOttkcZgE3QIRwOS0d03ETJ2jTxiduYgLHPvoNpNOVQxrOPrqFU6Lv/ZXWLZ9Kz0BoHtSXZFeYMfpYsECp9PXmcDYJNJzehrnRoD08UV5F4unupcAoWZJ3V19rCCtEyO8n45qIxF+53KyDR5Gg+IzJqVEpkWG89FYlGOK71CWy8HyEAKs7qlwnhxGLzCDnBJgL0AKU6N1xRlG2AcrrPYQEZpqE4fXzZmwIjW3kwPKMU8k0bYR5tEga/gBnCDz5CkazTiacDUWCG8Cf9gsP00RY67hkRgQfIVOeYwqkGKIb8QM2gj6sTXeHfSgP60NFmPpDp6u3DoqdF3y3sj0izxSU6VOn44oScQOmYBK2MkEM/lZ9IRLQb0vjKyC5nghncxF17T57GAewPivEdQFiS91f+6PObx9TT8VneAQ3SrUKjg3OLi8/7kQt77YozH09B9zQ0Zcr259+3XxlnIBAMxyyYMfP/pXKqn1t6noTlDH2olwP/Gwn3zY8FT2cYSuNMCcjZf6UJpb69Ul+xCNifqeMpuZ+2RQC3TJ26i/cBaiDdYKzg6uYsRT7/7gVo9aUMvwN7G4uosLoLQ/kA4WoIiwFlStV01Q8s76mQAF9gDu79s3eFm33BHYlx1iToc9N5A2XDnu3erq4ob9qBXnGvAyQ2ZvWrY6K6szhuAoaWiGVzcV2mE/hx3MWgL73hWQYcl+l9Lk6H2BXSzatUFKRXst+ZMdOIoNdOg9E1L3vDBQ8DiTsCFQg4kq5dqX+LN4EvYnBlQr2SaYf8ApV7Let/qbgHMGQP2EC2InA16XH17lLDcccbDWduCptS8GqWLsGD1LvgTZQ76u5O4YNcxjGFetSWx5L0wVA8HEAdABz/RYBm59Pb2zaCYyYX0coXtGi4mtAAsrY7y48YA3B7BH6630c5eaHQT12I7brWAr2tlxlyXrtVn3iUq2orRFo6ca/KKOa+cbOzx9hj5QikJjm6Diy3HRubj9+jA/ppUO3LfutglHExyISrnt49w3Vlx5N/+mrGwqWGtrRYZt6MS/DumgWtKDj1HKYJQsqH/Np2bdFkKYqUmkK2cCb5LTc3fCZ8xapwddfT/85IoXWWse+aDXKmSVR3djR3HnvJhFRDWipEWYQp88cZ9CDbw/2tsPTiRbWLaNqVhSIpygcydczG6qX9xx8MPRkQgnYbxOwuogGjYoXV8YIse32MVjEqcC46MDFRgtO+h8HDqcutTtJXP834X71Vd2ngwOkhzuJX1HuksqbkeFEJce4HneRUAGTdNZJgH+Rmi+V0IfzPs7w8h1KnEt7PPL8mO6FhqJ2NLXhMFsGFEi2MLckhXvSMPCenYFb/fzS78Nscc9jTp/7NsoNcmKsilPfNwvwUsKVfBvVeAvoO/jeD6AP5wlFdkbXQ6FBoWCC5l+fBW01GI/azmR1gXGA1v+A7e5+0OAdVOMyFHVhM5+yRKBZCwjcOk6TpU7BnZ2ARjTYR3PiAsxoQlEi5WfKuDT48/FwtbaslL3L4a0FE32mCgV3YUcC8/77RH8RbLGgITSnVyi+6Eg4n2bzJNnZB2r3fpu+OcHAmJj0l1o7Szolg7KEsn2k+d1NmwyA3dG+1Zh+Y/8slG+bSPa9iOOwcWKYqJE1+7uuYbbuvLTmpyNoV8f49I+jBAvJT/xzmbsIog4nLcQu+0PK6vjxcU0xGvmRGnKTtBgpCXZw8icgyASma5f4G+DQY6YMXGWaJUi38H0zDZgRTZ0h19/yQHePPoJducOSPNtFarnB+t71gFY78z4+fYCocJtAWX5c2JpFuUA5urnk9oXucCYLkfAVDDL2b40JZSyi8eOhlkgt1BbrcaZKX12lGshTxNv2/9G8lhdl+aLvNtDIcbrJ/W/6tXYHpfcX+jf+4vRQCCXK3sRQzHVpdaWbCkXhrbz4rBeEJHca/C9v9JnW2rLfi8u3RrFKfYbR+kQ3onTgaqhsH5JNDOYna4PeiRl7E6/u7nqWA1T3KaXyrTCCu+mtHKupsEbSTRXDOrlsRo7D60PHDGVpKLqKLVtcQjJDw025jp5SJltWHrPpmMpS18gfnf9IMHwejAl6YqTFiL+LiNwIMz7rMjbSSgEUegXU8E8AwUompgkk1Dfm66p1X6MxQOZpBbWV5NCpnXc58O+x2n168XAd7JVj2HQrrlT4MOKMXbcnqIXqB+TTbxoj631054dBOg1LR/KGbbUCvzEwJdDwVV8+UbiAflLj/m1t9NHQeSbW4VeDwK9/TbCaZRsHCW7CgPkZK2meknpDf1xBBX8iOdfq7H1sj2FCIIQ3v4wuH6TFXXdujVqM28ziWDuQe3TLbYg//FxxsFLdIOhWPg5VUPsb5+BuvFh1mItNo8xbhKCndJUhbbR4rOV79Yvo4ld7DCDn2guU+nElS6diKRe4KyMuXaOGDaKHiSyA2XoDjepKfjwVbrWXmUS5j2gMwrq48o71NriOrLzRiOnu3H/rsDbtv+v5yYe+U5T6CavYfoWxHgbT8lOEGvkOUK9tkAwAwZqw4PIUAixxil9fUJRk1/ADPMaBGi59dmahlHW7+h6zn3v1o2aczqSvHyCyjPz8xSFrGPaYIOoyqIofWswwy0yc7b5BruTlcK+SkO2W/Ss0ZlpIFHZW8ZRzIina9OOQ1UZRdKYnVmGJ+5OIFzwySp0J78rP08cThHXhXR894xfaICqRfP21P0ZSKbNqSltXJDaQa3zs9tAlZf4nQR6jBl2DlkOgEomGQ1hJI4aXg3cqLfWJk4XT35m113bn/NHNfFPKXwZ9ErEA9JnVIPpoJYxPB/XUqFI2JKQVYR6TSIoq2N0dTxnFVsfHd+H5h83GJISOMCy7pUaJxytFp5REgDNiSCz+JRJvFS/ugpTnBs9QaM/+3hRwZ6CzAajvPBURKlSNpUar7F91FuUwif2f729kSG623u+JkN6nkjbXOuCzK7aWHTU0EfQKRiR878OLJSNPE1OPmdeyJnlpCVBJib1ce+1K5Imi6LvQr9mjeJQC5V9wWywQ3jHqUJUXkmpsPZ4q/cqbtAcDpx+ZJ/FPr/jbPeK/wyCnk4DMCbhRf7r0S1D33+j/ux2CXvQQ9D6YzQ1qu56Ny7s7NM39auycREbcCO/1zLIi1IKIy7mExrvIBt6aKzzRAcOjqQO9w8qDIEJc/BaGYeznfy/3QDVJ+2fMTo6pSSJZnjJcCXLJ7IFPrT+4+L6wqjtM6gijZE8MP5zb4D5ufgBvqAc2ydzEBodo7UiwRBoOpkm+4dkPnekSVn070iWDJMhxACCWAv6g59BjG3q6LAsx6UZbgDpudWMAuwtVWXWVf9tWpuhx1CmMNPdxoVVE9bmS2pxH04i1Ozf8RcyJGB/xJaQ2gK40gBZtEKdheO2p0ana4Np3vK/js2s/4A++SBr38ZmNmWoqur5uwBwquqrph74aowXC4qghzxJ8upmIJe7sSiq3jIhOEy/HGyHLOFkymHAu9dsFp4E0t76FAevGxmbdwTkEWf/7wNSu2701YbZe3r7s7Mw9VTUw4tS2HXC8rCMcJvztjZtb/bMfPArMxZeP+6ic5kqBannanG9F6d3YDNrxxmRjYXlhbNXfTx7Rjo973WWwlM5RJvUW71FaPrGGsOh3e7t2UcQ0Oc///V1Ow6Du+d3MqPztsdrXxkMBcJhXRgVzhzoasW1UjLDSMduKs5YCDljsbOc4PhiTWPUDPecAxnxZooDxka8Csdy2946y0iLwv7d40IcCRcOFRV7RmsYLh0vqeZSXM/ec+EJbkKQHAHd6N0izha+KDs/qkP4QpOb8a+bVpX16rBTY5vBrjpODzTn/Yhb7yLZ4EWgU15/vpjX9Ew019wzikWq4XtLJ7YlI4O+ALZqX0JP+BBTmNp5oMUwbhgWuTzx65VNvUpjisNacKaYkRyJDQOX4GKpphLk8rXqS9SeWF2/sgR/QGwadmeyveNHV2giYEdw1fnNduc9gxj90LBJU5TKLXjHJjqMOsWQXwTnygeHqxHN88xvv2cKXSYo+Zb/XfsEQPilTFUPN2JLp3uZ/i7jx3BBYZJuKFH/ax6qPW8kHbyS2sRtQg6532q8wY+ZMyvV2VPEuzzjpiDn8v7kuCzkE5VQlZ4q5gdup8eVctJGtTvYXuDyqcRO5Z0B1iTlgMBD23HdxDE8/Iv8fzGTDKX9mjty3aZTTsY8b67UlCK52Jv3lkHW2qYxnW0ZALLhW/IEQaDGLdXj5ZU3Y7uWWmdlzxOXV93EQFVIKcPLWW3laetGyDstGu3q9XlwgMhjOYL3mmVUL0Beq2/BS8xfFKZcsmt37vUImnXRIl3stTEIUU4U5fBGtif/PuNJ/60d/pXweq6xRHL7ibhFENTvE+uuOUEe/aBNJ2MfgtVw/48IMpzDv1GFASSQm6GPi9W1a8QipYKV1F5/K+5IZKiJ3RCubtLi0j/AxLtSPDNNaLhlwdsOjfSyNHYGdvFwBa5BgCPD3l1+rrud7ZbSl+AzPn38kfHF4IWsGOJ1e++j6BMfSOgLb+vKyJKSbPC9/RycJwcnwt0I4VH/WcxS5UFswmFtKnGJSHt4S7XQPtSIK5BqeeVEBGVVJqsic6PfbMte/lQWUokNv0PzuNqvM4nU6D0bRwSW/X9VwFwURz5QBK6IQ4DP4FhiLzb3UxDXVMvWkR9Nb3hKPWowPmUO+Frw0nerBS8MQgrrHiGEXiVm/9xReCVnqvd3TwSm+QaOIdDjyg8Vyfx7iJdcHPfz3dNIYpyQlOD+DBYEvJ5Nw9860GGM5CvGjIGE8UZ2ztgNEqSVPZWosKBlvhpl6R7DhRzD7PnfktANQymDiEmYCUVqn3V+nb5N0LxTYz0YEhWTPNHB4yTAl49t2alxIZMwTTIeCe5nDahTGe8EhskaALg95Io1pHm8sNmo/LMyi145mWButGxG3xUwYD0LeP4E1Pw1wpEQXlJK38fWSu5f32cn9zaiGTQSpZoxZ6cObMLOCkbd6hg8ht/s7W8OJaoHFS3vfZxJosQ4/VH2Ds2EbxcIbSYjIohXRWRa7SpuEGKdXQLxXKtW3yESFu+GuffO+FABii4UOkCrvzhDn2JtUJCs5/eL7CyHyLiReHMM1X62GUa+JmJL9OMbEjCPWY1zeizBgsSCJ/plD+YTwi3tc0j/E293vU95REaXDG13r5g7SwndsKKiGRYvIKDIu+5N+Owi5xbg9aCLv1/Iiv7iV97sSipmsjHrYs8RnsvQeuSgnrTuWx8KgGGj3IxHyjtd+N+iOkYn55OyWgpAzRBB/To/32SgG2kIHw/0pus/GsDGHxJJYXqnMPeVlcXXhvQvfYJ9Eh9M7hV2W4iiScu9DW/7cT2GtRm0F0zUqUANQMz4vSdtXrwiyLgZSWkZs34shXrO2RO3rK0/UvM4q72ERqVqVDUGSPXLWasB4Ofuq9cnw1xY7tlh9xVygs+rylk9AiCWWoa4FNY9bKw61D1ZETzR8jTamiKd3w9ur8Fi8tDXkHDMsdgzP3UH1h5rjK+FhdLtRhiJzWVbuhR/PKNI1Ddu9HuP1aSSxAZCgjCJVtMYp3pi+sWyxFhpUJsOfCnGa/mm9amB8Tt85Oehnnay81igOk3p0ewcs3lCyDDaCE/N8AykS4wiaah4mx8qvrKh78Boc54pUAzbe28GouYjpJwEm5jHmNdy9DIA3XL0a5B0ZOqW909vbWonVB+GzhhitVT5QEhpqpGKzwJnFPQsjQmKlPsIgSOeJpjYMpf9prIx396U4i0zyyeg39vvE7m+NRkKRs2UNKODehbcPiXKSD/PM0ALCy1RdZpS2iYHvayfyozVA3f55p02LDwGHYThHGx1wUcPW3Krr6bU30pibyyWHmQlwOtfK+T+9GiHNhsmAtIK60+hacvfdrcl5mT9yNTHiGJTjgCeN4OKRbyFtCITWANblrDOhJfJDK4wL2GFuEdmRsUlWe+TYiFftGalgcktqhP3/TdO1F3ku3FNwLyA00kLvTLDjQZgBgebRQKuSnWKs8gK7wId+Wkh5/rt3kJt2cctOxX7D45epEuqoIFlC3tIsbejl1BmCZkdnzy01WHbJz3qH01qmJOQ8XRm2shFsYv3T2VQeKL7RO5AFjhTB5D8+unJTdj8cxDnaazuJejpQ5cDwau9WBGjuw48OX4NgcC9z2FerEpWRDP8xvhV53ZyXLexD6JrCzgmLdphYgMS64tL1Cl39SNDr2YYgfvy6ynFpyN8U3JXVaJ3gT5ssGpORULV4xg38MUwjZEsT/Eu5o/Mtfar3XPJPw96JIodHzv/RGTAuAcEzjKFQgRGOXoPtR+FiI+mRr85lQWmWbu3uVeCuyKlmbvuicRoNli+fdzaAa2aQ6BFptzSdFfLBCFG+7NiGkDsy6XKy5a8K/jCqDMr11cx8jlmCf76fh1WftGadiEc9W+2gTbsppqCMaEl6Q2Mam/40g44xtgHO9yLkwzjgODGGLrPkSkM6cPwBTXxO6t/e0UzOXXEoY9AQfb5G+9kAjzedA/IOVshliI3OgTSt1PiJQaYiFnih5yYxiyq+Ubee539QYFvqA5Cmizh7gELcMbPbI7aQFrVV7MlizFzPcp5bsPPrqPidHmr7BGZJU1NXC5zchM3u2EX5WmvYxKFYGR2adWEb+Gj61cIuffKjWr2SuAc6NNUu3/w8bL6bj+MZPG+lku5QA2/08GuagYC5Hu6Ky7UloadVEksZ8KCweJoF0KKGaOF4I3YjY4+5gd/RtdBw6dqg0iUf6+sHkdjEanUry/pk2gZ6sT7My83YRQahsn8CanQ5rv0KXuQUXKtKg3MYm7mRuTZ2ONguPQDSEciShti8u74L1yb+uB9lUrHfc8fNXFL2dnurJ9Axmluwpqtg5PGh96Eaxj7Y8MdHJ+CNXKytAWekmR3BOo5eqPwDW3X+vKig0fOYE7OUt8VRsS6vW80toq2HMIs4e6nw+zFTcTFJDQvGr056dgMPAvABvSKcCidLgcocwgCvzqkdqqLq8eEx2VpPlc8TPiW5A9qKP3pMMX8vAWaFIPdABd7USb7Mv4PKVVKbYab1+t3JhmKovjl2BNuXywcYNfZXfYNgIWe1a9sMP8eHDzIUJMALxnBoQkdYufaX4NYQ7kaA4Kgz5a7uJPlF1/QNAVS7v9Eqjhhv2qmIPBlXyZ4tD/Sx98b7pWQH33id7GLocUMjxpMpHq30JpkA+/N8nVxxo0L+lJANj9yDTrzq8LbbURsaWaD7IKr/Elxku/nfxiippbDmoU8a/54dkVzXXa8UjzFNRn2gjbYnU2t0jN6DUr144/3fmIu3eje0ln9ndnRHID3EhREavsQRiXgpR2/DWYFn5eN7tObVlwaiY7YP62aWgf+jqR4qDcZv/139GgAbNBlw73uSivzk+qHI0u59CHICxDZcG4/427fwqyoq+D3PI4xVtNrB9jNgoflV6XQqnW5EDc/qRcK4BZTdVg/yYuZOGaZ0FOW4lOwzh0DAZyDdZFyJBjNQpFTARnhxeeDiOi3WYjnZ7GcWomckrCWJvPs4E43LQpqcbtz9l8SEjUzAq9KZrWfafIT8Rb22WnapWx2B0lP2ipmQuUb4ZiQinKkSrB7jOO3esF6YZvShVSJOZtbZi2v9NGjessruzzqi7+N1q59SYr4g+VvCUAi4aNMUGDkHVJm7EqYtgvcUtlF7RafwwoDi1V2BFurLTDBLiDftZeMjWS1IDzYVNZ+giAz4yJS01xHapchgq622LlpzS3gq/R+F5O4EudXRYxZASz+qlOPLX+LcSW5NQdnOfuTHQb9JpeXeFCiA2nythkeH8Gr619exfF+u1YHt5YYwMDCz2eizyMUsWdKQBw2jcXd5w5GShhoblKLmeB7satcMZNzmWjszyCUNLVuBMxEJG8/CbQ4hnMh61T1QpvpuWnsProi4L1n79rrGL8IyzVxtlA5pIRaXdAIfFuClY78ClWZAJ2Q65tY2ObT0TDCC1uxM7v8hCXIi4Y4SovJnFwcl6X3pBnSwTMgiGgclgffyc3VbzmMfweI5iY+bYxmdVieMsrqonTwWxfzFPGYb6mk2sbryI22yuGLeUzjbqsVMUvJqaFZuu3+tEl5yqyfbur+CBoJh0fjjwul/JbppTejEEFWiiNdgzGBFAkfDX90hayTctK1Qk/6QrzLSvM0iV4mrbn7oPEdNoRQ9ld6QV3ss6grBhCaK8rS7T9CiuZ62w1yB32wFFOov+nSeTrLyjNjHcLSwGKeir0OitCyHoZfrP8M4lR6vmD+pTSEJyxhVNo1BmyfrbClJlXqhJQWTR5Z7jEZPk7av/yOOjRZ8nt0YVO+xnIXXjikMAm4nRm//OLu+/HPdxCOZnoC+svM2dc3BlelkTBnLHFrTN3LpuWY6Pe9PK2z8AlrTVrMf1+2yqd8m1vfTFJfet+HmgwXbCGpFFnREM4lOx+ZUYd4S7SkmL2f6IpWhRfagP2f6Ox0F6jgKQC3mmNJ1oDpBwYyH1i1oEhluhXXYumfSSnpdvSPhzD2MnGnuv8wVjVEQ48gI8Ps3ErxUhIeaz3RKXeGLq7UG0HXchtkegh/FIHiN7/4MNR6V119k+tdPp2baRTHcn1vaE7o5dqVoOc+co7V2owMidA/v5p4iSwKCxfSK8xGRB/YfauVNH7hHxUD+9e9PQBhwQFSU0LCyaKmrg1SzwkfFPvjzu/7+3V050Y9LFkOrVm64FNLbOEkOuoLP2uaW0aEIHPJ07sJI4FxIlCf2CZ60gLZQt2urR9vTQEWpXv8qZBkNl4J55axb2vbnNsM9892W/BJE0xbFrsZAkkwXB5SYhivN6Vuv+rEX44+pde8+tv/KgSnscGYwfRwDqVNCvuJPWfV6VZLo6nPe7aP8Od5z2TbDOR4cZRoDEPv+Ax8nxkRfMALB7EVUC8dkqcUmYDOBUPHT033oC1YIxj8sxKKJMF3CpNbzvrKoXPDlNDd4IcRl36qJQxRdW/7EUciuRQUstj25oW+60wJ0Jli9GYmnPW4A8+OWNKLX/VOmiyjfHnt6dKz6BXQZ2dMPIYNBaPDeeuWUjsS2dpeuRBNeQ2zp081FN8O93dKLDJGk87oHgMQtJfnNDahX7/KCVFt4Hfqh5eo/GChFLg3gXUPF/MBBnVnjouLR7OMpX3go2BIoysIHqWz63uTS15UU93GekX3q4of4FEByv2dq7lxpWOo50MiXJWSeOg8rW0EsPRgee7DyolpQUFdzq3razH+WRsZ//vRPmFBMeF/ARtbe53d2D4Pkga9SBVOp5FwpQvHxJgIxMFjWOk5uKZzHgQAwWv9foduvAeFAy9AAIPoHf58+cIKe67HcWVJij6iOMQnnjN4b3BmQFChrwepK4aFP272KWdf3c+MSGqbL+MkfP9a+bNFAchckhpq2c55EZiFnHsTDBpToHNjKHMMKQRsx4BhC9gwYGs99wjn3r2ZgbPbxeZOFpSD2fn2L7ZEsQzAh1cV0hcoMWRAEHhxSNW9hfxvnTChQcTS2ToenOUT9HDVTSDQ72S42WsbRqTqwQpTUrQTT9MNPY2ECyQJpGDC1+5+WZSimcPfwJ6uyBP6tScXP4WDMqhlYXn5HF09EsApIDiI/YgBmeuH5lvwehAcxhUDRtxwpaY3HpHoBaLuN//yrWN1m6EfqAlIIwbSh1Qbb6JPF3EXadryeGNFDzrx8xOb/uvTRWgshDmgkkRV+hxpo9YnioVzN7dmVslw8yRtuPoIasaIEWaDxc7naMb2UzGWwKoWsUYrjIjgh5oYB3u0xYR3MFzhsN9uROC+Pudtcq3ZBYpm7/59x2hMfetvOhpehK0VU7WEj3xlsO5HK13hIrimHGhTe8oGCIH2vExr3Po0JJw7QQPunVBDL83KT1qXek9LwfGzITIIYh4xc68PQ/th+JeP98RORVbpSO4T5EkCPA4LU/9orSmDUKUPacgYO9rYxNQtr4fqsfqwt8juz2ADNvkBBvRlyevl6nSjaBRVGBMKnkreH0XjtO1E69ETNCGnvCE67spC4uNzp0vx0iTaa5lLrYLP7P2SW0pIJNJPpahJFAdHd7S1YPsTKrEpZ+hWpVBY4X9H5V/P8Qk7RflDtOpeENJHK4hfpw6G7ugX6Udsr6CxkLxfTEZF7l1Jm6uu5SOkZnoPNpfbgUqHGKZswKpNLJTENlXEzMoTKnhjaP+OAtdDKeLl9xZGbWSB3Z9n3EKEHj32NGoyzgD77q5i39UUEMLeWzI1lGZ/wC674Xt6yPdzPe2KnS+oF/1xKUCYr3pooGCgM0iY4I9ZLiOW8dO7wihcDq1qMwmDyR59yCBRtXnIMM0XXpt6Zx3UEkEo98r5YVXLhmECT5Jsiq1ekopfDD7lJ7pMD7uELFc2ysRGbs4sTTe4U7PaeUh8Yu/JdprpysXfSp2bcABKg9MZgGcoFvBsi6+QK5VXreoBBltS/XMukSLS5X8hMJFD/1WWtVAiDNXDe4yTavBgeFSj6/r1Nalpkuo7mLaE/LRfKROe73jTWa+W3ku0d1LLmSD4WUdhkbCCacYvfGAS+g8Hiz3Gx0SlnEIvHFcAUoXmRAXQ1I9WwcNjYotp5wpWytKqLFa64RGqCaOVEdUy91Vlj6vhT/kStt8Uyr9tNtYBWuLetb4BT82lGprveMFZVN93f5HxqH71Re+rM1Bg5KsYShwmt8jPtYsmwVcN88dXVhF0qYTQNRmJm9znl6rR8ERuv45ErCAJi4BQWGbJFBgiHBwx+U5IJYQbmvlSxxY2WdbagWKn1CfrJXw8XJsO/4VwigRVt1o3R9lobUeUoM7zk0cpV7ejCAC8pFJNtwoRWfVMYvQhYY6DltJU78pCf1Jb69jHsyvwTmYOF+hI2t4t0m+YY9MB5WiaGHjFH1m5wd3clBt+VjfL1h5+jqeMFpDANK6iKITafPLn5kmxjFSwji6wgyHz9zbLD/DUqGrLYc4YecqyBrYj8rbaHuF7KRvalKn29YSBeDD8G8jvZrpXb+6tsgGNJby5bI56DfLcP+MajbNgToBdWT8bvkvDhTyTZDKlUrVmIfhX2BF++fp9XwpxsmrDCOxzoWmuFa4EgfABC9nGx2uIPHHkprcduYIla0l4KwesgdHSgJ3vDFpl6GNyFthR+ATLqw4ylgODFxMrw6xkCVPiMNE4N6Wy4x+wrwz2uQYLG7X4kwkVs5rrs1FhOgbAaWZL15ex2xnXYcQOWQVVO0LA9ErZzPI/9U1Pv3sRxwaFsdt6UVcIbVAnVG63Q5LmGIneKNoufOlKQRbizasq8BytHtdrEP5JJVIddPeMYsFEzeFuyEF6z18KQrZZzeU0oDYv1BobY5sHd+hRsnWx9gCBRL0AjftwOOtkOvsMrIhRlTwlmxPBK1cQuEL3deHy+GNM4QsoHAks3Re15cVzoZsxpH6ZvWvWFfWII+wOMtu89ai0NCaqPY8ZQyYLOguef16GnFrW1epnflwlqhAjMFdFoQupuAeUcsmNWeZVt6y6BYvjgyjxGGdwW3RHI3+k/C1X25+ae2eOw+hHlBlz8cysO4kExqF3U1y3IObnuA+zrewuOJ82D9zsPN2Li38+HBSbAijtXSmgotjq2p7nLuiwwy0S5M4isSSWEG4AbhsYVEejcg0mhpCxpMnQN/oIiY4LzwdwbSoshuCke/bkXCDisssubf5B9PKLM53rOy64Jv5MIDlRnrsECp3ZSXeekGWLcyqVigx9O8MTOSxe1V7xCIxG2/BJfunCa7/4o7HJ7vuNsdNt4N5N4MIyHvJ5uJKM+JUFedqjuwl3W4y3/uoDofLnVJpqP6uG1YC/7G6dbjPjwWrYsnuU5j57w47HNTW9NK7nIVjZkhg790PnDjSjZsJL3y7gMx2DEPJGACL5lAqcTBxNhZFTbzEbniJL9xzQR2Ix+O+aOM7t0213UQ8Hyzf6JgjsqlS7Ipf+8o5MCWQyj+LbvINmFNtr4LzmDDFJvRVAVjJbkoeVo0lKy0OMRUEHZn5LSGkU1C6i6VPwEW6798yFtC47XlrH2UqH6jCVK+mF1By3xHv7eq4UZaov1FuMVbBa8n3047+RqMp4dmgNNhCfT4htEApP1+2R5pIxsHFOvJ3fwxFF/zus1oiyPOiq+6Xeh5Wqbp0MKQ8aBP0RR7Bhj6ayP4XhzVao0uqEtH43Orzvi2nrH3XeGa9EbslNsLWR/xRvtxxTyx7xTKHY/bOJa27+fkJPJ1C5K4ovc0jOCx8XSOu/NMKT5I5FlFC/0MUAGYMKc01++gax4jPFmRy9IXCBopWkttSy/sSDBTAIPiFslwl3uIgMoCnKy5om8OY6TJvIRXB5YjUXUrysUd1hpPYijTRcFHssVBgX7AfUiYGA9Vr3w9nCHm5+TssA8cISPXF4SaEa2cZIYQgAOsin2WEMocUuj0gzqObwGdn35iWUNztUI3S4NLL3lOBuZBI2Q5wCcd9MLwHLkBRoADbTJPnfGWqEt9KEz0gqDPeSs8Bgt6UhPGEvRgtfncq7YxBGVhyy5XpqIwZn3xG14UlhfCH/lOsH8TuyAujIMFOLko5gYwsEn50KczHQ1jHU7Nlfezn5h3R2FLNsl+b6h1WMSiLmpuiruWXHzrXwlXBxWNyEaoYoJaYCjJoVx3CZZVkbnUaFV+4JEtgXvwlNARFdCOZVsD+dD6jn/7msQjeu0Fu2mXBQS+k++C1v57ej/tG4UGPvoxmNylpZCOPh8Ud5kXBCNMzPG9HItRNknh0/HaSpFT1IkfEYfi5KMRhSihAHSH5sfBX2ozaRRgbyjce8txiryigo6KpCGYwnp+m0wOagQv7J+c4pgaYNU/soMTzg9WkyRWwNKq94DpCD9ZoP4yabzHbVn4DFsB3S/7LwxlnV7YFbrLNkeFRpTlWcJygImwcMdUA4mLj1wojqNojIIJn1HwPL5LHJkSrXr/jXslYJKrTYsj/yAYx4j3oYOIJJeLcC8syy5FNc4tAQO1/jXvmB7zoJzK7oCy8Ran/yFBKzzorzuYfBH8mcLyQJ8nfihbDjNvtPyE8aTFUlAEANGv421r6IHqrytLYHhPVIan9Zb5moQHI2HrjM+sWdsM17v6joYyj8Yv1M+JgN5vUV+p/GVzww0tD6euI7JhKafnNFF4xhA7JgIXs9YrAg2qE5JNBFTDlIktu3Bv6PImJbz7AAEc4SU6phaz8fyEBG8X6U9g9WORtg+w3BmXqqy98fTkSlRvfPCJcmelQDyQ8Yirq59MDTmFTywBQZYYyyJCTgxz7YceGEXtFtR+GM1wCPgdmPjM1CXiAEF+MGJJZbaTUUB6hGIGqS0w4HNyEM0PKH4SIAwRrt4zfBbjCrWBZa2Auxa7MwFsTmcdckCD1A+ydlsIXxMMTqkahvPPHDoyY95oGHAfHO9/s46BmQLDDgVRm50glzAAYRDsuUVvxtZXIJrWbTQJ3dBVw4Ok0hivMCb7o8DnuMFxE5r16w3Y0NltxpL/wZLOi7Jfvu0dr4SFpN6+CBWcgxHSjxnlaw1SdjVH801OktW6qYTh5ILH1ytrF7gX2cx69a/H9UqFi1+UVWj7VyroF+7Lp3o+4CehPGZex/ZcOEcfaEJS0z1detLZRvFnc7YrZWO4pwHEmtJyEuUyr4/LzhHbdAWGO9BYGqv0FgTUlQMwIiOH8J03lpjLgPCmM/UztGwCAan3jR1s3/RprdNlj88E6I59B6OGhOqRaaUgtkQvHTSDhJszdQyJBbo5QJff62S8dJS0MvDOZXxtaiePC6ypZeJcNybI2srQgGRZnuQAz9EUkQ4qS3FIgv7zBxWpV6+uKbohV7nGdH+XKvncz58yEAb90fo79xqqB3Ma/+w16LCvZ1buqQKhFLfxkjav6ulhEpVKlv9XdUnotLAO2B532tLhR61flwBBdyGEofoMvkYRSdnwcC+8VfUFQ+yJ0k/fPJto7pCkvf8ZC2iv5Ee1CfDb0/QH/0Z2xh+wGYoFRA/5XnIhILaSrd4CEI436CG0IGSO9ekQxneVnHTqIaQEOuG2h07YyQkp27EoMgcuWFC3bOdamgn16z0HfBGQNMS9xNlOYeMRdDEZPDNhTJ0iyLBoB9Afc0POGqM+REjJqr8LdrD/Su5e0f0WgqJNWbCSj4/U1rFpL+yztLuiYy30C9sDCgBG7rOZLvGOXJFmto6+QmVvSQt7BmIr7XseIiB2sKuQCAodMpnY6VDpJkRgojiWgVKMR1EOWfeCrm/GRDP99v8d/U4JejJ8plTH6UejOky0yZi8CNHNUGDBI2Mf/BalSYzCQvaoHZj5vFUpmKzrCmM6SP+nIu/+aM0FijTPnTMVTNCjwzhqsX4uYVHTfPgTHkNs0mw/50+bAbuYaRFu55Alh1C2zAmE24Xmp52UVgVOg38hc2gAlR7v9S4jU26n0rGiyqbF266cK5vb1FUKxGTUC/+uZxYJmhVA7zhg0S99w4i+TNL0UdyjvIdU23nLDs7ncxevPYSEuBUjTmsFSV4LDc9WcPB9bbEX2m3HakI2WHjB+QtV5h265wETci9kr67GOTdBPmqOcd+VTgQcMmBIxyhkg1ORVw73kwv+wgwlgGUEJEvHSK/BPd8h5GNvLb5RtTjKy4mIQrBNLT9pl6raVEWm9BhRy5adPGkLQCNGvwIUmXeL0v0P/itWGDz9zrJsIKIrgL/dz/WHuZvq13R4G2xSpVctDvfRBY2advmvSdvWgaapHMNCDsAd+7F+afkEKupu/YMfSGjmHuEDM9a+hamamuj1G7bJli7E8lQNMSmuXCsVEiDtWXRst16ZNKyJ1DUKk8M5z9HttFj0CMaOhXqzOeWWMQurQ+MzxY/0E1IdellDjtTF0OicoYa91bByP2/euBFHD572jLzvRSDBfuiS8JEbRDhFB+xGYqJ0kaYjd4QAWRRPbO5juanxR2Jk8refMvO7vpXg3I+mS+WOMejNPeKFfEeoOAQDOvx8oYmMhRObiruG5po0dnaQlAATqyqE+fWVRYW3Cbb98o/OqfONkR+cMaOJkq0brAopqhljxTDLqh1qxUC/UaqBIpHsJs0t4j+h5YTLWq6+T59abSSunGesPU5TTDyVjyvnM2cssCjpDL3NNk5p3mPGuuAIkEUKQ2UqnPwh1qLt+QXwYusY8prPEDTOeZEAVyU37qaVeMMS0ThAkLqVntj+//dEWxZ4ILxvIWZmcQfw8CQjW75kSr3P05SRLshWu9AvWfkaUGKKt9IvrHwDD9AbfOuTGgony8L0b3ElnM0oitufr2xvnvmCFcWzbDyJ/f5k+DSQEVetG8SPHuAsI4LBxQk9opEYAONgH/+b3TweKXqqgOrswaOuuVrpA/7g1meJWWkY53m2Pqg2xg/+cHSvGdz6ZfhVAMNJ7Nnoy6m2gX8E+1E+LPglAgOH68ucGIapQYiBtW9A1xbw4UEE4PpbjiyDhiQMhUxMbXCuoXUtWVrdehgYYEUyzgyVamYd99xq7nEfQPIcNM1FnIn0dDdhJcFDVBo3XArqveh/D/j8E/81Sq2GGlsKJE7v2Gu0U+e/PUrE5muq/aNO2f3zX1gNpgv5p17bEnlzVSthdy6QL9CZqxh9BEXQVIkEd6hVibqmE2nhh1Tl5YMY6OVlzeckB55luJx9mw58jB6IoWv9OdBtgqXIzI7f8Zr5gz3Y1z1DGUa3ibxaiH9Ks0vd2riNJQiFpi7saHNE68lK8CysrEdE4SY5vL1opqcoczLmHuiIdAsxYR2Ok/2yFUIy3O5ahPLn5CFlIYcsFhoUp5nvuuG4vYaAL/SEprVyg7AOjU0nII49C8x4e9ORH0xF7DqYBiMgHQgU+ZNhCB2X1sxXIkfjuv0Ocpso6dgDyOEjIvqY/DlL91cTnLvDWvKc9PQk4Kukob2tTRGumNsWcyAcGpTapNtwP31gL4H+qaMlxaguk5waxq0AQo+IiAFtgcBj9RXHfIGvhCDcY1U7mU3uRLy2sLu2zhw7j+2Zo8XtY7cumxF7twXBYrkLmDIGEOUTh17IHp2q1YEgde/8gofboiUJsHo+et87WPf/SVFMDFMWTzqXy2u3bZQ/wGsScVqvXJivAiHIIZ2DUNhlDYf7mm8ISlFSXN/EsMac1yq+ljkUtHwgjsTZ+rqtBjykmpte12C/qDX/RIdJqljy/fjSrJkrG2ImiibPX5lnm7nlqLOv/+wLiL/1X8i3P82o+4Wn+EUjfcAMJLgr40kx9mIkfU+ynSSGWVQzGBQMoruq55cQUtRWydQCrTqlLiocldCBcHE9HftgzPPEWAnZTZvUL/2C/m7t8oKU0nni+kN/jhZegCVQRzzGNLL9AsiSc3++tLU/QxYVqG8Tf6WWzvcfMDzHfxPvfqTahphoFOmQuokYprIq92GrNaQMIOXMI/IvjMPa/B0vY701W/8jpg60YHIxzvDwHOvU1IPqJT6zbSW7wAM08pqL54embaWO3R3pt96pq1L8mcNbHGSfuGfMdKLFyrzCrJqEOGHYrROXQiveNCCeWeWjZV21gGSvnaarvH7ChP7YI8ty271ad7CTaAR/pGMJIXOQ8etu2KbBNkyepkALm5VX1PJWCtVKDmzB8JCqvWqH/8bj5q0Xq+M/YHqwZ9PfSFNRi4yeSPPCI7tTlsyyd8YeIo0UaAJj3B2ugh/P602NSMzPKt+MEu65xVTge3DIcPg+7AjDQBlajWHbHlydK0Xwv6XbvVCKNfxQ3K1X6J8iyPpoK8cpWBjW0GuXPrfKU0KMwFsUxQK5PxwrtVI0HJKqTgNvtpfEtfvPax4e9l2zbDu/1QdvD2idfBjgye14AuzDsLsj7nCP9iA+6pnb5EkgCYAguxHOe/M58m0R89jGXtSIfgDpHPncCEo97+Ezi3rCRDoHo0CzJNsPhKgcbRxuX39sh4O1xH8UiU/5OzblbsG4oMb6knVtvy/BHNJLoR6v0KfGECnPmIprA3Afa+hcawoktnL+gOzaKGd+iunL2bvYE9qWFijKWDjPgMQ0MGRUSDZUMaHgv545HsDsBLGnZy0VIVhv+0kRJ1vNp/NtNppWlInPdbfCCz081Dmd6PKYihXhIXvjcBoJ12Ul9ISo/sX95hajBlHO8tMHh/NX9TUZd/ijJC1x5/Xi4JatYvSMLyoiG/mCpjgACbxW7/ft6BX7amcmKTT/w15rsAr/vKqLsbplrD6/6Mv0Gb0NScneBXBoY928jwKC9UIGc8KOONS54Fe8OdYEactNDh8vEUn+glnmy1ayzfS7LFFiPvHh62/vwLI1GEJkf4RjPvUegL/lfHIQwbAQUMhyy49l+FQFfF8hanX22SVk/HOziJyJIU9oZEbGTOLEKRMG/UGXduSQfoCYTazWUtwRGLzEpFTKOUjl0tj7GPh5OvmeCw0M8N21ZMtSB7Y3oRtXR2RSyLTYgbJ3chdj1/wa7QoHV87Y5bxiOYzEM6ud/XZk/8JmyiaAOeQVbGN/xEIyWVSaQMYF13CyU+23BDtVCXTHZfNafW6R1rnj5fAXsTbSFu6g+GN6dTPLK0+tNYQgNVf1KY6E+CC48CFX5faHL0gR9ClUOOhkEoGaJLPKkFHdmopPke+or655yFZZwNy/kvhsmx7vItYUCHq4WpaqH9r6p8LKApWDZL4epjhWG+J0y2IspLsRWIJ6Pb3nNMk6ZxU1PBwGscXC9uZIJxqsnfxeOST4NB5Ltzkt+xhZWPLkRbkODOGO837DyMaYhf1Z8Mpp6eaqrSOrATfcGmRS32mnK4ai0qf0fIeNWhM69oWl1bdSJrWgOYf5bUpSw/kFPucIWwC/z4Sta3p966m/7D2CpFroSKBUBZAIJSbZ7w2mI3Du2XoZhLAA+vymVL9qTyRSz3OAZ5/IncTSfIMFhWZAouxrGA9JGjsCPMHa56UdcY0gsPgWtmnv+cHKRL/sk9rT/NqkO2vywfLiQzjAS4CkajEas+QVKdgQIBRfrPKGVVFtlaqLy99gJ/g42SzzKNvWuFfSewQrNGDiH/aaUwedjqG4EMQO9yQWLJqzTr8wTky+ywGvB6//AQhJqf0RokAQX+5GQyfPqvWMHozeWfiE2vE9S3JDyuWDV6rSn1fIKqnbL1uHhmUkkqsA0348aiNXp8347B+sEBwA4Zct5RalblCqTsMP69D6lq1L2Lxm2+bXb1VCiuDfSTp4F4D6xSRD5ZMXmNwx5Sq+teihPYpw8cOVFzDsLOKWNI6KP4Gnv/P/kJAx6wqcDZG7t2rq91ucMC+GxTPa8IjdrQnS/4Pi9/o0Jq6ME4ZebCs1WZZjKmzVFoOI+Za3A01Ei9VuM34Uj4ocMF+vY6SHu6sM3Mb5UKGiT6i0/8puTMcgc7sL5NNcXSU284ax1s5dTU7h/9rkQEmenfsSonLACytrqfCKI76ypRQiL5X0juI5i7h55asz4TTu2QQJSVMbDHKDB40NiCpIbzKMWr0Bf9A1vEvKp1/sJ3HIy/pr195zv3Mj/gCSYJAJVY7GF22V3B+4LXqdX0HrPbtway2Ft1LCLKfW7Nuy2gdootA5f4JwLmAZsC2wfgbOVX+vz84a+fIYJApesFsBzarjvumTjKMvGOxb/a2UKAyFXW446iic4wZeWkdsIayNFBWzyYsHdCOC79uuHdDz7MkgamtGgADZxenK0ILDlJ9AYwRYM4YQhzEBAVRTiSMJQtHbl3VVr5c5/qYIv+sOp6uPXOwx94qrVzj4p+9XSIlxrniPxb66lsME/FGaUFsZBoTfWb5+PhKqrxUfN9JhPRuIDRVAnm7pzFwDmZtgwDW0TLcqjdUKAPqz7JhtCJEc/EKEw/XTEUijV/6oEY9uj5u71+hT7D8XPFpix0b7AlOahtQUCyDicUR3HECpkyH7UdjPUpZTpmzUrXP5fKCPlpuR923p/MfAw4DAqkBN/WLrfxTF7QAi3DUOSqx/5sHbxaBPJ3uIVMgMlq9sQaHrRT8jq0eD4zBq6R6oOlB+/VgU26RW5Bh73y1nYO3GXYpPXlueV7wCRgcSRgAsxrDO2vdvuRP3/DUPuggOq1t2jJ6k/5eP3zEXNUt4L6drdrqvuXYWqaa//6PQTL3YpRn8AWvoztICDk8aXtor42QhMHzgXfKnX4Yk3ya8IvB2lT+rCnXjZ13xp7Pt+HGewy/Su34X/LkVuXXEap8zLBc+mn9JuJpC0BkbGip67ip56bG//xMmvHA65PoccadlXsxredTmX9SeYAFuY8Q1SYlt2O//VlSsigzYIH0Rv9gWLk3s8jopXXbFFFa3rV5L8JUkInra+wInp9E+f0EnXshTbk35mWH/FEX9grUdlOlmQux1tF/LXkWaJ2PI0x9+1s5nJyqeMH6uyTG1q4KnRliR8Qa/g3GHBW0WCM+tIl0OPHaRWrFxQNizbW0d8s290WBraMAdbFkCmLowXXyOstCOYUSU0aezEapkOlSyhknXVJC3EGTlaUDvzGYJfTSVMmS63ev2VTz/wVEAcUIKr+CdvcwrbFuESuvZ+18/LU4Fv4CnDbS+lKX7jIy4pSW5WaokzJ69lCGg6LEqGcGAQ8Au7UN+mkWqUSordKIrI04cn8Or6SLv2uCy7uTH5xqeGIyI6fS6J7MnOJUJzHZwpF7IRAnkrtVzVcAiSBzB/SxuTzhXgB+r7VmlfO4jcFgQhTH/BEviaB1HxLgFDa3+IZJUcVocusNY4Y3PzKX71KL9ZUkw2ClG9vHJpk6H5UOtNEEgZKGNyf+4IYmBbvhnd+nmYcN2o0lNqyTNg7H/nwI2IS6Lj8XAcEYHmR9a2egqEt1jMagD23NKyzR3azWIKOs7wavt0C9QExSj9BHtOoLZQRXA8I5alNaMa0O9phFykfBZPGZY6mYlyt7HkxpNSnP+Vku24gffbIqJwfSUU8RhPBprT0dlx3Y4Xv6bFN56BMHMJmJ6JR1JkJu/JCqYI2yRz/qnizy/9UqL5TRA+CQISUQXnsvWqdQkmfswZvpOh47pHY8wUab+FfZHuMajYwHVrkzyrk83voym7jubOBG3ugZaBwrDIZs9Q++ltqhBaVz6C1EhZm+Nek1oHoayuWrXiRe39xcJDizKFWntj63b673axLH1PVH4XANfMxiEocLAacBzsRkiPegjzjkAlZAG7iN59KjEYWIUHlj74jAZAZiX75G+xvaW3ncwXTiVNNag6ktDWC6YbFOFWQndUBs0m4h4xRYhFM4M2nXtZE6hR//fLmp29kojSLIyaUpV7qqjbNAyNtbXhfIt9/rlXTtecDJqljwjrLWQh85DR4LWsD7PGQFi2IOg7uWEW1aqc3OyWSheHw6SW9F6lyh+lfBarbB/1nfrVeoNNxhsNZu7IzVA4FTXFtYwEOgjfezaVDNWhSG8RwDfJ53e0FX0SrpCfmKCFQrmzzOSyasQhSh3B3dyWTOMXcJkR+GrJgzZWKBa0MPivzGjzXQ+lyYotWm7vOHIX3rqXthDXKosyQ3yJyQGKInLODUFMYu9Hutk+mkEThEYRZkrGsXcULw+pa5yXL2ADjU1IMs9KOavmhAeuKSYp0QC8/6zBt0qmdi7KBo01appckL6M7pOEyzKt3bqGq+56byDEjiiJNot/iko6jJe+qq/+fJc8rHr6sbu6zkQnVEIz7snbNhzHOBsP5Bv5IgY19vGuiFrLe08sniyeIGcyfeee1IFeLqXxFFfG/5Z/7K/CMQFlL2v/XmqQnmbQGtX+W/SfYdyaPizZN/feLqLPFszpWZRQaeK8r5bOKzHGvM6uysGY7JgjaU6ZyYi3m8Y8aBOtbw9N4Y4oFEWQMynlOBvAlXg9bEe1HdEAkfydzE2FvTXlQX01LPYKmxKtvoA/TUcKNFD8QFF+7Zw0R78FiMHQ3RPdhJcA5SN1hw+JQf/9HRFUEfAKryoTFnvooH+gJAoayE8l/Uy3x8tW2uL1RHXLc758s05IMK0SnlBHth9L3yMDfWKGRyXoyRdOeoIkfx9A710BRiCTH2nydrQJ8Iwp3WpalFTmVXx0TT1mbVEpsMcoKBy314A0GsjHKYqpP6Kbn6P13/V0rNxQGFbWlHwN6+oHmRCsFuvhOF53HUQvlsm2e1vAvdF4q1J5+rHyoNlOfQWZUg138br4RO2PZc22/cbecWixknofnKSzkXxozLv5kNhDP7WZpaaXa5jEfo1k6b72e3+cE5PfxXeeiIFiK3CELS4wdRYtvz01G3akHtZc15rS5pPiU63l1Y6QbSI3iUNwOueT/6X2ZiqONFwXGnRdFKVJm+UzB/qrtJiU/+U6rJ6Pn4T4U2enRwdHI6sYueV0Bm7WkDxD79XtpWfzRpiY5ou7RvLsCQ2PL4AqIh9ZdKcW/NgUFZ+UvQIAaTE7OyrDXmRWnmngymr39lNUofwEgwzgFwhnXfj4cjeVrcpKodtTjvPlle2eWhR4NljJQH8e9LJm8zPDxpC4rxhZxJ2EHlFspWHwlD8UFZQ3OzJ1hVtiCrW6tid+cmdPPgPBoiQ7mtD77keuTK+MmLK54ATwoAS//tjXHnhEu8T5vsUWvyTpKMg7eCdgXH8x1vAfTbQ0UKlaGYK+TcK3dnjv0VcezmNwhWcSd40BR4EyzxcirvkWBuabBa0rZPDcWjRnWJkEhQ/8xwg6aNCkDpGM/NVvfDmzWhv7IDi/8nEX5MvL0wWkuvdh8haRRSSl4OV6BvYrOjmtckPpTCC7E0bwG9+03Cg8TH7VhSe0DOS5MmhlN6NTWRtoWY+UGwDuwZ6jllxtRFxhpxzNDaEP7n5IjPlnW1SGI97WMLWKXGug2vzEEQGq7xQ4IhIq9xohIn6gyalBu0Wx7nPHZdTQ/ezXZ4IB7XclqTIOM48iiZzZHk6Eb4R2/XtV85OV/InVoQjiBTDTOaD1vyT4ko9DrY641nvVsrWRHXV4qdrEm9BvG6iu+qiRsS7i8hfY8SaNxgjdd+JbDZ2fVUcT5VVkM3pTdfBNKjMw4qwv82XcjSDO3y+aycyLsuaeViJCCSzOmmk4EaMkZjerYunTPvYfoTe02qJ75Va+ALYHPZAKwivuvmr3bS8dCr0FQXgvOvF5jyW8qCxIMVcKinra1xAjncqBmIANq2it5x2JGdRI5lqHd9EGCVzy6m4I5Tfdtf/OY7SU44lG/7PIY3PrgW3TvD9UYkJNDapYMXe9dwbkBanqi3B8TH8cNch/6wTTr3sMwygOYfWOibclc5zpv+xnZkIxKIhjdb30g9vCiyqJcg5txkMBPzoFNX9+DijL/idUUW11hG7nS2n0y/vCgwtOW09h4QDu7guYlXytSFrg6OYmx/wNRH8oYzp8T6G0JPY9jZQ2dWtQhnFExVcqqQZP+upo5HypewFPYpz5mA21b9YAodblej5qIxNQsIzcmsOHM5OSzq57XHKWNuoXjm//895vSJBp1987WL/qhz5GVywTLCpc7RqqOkEwjKsZuYi4AtJjsKe+VHffwHOOyzRRAx/TxjIf9tmTNPjvl5OeHSlC2M652oSB6PB/pj98a9vAA3UdDvs8m9OL/4u2d+zqjES0IqrcwNzl+5OH7WOR6YURp6rYeh/LgCADucDBnmJkh8df8tyOCDlhV7Mp6iSeSwBhmhjm93WendZFgGXjzj8B5u2Xy3LOS8YwTYFq5nAxTuen95pqx7Dkl98ohrNmcTUbANzlSkmDgQfH/6nXqbuoX5dYyKQ62qyBqzT9YSB9y4Y7VtpK6yQAIlCJaxILbtmlomcY4Sl5SuDJJKIuqaPCykWAa4ygq4YxwQMiwzTyL9RNr4suWtGrbWiJ5tbnGH0DHaYZ4Vt+HMq3u8ND+QACf1P1CJQCksdiUtxqb9ri8Z35sIHgtHShMqPMLM5Cs4IuXbtt8kkenng1//b+4XsQDs6k8CSiS4Jxa04WMowhyyyNbpckX/ML4R45GI9rgRCI+1Kya1wJtcVkxP18vr7RTcE9f2zYA4TVAfrwC+54PyBs7MPa/9eK5Yp/wWf+T5qUe/LXk5T488Gua5RXQqrQBDk29mKToX5okYJFDqfXd/Xt2emIgTrie5Gd4OiDM5Mw+Qmdz3bMHCYC8M+edqqRlUgN0OpafNeJ7RfWCAUgiRf0kBAq7ykJRl1J/kC9Qk9O3uhOACda+uwpOmYbX0t+26BQq3uaDnz7zaMvx7RVvSSB/anWMKPSLgjUYyZeegjB5tv9iERt6RuKN7gBY7AorfPssS7JqpnB9R1eNkJPKokW5I1q9yjyIyCwo72l1w53X4uDbhwWZUMpIdOdVdQ5emaoEBCIDiVZnEEyZZvj/+EopNeudwSc0SoR8jFirr4EHgcticCM4I6huCRH2lHlR4eoTj1m8A/3/9MOLVaPGi0gGPO5XxV/GNrTSqCYGFymI3dSGkH3YV0yzpqqnWcf7qWHFjha/YcBifxw9E09+bgdwlPRJ9mdDQLjbCpbwkiBCHfUAe/iofQ2eCzo4fcgUOQvi0bk3gBVCObecDVYbbDaQdTlzTa9toe0xQ5Vd/lp/u/eTIoCjJyseAa6YZbeIChMhmBR5zVVum+kmJayy+r95R2mKDAC4Is0SHINbqU9EPaLJtOcd4fJYaq6aKqy8i3sx3uBDPG8NLKZToW7Bo/L9JauCcYZZ1yMIbeqdb0L3DBl3K7scUPXScx7giKeOjN2+yD7y47ceHaWL6hbW22td7h3LRjBkWR4jiytsMcTntv+xZYlWJAlAXcGnYT0F0xxsULCnXrQDlUj9XSJbk3W0ZbvxRKkaxhrU5+niZGPPitjVSceVHSuIdCPFrMDhDX4FNX+c0rZJECKngMhbC4w5v7Tm9+jA3YtnVU4zO96TvvFIFMTa0xsfAU0Ri4ZmtoHAdsWtSTmvIybI42k7AlUf7QVNawW8NWFBbjpcMktxz/JYSOL+W7lTts4sv+mk5MeE3xUiQM/zD2uYGA5fijZR0dPy1/Dq0RZu4h8vYwc8nuNk/h0nE9eQJNYyDDClxCsfINP6t5pnJH9K+A7NjOBazZ92Mh4LCBW5aV7fuaDJvm+/Lhp6YaRQLv6kzD5NIcf96pQtPmBGOR36zh3ACmyczZfJEhT2xEua89taapzYLHfLPqK3+y+0Rcw3O2D80vjZ7iG/EIrtXOK8mKVLWVlDk+0prKXbT9dqsfdetKcv9zFE1NOHWAi1/glKZVS/jBZSQ6mwcZ2WnJkF3S/Is5Y2ANQc2GP9hsXermYeyr5GJc8mA7xnRDsUA8rou+9f9AgoQ7gp85Bvx7B+EAGRoD51Z5hGYCi4js1KAksA6g8sYHzhxzwaHfxbjizZgTwGcRpUjj8vlF65f8Wd1m0KZEBMaYpu36ZDDYIvczy9/tplbzO6nvFIri/YErClJApOQi/hen1XRhGzncvfCmv3HLjOMa9rcX8UrOJuqbe6nYm0JhYvWwC+cbQZx6K/f6pdhMOcOVxQ7F58fBcnHD1mYHgRYOh+QZeDswweVf8HgnwWVCZAWSGs2EVwQZJzhlMqlHyydpGe7q5qm3Bo1S+tngAs/R+ONzbUPUYA83P4LXQ87wk3FU88A7fLCHIr/EoBvYbELxzhQ7V2cZ4+3BqoCl1b3Ht/ebTS2372/T4cloy0lylDg4mUnCA4hBDx4v7cEE9jxF+8bh7klA4xuQFoIOJQU6etKCm/Axf4Ko+7mxApKfSYPdebhBRlRcY8nwljWXHUPP321S60XNkqe5Ec6REEpsbcfZmtWAO9MZl/cda/x8k4oxgOpyUj6wrNvObKT1rc/FTP8f0B6Di9/hWryMWe8cucWrhkLzo9UD2PC60elb/RIcbFsaX/amCx/PaHPkOY52xdsHdQthvPgPxVtPvm0NGaZ+vvBxIaWHgz37UTO6++Fuz7twPELLA4h6thu41zhSusTaXDLmnvvsxPIdD8K1Xf1iYTpo6Vv+QEMxX3WU6oMcS+/RH2VAvNHSFag4g55qtkis9oCClq5GOnbYrTZIfWuIZpKNYIswoDL2tJUBPTCpbSmytkadd4l8MA4ZF1Z8MonnFgRYH/UC6WRVwnBtV0qpL+BE2WEnrLJX7eQ951Z+pcr1LoqKAdTWbLQLL16g7sgVkPbHpOk4DsnpMIOJSqN/XLeogTU9KhCGDjxN+GeJs5wjcXz75WFy8TkYpjd5FGjpnF4J86ORIH4mlVu6NcX+kOO+lX6yqNaAdpG39CoL6WZ/a6wITyEUvWg3a9PBO369g3M18RE89eapCPupghKpUq4Cqh5ykE9J0WgBoW7tPXcqDDd78PizihDhPlVgvWLiExEFXpQaBEHvfOukVgdFMo984m6IIaTaNuVQ/FuEM0ANGJII9bQIDmXp+PtIPC/yE1l6a54FoIDhkVA40UpGOAgYXUGegIOv7gIr8rkwcp7qVtZPQz5348sSkeEawlcR8vCkma/uQE4NOxxN7YcKjcBMWshnt5ylDrVplMcjzymKJ2Zxp+zJfKJ+2ldQrh7o7JxAa93PBnna+lYEVQvALvlwyJWzjOr3zFh24zPvpKcaj11NzWe3EnptgMu3z0s+fUZExaKBGA06t+aVuP7BhAWOooX4HLuuUbnvGAflydb4vlz3vuNc2lgHnZZT/DkdTufpoDZ0gPrhE8lpcT5OeYRbXDb+mSwujuu8un/Bc45FAcVnOWoLSj3AiKcQ0Jx4O9nWoM8Gq6+9ho8h88rxGQq1lIq1zvGpRfUeiw6Gs5ZFe+sbwzA8sp4nnzN6EHniIwcHGKhCIYIQNrQwThwtePaWSfqJ2eS44lYNFsrjQOMrlW2iSTIBKy4bxMu/2tansDmKSFQnwpVwPVWa65kOll8OpHcGPbZN6ndb8wUNrl+R730w5HLJxqTnefhZ7r1quH79VdEjk9Cg8HD7MSqTxJHnlFKOGCxaY6OCkICq8xQLuaCOpDCT1sPZcL2tXkFONdiKmTohEBYmNwudwVl8+qzaLDmLdBHjrwJU0Hs+g9i/G4fkpu3sfLKMjBA6zPTyyie5POxM5jHTC1g2/UbaxRNrmOtfQ2tRtoWPvvWt03v85jubC+cfDZvS850H25tvIR36PSdcIG0sqGR3sVlI6rOVa7TaBSyUdwdff2g3cCw32B233qsDx4dTvEFJLRhKn5uaDTCEqmAimKZoIUADRjGo6C7urtkxsWaYExAq2UjJWO5zrUQkToT6tv+2B4HYdjAVpToW/6YmDQEiKxm2JBNvGMPlR4US4YyhjTZZnKwYKP4bbWcLE8qQzx4xAryu6Vx3H4mOXAZ1SqwFN+obzIvra8r+HLEnMx/Bbv8j0XbPCjyrCAZwF+KMtZHVoH9JhdkV0BhID32o3Nlz/Cjk+pWGWRYB7XXb67f6c7WOjPFAjhpF4JQ9POSZ11nnyVre01Q2IS+LHLdwzKGvCsjqUoGdfjXI55h8qwOhOozObzEXnwbwmufBCj+exnPfyuWDn/e1B440wbzeNJaCI6z4mSxiiJzBCJqe7OU/lrqdiXZc2D8PaZpukXYwetMJ1CeG2kdD4qsI9Y9w7iA+FUfFuQGbwBtQOutGp1BK0FAQLkUFDBk5GhJHzgKOswzD1njS20sYPYvnFELR9I3XNcMga0ZD3btFnd5WzNLQm36KBFmxYFMxtjsGZJyb+c1Og8ak8GzrGkZlGMNTxjgictxDsQn59/8rtClVBNKOh2oN5psJvgY4NC63mPnWw4HXZNllZY9YccwwgxfOmptilO4CuK5rPmqhE+Ml+WIgv8pM9WSUgq8iF32/ubFyPB5Y9YZhHxZJzBrlF8I0bBOixh7zZym5LfOfr/P8LxiyQG4BbmzvcCFmemncsQYDg6n0fELu3G1RATbHJxF+FChG0DO3Lf53t1JteKfnC1MqSVqPxSBDm/9HnZBxBbf3pj13ttLzqC2bHKfnS94wNcuLKdhaWEgyq5QJ01FSIZPfMIQ0Wm8BEjXdneLC2Q2mbSKU8BbibeVbrON9J/r02l6K0DT1Sd/fDeRNLGCdYndg6WAo275vF5/WrWlhxsQMi9QnZ2n6fCj9Y82dEYFr7XxSL+hNxtlnNEbXe1J5dUzdvpBa/mAw7hChq64rD3z9SE4u+b5BeGlBOfPOAjTfy7YKgfmOVi0zW3ia/UGM3l3a48Yj0ZydoInMkAC0NVlQviSzAWh8oPIbbftnswqK+V/5TJtPlfCLpq4eo/mfcYcdGU3jIq/+syq41MOIM7M/m1zy98KewZ+KcCv8CXptvuhk5YqZy3vApEpM/uIqcBNDypbTXf/gRkRnv423cfyjSx1djHwnqM2jJ4DJJ82uOdNMHrs4wyInpR+kDmN1X65dILgNDCx+bT2gVcu03EXctsEwDtjzGfB9QwYUwQCVvU8Ue4yeFpTAHtx5rSHOzpfPPHcmK/WJ3RkdSkCHH3VXEGRM+0YS5SwX6saSweqUSIt81uYa5BG4+9R+FfWxJNwDIg1F/3nDOjnAsOm5cZ7hjpb0zDgVJallFPO49W3qMMxylo5PEPqahhxiUhHSkQ4op/caQ/EcMXOzYSU14u5EV9u0xlCPigvIa7vkxR4nl4IAP9LhDKEOUKQez4hiApXVdAwRVnthvA8z0xeIKm4P/lIaOQCf9YIdiHnggrDjcRoBD9XPXmKFcSLqUD9RfiDrtXFcPoXWk1FSEje2LJK7OTynjAnYlhcLb4/Fh2UV4vtlAjJo5JKv/aN8REauIQAT8FXf9tpa5Rp4UzjtqtvJVF9UDP6xdqC5cj8QoJDrEr9qfiR9F30F2pK2/9rRRn9xbLLAG0VCq4WVXiOOiY+4W3NCH1y0UH2LMRHLEKnUBrGu/PmLbS3AnIRcIK5IUvHUNVIYjCbX2XJIwDI+tLul/xQmtKTuWwX0Uc67QTTbJvsD8L6fYmISJDpli1cOA3kD2SuKEvmTGNxS+t5M+FrJWPNHa5ZtT2baSBtSr57bheWiYCHBRLHEG1Ix620V7V+dKrpFx/cZWMNV16BRaiwEpSr9S5/Xq89UAO/sMG/LrL8WKT1qRfXtzZK4Zihj0KqVtifgzZjPGNw7dmJ6xn2L/5MT4XUKh8f/p7fzk4rHRf+tSAQLGoJ16J+1VjWdLtVu0g/A0ELs97hR61Cpxq0H1PBFseE3HWSJtcXSS/PqiHfHlKdrumMluRa+Tt76/L9/wzujEzgycRQMfO4Kb9wrsdm+typyjSH5pI99dtdLZ9Hgrg+Ar7fPkEFh+ypq4fly46WeexJdHkvP7E96HWQRrMeLIFpmVhSz9mt4782gd4k9bgga8R846JRxUJGvb/kBYJu/SPdHZ0oCB9d2SJKahH9YHnql+OCKek51GUL4rbQyllT0sNCHFG/1SBLS+vE4Lu0sSzGogPz2tQFlrVpqaDXHhfubOHim0W9pB1zkuUQhy5cABaYX0HRzMWHgIKhVF3X6rqgCb4QFtXUUCrCjrSJ7C+cPr76qvwPhq0TVMmpU7a4epFF1j+8pCeMYwz/9aL0lughW/QeJeGAkGfrL2FbgqckrLchQuT7pCHCTPg4funGoMHmiLO7T8Cj2B5sUMeAd1Hli0fAeiz8rSm4/cHD+hQUywUvTMT9C5W+o5wyuD43nBqiTc7CC4JMHSDLgXaRhUw1uMEa251jLuPfT8cZ2dSDBGMwVqfXg1hCtMkAB0aFvRpUXaNFCS1/u48QnsiUfDvn8x7RN8M5uaH8X+wMhwqYJ8LFIh7T3jDlCwgCYcd35Xj8nkGZu/MztnVb1QFnRTbnFpho1qOl0WJjGOMnX0ProYrLkx1PYJlnO6zQsPFHigPsPuG7IgMthJjd6MdUdoirax6mozoK/LGVpKgBax9j0cjsl+6Dc+Necb+66UVQxJ6rULXN998BikRTLbW1wwjKm9kGiSIPzdT29/Rue/uXi41GxFqPrhv3FwIHgFHBEgm1EtkgGWqJ71qkNuqmBvgonpCizpkkeN1Tqz2BMNbkPaEf5UT/wXD66z5n7nB6+zXUOIdnpG7WujrlLkdcQEH+8cY1Z0l6UwpBkILG1DxgMfo31/BhmWS7+AH3ghqjB9tk0093sKKirTPVUP/ycDAZiIXvGo/ZQK9/5m3e6FXTlGoF5uLWfYznPlMATuv2WS6ADwCDEGCcLlQ8F4mrE7gJ76GcSX+LpKWgSMWrmD3l/0OmAe81eAZJWtZ1YXsSX0lh/lE2ZcfnGQ6a1YMmI4LV9F4TocedCRq3J8h5naspX9P4Z0soJ0Hsikte6xX6L/FKfTkaNDBs24hjSH9g9fseTjOciFl+5GnW2a9ycFe8x+QbBblLY6zeUmzMX3MuzJiSmZ7ls37leGgT5ICsRZtE41Vt92J2iAqL9Jb9fbwUDWtY8UkBSu3Aj1aqcM009y0MML9cHEs2xxkn1pwis5Ub+bL/PUmIOq0F0NxgeATIvVrN8BV0DBwtQKWOkL+4ZeSnwYKfGsTFieyOhVZfEM2Yp+Ni5LOS0dyXx85dxpQOzYN41rUIWcNsAPRfPSDad7fd3qn2Bg6Xrx12qaQsDskwpMA1IGDLuL7IoczLucxD5TTHD3bEeY6GY7yfv8ZP5feBnSJDGLtZnv1qk2tuhD03PFzhfIYavlTY/zWlYw9mbo2oE7QFa7zprfnHJ6YFDZEUXmhU/bA+3UPz/Ay0aH3H27JEuXINCPYOPsWdezGGYIzpYsaC4xrABJ3XTxq1iYrdeq98uB0OYXbtaTiuCheC+sBUQHmb3GXBXTUuSdLEVuOHfjMjI+PXmaukU2uOK6KePmCwQGnzHCiDzzIe4ezsxdiPO8a9mCkebT3QkGAPZ3jA1Sghcu5XgZzjMshrRIi80Ab3rKWtwrekHh1RdSHW+/SyJIue5wtComyV5ijSFDyNZFkk4htKbtxhpYUKNIqWE8ZvS5n5lSMIi8KkWoIYer24BlLP9MvDf693jzTbwSbzcVM7TeAFlBwOAn9j5ovVi7FiaMtSAjkRLdUOWRDAE6Ox2o2AfeEluZHscFILYMEwpet1wYszE75QOULXp90B8r+tIcNvHON6yw499vSLNw8+0z4/5DC3PBFj6fHJODLzTc4wwIrqH+RmiXmUDieA5wJTrCMSbf4HEURSNuDuWrjMTiJQywn77q0BUdqFyqXUtTv9Wz6xT3DD8bRMCBKJPyQAu0KrVGetW4o08HsiOefShcgXYbl1gbsu946CJ8JpYylsJAU73FYKYUgQRM1BNd+uzD36ZYhUYCpYbbpjKxkIL1uqp4jTXWnhHs7MkbrmfJ4UOaMbWuM6TfLjkb1EToA/KFAzU4fGTmY0c7GERifbx4dVTmX6nOHZZ30YNMsZi8RAUrOL4we7q4VECykWIJ7ksEKMSs4OqouPdwpZxPPFoMszE1y29Yp0KHbsfNeM6AXfrcG6Xbwjzz/S3kjcuHjeNQLGbO32MbSMZuTBtpTbsLKmKG61EkSVjTMG77t5EDL2WtWNfOlmzMpHI3lWI28ciWKYeLdDPzdKoHV9MiGhWjDbUl/a6Xo7RNj1Db6w7q+9KaaD0+7nKjMOhOLvYlIPooyiQbbS6abtyNSmYWyYMSWDuPaMP5sycLlbEpXqYasWd+6PfFLQGuqNsGwd6MSLwce8weKa0EwDCijThQg+Bh00/QODCT7z0R8B6venvTV3dSlFYOnGxj97XGIUFz9stEYSZguktg1cP8JwYTG7RGb4hL4UD0OSc5UTM8s7lN0gAjSgSv01JH3DBVju/FZrjxUNXX/7PQBxfTOGooD+mcphCUHbqqEsadRx+RwG5RRJebOe+FmU0z3yb2/VOjJ7vGMPCGW2R88ShZDIMUAfVPuSsCWNJvTd7lUen9me/qCG3V9v4ZmaLXYcuKfqZD78LiTmLym/h09Li0bLo/Gd+EOGI8AQdrl1Vb8nxKn3P1brd7eKZaGZ3IvlzNEwLj1IEeA+qbeMysgz7kvEQLnf9nctj/sblkOSpnbXSoglw35FA/bsYHoWEralKnmiCld/IoAiW4DsufmltprDZJFlF77/ghwlrDzB35+AuW0XKg5j6GHqFeEHagawerqU7E9mQRlhy2jlzXfSJ+++vQed5vZng8qFdtDbzqF0QA=="/>
  <p:tag name="MEKKOXMLTAGS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z2dD7pS103gZfJ6l4USC3jqtWOPR/ue0umjYEY9KlLthURXCUyUuZbmGDPUXB2idlVQc+R1c0j6vNnMaKvr/AghcgjyTjoGcS2U6lyGcWZbvoYqQsrFJ5DN1RdHsB5gZU4BjQJ6xKwDUEsW8X/QQ4uIPkrhyjIfLLN7ZR3puqzBiN1rMnctBA0J594at1EN5QJYMsPufr2eabAYzIDriNpy1GurybA3KWqcTPRKYh436jQqOHiPaCJtAtzpRgB7Igk7tw7BcBhai66Lc0jpyzFEK/4NRoFF+cso+ThI1HNgDMZbpFoCsJQtilLqk9nQPGX6RXGboCTf8hOOcHaKoTUKF81dro10jOa8Xb8mBGZBE+xk1l9MAy6INl4AKPS/xzqD7OVSYQW/QVjUP8ufbZyz4Ih+5sLiObk2NCt1JMTbXlWVtQdWIxChx9ngSxgozQOd4j0iUmcOaAI4VeYUVguzxQUl98xpLm/Tn6gK5hrXA9hoq9wPrsfJ3k3WD+yXGzKT+ueZlkf3LeX2IkrWZx2R1zFZ9RThgWRmSCZ8N5KsCEBTMukHKtKfMo9yOjhi7uWJiHoHw4vWs0m1CCvS7YvuklN9EVPRH5n+RZgYgVVXGl6Yy8A40mly49vRpgjPTfGJUk8VGRiFvRzKPlsvDyWptbrn9uCUbaMS6aSWGX14nFx0YMAEoXHhlGe9jMItlvohTo4St9vAlp0l27oYjkgfB1hFRJ1hSUdiKYWQHZMkrvZnDTbQA5FgMFShAxZrfDlsWXsOViCohDIXk6JI0EFhAbpOlTkuvpE5DHlrUV6HB0KSLuk/sc6gY7vdYryWzCRdbeZ6jaSOXPnrTLaI4InaVZwzjhq6QOL9dGO6/ChF/K+6rBXekT4dmEE5D3r8GDw9etEaNV/mHSfMVFFOjln5X3jFYZVacOcy9pJ1nhQHQRjzab2tdveIG+Kd27dwdAHJzm2iWUtZltXjp4AEjh18DCkPrTyoxH7XxuvaPaTpr/JFrcFCdVUog32gRc0PoB117LT+AwZJMlcqUJ7KRr7JFlh5EdSIhrYt2t0bvisg6VuU/s5lPlDL5/OnAA92fJ7Uv2PQB/epLw5bd4q7gSXKpzpJ7GWFruW+tnyiFBxVAxrMaEeJZjua1GmdQp9Z3COur6ZAOS+RGpkcM0ZFgvntruU+qCZOwgm+Yd/nNupNqaiZGcBa7F8cGxJp9pFlBs9t8ShrDlNRhIU1gACjtC5/WUl1BHlMjozALe2YnAwomca93JO97871v6oVwoAjTZxtLG5fQdt8DNM2i1hOG8zwblt/64yLWtw4wgmOg/3sAE1TwKang+ARqIOScJcRE1RJiSQRiq6ICjTLTNTQ/wlhTZaIzKVwRslVCxyGl8gHaP4Ycc2G1+cmvzvvdXzLapy+9lZ1fKgNOyFcQPEfBCmzlTKEDM4tEsWgFcaPyX2oPEEZZV0WZIHJJVk4w0QLcND0TV0UioyHkP07U7a8eL2gH3rmqgMacyxCzTrM5aYXJWvDGqadspMA0MUzYUVkORLJbtsI1eu0FpksNbC9+u4ak5B2HTRU70LE+njguuvOusYaGERkgObyxh2aOr9KKNBREkGXiQIDM7syGip9GZiwKqp87BsyBiu7SKePQLCrPq0uJMOiO7JCVHe1Gfi++MVVyBdHe0KKTaoXOczkKotR3vsiHubYhhqeIJpHPk1euFegeiBju7YCbZPHLVNq1PSpIjQ8nF9u2Lk0TJmB2tDySHPyOHpUnoGE34WkItQSfJE95/NwUEleNBx+DRhXRRP9n4WViYEw9cp74boceKZrcYuvNsIAaDcA0oo5jhCF7j5gT6DA0mrTHPI3fpqUf8Q7LTPinSRrigTzVraMQ1vLOw9a9zvRg5QUm1wfsbCPKjNwwdU9wGlQ2OTyfaXII5mOV0GPve2ZSYt7mNocLWezaVCPQMP5lRZpkxEQkonHYVn2NoZ5x/4MywtU3rYyfomf3TfcDENniP7bLDaguIyh48HUPkebNiTy7b+OIrJ24nlyCL2Yl+vSnkAL2Jnnn2QkxUXEdHesfNj3PotNMW9BfKpr8JUF8OS25Rp9IAgPER+0xH0kW2jdXmHh3xO4073CB4rcsWY/kgn1jj21cLNYHx2nFkN8aks4XuOgJSuymSW6FERtIXcBgb7+pMW5B1NnuGbJDVYDDsqtXgmW4wICh48dzfG/o3zxYi70zsyrT/jAZrBjq0+TprNY5xTGnnGz5GD1p1n/Mig4Vs4EpVCnFuUVsvbHvnCtqiqEaX4osPgWDaP2Rxfp74/2v71yrHw1X89wyuGKSet/Vu8Fb+cLPzdh972L9lCIEnezp2Gfg8uXAIxEZZ0dFHcOuPYacqD7OZ4Kirp+kEplcKeUiDU1+5PeFZFJy9qI464MZn6aSzjY0t5qeobGb48Pu7AuCHRTsHw+lJukyQoArquzOgNkcx38xlSaOtPISB7GYGFISVwZ97xoZcbXAfWisGG9wXBPn9ladqsho1ODW05pAHRdGWdjP5B4jonyzuAPreQL1asy/c2kff/fnxiQflO4PIwIQMopTEh8/geL31P6gCHd+RnNzLeDD5J3xCW8L7Op8BXNXbavvN4k4O+GYQ71ci3oYtFicq5gRXIaskMk9YljkXvkJ1NkcYGOx2Ga010iJTy8SHD4KD+U6vd6rjSDyCRFfZ7AhI5kHFKlwUzncJNf+WaBKqaDwGAVaXPzGUKcEO9lCyg7QyJuA/7+ZLFEEnFMQbycdAtUmmGxGUCyc4ZYVUIW04vllHatcrJZmXLCj+4lxqBFrAr9q+tD0jF6TmkINIXXKbV4UZQdWQBvsxQufhif1ot8OYhgensOoD5MngoAoKBF9qYZWw0SOpXXcg0fgwnq7jNc6D9w3PM2BgN0xaEc0WvONnvHkxRoHJ+Scgxv6AhVFV1ZOruSEUjRbW6/N692pNW1tjJJt4dmCObMSv4e4pa8wPpjk7xprK3ZJpZwBdqpw5M4CK8z2L4JHuPDKNSo7buuJKQXpEWJLWsMqRlK7V7nDL3hy0jv8iiQ1TNHTbBBInuaDp7obPIfnE2ceL3Ufd1VRtwCXVvjOKYnZWvuRnuSptPbTMHZKI2mEHHNfGMQWIGYBE6lHqfHtCdjpgkEOCC898wCyqX/0jP7S1pX8LlP5ifJVkjgs6l9hbByEzVq3oLQZTAREGQi1VGXvmq5YSvS2Bizu0kC2YGbB/DrGl8A7W6nsupY0ZwUYGxoNKD010A9ioR9F/oGzyvLHXYTnIdBpXhFkZNaeGoCKpWSJwq+lOCiVuFr3sixXUNCcrfTn3Ep6chZM91h/ZbctdEwxX/8lIaKkbTF2IwR6I049Ud/UNEpXN5mbOBHVnuja/SEbvO99OVzquZAiOc4+8L0ofRN/fy9CDhw9ZBmC+BIDw/eKxzSHWixYVixUbsK3OBcHCP/WOgQsWsPeYH1dWcVOnt88YYyQa9loUiKw80DG66uW3rm4N+vy+PHp2nS7udYx0jUxwZ1w1OwIepunY9PeFRHIaP2JbIKmg5qsgoouH2VnaBwNoOuF9+O6dt4pMVsKspqJx4Qu4gsRsLMGiqImZCRARguBWfLlYSJuJZILzc+cHLiVmKTBWI61F4Rk+w06j8FrUrepC+3wiablAwToCdJFUHvpE+sst1zxUZXyMjVTxLtz/9XlzyTdwK0mrpJt3fZpcLISdQLShvcm+hwyjoY8yT0T5pTI2nIhzTjbqD309VrDEvrygtC/ozZmKh6GrPVy3hMygOblQTI3xBqiT4uU7qfJaMbvVjLKjSVbDR1L+uKa+ZA0LGwqXuZf6vwdE8fkWszOtFprRUffVxbOUHpBcOosV2VR87t6G1lo2uuWXtQVTT/BL0sM2af3Y6HlpkPPefro/ex80IOaP+7XOFhi2P9/qOZ+2XpJyvwHhZIoM2P3PglFsNSasXuQHxEZGLpokMxwajjJmVf0tTjWChbgF61w5C0e6e+Md7gZekmsU7BwKU3kJq97qiS+RvEoKPlerGV78A9EoNmpJg0zG4waaWH9oTijJ7r7MGzslq/UutLYeg48RjY1LErSOuXISKMBg2WHMzAsGwN2zQkSnyfccjzoUJo+Vg/8UThRu94r1yx+fWaVREzU71WI5Ptyl+Onk0TasRlJyIcM/oUKvWHkIobw6b4/z8A/NviA++cgJqHztCEtTD3g3i0iE6q5cNE30KfB5OUwvvGZmQautBtJcSHg3ZcW8Tf6/t9c7BE8KVfEgZkeN1C5I2/kGJXzPemX62UYszyGDphkoezmAZ+Ezcu/U9d4A6nHOK/CGC/aVA15syv3mbLzrt6GjxT4avQ2Hyie1yW+E1orPTkOLwPbc3BgnrCVspmzINUk9rKe+2C17lnz+1pJRcr+e8uLBPIC+XzRcr1lzkFVxirwNtL4AyNhk3YRNWiUGj157UaJkZqdijdNWBjHBLjcV53XyJh/K1YuxYPeBVE/KRdFBGdYjNUNAXm0BvYPbnS9+Jke/tJRwwFvric3BYtGCLTI1EYemJrb7w12tlpTeaXVRIekbsdKi9B9OAT0dg/79hpcfjQZUzxqbQl4WOQkIlZQmXzk6nIWr0SFyNVGm/cqCFNEHWB3SC6hEc9OEfUGxYwdvo7UwleB17vSaXRVzFnCt8NWF+1eS0hdcz2jRcTqh2Vod61mGtFk5CL6C3qWdP1nY/S8yZN85ApTmmvniA7sXcvIbbkT1yl9I9wlUn549h5QSMqZ7y6o9PrEUCeW+XHLSZNhuCEud2F7dt9O2S3ONCW0WjAEDtHIEaLz8E/rgyxpT6jJjxzS5ANakf1VOaGghKufktAd+6VXEKCEm+iMmIcM7qD1fgfAMld/bAKlnMV9g0gsffb29aAgztV3wkkizOF6x6LlY4gto0TfJ6ZezoPZBwiuu1ZMS+A3Q+E8i9SGPf/tosvxvreNoKNLEE4VxvHE4QUfadtitD01WU+vqWlleagkW/sc5dlv85VrGqE2jhqExyA07LHeE3rieZ0HGllm/gdIivBkTjpp0589nCaTVD8gknAtxbk9C+lumbMif3S6DS+3Yp5XZ8ln75nUL1C/9YecYbhAYF6cZUmHUzWs6xrUeaZ8UuwqMd6uoSjk/8zPxLYGhXnGCQfUh5iWxTT9EoOgnx9CY5y7O0A0qfePU5VJOaitLaXE2aDxAhUe7gdWYH2uudWcZ2C8X0P/a7U/Vc0hfSzUzoAe2HtQwYL6L5NJoKk4u+WiyIC9vbPg4cDDc8p8F8YI6HVzrjYK4QxpA1RXdNOJ4ikD216cInvWpJ57yn3e0/roHJ+oVgm4celFrrfI2GWFl2MkITfFsfYqmQo6PthcQA1dDj6MXEvGqISUUuyGqt2Xh4rOw79ZptmYrTud8syk93ZZ7BTEcghYsaR63uCbGb6jybGA0x7NkVHBCEX6d3wDWcSMq6x/UMd7IJyn8ByxLOOD3y8fWq1smVc/17xgV7hPD6mDA2JzePdGryoGUeh9ByHyivBEPTGqf5sdYvTpKjLDx0x8U0NfZlQGX7oRBuqUIGWTd0/P8kGAQRXSOu5CyLqy1LfzDjq6TQj90UEkiQq7I3+tQX/vi+df3SfxgF2+tFgwj2b8F4yoxuMWszJS1Swp1kQ2Xcrv0sCEK4jCByv+bcgn4cUZn7j8GehBcpddh0WFju8x/Ju8WRfkBamI34Fp29jnA943WMHhyBRGKbFh0uS3YwiUocZyQ9pGpOl0X8yzKR6WMCXvFriOYaMLr7mtCptxmIU3OuAlF9m8ASgZVTzJdZ6QikbtSAGw3ASI6vV0/9oP4pfvARNqrbbNPaiuzJQHmYhMJvoE+UhBcjJDXAvata3ENlJk4E7hz40lLfJAY90fZJRcjy8w1iQDpDMj6lqdcOYJv/uKbnp/OFi9wQRTsJcW27NQMZhrjrbNtJlXJGVm71uiI0h+C7PZnEZDi06BSYd/g9TD+dQtU6hX/nV4HD8ccObTOdW+WzNo3qNEACuI9YxRIEpf+6ugDuw8pD0W8Wkv1FX9S5yKDTM2rjwU12mnPJJcls1+rtjGeqOUsjCl+Oi6Q5oS4byB6pNzu33tu72VerYDZR6RkJFLa+7kzxatK/iB1i2rfZ/R2yTHp/lgw7BytFdtzu0AxR2MX4c6Zl7Q7AJOJC7CB84J/o/YX5fIwr0hDz4vhDufoA8c7oKQu+D8maZ47u+qZ0WIeShikMOs4YDRC+dowZEXgTLLhEiWsc0Y4U3gzDy0IvPvxmN2m5iagmRwvfKUUvrRAT7RH7XWN+Es3MYEBftkoC1CTx75nfjAYWJepgU5PSWDUDnLWF7IyWla58OzjwNnjK0FX23O9wfOB7p/31EqP2N4+q4SDtKkK/e/on7FowWWBQdGx5GhUft37Msz3O0Zb6R26V9Kh8MViS9IqkpElK+tLnacxV1FwIEVwyAtUlhKBbAxL0XQio2FrSTcn5CdX6ZF2hwHk1L/hZy/pfuHGFEhaemsc7qI2ZV4NVg1e2+Wa6kdRgqX32Jx3tQ+DATI8GLHZpj56aSilL0OloEcIIvy83PEi7TrRREvp9+aTvoCGzZKv2JDm3DnGk8vCf0AJFGTSzY4QhQeqEp1/uEQOj8FJxPD19v05wZuP5YH6QRecsNLklyCUiurDqB0ta5gB6Y5AWnbnoM7i3Y8palXkivcplBEErRIOQqvckF5UvO0P95yK9pCYslYtn6EPEoNXemekgSmXckCpHAfT0W+o7va0hhCrZMqLMTqpmTyIsoj+nqGURUxdWZM2iAUX9T8usnMJ5mqz8nsItpaLuKiL4SDO5eqV6ISNxMHvHA47NeGdzPxRrc3E0MdyCmCtrn4Gcl1Ve03VvQe7vlkjZvztm4bDQqldJHQtswqcLIEn/sBFxbdBodwMd/le+oYs+E6ZFrinfIbY7rUoio067nrWsAI8e/HiOHdPrLggz2tK3YgPczOaJAD4YAIRqcOjSeYWNW3LmrHzG54LU1HZaPqiLomEtgedcs701FSBSoxrY+NQTh/GGlMqiKyX8ycRLro3MY7OWXklA3J3xP/aQNU1SU873MSSStLXumMuRldyH6QbL879/I6UPHn9eZ2XXaqw5jW1UYajEbqfoKBEioXsZ9lRVvTVJtn0cHmHfFOxIZs+vQfihknta+rDW3tPASyGu9bcmkZrx9+31EwvZAS/dGXw9gQH3aV1PXWPl4uvZcAncfryR8oBAg3Pyuj82igB5QhGmtkV6PEKO9wrLZBSn16WyDy5SouPoqTjcxPHdsVV1DYStUXJcjbZOoKfHciPNo3+0QEJ7Hm2ZJksd/O/GjwssYsymCqn3rn4gXpkCVDpxGgDk8/SMBkXxZ+3XnDj1bVmVbdjIc4DTeRnQXExRUlVIQNlMf3vLQyXioA/7yFMG4ZRzIMH+E0UPAOj/fAyHIWzd/58qEpwpflW+MoJfHr/LNAIGe7ADbnZsnF2iD88AyCHLBLl+qmxrcAgNyZDkbCD85tBTQSkW2+kHvEtfx/HEmeQ8YAN+zX9yWe2ADe9sY88W2yyYGXxVYyqnKRyZoIwpVL6+2H70OycKVtoJcbFC6QjQdmUfXmdCB42WOYbkEzbIdpJi3+281PcpbsWxUv4ieRo0uWo4O/e2E7XIiwVX73jDcY6ApOFBiU+FSYbM0lgUz8lQTlmT7/duz/JXiO7mdlh6D6PSW5V0cO+6Mx1B2Lhy5eFMhYF7rC5JPHHJZLfwVleM1+5tmzI7Q1msDjvNcVZ3aaUqbBY626o/toSb3ZB61LbgTWZm+IJb4fUz8pTDIzSJfTLew6ueWCmxr9FlUFcl5okjOkq/5kEC2pgL7WpSwnftZWxF1U1bpdDcFmT/LzVw6iFFwViJFkKMi9QlDXNE1gxxyh0y63ovaFsaeoqur6MJIO+aiIbzlSZzg8sPFIw5p2uQ/24mQ6JsSJ4AUGAIvdjFDfI5KSDCqp59m8QSpd3A92pRbDFOP/rVwTzMigk/hFZ/ECWK+GMMq0z8zo5qkw/x1WF9MrNdfQPlPGl4RNNBhdhRuLLaivTtJ2tA1coJjH9vFFKG15cOCrFHtjXtv6JDzxRRjOPS1uelLY3wAPCXYvRZKqvuce02ngjavlzM4vZmxKJXkOt6QrsKmm0B7/fENeHriWsur3qN017ggZSD8F3LDNu62JPywslof8IQNd/1yHNEwt6HegIp0CmfhaoRYDJ0090cMH9HtuGkFwTiVCSwm2f0XBEOx8CysbzVF5req0qc8Ht4jlZEb9Yd3q4h6i1tbFR9EuQWrZ9efniKkSYCi3yR7TWmLIT0On79ZBww7I4t3NcFY8yH0m6SwDqYpEIUqVPJIOT6x+2lDq3bQDF1BPHxPFdicK2P2XirfiFjX8MSS2KjgvrMk7gb0pSEmXZNMHHJiQ2QX6Upx55sFAdlMTo3w9W5ZTIdFWBXZv8JLclMwNUgmjtLKDgceNpM0Ra7Aksf9itGEDq1BBWQr06OjNqsmATuojkl+SbQmRG5D0YL5Us01oIeHy16r5KuLxXOXPkQAIE8rHNdvGQiSI6Dos+F03jryw3We2Ung+ZUfIehZVDkmQxZ484Shm1sTu+lLiRh2krWz5fOgEGn6guN5qZ+8WFbexsppWyrZfSWqB0pSDpHhHplmKjHQ1vANKDUiCXUWvyW6/zfT4fao+Zd1+rLhIIsODrbypCz5xuSAwktB1OWr7cA+vyICF9Ce78g6Gmj+nfybtLYZpgNAjqibPvk2tiwsSnvIYvYqcifzbP3BOLFNVb5Pa4+gbYdFAeMbYP2YUqleoFK40i4hKxHZcYSovhgCrUS/9Cja9WqQgU15dPOdvnd+N1r0HrammfcutdE0O/8NCrYmrkEnfyXs0ftaP8CQPb6UN2qFrNAP7CFWOSiEiyDVCpAeQS8tLuvTrbqZWezEauwcoyPKGFD1z4TMNLvjOhJQ4t1cpQfoEG6REBSwu3iLzcPKA7R89Rc0tEds+cLgr2iUUB1/+SRhLtJvDRXBWk4UJeFfvVr/sDWPabuSERACumCKKC9kHzkRsaWPpaA04cNrBnhvxZH9iWYvo3iz1y4+01fdpiwok6A8bAi2aUELeRdz6PCZGf6PzWQXSm2dbATImsYvJjWfNgGBTg5HOY3KZWCXx8iH+CDvOHegSHojhF2vzDnVBi6NxAenOPirYxTlyfoiSL5DQXpKxqMaEEvYvrTECDsVS8f0DI7PLTTcMsWllXcu19FzeLfSRuynKiFARmxRn57R4S0z1ICyqg2ARw9zew6oi7ImWlMqbBQ2BnNMt5hQHSNx6LilfLRopS/2UKOlAK2dBCJFyqMM5WwIR3Dv7JAGBVp/Q/0KdZC8hNo+tngn8TC5NQJP/vOt7yPsy3UtuZ7FJYSXMlELAlLwVDuMedD2Pxz7G4iv4JeULrV7pbcUvEMD625L/McKuaQz14ItKnDcBaF8ltVqhBKW5QRNzgTkc2DCtpXpUfsAgBzmCyKJaZpCV33Z4eTCPiHHh5FJESB4yZV69AZXTXk+4jXqVsJaN14WhRCmVcXprCZ6p+syW/G0G/BtRftvlgUiTPEvI5N+17xefJt6v1GgMoodubf/9oThsZ3nW0XEpk6RMINn7kBIj60KwJ+OEPxkMVVXTGPJ/eDVv5S5fab1dUGBI8caqDWiCEBDZSXz3tlcT5oINmQ9O3fXsIcRHKvw97cWSsvFiUIfKHMAaXJ4BoQB0quhSf1Zxq9Mrno0rRv+ls7/iAOetwDDXXEiARH/4nX2jiETj6RFGG96NnMnuB6BEFSwhrC80aQLH9QqXJLLUoF4nTPbt2o/pu+M0Lt6JhGHj/Sn84cvS2GRA14pfDhKZ6nuvkVo7yPZsGl+c7cNCtaIXERjqapgffW1x99eDeHnnBeCu/R7hUJWDEB2V7/Iu5ozbEcejBANOY9K7/ElCcNDH/ljJpI1wDhv7myH+Y1SQMavfILNMm3IeiQiSC62L2yJEeV3OHsJGQYaD5Rqmom4yv/LcieyfV8NYZ/KjTuzh0e99wSHJeFec9I9T1BO3fHc0GEyR7EBSFSHHix5Sm5eU1BmTjVYGZDVXf6d5JmbE0+eeVsis2yfus6DffwtF5+E+tr/XYTGgXWqMPJQjHY29F/D9/cY7Xl/5L8jbp5mSS0ZuupfRGS/NA8kAcXQ5MpccabTFXk+iOLhGb14t8nWctvxOCHV2rIA34+xxoXyeDYM9YB5QPsYs7fosj43eBDTLarrIzAcrRcxsgQwW4WCqAcDlD1H95cYTai+3CFJGDJ8bA3hHQD1F9W2mkDBwl05wrmdDceTRzoeWV8vIK7WevVeM7E8+QDhSYwMHgo5e2UBlxfz1qt42s8lXY+dUhza9GgD6xMyP4Sp523GiKT2Atrf7JoaterY6glcDZCz5svH5GPp3vPTH+EktjYpHv3PFMrcTopIT6CFAt6W9FZ5YmKbKt+x6jhgXX/5HUJEE7AuRkMFgepFaTsHhWiPK5LO3+srvk9lnifsjM/M9h5UEjYGhJ+lOAkG+CguLOTWZpAmp19S7/ZSFX1fNzbczASj6pbAJNgPz3MCztIJVdZ8T1eS0JhzTLDCJO14D9yKVtNjc4UA5cM31Vq9M60sKXn2HRTCKA2BPZOuYDS2P6OrkGoVs7FRsSkqB6Q8gUfukh+K5BKofHwtVTdvBCo3LMwAMCDUekEvNycV+ZuWtQ8nS8BL5AwlrlGWquUtihYX/XHugGcM3gf/lZqQDCGEhkqklwOOrgXxLO6kUk1nLfHugU/S/IU34HzJUr/y7lBy8rkhn1/pD6mWIRhzUsGQnHWi298YeDYETMY4QvVqaF5yacHdsNiz/PtLv/m6/9NTNCHRoGQU4Yd4iw5mblQPxsmyVZ479F1XkQFQWyyoaCPmni3HtPkshEXe38ZGQRfYBFFA/pAVet9vFYLBzWZBUD0989mntvBVk/ipiiC+QITXYK8HTFZDttb9bNEaMn7D/OlVn4JCypy7i9nllEAEQgIZaTkAxB11bhQQrhaSfNeZJqx5urqsi3EoYgyNLAtfj5jD/9fVHPrYH/VBts0DEbOXR6u8uyB4ufEn5GryamsV4nDfPKVl//MPUETDRroSL2S1BvPVa5aamB9jEOpazH/fJcQAhc+aT+rFeW7qHXmMZv2R6igfH2qKDE/cQlVMBmqEDzDIG1NXj29rWg1UTMSUEic3hQzSXCY6rNXEQUEgttB495/fzMFYZo7MuF9ADZCXRf7lhpB4kFdMIaO48fgW3LSIQROyHcnwNRJtpJXYXK2Zh2m5gQnU5UieRcYbO+ur8EztgWwtha2lJtWyJ4PylAkhl9mvubLNUDJaUsPWJeYPlVHqzUuQmASP3M3GC/vC+6F1cUjP8LWRWiC/ktPRMp1tJO6DXwH7gYSSNd2yFasQ+Vu1mrYWaTHjZZ2oAMjEnypemCwFsjr+GHUGoka1vyzpXNNYeP3Vf3nTRuHCv1Pl/5NDJF9SGT06li5ver8XvogZ0NiEy3Rh5lQqxYuDKpqPjNLfJtZIodQP5VT7a81eDsfDT+Pt5wAWoVzezpnEP+0TH8tzRTfiil/Pq1OIm+j7GggwNtTuQpt2vm7cn1fck0NHLqtwChyNBH0RSwGpt9Bpdtxd9nJQs3XO/9T8qh10IVBId2oQYdHCj60ntfY1Rh+kIlZv8E6B9VsEh7xlgOkhL0y/X5neczJLisskokTvPiTk5Mv7G1rIkfnZ1rgFenXojFuchm5IRD3LuG6TquLoJfo/yIUQAoNUn31tniMJ57B4Mvm0ee8aJIsk3B4UePnJzN3yODoxBcvIGU/U0MLDdXy27pgXCjlDklE952jY8xdr8t1/JJDwpUgKAlr7F8Guz52h68pY1xF6D6yTjEvL3TV/Qo0uarmuAhVAOaCCjxReluTGriCkzCUNKFfyYaeyzcY2pSmWcQYf5hUmKUtW8rQbfESXPoEgen/0mczgwiwILYmxEJWw8ZOzLtc6dij1d47mF+9McCfVFcsWx10PHZVcv5vE1vHeyaURGIoZn+fnyHyKAu9tr3n7yh6HraKGMtTyuSyrCir6v02b1FzIu+kme4Hod2X7vb7R9KFcbZwXF/xHCsv4cDG4xJTY6nlHL3geOU2NebXzttq+ei1ptQ+I8Bu1SQxg6WzIhCFGEl3sLPxlTYy2Sr7FeWB3qAtWdumSHUNn30ogY7qV4fRhAx8r27A2kRt+fa/VZM0hYpI7P1Y3HyhyHT1ltakdHvVcolW8FUbT7qbV1N7a1VPGGmr97baQU9VgbMrI9OYeK/lB/MSQjGruy/GWLSgEK2fkTPPVvTeVIqj8swFkQZLMuvKAusyTKuDKjBwgU/hFfaIw1Omf2uV87ItQVY40kqGrtTDyTwZzcnXiwU9+mi5bacS1Wf253ckX78wqOFmU8WSLqhBmAsYkAciqbOYhVnuBS2k+axHF4XaGf8KYJeGvuXqhWz/d9mN6wKomQwrJCTC8w+Z84HCvbQpr7108qbswFzDI0VQefo6O71I7wALRReuhnlPmSA/4kVSnd4D/ug1f3qlhW4AzbdtSBfvqkYOHu7YfC/9Lot+p/n05qxjyM7rmefFIo2nq/ooNMG4/NjIgWSJCzUQ0amYlObzosHsZJeAz7kxrg3MN8sA62SEHI4U/FSt9OjKYUMXSdWyOG1XpEYOSDMoQ92GKoFIL9d2ZbHwq621Fmb7cpr+0siYyZm7NizIE9GmYsDJmhRx+r0H4wYzs6r1eeFq6xMNitmQfO92ceIn38Y3Ob1KPSWKFRVMuKUIn5pV85upf0xOfNsYDojGRPZR37iCQFbX0omNYZJbygAzn/L5duS8tJdjPJ3+S8+u/txuHlKBndvg9HkhTVAz2aDyW5DmoioeQaueDlU750Mg4bfbzwy1/5Wsq246MSlJP/dAqhJHwnbG+lAwKAWImehL6iEZE9CuS+4t6A4cHMX8Sbx+LFLdJBEnHBjtpBU2m3woZ2nDGm8GUZ6/NkIlJeWNyHfQCmCh77H+L5gtow7PeR22KSRXi/9cWL/nJR+9I7esIrosa+M4nCzlmtk6/5ZO6zCrHuLVTtPTYkU0FYpR7Plna+8IJV3Vj/k223SBcsFfDBdPg6f3rEiPaSNXF47R/qrCBa+4Jn2Wr3sdRx1XpHoEwchvzAkdkkB2rlZ6Nd5O0DBRm40TIWtb8R5ZWUNKYLH1jNdxXUe8XqVw9sAvkGlgOxg0tKTdVPy8KzxYQY43fDXnCJubSAuYhQx4DtuonFFLPe+evefshVRTDCxT1SdANnFQMWYB0YbKdKMlyWiK8EcMmD3kpVF3GeJRrlP4o6n0IN6kV3/DlEaRGCbpL75lG2A70a8XUW6AImtTbfqTwQZ/vcObBj3VIXFA4GiG7SJnVqYvWsyhnzg/KokzmxI90s+BEnVP5/4PqHb04PNLRw0xx8to1dN+/fojMws4NS/VeaaVbIwWYzaP5PUEPLXyf8awRvi4Jg0IcOFc6AfFKc3vzyUPGlSwg6+5F0tJ5mVxgdOwKTFjpTXIOtIAKgv3HQboc+KDvek3Z/la4oTRREy9QYBPMTzoCshRBtZF1nJcMfcEP6Y4SNOSs0ZRoyzXzbcYAFvS5WE7yBBm4UQQIVXGsiFY9NGSqNy+NXwkk3Lgevt8qtZoL5pEylK88oi8YSAtvTws5ee/QTEYdcxK/Rrq3iwciDT3bytd3hmdJb1wjPYX9Bd52HJDW6XXUfL4MgdPpbRdFI7pw4Qi+F3Yd+h6/Kz0sj3SFnm3X4ynp22O/Kf4XKRI0WnBvWtk27ndIR39jAl6bDdx8qaBcPK34D0ikr6xIPqYxbVu72raEIqlo/8bqbM2Ke7ODGugP4UjQ3RXMXmYDaBZ8Ss4bAMkIURZG8fBLvvFsuYMpN5T4SP1sN1oPJgCltax2u6SN0eAAbvsUY8Ap+N77HHcBZee9Oy6U4miMsaThO899osF583oyTJbeiN+69kP+bTDfmfYzCRgd8BK/E624Ocb+eyt6FAHLhh3Yg8TPBCLNrbTjlbDf9FIQlH0kjoUFx/dBj5QQ6xt0zB4kpfcsit6IUfiXuD5fIj4/o4hYOORQSIARdcBKyzi8a0TMDw80x/6NDjBLdx4op0dwcOOb5ZgMsb5U7zHJ2NuETrTewXn9xW/ENhACHWmxJfIR0X5DQzax9S2vBbaf/0vo0nU3LKT2hZBH9qxjNzmQLiH17f5WaGW5gH3Tx1ruO+pa+AKrmWAR5m8bVY9YfirhhoDjEbc3NGwupWCdox2V2v/QHOS1GhvcrQ+oRJaJo/w/LGapLlkyHDXEkPakJ8MMfVOpOi1Ov1XcoXMAFfpvtk5otlpC/v5oQUpzNz6HToo/OStANmoCA6glxvmSFVIprwhPEwQaFhes+xcHXXL8TBvz6ft2atKVw9OUx5B2pPBbH9zMZj+oJE6a3lIe+1MgFcuVYZ+1QOcS5nD9VeID0yYD/s4M4euKrVJmLGwSnWLDwqi0AQmXOpZ1KF7J/WgiSVKCWTiLIra6Q/50c/k6YWp4K3s+JyJnP89BwO8NciWRD3RwT3SisYKVxQGcZKmo67UpI+eJwMr3G01t8FD1m3HKAIJ38+kPTqg1M2thpUjgGo2N5jKjUQOkpDSrmUISUWr7j+QPaEsaFgFuwoPuYuc4ENLF08FwPrj94wdjJ/otdkA4vK5JYCmM6Mr/9OclElvz14ONjvT7pSUTlB4ug+yykydclL1uJjxeJ98GU7qtXiv7F9L/RGH9Teu+GaY1FufNiya454M5bceV2fUNl8GSGHIcoJPCcmieJ5/1IYxJWi/zkLk6GYjvItEWG0Z/ivNWj6a21njOIJtOwt6KFobhcyKk6lFL2OMya6FcSDpD/+Li6vUjGmUTg1b41pGeE0FoPHwqqJctDYdF0gBXXiYxj7HjNGsU5DA42RUo8oLAcjmmgKlNycY1UaXp9Mozw8d0BIMli/ziPsUlyLOqaV8ekBKkutmdno98j5nWvCXW5VBTsO+9LSQ+uKyFnW+y1gkefW9ytlQM4eUsemOWcReCBiu5a73s7Om3YYko5AbaJ1XiJ+8cx6bauIItYK9J5HbkpDKSS9lqIxNu2yUAd+9GSqyb3dTaCoHqNuDoRrdhB3WwM8XqReyo8XtjYdm+vjrw54cV/mn6j15/mQ3yq1Rzv8yMXOqTj/dNCSsArPHV9dL51V7xiPKUdFeyQkb0jIjNOiSEFI/kHjgk56R9szCEqHRAsu10ZEL5HQ/PaEkdiUZM07qDQtArz3H7oaTQG2EfpZ6CptrFXXfVywJibUkhtOlB3G++TB9ggTGnABZPmUfDKMICEyvr62ceJ0oX2S9e6JmedNkf6elz02bMSM9feOGWAj6Q9lsje1AVPhmCTcy+Wuby8B8EBa8Y9HG+B6f3EqCPpCJLIo7peJ6OStLqI1BVJKN5gWdgvw5+eVnX6Qh3d0KMFx59k1wa1rthDhCR7Cms8Ookhz5rcQ8KZZnuZh+lanWj2kgqesvZS/KlNllUHH5HuBuHj+YgARlDX4rMQgE9qDr4//Xb/K0pjRwzLjkr+9H8nOryCr/i6IVqbfh4RM+wF7fEr1KzNqzc0VKjQZm35RUm2QlwpKpunLx6Pfar4uAJCcZQbiMFVYHvmZIe3R0nIwpZdGQXmcp2vGzQWGTVTr9nXYUG651bu8XbiODR3DG95TSiN4iN+PnEywbObWPwxWiKjfgq3XnldQJESj/BHvkKLl7NKNnv5f2tpakBO8ZA3B1NYV3F1iykIbiGM56dJ3fRgQDlb/4KRzc1/bd+hVb3XWeZjeP1BlqA8qRb/9S0mjq6cA5dN4bj7U8tZ10YnsVjrTCjX82FKWzyxKCLR0LmWkUTWKUSSVBPkkZnSq9Q8263Wnowoa6MLvNDRZudqIDBT821obR3zkBdAorNE2aWfJYsl/6pZYfeLRCo+IyeS2nngtVTKfOqTydG8itUEsTbLwsxRDvKsBBAaxQKeZJix9K2rOAsqEkk3zj4fAPx4hS7J5zzcHtsqbm4+aYc81qtVJ02V+U5bLOLhu1Y1zELVw4vEJEIwlXMA1k24IeCCUMrVUJE5x64g81E+/zt+dMvQL9QgzTnQSbLZ79Dq+KqlIJ8Ui/ayppKcaU7a0QzuPZQVdoAbmgGzLgokSCGLiZgJxIDDvg0eHUhg6Ly+It89g9DBYu1C7A2IcYf0IHaJML1IRHXK37AyDbMnu1JicO7T4LTFI/K0bpKMeEfJTDeJW2t+6PkQPimP9q4ZFp/K9g5tLvJwqIBCV0P6YwHvI0Q/aIcsFyDiYHvHuIDL0wEXL+5ZSzt2rx50tUN/XbqO9g7mm8qfSBVnMLp1IiQ7iDDCnJeKy3ZgRuqFOZTGNpHny6L5BB475HM5nIQf5vYbMpzKqYTmVT+gnV61XO/hfN+13oECgc9GOx4SMOiM1i2Wa2BB3Kkg+mCEwT8+8Oap7KYuvG5+FIYedKLjx9hD3iBBb06lnsELro+Kady7s4Vh7eUGljUa3QZ6Hp/GHfYCFd8X9fjGESnJeKTAqVUtgVgTa8PJLjLSPUBiuZ0C0AECRlcWY4qM9Zrj5I7o4lT0p0IS0Bp0DmqQKeAsD0WAv8BS6+q13m8uiPgtS2qTvcxM7nBsEfCBnisxq+2I4S5N7JogsgtyEpctrTIwrDM+ZiD0exnu2ie/yf3WQSo6oqPCxkAZZx5PzplLJBxnTGb7+K7eFmdqcoAm0E9Dz++gpxbECAhO/g6GHqTsn+kSl1v6te5kG5ReL6LpLfz1uHOXT7+W499x87ryoyxOnlzloRsTzKNHD5MIFbHbLRAhdVK8TxTwZR6zLgkoj2Z190d4nKa6BGn+fntHae6Dd/gejiIFswYSAeVWlMiwdFb81SnF83heNM6jEZbG7V5wcLQN6lwbT41hjH2AdpKUf9AeqmGw7voIGc1+LRa9Gf5wSlu5Wt+VTlUNlGlffAhrwhs46XGsA+vYycEHNBNhnD0a7xcStMF+yR7wre1OesH8RCVlUKaaEmL6fZZnbrx6vCUL1VZZ1zZNYpvhj6HA2XVWq84H+gTURWA9sWSoJnAtEl8n4XByQyVvXVakCkCwtYEXDAIlMx4Fh1l5LoxhBTBP9yO/k6+zM1Gnv8Vp0+Kh/9TGszIU1/SVlmN5+nlWGz8i5s+bWKrv4QNjIaEZkAk9LHzb9qe/+tkIr9ZW0hyL3li6Fg6it6dnmQIxspm93OBxO+yoUE5ZH7dUIcbR1X3PsQXnfS2AkpUfxQOkSbNyxplwgqfuYbJohkT7oNzmy5OZZwgTFFztTV5htmPF8FKxy4p5OKFwC2/EmLrHk0dGgHCglSULIYgoTUEeoDQOqg+fYliXsvZ8pCuqX+fGuA/hofDkGBqaaPe0N4HtUcSDWYeK3n+opVBfWU6Y9Huq3EnrNJ4zPdUfNAu3wn3/2o80m9v4leoQIemGidf0E8aF71UutA4ZZTFme93mZOlr1t/Hq0bhGRofI3u7XEXArsf/5A+Kth57E9qvYUDjssYjRam0+ztXbyEsOd+NRQcrjcLQtS9glFFNz+gX+fU3jz0ImQjpSmSwxMxyjVy/2EtaBX209fm+r3QRUbDLs05HBIqmtEjlbu7nMilM6pzXSrRFaakG92+cOjAJBJ4idIUJeNOpxcWfzbpU6aP2tWaF203A1yb7uEf9MMFta35galTPpNw5jfHkN7sIwCEPqjOpZN0jQ9MtE99ytQO7Z3u4TNr5RWE9zQpO0Q8iQWd9VOivjQLlIqI4QYwYMHAhY5alhmo9CR8XOuMYINayvtvUsnAiHGUVrgmVKizxwE/4zB+xVRf3lAmfONCyDlm6lmXI7XUm5tId0P20pL5cAMzfwe/CnwLShlHx0Hhq0IS4JFxiET84KBRdqGLxIjiyvZXJ65DdxWl31u9vWqclzrOT78fsUnxt+8QxT+kcOWlO438XLOV2frUNCc1znb/VeRx/LYRrQUzXXkNXbogCSNQ2SN03QNenaFESE5Pr2SY348rojpl9sfdwa94dy9djppqBobZ241IXGVWqJ6JJEE3pP++DhaTjceVZI6LTF3UORfblT/s3n4+8HYXjiGsSstw4ncnkrYKnnLGtfMlbjTXHcFh28NyEySFrabKOGrwYR/J9hZ9weWcRyj/lOdwAUHbZNe0+L/RfAl5IzvJEeG5zMP1QE87kfIa2ZqmWiq00CdTVkmhgim7GVojdSmooyLt6Mb/bjLtyPiYrR1BrhtIqoB+dkIjD9fnvfK1rC3PJudLNnYxB5HM/8Aqik9onWxKykv+U5jIhkhfSC3hoBXIeWrXqPqKcYuM4CvbtaYXJ+LxJEW/OcPyp7aApFDSI15SsNPe4fLuDK2kldl72XRlmKAHFWMKfTCiFTuV0qk3qs44p5uiV3io3k4YlGFrSIPkIAvwFgALlEKMbzjUlV3wnsjEXOaqekKDWxPyy23Cri+fjCxXu1c4NTID187xiTB8s8luhRJI6gAgdZMJd9uGLjp/VurbsWa/O3YS1YG1m8SnhRamrZnSpP/TFXq599hTB1Rl4YOBQarM1MfY7NEXY4qEg7eyOdu9NcY6w/T7VNoNwWS0XingAQEtIxbbtmfmFCJux7nySvrYQK/EXeK04sItFq+TpGQdk6yZlGzXPH7TjLnBWzzbrMOzUTWgWYfWc/B4mtewlb8DtWr4q9AGtFkaiTvhDQA7lUPIRBHx6A2M4RsPeHuxA8S2EtGiS/PnE53TPVLcPYFsmoCE7oIAlMmGMIZK+Uix/L+V2SGMXVdjIyx/C9smb92ndlWCod4WWxpBHSW2JZLByik6tmZZnCUQwjfcC6b06VT3ZZ6DspZRWsNFFfHG2WXda8kP2uoxs1SlpeefsjodbUuURnf/p/JiAWPKy3vKyXhmxyo5Yymf1yme/RsihSFkK1I9Ry7gpMlY9Kh8Z5QXOLqBZNftId8TQlKVy4aMSNNBjAVHoJdVW+ZHkYcXJZSURH4sdiVKHdJLPyz4GiqvYViQ+mi0HumNIY46FQzR61rGWZn98VXGepPak8Z/9apok2/aoVq/6hD7icAf45TnEhwfHHur4FexqNKZaKjPEI5Ez252+ZvVBjByGB6gJ83I7YFuu+r+JBiTEsgXU6ygQS89nFFT6utLuVeRVJ+r9oBFLE0au5K/YM61wloCy8DDvrsDzCGX4zXk5GsjQra4k7TZYpbh5Geh+fdkKu8acFuSiAiJ0jDvoBV5f8Sir+zTt8mm2Hs2Lwrat9S9BujOGaVUriUAoZulP0DpZIKgOZ71zUDA6C2jfRfuqJzYzvUJqSW00Tv7XSEop3G9q2wOLn60P6F9/wZfEg740SI+xEvWUI51Pv5cXCjzg0vZUoHcEe3CyzlIjWxUto1XTqFarOOQdF7JlR4q+RgATxxzmrI+sOs+6lDF3cDLVKZ8tnTFuzrE2p9UnTW0fBplE6ivdwG8/FQ/9KtpKSVfla5IP313LoXjjaUs6aULT/L7+RTod1VFupOfrKp55o+8/EodfVNV/u+YUlIdAvbK29F4BVGHM0ELUwSrT61/fBO+1MJ4K4zMr4fLTxBF0Tv/Xdd+/Gyqpwe9zHT07HfjBPfLMUz/p09tMPyyt5/ODPKgOAqeW4RO+4T2btKMAMEmHsJTNHJ81+W97cAq3kM5Ay8tSac+e1ZvymMX4Pd6K9tAKxuqrIDAst3+KTc1iqc3YVN0JtIaoW/gt2TvE55NzA8Y1c9Oig6mzBka9mhuZT9uqpAhJDbC4y3CBNLgy7YhR+5bGMgaIcdcSFSZW1mUw9cEt67oTUCgLPR9cyC2B/kfv/G/u3MZzxNK2l4nGbM3xyAi3jI8US9Db7REfOFiES8vbZjh1ytTGpAet4iaE0ycLPPjcu89yuGG6/NjHzvqAIgdwp0p6Ryl9gOmjlrnxGoV75OcIjVzc+nDQ6/2txkoorJ/acItviopTYhuvsDpXE6dk6uKXMedG2Whru8L/0891Ub4Z7dpYt/OstVlG1P22qfuW7dWyKM9CDFItEohdBQEjovgEVTnNjDyGJbcJlj51zllegFjgqsaBK31zVxL+uTYUgd8DGndtOd6awaEjI0W/LCrxYVa8khil0DiIn18P82f96eh3P7YCqSe6heiHDrmlRz0Mcs66PQxrISheXKxOyaMOeIN6ZXS4QAGHkeX+QUo8VjtMcRsFy+9LVYQj6EA28E8pVIhnmCxEcmUowTBJ440GUpQDYgWzZVq4m1vBzaEmdciZFAkOzI744Zp/mSQLS7xXGyinxccHiSU8gctiT3JDL5JeAcc1cy/zopsi831Fprtve88ROCFVO2q00DoFrl3UsHzR/hznsqqPahRjvMLAn9x07Uj26YLwbzeuAKE1ZrgTOYrvpSgCQJQRiWum3apoqlGfY6xaQt5gSJLOPvnTdwtNRsLkGtpA2suBYK1Iaxw9wTZo+zsqeeo+a+zZm3QCLGMzIHRqq3+AKl1bZAiEMor9FVPQ1XOSGDhG0a1bKhd/+EnlVKNIxzB6tFHsUaUSwPI7EM4uzWxv5Z9r9PEmlQrXAO896hGW2u+S9CdLii6Wx2ZrvVfTFVxRgSGdvvBXljb0pLXKNya8egV1SMQn91deOjSI1APN6YZ2ZNze4ypyCN4NuJoPOD/Nw2Yoy0h09DmF1AstK1Bw748jDkfEsGyvPpvB8Ke6V4mJp1LSH5f5QtSGQsb3hDiMu3zlcRyqxNnXrdFjw4YhDbibih8Kp+cvOeUCBy1FUsKjrjdEakn1PEzgSyy1AMhydsmFY/zZCjYo3im/w4Xy+uk9qPYr3KEXVZxg070HMbHHVasWH41uwTaBhFKo8oWn01bEl3xgCOw6zY+e0Y6/0+59bxKVpDJ5TasthqmObpzJOuF8C4N4FlC51FF/+zyKY65OwsptzY7UP/ebV8cARFKoIJu0ev+1dt/Szaf9ni5cmJpNIyso5d+0XHYTs0SwAJlvgDSB+Raf/tdgUHpsAQjwA4jEj25v1IsXnrx9WU0rTFun5uc6bo5ZAkA4/i6YzbtVLwHZ1/7Ngr2CXfilOamLyz0dYyKPbKlJXKwIw4HF3/H++nx/iG78BmZ3OqyXg7v+EIzY/MTDU5sSzELmXG/n92bIHp4esk3gJBeQ1E/DkX/0xY5eq+G1oM4GJ03JiW2vwb6FR5XLdnGG7qlO19T19EBcVDewwQkh0WQDv7EsoeVO6C9hFSrivcj5ktMdeEwTkHJkLyyu5U0F8IuoSnsDG94zUSCPbI4q6OSc1qKfP6OlDAyrD5ZJGU3zN6Wc3Otzyu1fdgXKuo+58tUar46R66v+BAsRQ5YafnNvFVvorhD/Zgw6dIy8arF8Tj0E2yE0sOkVu1FhvSxtqFDuzfvclHWaZdqNDpYsqFRVwQzyyQBEruY/vZbJANMx2/SW3qIoiOHDKujhcQfaelgq0RpzKSaM4Pgp36CJ/GevmmQgUiovM35VeZmft4Ac0FL/1GcvRA5NTYaXKMT3oA7AAuswXFKqiZwV5XPC8h27TG+UWc9hoY7wabaQim15sPd6rlMioZxqb4lMBTqyRuEa0RsBqMAJgOvUaXGWZI6E2L6lG3BvBEVMh+jyKfgGWHRQj4meBAR9nVSlhtaiJXbVMITqZjmF0zhwXxrq8sgTpe3Xu68ZLgwtvuwLujgw3//VB1V6DGbLB+9FGr/nFZLPhCit5TPGorHgoM9hC40xLZUW1+nCbDRZp0ZnRIYjpDOBT+jMAVKhisil01mSnpffX99TAowcgfZuv7w2ouvFcOdNfG26JdA0sKWwT54r4s7Vvsuvo2XJiba3vFrPd5szpyQQajl9PcD71c+VYFcg56KAvqF1xgIIaDtVqM2+pdUpd+IzMrvRfXW+CTHsl1U3ArPGrrKrQF7LDaMgCdZrMClE+9jEiK9ckty+S1agjSc/aUVjclCVINDGFDamt8x+/1AlYUGG7J8tJXhyV34OwC5JCarD8omNcKNqSUju3HRvgsTDHq9/urGlVu4uplBAqMKlyuhUWR78e6cBRM/bLLZVeG3a9pvl8Jg1eggJ837AR5SRzrahbSmOdv436yzNvAXHaaAhNHo+vRsiQZDj3OcbxPdjYmUjkI630nPRLOr1zFC40opXGUkNrDF9SlrFJ9jOl/AaXUzn3yKl8MjjGb7xRJ8J0h9qqiIV1yaqySEMqpBKED7CPq4TartZwSwXJqMNr2SHUbGJX29+MnJrF3VpklOMX8YRsjYS1qhRawciQ5T8ZrLxzX8tgqHCZzC7cnV/inOSO4LHYAuqXz877xdaEfTX537JLUxiXOyxzKuxJW00aprm2Tu2rAQzM4SGZeRsKmQENBc0ZObP+8tgtA5w26JmosMnDAJV83nfwUDPa4OqfWKZzzQoYJR/dtpOBt9+E5CGWLpL5VoHPHN6zVUO3WpPjEAITLpIl/HOpiTCI6F52PlkdpV4yD1SvPuHP96x+OZP6PmhiLRnrf13sh+l6Tkp/aSZyDz2UYMVVLFBGbT+pHH2WDbS+pTIBSsOMIL7aJ4NZm+JswHws/RXQy0/f/sfvXy3P43qlDXdZ3F7RouApqXl8EpeMo1+SR2TJSG4eeRQkO2aHOb3meR+5mDgNSG0Z8VsPVTLvblrM1XK+sMjWqtl8TO7T2A/RcHlAmhDKz6dwSOwzOdRfLi2glnRBjl/CUbKSeViIPOgANG0xa5tLbPLvReXel7+lVg//jKeP5s+eX/yFGlJ/f6xeWHppL9sZuCIMpKQz+AmBkfFe30woHo+kN8gW4Dri6I84arkVavyE7r8BkKkx8UdjJo4YPXeW3nwW2rVNeHwbRIXde7iFCTCgyTmcjxLyW78VCO/4qm2kjG4U9tU11Z2f5cNdActnv1LS9xHLCfHp51rEkYdpX6vKdOdLiQfJvjWXRprev89hwSs/xqM7rmscWrkDBNbnw88MLs0U6povqv0P4M/tabQDJ74Gd9YiaNyfuytTaaBzatxnqUwKD3a443wFnk5A0nrmLV78fXO9AyytJjod7wsggbmx6UeCHyTZ96OwuWLZknViuOIOM5PpjbZkTGzt0rzbzJeFVbidLWOmEX0CcJiNtwz6ay3RhekHmh35dUMf4oBIlaB8dGvSuJ5OP8ggawk7hIv2rcVJfxJPxGw8IbEhus7I6sIqRMC7YJr0l7of36Dba2EfggfIY6pfNqV4RFVupKOLmHNG47eB3tHty1hIuOpDIpc/X7voI2BBHx+kpeIlBvptUe/6RONzKXBqKw+6LWFLvJUkBIIcz4r4HDjpKBMQg365As9tkyMsIur9t3xkzzQM89Vv221CYfc6757kGpNm62JNQWiOHr2sQzPiE3XN5bJhw1edC82rGDLq1zXPAFr+2FxkTfjsPYx9sn5+hqVUd+jOQOKRGb3fSHpYa40FFvwAwBs6KFhKGKAwPPGLMGv1RM1YHpT2hhKVlh8M19/7Svore9OsHQTkiklpgioVze2MkWXXrvBAWU1trtI4AhYW/01aiq+4NOAVHjzULmG4sQqDTkj5Fvp9TzonKNeuwvTbG+zlFUvlf9VFRaGR/tN/GbkJ5WAKllcAzcwU0rblXN19qaB/sw+BiPcggcMGkviVZozymoGi3LB3U7e+OdkDkVpbs/rn9ARHzvq7xLOu9sVnbJW7osEr3Ozv1t9HoY8CPEH7ffZ5D4llEt7DSWs+YMJopxqkbvcIwzT2I8WfvpXlVVotUPcHoCZOgv7ZFZpWpxiRFouOqTlNuq2VmzeS4oZf/kzKYhx7Ivp7HKM+k9eO2htB24b7aP/sb6s/Wb5o1r+9ypvUv7YYTQf/QwSwwpHs/tRvEdXIwD2FpA38FzDDn1ghoKLKPLHqFJvYrOLm9ZznbD/8BDzVS4yv+r8lfcGzsT8AyzSzv3RQXzFUw9ILc6Hnq8+8nYe6zZUxX76dgzfsHwijdC6iyWkd0tVretDUlJMN/kOOZyz7qYo0gkwQbZ3wKf7muV/oga39Vmw2WeMz6pTVncMSuc7emEIWJOEbXBWodSReJ81kVJqrHBofWQAa4c33AmLBXHskzBJfXhVe+c8+OT+NffuT8h9Np8UTc4wvo4fqknz3iukO7GFpavJMQgx7+os0DkSF5w387GzJO4UXWABWmlZVxGaiPGeCKU6SIpPIqLyBRqtCjQL/N/Hle/A1rooW2D8cQH2P90oxr/JTRdIHCT7JBJs+b0CWsUjA/dRYAkrpwJXXNhCoc6VpUh77gFhpbZk9AguKHaT55Lt7vdJQDEAEjernullHV0mH9CjrDfjm1w5a6oEmjonWZRepL8fL2Z3chZ7SdCKQ+xRP8/iznlIKsedv75xtY69QyB6zNMFtY0beiE8ivA0uhBlx4vqQ8hRBGY6bwjXnX2bUHkZbUSW87EtDEzCwvNw9lX31pvPEDAVqz42kuhGjjN9XS49rdi+VIX7hVAsYk3W6XuWzBjLFmM/un9X17COPAG9cqEUyr9GxfFdEH3ue394V3ubRZDge3R/tfxiZwIFmTKvE4MNG1C3BKUnbCcEHtx1zA3zfjz+O5y6cHfLDlC6DIFr8ubKChyN/dFZ3c79DXdoWNiLaTG80RY8u+5sU3+lxyFV96+DDMBjUaAhrZja6NAW5FMS64czNZURJS68UcJ8qVrElf1KPveg1pnyia/5iUwt4E34pN00rA5KFUX8ma2jNlMGkBRTkaZuoDeYZ0ku+Hr7n8mgNvB8dilVHBe6OrcgZdphKX/cf5iZ4SHylceGrJhNMaoiHRQ6LMOeVhcUsw8OjAzf+1J7JwbW5/8EovxojHZkLAUshDCHWo+BSFvaKEVapnb6121D+q9FdD5ftIYM54SR3Ed00NKJFveaFLabeAAKH4piKDCDkcab4KiPMo0M4Egc9bgYtCqlnY/G+kvWUJj7BGnOawTSlZpwfzBMfl6rYUhg30o/LiW9iH9mcJacvCFhBz9KkYkjo+RQYYtIS7aj7FJ5oUZW7ygIy0+o3hOBXSLpDGim+orhB9gXjO2WgNsKl5m8kz6pv7XByJ1fWuLmuZ2xbCLMB45YbWS1i5BHRFn7Cmxq7dRYcJaILIsQnh3SuuGUrdVu21c6eTnxzvDW/Kl0cxHNJO2AX7Ybk4SSLAFe/OekUsU5cewS+SIgHHnd1G5W//PwTvVSvDJ62VziazngX/kCfkmyzlE3pZz5Ts4Jyhb5MsCRIVh03sAJ3tXvAO69pCH6kgGyjbolEN5/z4/RUJVQbaPTcmW9zag52xuYsHJADKh4vF2+rTTOdOdjfMGPp2PzINAB2axDmUPEm2eZ1FjTKCek4+8NwKgo7v/Tq3G3ergfIoAOJ8vmUPPqIWGUthQP9hN7Tg4V+T8K9sJFvWs8VORItLLbVNXhljJTchPXuJn+fPJSCftAv4+zsYZqO58l/9Q7GAmwF/fU4nzzlrAILL7i2k3SPcLQsuYlTOdoC7PK/ciE+2i4OC8a4NYib0fwam2qPArfypDibnHvIWjPhg7fbLbrddrmdv8qItQWeLrG/FxWoS0ZD0JTtZ6qMExCLZsMV/kUQuX1sJga0eQNZp9VcnwLOZ3UTw3uCx99P7q6M/yK9LflcO9J5zwfREklwf/gSXi4Bp2q+nZtU0X3mYIn/dNAE5tL7PPOX6HkG4P0II6dlT5adN9otXaNrsoKhZb5uwZ1rH74z0Oum9N25opYGgqUHEHEUvz6cBR4BsDjt3urspyJ1b8OdB66lB8xs4LZVUvGKqqStvtXNMpOYn0DJDXqUNJirf6VTqCslA+M40gIp7mwLOonOfYzjz6hqFzK1PWLBXSitBVFR8zrHqC9brwRmAGC8JpQTzc3hg4wl0mVFNQ2tDd4x3SjByFxV9NW+orDnpYN0NytOEkJq98hrFXZVIx0nOtpKp1zCrhherDWySTR2L4hztvNvkCR520ucVVPJLiQWym/WPzZ7+AOwQQoOHoUIgFKhoPN8VoKPnMV2+MhLTWjBxZ97+LBPmkfj43xF2OHPmtRwovr6fjtqq/zmuEQeKHU6Iw58nShJb2kJ1nWYfCjaUzidQe4WApWW/XJL/OAXT68SXqHuKmifjMUeQ4+Yt+p32BMrFU3QXoHOkMf4EgFqPzWOVP17LtN2I/ILmMSnyA5bxF475MeL/WUG49d1iNEDxuUz9GiGaDHN1u7crhpNf74lv0ZuByJju67Bf2rhye2pHLHrXrlYyrRgQi6F9F0wFsemSF8vA8LuSwoU1hVW6amUlQp/cvqEX4YKNTKdVzk1eBQOxjZwWmvKPtPD+3ZFrSdtsOiDPfLSJYIwp/HrJLmAIb8pPrDTe2URv2zzdM6d2zqJe3eH/uZO1OwVdNZDo+nOghhoRwNW1SPCg+n5x98Nkag9LF1HBv6var0xtgpjCVaSxzkwpN6/vtj7UHKkwuECVTXcFAZBLVfYFJOMORmRBiJhsbAOuSns4IDfxbTf6dXhcOdn4VhkKhiFtYci9Vtxsl4f8BRpilPqb2HMVm7nxlyGMro85A/kFs2FPSvpTmejxpFk17Ma60krlSd4bSbhu4i95GRXmCa+yPhsVpsyl4iJ4cLc4x7gL+k7ppDXw0964KEDvujTGK/rWmMNoX95JPL8b55fbUYus/S0UWWTEJ9YlM7VVJ1yFRLza/1p1Zzd/SmhsVg6giqoQ9tYYX3voTQM2zVb17tIiWa3U74lq8S1yUL44t5FlzMJjm4lSifMgf+tGzAG3Mva82+hEWYbMLNX5FeIU4z2h6OxakiP+0nzKBenZ5O3EBbdiRDsKwaxGmGG6dMdJhBO1/9Npd3RPkNlywDK+Dc1i/x9guSGQqcSGf6sOjmaH/tOY2leJg40CLFXsuJyagPPF2a/SvE8qdwbK3n+nR6+jgGjwmhhtJgGalD67sB3a/9egsib1gG1u81PROruHVohNFodzUgrrmHKngSqWb4HCZnicDAX7yLgppD82Sv59gSa0IN8wLlPPsLKIVh5trHd3dmJrwW9mHi0C2Qeg2oGLNGvcTeBgchkeVQb7cv8/rUxTforuBaeyPlAkO+MW62WGZonVqaiF68Pquo9s8ZFzhJdQakjAqH+JcR6odY//bUcTncUU/YI2Maupknt+RMuzCFhHzEj/nTds6qtHjCNtBDDyr+7fOKsuwJ7kMgHgYt5WtqL1/zXavUs0bva6+pqbJ+1XoDC0fzcE6nu159OxY3O4dBM5V3pDhkco1JrPGNbHhcTwMMfqErxNGUNzGfZyAEVlQn8/vVsicgivkTYbn11QieH+r0eaHUQumV5dV19JN07WrBPm7b2pCvjHZpcVPvxGRZCMx6p5TYVbpx/JEASLxzSEiWoJQcfZ4Z2V4oHStclAvKYdCpCqTea6rehuA+ecgHDOkvGZHCoEQx3VlRPx2Ql2fe6MlJ9JtNpgYMOF/IJv+bzuHzgcRsZf6dlo0FEuxJma6UOz+7G2jfLAFknUXPYe0GIAtM65AnWxVetft30ZJopi9vzYbHohmVByHQRwrWOBjXpZvqhDJUIk2hySLjePz3OGTf7YeG3m3aqPKMqmvCkV/Llb+OoReS11qhCp+C9CC9YJeCijAYbj2cFnRW5u06MBDaHMe7I1m7gFWQv5fRoxcyFGQCdp8CAsYVdLhOi38iamnI5tK7uOWnNuFrrTvMNUGAh4KFEWfzYUbko0d0waTUosgxNtSb0/40LmbeuZitcE/MZ3XhMlBD5FFHOA3b/LbuOnXF8rlslDbt8KP66xMRARBgOZIz7LA/rlqdzKCVOxO98+8lU7YmfJPekCSV4va/SSywns+zf91o1vU3gv7sAxw7vkhmy61dQqpAJmy6wMf0qi/lCstnyzyuYNUnltfwZwt9ZJGSVLbEkL5M7gWb5rizL7IetIu4kK2xlx+tE00riKUxDBN2fVVRq2IemwLioO+yE/oG/hIqGfPjvYrmLsD4WjiMyxQT6p4weMxXIUrX7Ru8N/oJmzQ6Qvm3U3Wox/bZlXYACppukVe9v7dx/sKtzHbjFbuGCd89Su67LWAhjBZOXVo+NyYLCJ4nnUM2g7dh+R/Y0UP05zwHl4wkT22wcohotyURX82Fg/Gb9gmHRxQMOplYuEwW5ooI3lekLgWtOVOkGAwFJ7m0k8uJCYryFJM87qND2FKGS6ehWAj18QK4u2RVDweLOuXX601FitDirJAhU3zv6q+C+g4cQcl6ZoFOdq+wOewvtSEuiqR8dfjCi6cKLQ71vDRxPXez1wh7uyHlV6e/2h9YbAFb4X36jQKJ89Tirt3LGGtjImqfJWpw+BjOqmmkqwFlxyZEeJQlAR70qUfW1f3mJg3vgU3XMzSkGbNbRHa6nwzWBr2Tb0AC1cG/8cvf/M3K8hJGbms6tJYQdabUoK0So88gSIKu8S3GDIglpzcE2UWREW01i8QmLkbSMhXMT9lmH0uZM/XvVxHCDihZWDokoj46RtccWObPDLB6BbKnalZyKTGGhDjzDH/2HsJThHc7/caeSnERy7+31r07UKqbSV8Xt5VVWtM9TkyMd/H5o7YlF0d8t7igQIqVjnUyQeVH3+eyM/NdHmBWtChQ4T4rmBRj94/5kYa4eKeQc5OTA32EW48JV/VdENOMlEIXJ5g3W0g7LAkzsWmQTtMks2EHWyVksPnF/w7mtpnC0PVRhbDuERF/lCmM7bGJz4KKf+/prhKpswwSzj8JGoOJtThNpmjtO+lgowxmdvyJW+MlTaqM85Gk1Ca6v+MCuB+xsAEZtepcg8NHAeau1qzA5PPRDpcidOc2YReLmbOjU2SXNHaQXw/hfRFiZERqZUAkX7HCvHXKHVHQv/1BA12yMgMKPGY5Qwbd+HuXU3Ck4ijiux/G6SPzh5R6arsOopDrf0yeiSdxhoxEYRYj/+N3wZVPlJHUlnReemWT74voBbQYoGkdWCztZM3uplrQsP4gER5AVkx5x8JFkrqXM830IhCyKitEboQY42jmXtF9sI8E3/EilKyVsvIDc0q3OgCWOOBRg4/Ji7IekAOur0eolFRUKESK2GIzXTp0+YeIupITOVaiJBJae10iEfVbiz2fUNfgjKo+m+qPpKAH6XLw/anCywnURmhNTnee/834KkW/bE3maFKHKqTa87qorpol6xAtjS6hsliw6a/epX8/rEGzJ6NdBXchme4kzCfUPcJAnCfIe7nY4YeBFjoI1FwC+Uwj9A3pHH4NWKY4TOP6w1Eyjs6M6sFYEiUT+6Wz7//j1I37Qcuh3MKgITjbYKyHLWVDixBwwaBWRPkAG80vxEF/woujmT80n1Bp7XTQpodjAhBF8qTtcz3ayd7dF+MogbEzPOZ+3J8Ii+iXCFXOohOTM+ZXhx4BDe54iXCHHe2xySodKRasZPaeoa2SsUpLAdR97/9WvSkoxMUCeYI4ujBxWRMIeACzdyZiFu/2x2Y3FuMHNCX9uE+19tBEFZy2ERfJMP4ZLWgCoXhw2FwPDkcoS8zGAcEWSVUjMuxYBiZNwu0qNGdAfimjuTlwqVhF6GdT+ANrgTX5GcJAvImx9BF0A7P07abXtNUDumWhuUflAl1o/FfghxjOJpcrhDr/QcXFj8ncrEEOiJbhHNtNL1X00QjskmtIIxow/3CHVl4wqRBdh4v+r4PcA1ukl7GZNwlbqSJfXLfJR8kGZo719kEqp7czzVE+hWEQCwGf4ZpVUHsQwbOAIFeVCGOURSpzI51fGB6jaUy/iPuVI8xK26KQKOHylg33aUqEFOwit3uLF1ZDm/UoGD9cn2bTvJ7m+XTl6yYPkQ8VZDgSOMtpUXPNwPjE6VHI0SJUHPk0M0B1dFLHSOGQl/6S8qkd4fUhp5XL+jEZE1qlQGmMRZN632TxMb0nRDeAx3XEKGg1LPCg46ShTZz9gN/sbpLEb7FPi3gv8Wim23i4cmZScoU/ZwU9t95GC5AOtMhrVafLg04BoMZabLBKz4cIuhluSyOPr/w86I/YJGjvliNKSFjZ/HMfYq/xgeTtSkamM1rF9JvwPmhlzSUmN+lBjvi+pAsStlKgbHi23bKSMOiH0nqjBaDuIpVnMYlp8ODQKS5g8r46gnQXLtmBsIEHxoFbqc53MIAjGDeNOkm8E8q0m3KHj1PbL9sY0Ib5PE8h55y8snFNMrYf1mvLHVYAwyZwiFmj86+QEMrXeMhulhx7uuE08DM3FMniSBS+eCyDWvx2ewu/+b2twHA6vCE6FfMLvemX+4cIO8kEa00DYZak+JqPTOuiiHR3+HC38bmYUb6NStjKe2JY88L4WUwzkLAMnQBvXCYMf+RojRxqssYSHRqK5ZQK9ZSfJBmukmZo5x/5JQ+2PFvwkxSRJR561Br8tycWvG56ap2y184fZ4bXWYFqDfd9uHhXQW41aWKP3nhCiNC1SQUv96kqNZP/FZ38nz+3FEvLYftCjsEBSWFiFd4DG/DpiwHC6ge6bfCeIcDWZbp0/EgF3xkK4LPepzi9/MyspSy+N5elvi/M81GZJwNmavZt+xU7sBojPklTXgKukk4y312OhLyr8TuSH/Qpa5D2y0iaZdVn66YziAjuiy2GxflBK4gULasyvJUj9wNY3uhW8AxAlPe8+owA79THRSAFEMEaH75k/kXLK1x2N+XsK6hyIp5fr4kJ8rxqI0uQxzkqJadiOUrXixm2zdeX25lqqT/GuMCQF6fR/hP8FfYqqDe5QGKWj1YLWFm/GH4QwzrN3SIrrbcrDoQEoAV0xseXNgcrXK+Y9hgetHn56D11+AItDAvh4CIoONu24DePsNUs7RgOI9nV0Ot9I8dmF8lCAsNzdABAQ+N8U1cYRTOHhVy+Js1bwncpmsXgrZKYk+3EbWYtcRexAHeDc3ONdE7H58aJGsAAKQWMvvVDd0V0wQeMhT2SjVGT7a4mxL6ZY1liCksy5R468I6hFQMk90ynNYvIGq2mReNad94brxBUXOGXTBFtwqOiq5B2imbaxTIhEVJIvHXOLE/NjpHppJxtMPFZFVvsRsW+lgBw+VelF8VnH8vZvbEDw1cMNGn0/ZkWs4JJQ8BkSgYrVH4gl7Ezt/AlCpETJzfFkuXe4Cj68OVVd3ghCXtNCFU+l4j6qo0/5i2zaPwF1RNnQm/vDEX1rrEVWdrVAgxHhC1BrWMZDcWmyYmNx+aXpvbyqL/Yw0PuDP3haUxFzO8GZOwU0OhU4KwZUwRWjdIgc5a3otv3C7G8oMgPaF37aiH0pdZG9yjjj+sbn+VrXy1eVsu3Frqs5GAWfYgQZH+jK7sQ5AKesKnZbVL/eA+h6KQio7MT4Ko8O4lOffzRjuGBbe44+DbwHUgwvhqOTXAOS/5dqMuMQwub0iQLgdK076Fc3Jp4eChjSMrJGh+MASuEUhYVWzEr5XopnSIIXNg0FBWUeTYXI2llTAfCuGtqAGx22G1s57oRK5vkmdFEIK6FTkWl+gWvLQA2nSmgROKYwCyyO4L2NdQj4wGV7QuEytXM4udRgex9THZ0VTlSUZ88pO++n2XkBsG9HpBL2NFCumLD3X1XMo5ZDqcFUshSI1WkwpivJlj0l9B+ruZCRquh0aEGqfpS3Ze7Pfmv1RnTthgSUPwx3EKhzpD8wfLKKxabaeR5m35JIjYbnRrv8Q2IHiEG4wyHjxb9NUlkO9ET9P0gWECwzILqozEyKe+A0POoXCgPmfDlGVdlokQbfqlac4WtZNclqnNqW6uWbcGBs76hoOZ5wXFcwcM5mDqXYbzyT9/ndbZ1BUxkMItNZhInxkRLR0W5hMVxesGRJHiYXWLH1fXsZXfeUN7RSlrpPTokLohiUaWQ3QlVYNHXgfalBuhnDEGAdOvvNWHC3PUiv0yhYhTNt4Y/0wFgD059wzZqW/zdS6j/xSEdky57Vx+nJyVc1g0jbLLQJm/IPBVnYCTSaX59XS4O4L6cCOd158oLxJg8dndiHjMWrifZ6W4yWBEREL7uHf/5xJy9WUz5R/yAHNNsXEzeqh5Mio56vAnDh6acqM0M7HHnJshhAJ3u1peF5eUVblLifLBiBlF+b+twU58m/98Z0DiiKMmT18F0KzVbKUAdmk8H7nNA/MM6+WEsv9GV7Ch1PB+1scqVGe5ffn9m2pnWIs27BsygLtUhJMFZ8hwZCR98qrOr6jHXb8oWnSP22RJICDhMZN+6BVD9GabkWr4HZo+2BCZdmc3d//aiJQcua3wdQAN2OP9koSv9ST150Q/RGPQim3gStABKNaTcNxz8tuw6Ro1+L8E6u/uwfVI8uOwvzFh3A3DugjnRAiWKFdXJ1t80P/cSMIERfuW1ejbGdWOVlYkeYI9z3OwvbXW+9+8Pkr6rUmxeB1VvITu3h4zRbnuTAKus1Q5v3UzIocd2EGJwr3rcc2DaoW2PmSJTBLKvNa3uCpkdJntnK+entV8gCbQDJhgIGomNd0Q+zIsM8a4XQQFYfEI8cnYt0cYA0jlIisImgP0HxF2sTaH5UwsBXPKEzUf2Q12iSKdaK5GxQ16P4P6CgllcACa7QxCERCfviBnKs3WmNc46EB0cu5LDn2SojgybVWq6pT1oaM44cu40Ex+AvVY7QLLBAypH40vZQGVS7LvY2lXJ1A8fwFmM++rjdOoIlkmm+Cb8U2gOoLmC9/GsbT/1oWBRM4qYK7hkQKcV/Fj1VMC7z66BrcQ6llqcuAUlQe5U/olhRnHtHB70D5rvyId3s2Ez2T1erwWKqJnNr10gTJWm3RJj8egi7P8Ov3S7nk6HQAs4MFdkR35sG8AWV9q+nNeoxgoFoh/HOwUIXL7N89ZCI2IOEm6yeWLTzXlK3mxsYnUEkcmOqcd0+EG/CcyZDynPSmiuP43RSguz15sgfPSV4eg0SenpE7yTTLrYyrv5P6hTL30DNNML4P2lmBv991YZXSXxWt5D6VFeqcUXDvAWzgR/2NgSNlfCmdm4JXpEMU8cOHP8etEclGjMkFIpdXwtPG/8ZgvUjxgLwIIr0S/BwC85AI4kvowvxxtAOY7xI/AEsmPwfpfsL2f1swJ5hh7Zdz2BmpWnRv1VHOLJqVkl5PdcIxArp8atkvUYiSErjO7KB8np/A48eksxx9u24EfmVQmMiI3Ryum6wUv+oWgTGdGQj0E2P3404UnDVTClT8Zw+oiAgpWlbC270KIKN7K3GnrUWL0lc1o2x4qg/2l4Otg4IXQxApL3frYgfc4ceotlNvmqQLyCGX8v8kc9+DxvXOIH3glk1QTFsEUkrihO7ldOiY6E5zFLs3xn7Skhz7/k464Xrhil0lqJehcYqf82lFBKD8OaKoUcSGd8hLgLfBQArOxhwZLefNWwTRfI80ABhJhvEzDi4p1XYEtu32lacW+V3WYU8pCcoxpT039jBG2+DycIM8GRh5RXGFGdmAPhttPWEMcr3XV+oMGSXacIEYHs7uOgZHf7oxAW5fjkpoiolRC6/Vy58EMHCe9o8DF8qObhQk4hiowoFTVzXLhYSwSXafXiYzSJ+cQ5V1qfD5c1mFkUkqn51po/NQBOqDyoG1D5ENP5yMOiJb7+uVNryH9uITqCg3/E2HxQSzib/+01vMAw7SGoNuUik81aPiHdPUkr29WkUCwdA2kzoA8M9t8r+5twTjByGyFqyZ2+rSD/t1Wlf1t2V3FHaiata4uJ4R/AId9ZN3SVDGBGLOoWetr7GcmV6aF/T5dgOi/1hyzD5eaODYIg7AGUBUizQL25EEm/+vMabVgbNthnOA4BKrOs5nAHhbv4ACl/wHRibOsuWJjTDFeKnloLbv3Au/Kr784UoDTxoB7EvQYLt7HEqMYtjHPmZ1/qR1hKKDnM58L5tC3NJo2FNukl8hE30HJqXRzGkSdPvv5kL8XjjzktyCU9Q9gsxuoR7y+imOT7ZihbaYQf9ehK27F5U/NfD2uYxyJ5DVEDUqceY4Zf0LkXOSbmXFINZg7nMZzfudl7J234gRSbejdWCinFt+gxY9MkGDaP71z4FtfwQAM0vE7dkqphSGrSzO6KRH7s9yvZwhZXwMm6wAjhHvsuGwkNcSLFAqvENHWOzB64+mQ63Va4OVHWhp5tpx8ypbSmkMs3ea5gcRJwMP7IJnOPe1K9S0iwvQOhMLMJm7M1ewTLEffpb5JSwDXCb8/LBjusc83/lzv7XfVWB9jHaM+zUg5LHPcpHaib5tcsuIxsaz4dAjmj/BHtjH+Xwsi/VwNM8jGUepLyN1a1itTUXlHR+tBEP93r0EF0Bs2OkSpCxuGJSOKrUR6WevdAPITmgovd/Mp9okF47s1VV9XKwob9rJ5UfYIfQbM1TzZJn0xrm8RWY1t4gDsg/tO0hbjBBBwZ6yOMSAUZEOvZdQOUI+7KraUysOK/mvNpXoiKeglEVSDwVPfiS8fcIUdhdDBEvMJLbJ9w7NjerwMbYh0wbEVZDVWnn1WbRsfhizGSA7XFoFmKLlRmbPSbabPfgp1PvXzR8HrZVoDhOFxpLZCHzKsy5CKJQgvyBUTxYnDxL8JpYTeT6MERdBsL5rNP12ZKR+IBVx1C3QMa9bPUhlgzOygRqF0btPSKtlngmWeYyFPkhC5zRW263a/ZqTZrurOlRqH9E8FE67403ZY7lZpg5Zkxw9c+yFmBkbrE05Q4pkMQiC/R4ZBF1/GxlYxDK4mXslsGRR1STP69Bc4canBASxirTFILioeYdyz6RGK9xQCnSChFeg/1vAb0lA+XOTpt33ZYQsZdtr9VgjaMY0513+t+Rj7zpDojOPFAHSvZk++i/nBTsYFUJmMDFN/QKXMbzlg2XW3bBSsB3krj4f78z9w8mvfwqKXFqRvaAlK+nO0s7xdyWeuntSZzWrPO/maLihECWrTM+rm752szUt3dGMhhf04hv2h42qDqcWoP8rZzFfuuM5qRnpOpXx1qH/4R0+g75GwspBu8igHoLvHr50wCnE8J7Lyh+XslaTpNODRjZwqI3da1TcpLixjLnA2MVxladPHAXbd/kAQHbM2DYN1piNqIf3Z8StawH1GjQ/mtM1MdcdN2KLCMtsGAu9PMQcDtsoEN92qKmAclLeSV4w/7/DMfvkC7dUXwaCEb8VYGL25/+yajDtmP4xmCVtBrqjkV10NRr69oFMTgEsDNGLqEdH1OkoRmQomHr99WOraTT9Lz2c50lMg5QJuorJC4cFow57ew1hHIK4fzmo5HsNK1pHzjfwGDyXtHKp7fdILUn+ZmoA4TfXDoyZW7YUFO6r8v2c9Yb3TviUMFwGgOb2Nr0FPZ4lKi5WtLDKRxicfZrvUI77TeNvSDKY96XfARPrMw8cc1eTdAUTGBjmVHhR8ejCAMydME+cKTL7jkqoCtc4NEAmAiAqV+ioq/UJTo/cvCAgvXIP9wjXFX0ob2aYwOyLc1vtXWPxGnUqnlTDLo/5ZhX7FUQn18A+7bwilgOMrbUrFHljWrBIvbWsUvuOOaI+EdbT9M9Bp5nYs7sugTPnktTZmLzrYSDso5afBfB+8wuzl8oBOkqew3v+SrCxD1azGjZs05qFzaxbE/+be30kqV5bf4hgXNPVL5XgR3WgqV5DS0TvwyqMiKVQuzSxUcZ9iH2VrassP8/r0YK+F4KhFQnkmjjxKze9HhVSBj2kztQhEtVJRMPPLSitnAxesTnXp78bY5fanu8URuFFsz4KHVHUnqgbTPgZ+rDM1xLr/rN3QfDvxFGPctNK9Zqa4v6semnWVEib12lvJRQO4HOEtTF0P7fb8a58fQqeUBnbj8w7V5WPaE5eaC4FxL6yXspHzyxAIaamZSKXwdaKi4J1mHjDm8jiY3DSoFMHoiG165ZZUasNoFwpgDUQkWSvqpB4qbjS1EvHvCVdrWMSiB8fpB2ez5AMfQz/lIH22QOtwZAyk+vYGsdwTFRf9stKtJPfYk8cVVvndJ2WadqIXN8FvhwKRFAGT5yA5R4WEozdjWq0PpJhoO6R8twyMdrlpT98HLa8uS8ZJkwwZTF8hOoeVkuhS0LPTUPwt2TRBZWh2xyGkW6GEO1Feybcz78Pg9+QA9uQI5bf0IlpOMDoeBUJZKW2/FhdNzM6UcOFD5C7e0xyglCtE/QpMPOunecvAymv2wB2yVwEU7pIoK9g/Kqny1C+w6x9vDFI9G8i3u7ZcjyqAkJC7JvH6O7XbNurJjzBEVoRNeDPKIFoET2EJwmAKCuHR3NbF2eB4D9bgQeSLVycZ1WLnkqBf/U1dBWr/57FYH0igGbvLGWNqLoay+eWPVBsws1jpjaUp8EeZebVxGYT7+kkuKH+koYD2rEWUn3ab9n+Zzu9FlHn60GWxv9eeQO3iI9ngS0mwlLW3QH8QzwATKvWe2rm2Lz2NKkeLPZi1yPWbFY55eI+iNMlGn18QGoCT3qeD8ZSg2LooM3Voibd23IwHXslJzLHliZdHM25byU1UgeQUXIr/eCltF0n4dxZmI5mFcUcLMIWzKEChrGJT3I8pNhTJanpIf5cK5jizPyzzvVj1yjj4mM7t3i+8wOQfJW/icji3KamKMkdgPi71CFBTPKEC0LKxVIZxT03Okr4gjlB7lJ1+Lb/0Tm6ikcGgbqgn/OEuYxBb7ueU0mnDwSiaGBCPy2bJZyFtFDufxp0lTQYwI4ZGgJBSsCkVOVXE+wWH3BhGkZNtXFoVanGp9+fNjUxcBWAyGiKzK7N/Lfq4coyqE3roWDMWKn/0+b36OdDYglnlg2mSxIV0g6i4J2z9UtPAWPxkrL81KZBPYCx7aW3gQmLYsF4PVTUCVrNw/dIec5k0gt8HQ3snrocYEgb1aA8Fqopb3NTwc5PymKZn8G8QtFjjueg2t6HRYyDyFZ3+Uwi9QlpvB7Z1HF828HqpZAVsoTMaqL/S+OTAxrOmUOA1abId1wJxqLvJnmT/36T4+Y5+Q7ILYmvnNM0dSuXkabms43A9shg5O1yoTW8/NW1/K9NAiQc28bpQgcweMLxpBJJaNICzWdfHtJPEry+XYVfuXZ/MrpsXTn7erGeZFjVMPqQvdxn5VRGe+2fnVtU5GebqsF0j3CQqhN7TQfrMYfFwf7mO2QYRjdp5N6rRjOtFRLo9NSTMEmyVT29PE15q8Y23OCdRZce6eEJxsNp56gXBvsu2wx9d83T1JpB38Y7HPvLROZhUdjsrm7AWzqqC8A6DLYpBAq5bzE8x1BU4brHWads8TFCVlOLfG3KT/tLGtylL+b/PAwe/lsEgYajbGLL1qAIW0uxl68TulGqIa/IZARCqPq/y3pgAzeMF6zGcPCgtpP0/m5GhW7Re0PqstbtNdCzZd0RGkLzSKRvU0zNLWHJQcASQYLtw+hqF2t8/YaCUA/Bt+yJp8IFam6dhmjZLVQLZcg1oucOwWxmPi3d15/kR9Empnk0oqTW8d3e2NCFBvUVeok19/JfTaYtYfgnDkFddBRyPt95W/WQnVg2bSWDMYx8T2r1IxgNrdJSVNsTCfpVt85O2EhHu2Hbe/fgAib/vutl/wkKJ5EsBGr79LLED/UyOLSvBnprTdk9D58O6CR15xCAEcZGBv4Am+NZ+Oq7Gzw6WLt0hCp8uXzosAt1UrKejJtN9pqpgkYfQVg50KAbuX2agnJ4p86sRNM/KY0FVfPVUEm9JrN4Q2rxZzIyq9zYU3THz5WWDKPP8FN8ebndkeEwU1yx3r3+MnLyiBkbAXln4JTkPwKzrFCM58voN69xlOLs3QHISQ7JS6Bmi7K2gD4qikJpEcI+NSpUzAx7AIdIMHFFEDBXpdw1Odvxw5btSJZlaVHhSZGHYHcyPhrp2i1yKnOi5tlL7GaaR0qqUsl7veu34TLmXi4+L3io4XgLPk2BFIMrenYsfEeLYLwMUcYyphcPGqcGwd7y/4XogLXJDHryLIcTrWVFq8iYNXQBGq7UJKAwozG9m/hpFn0mMAXPZxW7M2GGHhdmrEXQHnteoY9KOqmHiR+CJ1Yd6NPTl71pbukUvABFOrbcxMpcllm785L2GPshDkgwX1ETlpK4AwF8z4O1SQWeY3zrAgQwaFngi70JxkLq8Lg5klQJ+0h4DL90USarX8O0AsgKmEqTfC9UlN/GECaXTAnxvD7LvehBXVbz0QLaPfTkF5SVXyXr7g6W8RkCQQFQYpxy+nPOSTqpJ24Bfxo5p65pNCH14NexxHhs7fd+PqpykLdeAsLErjtN+Q3rqRcUtvtuhfsAQvmHKOivKUG1EHMvJ5QEq+UHwRbdl7UztxpSRYdeY72+gw7QLowUWfpOs3XC1Kos0lESCGXmPIl5JgbDThPFp/voDPef7atF0D1NAYT3P87/Hrhexy8fDyImUwdA5+4NB8gG00uSxXU1o4tBqUEfvK8IXiK9p+7jmgdTs+OzlWmSNRmi6epfAdfOn2dUWBccjp5lpexX/lGGT9jm/jBAB4p90S4OIUaFFvyJ7+4iUovOufr0qZ1Nh5G2nDoGzvvvHo6F1KquGXFWfClrrosD5FHSSUx+Dz12lKkfX+WAIKjuE0R3MxBflyLqouqN9GYjg+/GZNh7gykQmx17yfrW4RdMDtuRK8K1aId9bvzMadVTrVd24/EnvPpOb9nor0hEFnVrVpb3txl6oDPyoUFaqnDSm+7f3jZ8+FXV0ImhxZIJ+fBLpm/vZP/80bH80TjcBSsw8M5jJE245YzJYr+1Of3BAAu2UpuPswCXf5soIDJi6q+0hsl6wu8AXTzxyFAkPwiHVTySC/AARiFDt1o9aRrmw1k+mFrQjGlaDvhncujr7bmRHj1ElLdiLJOMQGt7kwljvQjNiq8LroRwC2daGz9QXcOYi1AIwTTYQ+gwWRmJ6kd5Ap32braYoDT9+r2yQzqw/5eiLrGaPppD1F5UZRat1CJkcH5wx236dOk1oMy/cLbqDsk5HFL6/NNmdMhXvv6rhAIQ2jKjqTO/aq5Ox26E+8TuJ8vFEZuhs1/QSOGPURpJrZ+E2f1HryYn8qiqjdXhURkRh3IWlRUm9RUx98ox6/fg93G0amjmBNYowt6S+jNDLFB5gHmPt5lmm6R/HOidCXh2oUp/l2zO7bji6LIUvvx8ZyXgdVaW4dCPkIbA3ydGc2wHUjGq/BKe19AlqoWvdaJpOEAD1r8Eacs5aPP8NPcWGBmJL/M1Ecx4mjeQNHbkKn6UhqxCHJg9deXWeK5d9kxgrEgdphHcS6bx7tNQpRzbm1njRUQ3OKkskvhv4cWV/9YX/Jrq6aST+TnHuv+/hcvenccdrvYOtn6GHHRKhPOHYtHJsYP0nyR2IZ8YZfnDB4a7psm3oncnsC/SiCzu6Az/3Kq16lyoLBUE0KXU4/ioRY1zbOCjFDnd5VfMdgrVSoovG4D75yu4Xuvyx1OTeUcvcNMhEK5IY8oMyhVIxygxcfzhuNwNupXORH+xEmA05O2wHCmb4ukRz79hSM2cnH/pHTTykWfchA2oBfiQZ5YjG1zwFfHw4xzogdYNo/F4yJAh2s/ZblmMx2xrJYdzWMA63RY7KZKQTbDsgcIiaNKOPFnyc1fkWeoHbs/r0J210dwI1UvYUVYspiOxDqsUVA+iSxRNIp9QTF5nNxYRJ6T9mo0AN7+Sy2zbQCjTbh/b1d6o7zSl3+7HfiRHHRHf/7WKFP0zel75yx3X0JeyxvmeRYNi7m7oWQx4RJEHsFDwHx5QpRddc5LbVXQ3k/pfwvdlUSLzjoL7NpjMNx6ixNSbleR2ks+uglxgAqj60Mo1sY1bozJCu5AYVZ0uzPD/DF+bB+aRzLGMgnIH5zeT2XElz2mT1+MThW8MnP/R+4ywxUXllKEttYrw4lcqbkZsrZ+3QuRLQq3j+cefeKlSEl3CvK1Fejb5BAFOeR0CMWMxnUNJS4GX3R4Ej5rMPtJ/fbfIo4SiyW0RAxLosqeRJEU8BGYenDJ/cz7jQRBoV8OWiTq8QoKh3NBhx84QSnnU5hodwt4Mt6MUcSeBUgr0CHfGKP3P2JTR6CGldRPvPcbgs5bLuuK3QxCvU7HZaIUifPJILnnHlMG+BCvvWTZjt/BXwYZfQHK1XPBGyAEQpkJVCgPPJBuQ7D77ruwNOzG89NZX7YOYBtpHu68VPu1uggI6QqKzICa/BYyWsmz9D0BvYwUVbtEYgRSnptmbPdlbLWPr1kw4ciZfUjQ6vt9Ie0NQUhR1dSu6xUTL/ExQaGZQ9dBT4LrycDvUbph6Y4kvtvwigpJRpAHI0Ps/YeGTm2+LtrR5fNC+jNd50mro62oEv3rBnkn4HvJ6hTS6Zul0/k+OysPtPft47hENtcXcVAIimFeuDKC9PEVN0ETQhEpJ+swT0donTBx2ivzJ26lL6b+bDxgo9/jz9nqRzW/nrX0f91QjlvatCl4Tj5y0ZEDpBndyqbCezRkROI/sO/p9nHA0oC76yNXu99NmgZlegj2WqoU+/HwriO6kp3JFdb++RGevLChti/MBNBZEJkvD66N/iTl58yLUeCi+tdukOEsDGf62ec/VsjY0cl3DPNIKcY+OO/rl/6gD8Hxd65FO31cxY7/3e3LQFrwQp3SHQqFteM81a3y15OzWi7w8qXA34eFuozO3GYOz/f9ymvW6M9F/CQkjhgPS7mq7KU+8vDxBhT2xD74ZBkZr89CVgLlXx4o1/FW5zfax/AjIQiD8LmVazUSrujYSSzNHvfrr6No93ilTr5FJB8ZbE0vAh7dH2Fk/f+pYTyla4eF9+nTf0S5xAJlfLwLCcAJfxQiRlzhPl3vBzhOuQNEJDp2wpm7x0ZiwbpCf5c+UYhGPtwdlz3u7eNIKEwMYQWUoD0hCMC60Xuv7JiNKgtqUZyTGPMewY1yfC6mWY2BRbIi9cJmijh0tHyojJSzgOOkunFIV05SgXzUor0AGzoUBkN9I5jPM+np8xjYWlA5srnqxfzLQGET7A0oX946Rir/fFMwO2GJppIcY5/W01YsilslW0Ta1Npfvo8BkiZENCp/oYv9SwB+bWX2+qAcYgCs7BN3y9fF7uPnOPYawbE2AKNLOtBVl8yHA1vGhlngnaZJhIntfZJMbjSAJo2ITbUq2dPznbTbil8bl0EmFx3qOhtaB1S/5p07b5nk3rtUccghffiTQYXHJvneNQTrOhAWxJKcUTkQEMycTixU/Rq/CxZgkz47czC/lXQA9K3JM8y0cllqytrbdwGP2feyTMg4CZh71upSLM52yb1kz+J1Nd+USzw7CwfeE2IzA65hXsLhRTgF5U/EN3QlVGlPf5ofjPjcI/od2OHnUl3kL8poqWKBNkg7zpEt3ELQ4jYh2aTq881IvuoAG72AR/WW3G4xzmcGOMtF87wNGUQLT2bcKfh9I04ViP9Mt/f+n8F38FbUh8kQPD9gKlbdYXaZfU6ejrIXyGLhEzDpPi+gZdCKmLVzO8UBxRMtbDpABrkslPAHXpRExjixifFMwCJfDSSp+tE1+HYOMwYOzDhRVC1YCi2wAVdSNaqCKJ9Nlxf2ONW+snr7xx7rv7dvxgMhlmfrTvXPFlC7LiNDlSgyKsHV3XgBOOMg+E8niJK+IXVAafHp7aTYz1czaOEEz0Srb0nd9CvSkSwqgJ/IZUR9wYYpZbmuZKRJVHGaauOFn/+jVGQ6XmzNyLGfsZ0W0IXkpR7m42bo6hIytt3gmbyjd+KxPiAm9H6rUggnXrbBl43YsLFIh7KnE7wcO7BXhOrBF/TRtcwDPZmNGneM5VdS41qrBMRlQGVCptDDA5L7k9fkUxCBl0imiSRewzBJoTDQsNOvkcLXgGmKl4H0lqXJbeeXhM/uA9ulEvA1R8joTuq/9I4wMoghN90+8XKWNwtjqb1flXOXFY6HirGBdoib5NLDwbPq+PwaLMSVZzpUVMokGjnXW4tHbsmqGbdcpMEbG7oR2IynTRmMRhzGSTvYcU9dekjoc0KyWq6J8Z3XailOXRs6LTKeg1mhwe1aC/3XQ11+TkEmA2DHNMvrCqnx5UtIhiqY83hu3wwwVl6/slztmUdhF+f+MHnEUcMT2yu4iXZ0Q48UWJRRf/FGv0QJjTiluwWFPR0lme1mrjkmL5z7ZN2crhXTZWzQB1mXAKCgF7R3qQPmJPMUhOMzhQGl4ODuq2I7bf1jmHu++u73YDj0yqoly1+jZsAj6tTMQ4HyyTbgdZRUqC9tBSsV/87dRQVWu64jy6U7rRpODQQeeLPjSL91tEra4F2TcBlgqwSq+WI+kD7O3YjjaUR8Akf4muQeUpA3pZdM56bOsAOQ1aRuFaNG/jfRjZmXJKVMbcB6zPvBAi5WbyjRII+QdKrOJZqW1BKZLmt8p5oXjVtBoz/VhDFFOjMaxhGES4OyQFQLmKujws/Z6lNFmQtFjdJfJf3YafiyJF7IjV8pAUedWsBXkVgBRpoHsa5Vg+Weyqj/bH1V3aBwvRRvRSF/K1J7H6NI1CRdBfFvHCgrz4S1CtZrpd7Kge79/0vbmC59xnWJiu9pdD3TCvO8ea768I+YmEKlmMP2IMSzmNdX/GRYhlqiiTG92bJOfYaSXGzwXzwKeMSI/3V1lwENKvUdJ6FDjBDI9KUvJRZgS0e9HGvHMcIKOVhYi6UhR5W5WdZQvMlSXrokwOGQGQL/+ObFDCSW4HeOu6QGzorxFm7SO+pNnAh1O8IF+Ew45Y3CGaPeY1zIyEPu+KqxRepkW8inFUeU4fkp+EUriStCWzAtvgKBkmO+6W+CrNczhn2Vf3mauGun8mbgvCa6ZsDrTyYhmdkWhvAgSJYgvRTyE9Z4vMFhvWKgOh6s+fvYcW4GmvGPxoAE14IFwy615pb/GftYEddBg9JbcOX5eIpGylh58N56Hphaxht6xyDIGtG8xZAlsUGWCzoraiT0APJpg/nqw+8pQd5QQR0zOUrZLhMmOx8+/Txwa8vzcTk0nvqJs/jGkHFDvkgjyrja4qRFjvnIT6IhIgCVhBNsMxKY4AeJLuJle3tBGG+F7TP9R1GCGWPJcE9T/Ivc95aOb+EJi7pXbw9aVe+sIgxkdZZVgFfGFc8Pv8fSDtKkDGvnPc2U9CNpoeqCN05csjUcU8ALMvK1XPWcG4FGcSg8gtQVaXyiNVbRJaOnbk/sq1dqogYdNMVvPZGjA1uzX1FRZaXNIYfFKi4cYcjNurS0ZLQTwxHZTR9lY0Jc4QntpPBuF069f54BA+NEH3zxxsasMEoAbmeljANRz6bB0wp8NRrIh1lQrdVqmHDQnYxU2XTjzIyUPC7dIatngVNuRoP9f8R14a7Hej3wOvWlXBig+4do4+NUPUQZKJ/LtIVgKOlZgXSdLfeT2b2VIm2pCo3LHSL2FmUKO+ct2FN9+ETr8jFJzCcazI5dMESX7dRvegvzgzMIwJDC72lO+ehJAnLXA5LSOlQknPNyoXhosQweaVd5U7fxvKjdYzk61KPPaOdP0ly6WroPtxCQjkotsya0irk1603ZziRJGNnqYhpPdAOSfkCAq5cCcYavpHoAd4DQKIY/uDvyLUJe9n01U0Jez/6IJgTEOajhRjCHFvdUWG8MXk2pFH7GYrSzqBtb+Uklj9ytFfiQ/MQ9URr0kyeHMlZPzEmtGfED56ol0WwZnBGZYqQHTZDv4lLtYmMeGPgH5nespilL0HrWWqAfwzX0alHWrxWggdTf3xGAntKP1c6OQTVIp653/TTpw5d+YN9jR/yZuY9ffeui+lRoKuZQlLQySfIF0Pp3mQCOvsTgE83WrPgg/9Y26+GgTiROztXeY9CwiKddjCmTmqxvXjeGURv3LP9q8jdnvAsCp+1qgFBf14b7ZguTKN2PHC9xcPS08gDC0AnblkrIDtdYnNG2LQKx4ACieZHKII815vtiuacJDqVOlNzV2qgkb6TvLpoLJUNE+YlbWKX+KGRUq1x9mUUhRBCrn35628z5ylOVK4mT6AnTQ3ynje1tHeR1rKojImQTPKCP979IIIfGGpYmk7ZMR8ghlJ65UHZXbag9ee0W5qKdPHjGSl55i4LwrsqhNO2+RmCKZGh74BpACAqJtcjuUVhZCoUkHBS+r0GkEIf2YqP2OR2e8Zy56+uyhaZhyfCt/4puiYtO0N7Xs7XwZEXAKvMDa2i3LvxwBfecG3UKasvwuzCAYJqvBjbXRsww5WeEX9/ZL5nhgLjKMCucLC+e8hCqaS9Pi746kwSuDOwvT266g11WbeTEMJT7EBhgryAGdWOC4XpwlkVB34Cxaa8EPGwTYOlXwfa61lGfNSQ1BXw6SJasg1h4t+Y/5jwuV/doowxUxzAgOXnwcf06xtSXOZ9P/EN8ca4TtkkPwyT9hm06glY5okOE5aRVM0X6ZzcTAgXrNvCIeexQ7/3lXWQNsQj5u7NGEWPSpOKjavabhSvdtyx3JsY4ZnKQYXLvh/6f2sJtvmVY5hSq2nNyraQjEzQr4VqsMOHQhR1CTFijGDPCfGjOwIpAKtvqR54UNs0kHt91pN9ySY7wCTHdGOv5Qe+GfpGIeRl81e8jzWhRgbkrr/uI5UrD+HHwNwNknlam3QlICUhOClGMLsDQtGCOC5D2ViyJWiDwQ/ghqI5rfFSMWBDpA/MZnPzoc9FcnF6xEmDTVF3W4s+V2G8OaGhm3E4+DdwjKQMBZt7vlH/N2XWB1Uo+4L5nu/RcrJMQPk/n0ws9Gn68HesSbbKAA1t2dheRAywnhbl96nMlKPej4CU7UaCvoEuFUgjhNu/tMniqBgat4FObfDj9sn/nyL8C/sm5jQafoxcIEN/smJFHyLQ7zn1aVKHeRmXMOkUodNkgVdVsCArKSK7clxWxAG4+Eh1YOxkVilWnl72JEee/DJIYtcF9wqwO8gezmy4aSfp79sxxqEWp9FuY40Si3niqFrdppKnnpAJO3HGZ8tFRLrVZ3b9SFUlPfIScJyzyKej0yhpD4/SMj3A4DHWsgLbtfe3GsCmDZIsVsT21W4bKz0tXP4QyJKuZpIZShjVe+stX7kIryxCkedsVvwgna+il/BoWDnAh+OrxjpNBnDh1vBth5FXZ04AW0nUKcrqH2SAhtnlnathuw9np+6GOfTaqkBdQIHofRDRAkbwLd0Q8N84w7SJYmg/bujgnYlYxvh/cOw+EVz9G0TUNsrAmncO2n9Tfz2YMcJfkSUvoCK25Bs2oTfej+yuAN5anhoLe2O39KxiblDp9fkScD69/RP3rw=="/>
  <p:tag name="MEKKOXMLTAGS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z2dD7pS103gZfJ6l4USC3jqtWOPR/ue0umjYEY9KlLthURXCUyUuZbmGDPUXB2idlVQc+R1c0j6vNnMaKvr/AghcgjyTjoGcS2U6lyGcWZbvoYqQsrFJ5DN1RdHsB5gZU4BjQJ6xKwDUEsW8X/QQ4uIPkrhyjIfLLN7ZR3puqzBiN1rMnctBA0J594at1EN5QJYMsPufr2eabAYzIDriNpy1GurybA3KWqcTPRKYh436jQqOHiPaCJtAtzpRgB7Igk7tw7BcBhai66Lc0jpyzFEK/4NRoFF+cso+ThI1HNgDMZbpFoCsJQtilLqk9nQPGX6RXGboCTf8hOOcHaKoTUKF81dro10jOa8Xb8mBGZBE+xk1l9MAy6INl4AKPS/xvOCDdKgdVKSV8iws4FZ6mihLL8BVrgB9M/YEN9tYnc5qKYMKZ25QHzWRrVR+7rPmlUu5WlWyKlHHvudBG7edstvyRKJrksMmAgCAShhW0pP1C91MNyUA5Fp21q/cf0SHScgFcQXZmo3AeoIdSjfj6u0EapkyOn7jBtQlwWM3CMfJdZO86GjLI4G0mbDD6+UL00ITDdWZfkiqQZKcUUkwQg2+4NqLpBvAUSB8HIh+Os39JwQb0U5O5clVF3m19PeCf97r5UQpg7pfZzgVlNgnnvkrBXU8W6fE69cp01fzYF8FYMgnUhFjL2qf5p4CZkhvLqUBoBdkPoIPk5hiGhheMaWoOp2eDUrUgSxV7JYyx+I7lhbt4apeA6wjW+oNoOuBsnd4rQXjeiWXeBTtnB4RsygorZSCmIZ+EhDGS63SABZMPcLRqpwZ23agyWSYCpYvUXU0Hca9CAwTFJyx/LZGo8ze106Qm9uxPUWgAMNMKoonryrwTQFzXK6O2LmJETCHY2MfnEf+8Gq/Ef7oIfuaVotHz9lkcHp4agXqLG3bhQ1FO/ntYJI+zlMfm0i6HihDeOuEj0mrZ0hXaxDxHK0Z9kD9aNDUsukIf6Fv5msMuOWaCGoIJ8eG2czKSxixcpU1VaXHupFGpoBoQMx70upCXPfjJLjAZl0vtk27R2hdp7sZtzNGIv4hHrfHtLJvw07Xlukm2LS3xF6OU/Hkum4iFzLCq16HwOhU5NiT8VupHZ6vA5vppM/vikuFQjeGbYOn4JwN2+B8hpe1M3DK2LiALbXBOwkvNUvSTCXlNRJK/LnsIvv9QpbjUAgS0AVeMn91kiIu9o4UvMDsBw+XGHusJrlKKOSFQdy7ssHdAvtkQxjo6cnBZajpwoqafz9jMjmqqvGXny8qZff+kH/2dvJ4EwWydh2VKTnVxpG49a3JLSqOSGSiImbLfrYWcfr9rodkUBZGR1dTUOuFatoYvCpSHli+pmo+h0iDAohqMaLIe/i3fA6mJ5xlEoXR1Rjhf6j11mGCA2K97h26TdNXK5YLeXnq83jx/h2s4k7Faesgc/h18ZI0Na/BnWHgjNmazgxgLl8M/FWADnKeZMxnl3JZZwB3OQ1/fNzwU5Sti2WmKwIZctoI9KoCOzVSK3aRJJOX0Db1MJHfIYpqwXdAfj0OBl/3livRZzKlCbOSee19XnRvO+gBIUxsDY321+fAgbwpCS10my+EiqJBJ4j8qO8JD7gjaGVR8RhG1gXu7gPW5sDd58j3yZbLmOXohWllso6WnyJ4DgoDgWEg0TPQSazpEOMHZ1jhWnsXzG72te5l334iycxCpwMRt9ZDePuH+wbAaDLUra9dc9i8iBf32LRIoiD1RG6RBvpW4lY4sV7fTGJns6HzckgL4MNzq5Jewtyt5Xu+FfQo6p7NQalVshr/zS5jBE4R4tQ4koKg3L0pof/akNKnEBkQb7p3lO+Kdu3ew9i4TNCoJamJEtsxKiaG9Id/5bJGynGCKrfokxqF2yIaA2K9eggVCseBS2TZRMLEZx+Ns1Xw+/+Gb8+QMkOSccxFIeGup2iwEJ5lUPRmnwXNyhSfUkuLmmBfMjsAb25iRjjb6InwCoupTA2kPPt/v3iAI9jDJ5Osn1FbsX+Z9nL65yMlp5WyaErN/KKF8SMpM2ond5DyMWA8KrSX2FoyLeIaOhweHuIFb2js6p3NXbWN5+jLFCBy/daRz3XAuqlI7NhRsp8qZQwZp9xD3V71WlzKYHn4epCzw2JbSnHio96yjc161iFC3ygzO4A/mk+sBXYviKNikPDVe9eB13h4c7cd6qRaOfqh8AaI1gwUMva0LgojtGOvWEVV463fxgCSBMvx1hcLjuUueeETCFB85ERhvoTkOyv4KngjYBWwFjb8JwlZfwbUVpyOs1GjRYoCLZ0z6yB+86aVuD3EfeE9aTchv7+Wq/Nc/vWqY3dETnNCdPSAUUnf8mzxN0/sSD4BHFxDPqfIqIiGu2Iu4DQuUVK7chVrnGuIOpvT3yxM30Up8Z52KYGHD3OV19Y30Lhu73K1sNSTWe7nXXT8iSvdbspwTl413DHrPYNemBqkaarRW1x9pglpIftZqJO3XhyMyNry9+cl5qKxEJ4jdbgJ/EU1XVOCLlFbVQ9CFIXOIFvYGrgl8zQKvn3aamkL6aMiZRMfCw6yB/btsCSaWf5osOW1jyiuWYj+9IbT9p3huAcdqFR2m6effZlGW6vZSWSj975jmRVgraBjO7/btFXNSMwMqZROZBRNnZFehcijuUJLPCIxm4RVONEecpJqRdhgESB2xUlb5NeQvNfjFLPnIZGN0eK9ZldVo6LntHBbMELSJRjHFziIqEJM2zbC5QFSPDIib0DyluiBYXH2dj1xpXzd+2er1Fld5aHYTMSSwxv2xCu8U17LEAjbrgxbLFOrQbiwLKIbdzcAFAdz+heV7CdfRB/WB+G3aOVdqFjLoyn7Vc80MBtKs3REOKgjx3JzdJyFczBkNVk453sK56zdRpQpis5q4+IqZ3+o+NunZ8uzkcijN3UAWW2hMWTgEYNeirpf9kcoU9X6D7NagWqIY6RCb/VwU/bxhDRSI/tvTzH4SFn3YanKVeUmy+Ls9/35VGaTMgHw/Sh5Ogw1XkG/gfvLgXLijrHZYOe98GWb0HmbR7FX7txYRBIwjUhBZfNISn4SRq8W33IW7LdXyb0k1vwJVj3zuuRUWWPKFdNQp7ufuUoeiMtoXQp4OSn+VpOvQnmZ2NJJFmhsn4OCbVIY4TkSU9pzRFGwP8LMrpLE+4HRTPv4LIDKStftOm/3cvlqFmaAIr7vEbTcfmxZdLVyBAKibs6saUFTcN0toppwoYHjVPieYc/Lyc1MpN3Khr7O6OfxJBW1hJO2VphffL0thui00be4nDMeV0OtU8+qC4tRnSvFKfx/eBgVEToUsNAvEvWqIGx+Si8rVw/gZ/O/1rQ+2qKYWaprrD9nCgrle5uhLYQVQtGY6ebESZjdwofKAyBNNFm8YfK8Dz+MHYwQKzFgX6yhV1MrcF1J2xO2owByCBUBU4j6ySAdtOxLaZzDfl6imvYpk4ljn78UybiGYh1AfOZPirwLGoWFnqgoF1QtqSqqi3MLcgEvezKHmBVquO1YVd9VI4iujKbVWrnv7DPhToGEU5hB9fqFS8nLjG32JRy4gPQ61PpVL+WAc4gdxFaqQg5obqi5f9PHRhlWPFDQFx8M0QjMHOfT3gYjuKDOAiNK0wHpi6EQ8eerT8wGrbsk+QTxh6wT0piORdJSC0rKDK4m08XBm7rGJkgI1f9PpGAuLeiM9ENMSprpVQljZwIupvlXcKdR/WYCkpZ9jg3lHR3olGCqAG4X5d8A7U/dc+ZFM9CSo543clE2VqTyvIcYnvHyi0XPRfaFdQg4FxARKotmIM+k1oDaqWS3Crnp+7I0aK6EV9czpMp3ODmyle2sUdvHQC/q3cEKM8wPbD270BGe+bcIoK1Vsu5U/LoJ/Xgx2D5Es2DTh3PT5GmiRYXBkzo+2f8ZLjLLDsKfukLQmWaBOHWeru4lj4LbZhabzU+9DYkm//pnxZmc9b7SR39nO3LJmW/GAPXUHtyiBKF60skN5jIm8mq3GLiMf5b4sJ5A8DF1g9NE1O9410V7dCJ4Y1cmIxm55GCecuBzSlGkER8WAaexBg8Vr7LwtPLFQAW9TBkOUMerRAOJ/wJcqzqwlzteX7nMSPqQyhCkKJ5Z1c+dzLl5WrtK4+wKifY9m8ftWrW0autnHhX3Rn8RSPu96bnJco+/sWo/qyoRKmqd22tWfKEE4G9bzEftSb2kDUKBDN6jVXdnVzOolRngZDwieZVxNBcmVf2V+paPKWIHo3YkLP15fh3tj2Nt2Zok8ASZPoWL3bTzqx70aUOCpLFGsKwZA7kgNqoPOcM5Ei4j2NzLDHu7vPM/NHkkv0/yDHnpwdCiOzYO9jpkWH+FyKJBYs5Zs+FDMJ9WTHX0nqNLF4CCzbICXKnG7btR8+F3XRncg39EXRGp8oCI1ozmOiCK6748LMlhGsMhZ+IIkiLBnbaZ0lrK2QRc9hU5F9a0rYAqAyvebwZ3HB75UAvLXczIZCiA8uy79XAFcKbZHaW8dQQbSfoPT64vWTqfGULT2EOW5ltwqrg5RlM+6GdyWMDdR6kW5ZKm70V8+1G2gUY26Zy/plB+UQeQ/5VkG78IpMOVaU/PXC5y+1ty1CVUwGdOnZSRtnPSqpaGgH+zE8eY5+iViBoUvN25lsZFlfk264nEYyeon7HHYgxAaOrD6r/JNiTG76FE5KvUrSG+MMEWvCOnSP9yjah+VRUFUHCvcQIFVvGzG93Zxn6TuEvOVSzvTGxfAcIjgx4UNho3k+e+7VhQ3SJj9hCMH6HgKiYwmRfi6Ru7koumtEBw2Aii5uL3/Z5CM/VOx5BFlja1bVSho0YSPYE4ZpTjvJu2pYvBxTdhzyo4fT9IIJmvO8X/nImnzHA9fFuskkZLaEufRb6gFW2axYg42m0JpxF3O4/xXcslQVLXcUDWjTAvJzc4tzPwXYtLjuLtxBEoY3O/eN3np6aBQ1P6HIdnnpTmlH65HOhUM0s1vczlL3drcFmqREb+E/GUZ+NTpJmSNHCJ2EJHAS5+RLdIe9vTf8Oy788Pl6Io9nvbJ/T+2EwrQAh8BdAweZEGFU3WXEeAWU68QLKLqvIwmqu7lLkRONsipjbZVmVab2GP/S/YXTMoHRQcdpKBCLA4uiUHlcWepaKux7IxovhLkwK5ZelDqEST5WGdNw33UBdafdKamx6X8LITYmrSw6Sy5E1phzDaKOf1K1UrOmIQvEUv+caKYK1rjCbnYfV5I1baCI8u4vOzhYEOF0+EA9yCyDWcDyv+qbLNIU0nvw7zk0NwPt83KT8KFjikRJXct33xU+wv5o7WKs8cnzxdPX5mvBenPGzdJab+cXNTnkYJLgktqxm2MAzGbaJWBRob/2AzREitbPzPi1Nue0V4oCKFDSUFJownyRVJRzGbPxwY/VwHbiMNmha47NUlg87S88tFT1t3UpNmW3vOUmREHzdrWbJcw07BXquX8iq282DOP+oIHykr/+qW3AE1KoP2mbOqbYHU6BOsEO4tUSmkBV6//r/3+DJr/OJH55eP1FbyEJyfd7RwT+Mkg/7fEYnS8BQRBZMqN7dLJx3miZxf/o8ZSlcq76ZQ+vGW5SVrO9yBFOfjuyj+6XLMDViVr4rfJJLrJo0zrWpTpewMaOBQ8Xt5bks01iJqwkzUKvX2YSzwv3O0k2AR5UxPEKazJL9wOnPzXNm4wNdGZ0WeGTe30dck5ocpv6XvPt/ZPGvS33+Hzr67wlTLaoTUNCe6mwdpcEItnmDthj6Gwkg95CXzcQaE7kIqVHlakYjm94P3D6Gv3otX6RievdzACFOsdSolwn767albAqXMzqS1eqZiPPJ+MCNvUvcCAHbluSFrFoniC5THc1I3OKesz12XcFCNntF9YoJd3CPskvKOV4IZspYFADawum6nORi99l8DLINgSwfQywHRqxpwPyPzBprZIl9WCRhle2PtK+mZDXnsVSsEXccGgNTRE1rPKAG+tsRbmc0/tHFzw1eFuAyTCtbz9j47R3BdoFTPVxjgra4SY4CUpSpHYSDs65YOv8d86gT/P3nZz6xt/cZn8ML6ZyDZtTnkB4fSTiEyvPaKQ6wu7HN9j53KK4G7/ziddkODbSsMIhmKAZf6Mel0Siu5YWv7Am0TUAIGjlSubh36Tzx3EFef4APzYNC7X9JGG9It64K3WPzGnAyLFS4VAKhqD1OmMQALoL344hZCvEu9/6fxsGensCez4o+8ISDxkO+Vur+PYXJg4U1t09fWmZ6f2VWUglu8ZqhwxvbHYoahNaiAEwDH8zSIDIIDbsm3kYC/FGoOYrFOtmnka5OSoBw9JBoHw+gdVa2PpMcbHTky6Tcba2R+lOJmyXXpKTyIj83aEMTlxAYsyz0uJNAsxldNgZSxIGmyBqpvB8VETAFtyfxUKM06puZSa3BOTIBSXlihCUZIVwEtam9g+GdkU7eDmRXnBON9pf4hltLCKLfDR1TvwK7YxT8vtkED2oHkW9qzItWHlNyDgGzoq+QrRLTdjPuRNSrU3RhKJQYjNbq9MRqpXYkR/cqsAbeebaA50q8d9HXe5ajG7sdJ1Lc/VZJ8Iptvf3ZO2akQ0oXizGXYH9X4QBuv0ssfGLfplkxqUq6LqPrwUE7h0zpmoJCRQ9Bdj0U/+Oy3F7CEaVxQ0KBFtrNaSwxdkqK0AilRBMCMXyN4nuxLKP/2AVwYSbw7p4jjWnb++0XGZLVwRRLjpD8LNSQL11vEK0w187sB9AqF0EDu5DMLeCFytlPqyOwvJp2As9uMz15jReOGdwjruVjkC6dNFkOeDGNtfSlITn27Ncz1NKJKcTAxG+A6p95EQ5M6ylY9g96Pc2ZjMHlzeQ8TxhNZqLbvDWY1ccMXRQlQOLS7sCWJk6WFtwcVy1i87m31P9X3UvFZQF3l1QAO5YWcdoChLYu9oI1j2GtB4PwdhZU3XA0BbSd38NOgRr3c7Ik0qhXCjGsjRGvJGkoG3HM9rOtTJSX7ognpeYGFxpRJgheC0TbxC4PrZQbbVppfL2R140r81PdlKyxR5OuGUKqJ0qIrHOAe+5YLwKn9kkXA6ofuiN3iwt9aNxE5oKOAHTmnvqDpyuChol1zPK40DxqCuMdxqLsB+QOAnO4Dmml0Q4CJsH4u7cTn8/LyNUtjYjMnMRQqfNcuJNVgUt9dF7d448rj5X9giTZeY45Oi30SUl0JSFJR9BuCx2ntp9H/Xj9VSylSeFkvmjgRc0NuaKiO+vB2LzbEVPFKH/N/lWl4E/y1kPP6U0bekPZrFvxFOItobpl2n8WxSF57dDly/5+aF2z+JpFi4YnAUG+Do8stPuF2vQS09/SXwifv7dXXFcUp70i/GIcyAt1g6iiGS4srNj5GZxytOmjrvNBigzAtBWUPAe1BIkWBRZuGBoKZuAH/pSqWBr+ef89hGcFFsxqBuUZyC/u+CJBxcmoDRrrnkXWcBZeFPkJ6P/UzvfY2I5k40fBPk17m0gUbtH6t09rUcolY3ZL2ZPMTeKiNkbrGi8WKQbvf6zfB31eg1mtfEZhFoUdhxqQnXzJM+Nh1BGKYVN8Q6mvLNN6yg/3EPODJ+YHac/yv9wJo7mEKgoEY8l4MvaxbNM6krTogYtNuYUEotITid53G7iWSHIk6tPCEDt0K7k2DcZCaYCVJUcOAJyOJUxxrRSEz+rFkaUTJYeourKYPPh+TAwEniPA7wIc6FjLC4tqTkYuTplY80BB3+Xzbdwwpt0vi216dyJIQfYM2qxOkjZEVeRifUNsqxjvNrnA4Qm0LFDbZsLU55h/ojdng+LMWQhmn80T+pNlaph7tT6BYKjpi30+JaFKS2gPPo8anDE/G0gSDFG8A/64r7a+CT2Oc31TGeBqisv5FMu2S08FSfRRKYK3CF2Yl6VKCqh4HUlfsFADrco+X8jR2i0NJr+iEnCgfiGUwq6lG78qeZDvv/dN5aNpKJbru0AG8dhR6rKcPexc2Y5YU9Vw3VmgtO/j2W3ZcPkpY52z1YCfD2BqnwAZb1b/EUTwlCKntY8G5S9H+bISwAOyX+pSavMLb4Ytua/155OUdX6w6jN43bOipg1jovEA8jN/bFZt82xkK5JEgRJPqwxy9Cmr8+/Yaj+roat3E1OICvRj78lacYFWi5xg+VJc2BPA9P3NfqnTsknvk38+aE56QE6uHTQgiiIipLFZ4nPg3i0mj5937YKhXsAZKlKj+/4r0fPsSg6MG2q5ttG6a8CusQoKR/TJ4xSxweYG71UipCBfaDoJ+iyXdYXaQZPTw5HUacD9tTftXcbWU3ps996q/kb7Prt4+p+BU5TlPP1sFej5IdY+PSOGmz+4TeQWSWKknoFqsh9sjhz/vIpmIaeZqgP7qXN/3KOWcERdfmMeNYZYjTAee9sX4WnG+XGOA/YxYn2I57zU0nTWDB++xXZ4ZBlUvXPOvjeBw4D2Pr7JaIry975gJNGB3DKsEDhpmeiCOsyWVjN5Qk9ouVKBj0Ddw9pztvqBqCZBaOg/ERv54rtqkkAMq+vWCsmNPoaOe34UBUUAMbYDePCxpsgmhUpiLeeBIiSeT249KKxXnvo5m3rrdR0u+0jGOawii/F0QfPd547vMFs/AcUWVfT/kTh2WXR++RwJMWoBmW+rLgfwPKKe0S7Tj1upb8fk7cDE8Qy3F8UIezggOorHaZPJ23OCtTfalo6Axnmr4YOEgcyxxJbooPJuYqbi3/TvCcejWG848d1Yn3FOW8H3ga4RdC3RypQdYGif72lFgxbJx8JSiXqDnRY3FEvtDSldegP5PM/ybwzOOWXzqgN7fA4i7yuw8cZQ37/4mQITUxYUVMzwz0giTt//Y5bxl+p/FfC+D4ocieK27Fxty2mcRJIIUmdF17fAFM9VrWKybOMLa4qg9ekUkuR/SRGMXwe9+as4x4kHZeDS/6cOLQwBc7RB2hXtEoOPOrbZVK/GRdJAOucVQopyjvi0DbYZwkFx3JYapuASAUv+xfmVelkzSxJfJ73vILwBQaokzEp3Dd0+614zqlH0ih3Fd0icwV+8IdiKp4oBHzObbyAPlGPkcO1NjJlBNLPe4kSxw3xBy3xrkTRpG9h9D1/1/k9R7evkMKg6blZX/h49be3Ti89GmH0heOKWBiMFvRKacqmRg142EUyAwXoCP3zWdgGxpSx9aPpDK/UohTiWz+FEVsWjDQ5bzloug1MSbuJV0Dnxzwd3QfaLE+0RiAEwSOUwIYQsNGg8A3Zno4SIOmH5ldSWLJRTsSo87YKlWSHiO4XKX+4D2oaPUQ16GeEMqayp+9j8lF3QlPa8hnWig+09pBF8TyKkt0g2GByAz45R0vMxeb5UxiakWe53VVxcs7sNKR7y9Y987SEDfojng5bST9LP94fbe1zZPguieuYB2a/icwtC+U/OoIAuHA5FzI2VvyPeVmiIkZ0RiJe5sP4a6p3gPCz6PFMgypSmBvpwI/pG3v3hCauBRu2bvtf+iLLp5zU1kxha/zYYZl2tUGK2VbTZNlSb/uzNmMXCoL0NZ0HMbkEUTq5vPs0N7e+V10t/b9DGQZ8Pfg/aCweQAOyhqXpWUkDpUfjjDVcubTuMPjEw6+wRu95XHAWGLP78kbUvXDQmwG+PjvDx9KpmTl/cdJdBgKlCIICOmrzEv3jgI/FDGAS6Rxd4vgH5CrAxTBBNb+mxxoQdwwPnmI4GNo1GFmMiW0S6cQxyYYNiivwvwJhSScTEfd6r21VJelkso8IGThGjAxwx5Bk4c4jzoyhwGxWIw+0na66aKrTIRRjUqU7laaFlEXMvC0okDcLnADJ0yeHAA7/3JkiQVOoE6YuenTC4hiUsHjnsyXf2eLfgRgrJnVZBTfUbcKoSRuE+I8K6wpTLkqvxNetNFd5hnGL/7hH4OyO3l4fW7jklVHw57CsrQqjmbA6nLczpm70zwTxRoWqAxNMd4cv3eBKyYAu3Q+H06+CuUKg8lMXhBL56MZMKiogVVSQGcNcXoTrlfKYE7DFmy5tcuOm4lUJSlNi50kaHiuyA2TGp9G17vNsREuPIanvV3QC60FfLGcmEIqd872SNrOwWR6UeJEpA7fE1L4OxfL+e7svFm/imDsUiI+Cq46YOEBtDUu6UaIwl6nmXAYG2cerg9ctSWIInyf+0JcYLSaglGnbDw64QM3KdC/UbnueG6xgMO7sOyipjkHCLuL7o9obML196QZkxMYu9L54KRq01z/GKqmXcly0ZgGsuuUa0LjVJyuEZSi/Y1q3zhQK/Q/g1Qw6Bcjc3EcBWUFS4mawPvY8ffLUaARB2di+ekllA2vYKN3jVK3vl+QiKib31Lcu/XPIKk9MmYvIf75VzPDPYZXD1wJK4BYbVLymbNj4oyjoWEykaQ+2mdsbnd1555GFuLLyLc3T89Q1qHPLl1edkE+pZm+Cn0+JDDHqcm9swmBb7C945HHMfU5TLmXVhnPvW1xzgixUMLrDHwOxCLAbS1ASbGNj+Uh0q6biyGGZAstrz2ee/RGO7E9gQ7rQIGLkFzYSr4Z4+9DFaXpc+na07GFjpmbjUNTunfQL4LGh0LiDjaAKYqJlPvfLE1mqE1mI0DcMmWF0fVk3BH8JTZaZh7lZVENrFTRQUd01REbnKV0dpKtUe2SCmkX94pGpmYKL0zp6yZpJwBvUGeuiB/JP7SmXmK/AZ1CPX8bNHyodn/dBuFbKsl5d2VBwz4rzMXZWi2OyiukZVO5mSjps6e42H9jrSpfJRavqTAylsyRbd/2nEZWBQwHRPhMAD5Sb4BsmuudLFuIiEQgaAk/ob5YDo9jl7NH/tDfP/qdYZDaCvcoZYHNNSgTPZquRKpDsRt8f6++x9SDED6FVdDT1xcWC6gMSPHOlike6HYjEe6NQDqdic+aWReWpmp/uTtVvpNbdAV4xJMr7STU5E9WiWQ/V6eN3Z68B/Gnuq9fa3YZwVl0tiPmKdoOgt35zIJWMyzeGrnUfXQa8pWIiCgaO3QhuvPYvD3jmJZEvnev1TkqzKAINvEgG/vUn0jPw2w3MZHIPYIJyo5TaKWpSUHfO3apCslIgUXt6dpiQ2Hizcn2uIjKnnzMv7VagSXU7KxF7Cvp8Hieq+47uom+33mC0pLPosXVpk2/7/pyg7jzbGYw9YCHZ0c6dKTSMvnvQxEILvAsDJGgcl0MuY4AD5yjyVFS+q4ozXQLRuHJEDiG5qEnPXymS7w1IoRVoptXhmr8stIt8FeEiyrXmLl7oCSj75GmdPvanHYH/wsWZaMl/7JVEEkEPEDVoku3hPhxajYaTMxmOwzrK8AR3ype7/DG0pNv5Xi6c6hlzuT8uVXm3XStiMGJ59Orc/Ux+bfxuxGeHIThtGuszCOkjPB/btYc3/3/WRzkJlzOYt5rwuvQeRqWqdgD1VALA6qHmdavl1eUxvlbvnpcIaXRYEy2gRG0muL+oSrGXEvaGeEMNvc157tN6q4aq5ojYfyrAVsmx2wpn9/4VX2LEVZlJEbW8e7xXDsylXVBVYxqURva1h+BToyCpSkfaoqQAg4Fse5DzjrL54PxKZc7aFdt7moOIjCCq60YdRBtMWvs3X+almlsSlKC9W1tk/fzDfxJpymGzXPPI0RraXtG8vAdQ7jLMQXf+m1t51CTuwvmiuPJNGmQ8DDGa6HKEvDeVKc0XeRuqfnWRXE7FTrtvpeEEuYNJOkktOlZgPNvYJXWKAtUVMKXzJG20WlLFKeJjBNvX4bKLotP4DgKduv3nwGPc7lTio2/2qns9/hJvuWA95YArp063fbkxsgDtPsKfCQitL59SnO/o7fXYKvd7bsdYV4ROKAHIjOFQEWYBT5s1UNEtV91xbV8QtYUMLihL5d0cK6BhWu94A3PSgZscMY0TNLqZGQi5DL841F7/BEZE1Zbn6q7RKp6ASy3GeRhytg2uRR4HP5t62493aPsiH+tnhNtAnMC+tJ4aYhwm8F/uNqiW3S3+wDlMCVxeyY4Hym1oYzM+6e3/tp9JIUJ85oj7uGdmMEhtYH4C7pSMAkAorMGBM77XKVuOOuTCNw2/o8+IyrtkFBHRL0N/M9VR7gFf/wacDsynQ6S1SPAqBwc4vKlbiwvRgCAbPnx1WRUkmLN4GssAt2M6EC4o55MGMOonQXUpJ65ujp1Ngm5HpojWMjcowf2RY0vCZfGJjExzJtlvQKPSggOtrE99hD6wa43z2z2XTxl7trKYmrw+VP89JS17RwtGwnN1IVM8ETMBzpniLz7niYV1l2RF0yGtjcRJDayOuhMOit+Tg9wvkHn2nO4y5aZkwnLWEvIkTjZHdMTGmt2ed+fSYNMlvVnbqPUVNI62WjnrxHVPZlV2f78QGI2ZtROC81etyputLB6/xMPQDW+xbsq2T/OTkDV4qyEscxQO0PoKaCVhMjtziVYl9EcBVn3xEgP30/sIfJ1hJ7wp7kwZMsnudPoFgsLZS1iGczolsEDcwP24ftKihLBTm8B1S6LgzcrqOVp7xtYkOQNrLOrbfFuTpWQfUZ41fYNgsQ7gNcMlIYdnFblGgr2HP4cXFmLVsCWcZcBIJCb4QelFrPE71IoqbshKmnkxCbIv8mEWmH1fFy69m8znDZIsPlE7W358N7i/2Q4cQYLjV13xdnWyOnOdiFBIwe7GUdg81St5RROabbO5Vqo2tvmLBKzYeuvUJ/Y3PKwFmck4L99/4d3l9vrVJdQq8idh7P7fGZYX8xDc7ArzfbPopgqiKqbdfjfYLzDXyb7BbGQU7kPpl2X7jua/25GbPjJPk/CdehoWGiKSjvcusWkdBakO+IF8Fy5+6j230t4bQcNVaoi2ZY3+b/SYCgifrJXjvEWTNvILOzzPMEOJb8Kv9Kmfgqo0fbupzxDXakrgJmEatCPK50m/C5XNgxxWT5QUszWryUEojqBxNWodDba7VG62gOhjGKUoIgY/J7zwrqgQbFe4K3oq/JUoOL+8tJ8zACOxunx2ycnAVf0wyk4j2AtRkHHCK8tksd0dk4Oc6W7nmWkH2icWaY/RS/8pnP64R1c1Gt2iak66B3V2xrzMeqDoS6iIBvmfkmz/N8Tx85je/Q81Dof+VOk7f0cXoEg9BVZ/i/TBvm6BlFzCefs1X1Nh2LTL1yThg0U8EwfqUcu9ReMz/+hjE9KxGxsFKe5jOv5e4gkyISNW+e3GzQJTZbBeF0rKBFmM80dxeC9QLqa7bZAG8f/IZidU+QWWqSvv2mLtFhSGBIeVk9fypMrNp3vdeXCp5ui7oNmVflaMawpxy07qM+B+Rht1BnJcUgTDyMhbFfElR1P6jHC6h3AHYGv4gE/PG7OW/2aFyZHUivouAqPTk6WsO4SCoIILb6dBjYPsT9Ocbglfui5USikOZ2z5Yy+S6HobHI2L2AUC/4Z71Q0ZdgiU4QIg998aSc+HBT1Sao5v5qE6sJFgiD4JJX11tcHoJABG9GBGP9sJRulq9LJy728NvnixWGfgASgJkdwmiAp3py5WplCThOTCBfrGWnnn5BlsSmzh84wscJbBCXlINGL7JlFkOJOY7iQTcaNCBKHcAiIJh/pjagGMAfMkqq7N4PyWxoBVn6VtSvkysew8smz0W8VnxKdz7ZYIjjpiUkAIYpd5BI4/FqX+8YaDfreONJF6RTfgVL9PTWafuJGBaTbfkhK0tmzF7+9QYUlrL4vPSQcsvt7bVOxCNBQeYwHS+IIZE3/4PROGqzd/jQGF98/RILPZRPFialvSplS6lWD0VYqS4tWkhSofEePsiKJ9yRM79A8duaWE76J63+u4T82NM3tqnEu6Vi5QYL06uOGDEgQ/jv3UPSbUW2SfBdIkj/MojVbqjRKQa2KxZjF50TxyQbfc5wst1ZoB7MUEnvmLcSrH0Xt8kOOBktcFqnoeV/AFIoaLdLaHt3SkYAnRy33/nefPRSsN0lcbxOSs6nwvtpn6p1He9bEVb28f80LcBjnvYMdpD3QQAVevwlRpBDVWI2ffGQNqwa+1ZMR0S2cXgj98ALOFeEZ6DJYKz49/MSqKwEiHQCeRPffbJAUc0s5c+V/YgGVtLTT11q9LOuNHku3Yx0lDgGUXE9uKEHt2YbKd1nxzF4o4zJrTOxSkHhxXBfJfnhVuZlmmbokcznrw0neB50uVxNCp6OGwZtrITQt7cywXrw93s/X+Hw6pIQetZz5h5e1rx41fb2hreYCQJvebRw4kItFW0gvh81qrnQjXU0Psqfnn7vC/Ds0Ip2dFc6d9h1YItOdiPYgwP2XVekM8emJjDTnkCTwFCRukf0RlUOolcWqclbKPRU0CYEa2J3jzMOXBxp+8UoYNG/28ZhSc56C6vS8KHl1qsibHGV79YprnbqjDtOtoUQVQ7iakFfo39Cg4LSSgIvc2aZFHx3VufvmMVOCYLJ3tItNWWZMDUGP2g9E1pSSfEcJxDGhOYEliAYqQh8n+OL4nzmLbezg3UtixzBphhRO+AAePWt9tuK90Uwp0Ar+EzDnz0qoATsJSlrvBp6FvpFgyyGyRW9zLPxhaJMrSiGzq2H2tnMqJzVDNdBtm6B1vqjFjexXsLgWeD9fwtYnmoi1+e/Xm7Hp8YHdju7zvNLrg6ibhiU61EoYlTgGVWugbPYzKdM5MJLosehjJaA38Ms/rKUvRZhTLUxYc+6LivDcFjMOYnA5l0NbBPgdaSqCCA1unBwFpQKtIIPHXSgSwAOxBHitDvhDiK2ggd8xl10w54yF2zfF+9N6dlWFKpppch2/xN+5fXiWpcRxlNYaNpNFkmlISKkvl4xxYxczD+q4+2lXRWOYF5wl5Q5nhia9eEeSVbhTwzd52lhXfNQrvVWsCLgql70GrPJUis+GCFnkmKxpc7VQcmPQU11VIPfsFAXsL6kMyFKjNGZ8YcOy4mRnd1zQujObGELaa3YfBiba4AbHnubsGt7p2NdsvB8M7FKWPCtsOfaWTGK/A/FBheYT+ORRkCSWAx2gS848KIVU+nbMbP6yw8R5mPLGirk+csLWAuMh4Cn3jPwRm3rjYSRj9k1JGiK7cQ2DysIzVgiimO59IjwIMdUYqW14lDwBo0ibn+jo+gAlaCv6kjfCw7Vk/OpInUa+Bwvdy0abhhdmW1jpsDzoo7Gx0osemQ3clfHi9FwO6ZV+LfJCtL5MWlvGVKhLfYZshHDIWZ5n1KXaLtDRzg0loTomRUt7/QiL0CpjTFo980R54yzFSek8FiDNqLysj8tEy9sFnvSdR3G88TmlRLUIPY6HPNMNt5CK8tGn+cJ+t676cTafRXyHpM0Nm6jpjVrrch3i3nk7hFM7ldDV7ol/fchnb0I/Q/C63Ea77pn2YtTbijYdxh4nSmRKkNsWkbHiY0Ysv1nhy1W5Hsdn95+wx4iJdu//1CIfeJumttFeehUk36IG8HgIfosiKeuvZG2DpfYwIdalQTpJlEuOnQUACqBKnytqKnyE97zyWxT4FSk0D5hV8TwlfZWWI8cq4pR6MvWWLE5Q8yEO2uiwgnd6hyzbfaVJttzXl641XxJ5UZ6JLkTgbnrRtEAGavZBKmufHp76Uzk4pWFWdQAOFyA2w0ydvMpAWO0OnLhorOOCzHVwjkKk6lRxoEo+F4QdjotOB5MoYVLGBKH8X6VlMNc4R2XEK3y6Ts3YyAOgJZbS7jPdcGxRNQ0gBFMenyjhV+t2yzlUpYqEl0d1OGmJLvaw/k9uI4se3jVLnR4vZRr/NIeUzc1wmY/1vgexmesjuUvPQwwCc5aeUaJXxVNcgsMmx6o/40CBXHFBwu9S5DkAqdjMYRGpBiz+jUTjuls92BufYp6VxrhbNX9UCo2GB/qjbEaXdQHIQ/6FDoDyLnNEX1x0tv5mzWZr/9HE/RbdI4qYc+qjb5M6Wmi50CwdapqTncoJlx54E3umWIp9dPTlgp98tEaTj1CQpEdwiyLSjkUri3GKAIS4cgajjA5aoBGBjGzg10IsDYkXkbP6T6i509rZifP/sVXT6IBOBRuZLj2sonf0w3okWa5e6Yvw+g/I49Cv3JKbYM8TGs3grmLQCsKsbBa9JYHUL43DwhezMgSgUYlkFFKk6UDz75zi6uvFFAHi+TKGIHuNQC6anA9n3oHA9ljhQms2MuOBs2E5PISMCuICWDsH4ixQMcRPB8GLaXrZ+szr92Qx8oUTPS8f14n1HmIt/BocDL1YZ1lrGFXzcMeOrmfEP6HGcxmAJLonmoCJWtfBXBSx39geM6n7J5jGXjvArpJmdfznrHbIgLSRR3bAppN3JO3eTy0u9sxzVsu2ktAlLIsFZStB4UHfdy7vApJjbN9R4JI/MVhtABHNDLvve5S9c7HcpChjy82GCLk5PYLkmkQl+JtByzhdR+2qb+rh32CcTwmgyXGzumxW7qfpBpqNrcAflRb+VTFMnErO3FtLTEC+lyW0EasYKJkQCWuZ5Man7HirpobwZn3ePyYM6Mz0qDtqqUaU+qWzzxHgwVcmtRWHP/1rjn000MIklBEW9ZZFHtVAwjvb7A4CuNdijTzOzaY0VYR6gTqEEgoMWoPKwvNRksvaRSNuoWBf2Au6ZoqVaZHjr6NaIa5Gq0Jv1XiudUxuIsbMdvFlXYd7122l5S1O3ndg3izFGpqxnnTeuWNBeROVxxg45+PoifNG5OIAwAad0B+lSncmRzWu8QQt9Amt8bYYdpPGjkcViNdxPekeFzmKec3h/uva31qmx0+B19V85I+8CC00rkXaZa7ZdEzGgdDPPJmcPyHhJEifMQvTw2/I+XZrukqrRHo7vDiNgUa6jz0GMPkRVw5knjMr4RAKIMUIrrfGFIxbCf883aF3lQZDwU5tHlFKeLPqgXqT0Rgc2QuR+i+K60zeByVGw9APG3SxTTmUIJaQ3+lz8z9KIhvxtDSVNVqdicvKGZhvSYd+OLfbJ0hU5uAXTFBv8oAri08XT72R5whE9Cx0znk6im6XZ41IAHL+wn6x408R1JYLXIfVF/QCvcyA577xmi03A6nbpWPuMdWVSIKR79NTLTR3FY4oL2KndhWBFG5co+Z1dBgLAk8MdeURedJmLIqMjJfqCzdMkTChpgE919q6Pu0o0QanGB+C1HdeQWkX/Tlhr84sYl8fw6R1AkYikjGrD/q2SnDUs3FIlI9o/D6cX+3WC0Ujr4Z4SgEVizMykN42g7MK5F3jl87VM0H0IirFWv7R7mTU42RQ2kDmiJobqcB4vUwkpU+C0BxnoFXf8cGFiGjWbjc1KjoLY8hiiYF7hn/6YlTRdfq5ZLWmKSJT4CW8e82h9eoX3c7tXTYGA8vIhO+x5BU5YUreP9nf2ZeE34Lwf0r5rcrb0s9NYF+25F2zr+ed5dUMPsCL68IEU+IYZt5U3XTK/+FI7Wwt2q3SMZ0auwla4TGlCQenMnowqz6AeBGG70wZ6bWRiC+72Q5cMB4lmpfCYLNvQV2ayjhzf/uRJKmARbjphMzsyID7Ch08+JI8CIvkiX9Iw1g8AovwzVkM+mxVuYYspRQwl+MFV5BfzU18zfis9hn4mj+DUPUCHFC7KA90wxqqDMHQF8D3PUeaAfOOEtuN8ZzBi98gXtDQn4tIinHXWGz2iYT9AANaRo7gt4S2NZhn3Vq5sM/h8xOHt9e+nUEwwdQO9YgKJtoBPMge8sn70768RdeACxsKiW34tBI59lNTtpswzA5kAxJCNhhuuCZL7rWKOUpgRkhuf4Ku0Nv9Z3/mQaP7BwBp+AUZAz/gth0JbKDJcDXKnNj2dZJtJPLDcZg3vXPtEg95AobCoCahWHwmzbzfdS6VszVgwsTsXHsAsMEJ3bbd0hSLwNZx8LoYNUN4yc9gJR2AIj6IIoh8vh/uOr5yDrBpBaA2/UGqSTAkaqcAfDkfAhhxFAmhBWGVjFzMZa2AUAQFdEGOieJk+fL3hNB6WI35lG3+Zzcu0NMRI4fCMTm3kagQ3pMYuoT6ow+Ma/9Q+IYdvmj50x1rhBIyDuOLOTSZvzfPucghJOubRwd6SpmTwdCn7uAruJ+6DJt0HjzOkMtc4cdK6BZL5Wz7l9nUn9lnoSWbViOGu7d03H/BxAOSXtMMaDVVrCXM4oiFC41HiPB99PaxiX44y5iCMaOdgWPa4s2CGHdwHveMzOoVmvkGAFos1rEbbn9HBtQo+jbpGy8sv3ElFSz7la0BhN8OutDKIW6Iz01+eJCMiprvmFuH5KJdpaX2JsHP2Ipn7JAYqoxjAG5Wt+K2ib+9/GHB+ZlAW4ohhg8V6v7z2NRuFlisAy2CXXxL5SHgOTSv5pCrbjGik3OM11Ypgm/14ocq05ZIeDmo/PAVRCbHRIRs4Kim6o/dDzPL09QUzQgNJ6sr9Ldda8o57yAJ4KPajUB3sX5D65LIt0AdjdV3RvSEubO7g6LIXXEaZyFlwVE4VhOZ8URXgn5DyjwfUpCrSSzv9pmdqsRXW3GPBkxZZCKsSuiSjthCvhHs06tO6lbJ8WbBOgCZgaO1tzLzMGJxjv9cVKJvEvQrVn4sH2wtXsu5edcWOO1/XRYiQE9ESN+sIUAEifxmAz5GGBIoxQUvdViNYhoipsfqtLQi9kJ3ye7gbHG8XZEQEnWGns0cmam895UdpBdHuFkL48x0Cnug4KQ6A3wb19GNDeuMlUh3g4GQx4jHb6P9BKWLh6VHMfU/Q766GN1VRm14nz/i1u4s2tIjitUlirg64AY2l8nobTd09SOgyBsk/j9evjIc/pCZcC5tY3KiZjGQMdvLeJmBvpjS+3lgtn96ND5ONkmfLAITsrwOBkzdjdbEZfsbyO60g+ELflVvhgoopbdefyqENaxlx/v/0cNMTToARYvium8KTPM3n7aB4rO/E8zPCyqiQ+lfUkK6gundmsze46eOPwsZKtunVhRzhzkuP+wfoQ08LB9vkzwa2yDTR3fCQkVXgtGnjYxONK9D5C2kqmce7rGZ20lVWUJwlF4TEActAmX2ABgsrxNg+TUl1BvRPq8TyAx60Z7oIvYhYlz7LGWFViwyHJ4G5qrrL3xywranvH5uwIwQZgmtJlj4aXWrd8m1H5G9XlkQnvILtFI04hhcTWzd7xIvyMUeVxacGt7/ejKffYy3OREylQz3FzeSOo0DZAHjJUF3p906dPeG6PCbKZ+bsm6wVj0y5tsG167knia1vvR5nO4PhP7kkMuKbasp4vsMVNzYPtogdioZMOONwzseOLqVMKkSKZUWU8aDN+XjVo3i5R2+dPfNmzQG2Fb+7rjay0gH0ocWRGR4nMJUxJbKIIsf0c2iN2Nj5pOvUHBjVwMKHxk9LPKOg7wNIQGRnXFW1BLJgGzY6krI0zMa58Y0fbQuhfr7LURA5j68JYP/MqHSOcE4IeMV2PeUuzf46uZwdOWv13LgwriFPGTwfl6okSRjxxBz7fO8gOfRZLcUYokP3xcqpedkWpI4d0XnDV4N299KYM07ewZRwsyD5GHkPC9urYDMk3knpAzBl0sTNuYL81AY0o9EfDDv7ywWr+B7B3lsEkavcq42P37KwHQFaenM0Li+NmD+ZJEhVfADQPp2UqF4rPpjvtJwCeKE2A8HLp17o7oO6QjfhvBG+RabqC83tV0lVWHDdDI8sSi8injUJiiM2Po+Z5XqdlSmIrsjexKGiKGqJ/GPxXWhEr96clfyOOsCVsFBBdbYc5RXbBdK2MSFOQTvewm5I4ueybHUwGrH5WbkF/61ss0sOR0dpMWjETKwAEfOyUH+fGsYvbMLx68j7hpXHbZNO9y/KHYUExHUhFtz1jIWzmZKF5liVqAeThCoYtSUcdrjD+fENKxzCgpRu3TkEdtbeM6hitstxjy8WIGKNNYL9usdr2u4ZfjDcAtAkF/T5VbrMszg79Z4bgwrprTWEyBtz/ph0R0QDd7Uc6xAnlqPxwLaobWfljYE1gKxsPBE1vishQqohvyV5xW1kvhlj2K9B48XGIH1n62g2qnxqpZZHrwsdDHZz7+SM16s7HftimU66sSWEQHO88HHUZYzIrIkWVu9GBGlv1hXTxQB+G2dpZfBuKGMpEs0SVHnM2EdaELkXkLQPA0VU6L35Gt8rhtDLi7ZgEbbiXetT7bWx0NKMqCYmX2hXcJWrOrsRT86yrp5tqk6mlj+YOgeZFFdb8yDSgsTaFOTIIqqoGhrASuc304wseandzmgNFFkfejtKtwzUlBFy1Nh3lTbpcI/l9Bjp3xn4v/exSf/EuyMrNL7ZAPZFYyPhypBu8zwidxBy4DZBUreEh0LzPVAwvC3wAWtOCs0eQnQShgXHMOkpdsEgC1dfT5w2u4sxksCUynbwcPzAwlOklG3MfGyn7FwGr5jcQ+7/d0eXkX7AOiqn8mClx+zG4iBqPpQmnQHZoxLPPfXssP7cijG2CamqXeJuQiR6WvZ+VdOkFk7wFv6FEUlhxqxTvJjU+jteAYiH+er95Z6N1+fSZwu1oMcuTpOa4VZf8autjbX0G2QV8A+OzuoQ6sPMgygy2JA5LkOCKXLgMUQQQfcJmC0G0ilxvR9DpcZfdgipEp+k81YCcHyFBKFUKU91zh01VnYYM5WlzV3GPAexH8ikHC6S9Naazwj5djn6Tv7p9F2ReUCZ7kKkerSgy4UMe7DC4BcqxIybDbuSXgHBmmf9xaLYLs0RIDyiEVEmWJB92i32vOKSB36n0NkdVKGFhGVa8IGhvIzbLZL2HVnasL3C138WYYy1++guxKEtUPZYPGkJWuGM4aPiEESf73jXpaazYL0OGxniO33zUZDiyv7XR/ICC3JePt0vrkwXPh5obUsz2Nfv6LEggEKPuWb9nQp9POYv7Ec2SI2ey7uRF7pJ9miRMgfMzj6e4Y5gd8a6fT6Ahn8j3H46k53b2LLx81ETpWK6tpyPle8zGevnQsZbWSiz+cdOB7UGqabg92EEeimuofk5sFVvVxx+VHxn/g8hW9V7Q+YuzC/n5Q5P/d2OAODBipW7tVWbXC82T9KQikrB1KgPNva3yj5iSmvqIleW6822FF4giIAFisUt9XQkFYw82LwGD15KGdb0mYS13lVxrh7LXSMb1WL9ni+Njxrg6NtujTX+m/dOPVvateniVxman3Ev4SQ+vAWwS2PpuAU5AmZ3p5GkZSIy4rs4DTc3fIVVIZvAaS99+LSpyRjDgQ0XvD2MCa8c0pgz+drtVr4yS2lVYr8GMQzZJfN5nfrrDTUt8xrTfggi7GIj5NorL7n46rNCJmwXZjb2LaFux6xe5LOASJQI4v2iCjrd+quvvkb1U+x+USnx550bRYPwoccQNM57Z0R6taLOD2TTLk10rnBLL6seNtSoSuQCuMA24AhyAsFc9s4magsVQYH6KOuQtcIyhjS6XjCzUAvlTx6MdeuHxduz+F9LWrylod0pLozqvGp4jMp4lJ1HNaAWu647vWJWrTPkS61ciDNRg10+JeLsJnAfHBBtbUKJ4G8YoYLoDWnjcr+o/wGrZGqWdOJw7+GRkEa1lAHrgGwdGfNN/i/7aL9iBHLchGaEIuC/WVLHmDb81s6lreDznpmr/ZrNsvZdx5ji16HueaUMia1TPuSSmOEYFJjeVfecTdZUlUIW0/NjWvsCww/sEqRZGz5Xlfg0ET2zOzerCyt6YI7xCBB7FR9G9tEKJsJzhJfXoR4/vKBaZOgMcsrs9my4WhI9MWcekDrDXqIkeschyLHHLSN1HltxWpDUEBqdAwSqDMfHGWKouFtcG70hFOLGl4/xMegr98R1WmmyJ8RlYGbw97+dr5rK2jHdxVwqe5aPeoEGdhhZxxu+AGUPnY5p1HDEYK6wwV3WMvvG5svPWbB4kg3le2D9imAWgM+DT7vU48hl6HKsfQp0itic+BUy1TRFt2ZSDiG/xL0/5ie6csABj6Xb1S2tSbOHXsNiKVC7ZjWBAasxniDXpSwG3Hvb36sWCQ4o59ABep6RZjoJf+AlOAirfS8Jo4US6dTgs4qe8nFSW1F1Hf8T+Mc6XrH2E60/D/TiocMtj2vwxH0YQWTcaUyUPAyKws2E0TxyS1QeBxdKNaGD7SK/YzB65OXCbxPO77lAYQ8YYuKxiVZkw6L9J/LXZyCHJDhRpdhI795mJvkUEo7Y+KbJ2bibOURh6ZCa2ropkCzmco3BvhKrtkOVcIYcHyl1LyEJBqJU0FGEpC/YrhklqX+YpLycGHPLZeEbyvIq4vUrAdb2SwFCf+swwktg3IwERxBXLizZDts90I3bK1HPdtx9hASIn0xv1D3HSBWpjobl2ZmDy1YjoLZL9xGe7/DmQ8Vd1r5TEKW4WD5cnKvx2rquyyF49No06GBVrQfbFj5aguDspAb+8zU100/xEYLjfs7jrJDx/9x8qTRioAojt4K3C8c/ZJz4GTIeUVhn5+lLSi92aRgD5meczi1xxJ5ziyBn/dP6rTGlEQ9YqMB3slzUIk5ydjzxX+8DBHuH0FMRdarUHkiHXyBdv74lwXIX+WxoRuWfdYtHnR7ZSD3wW8jrnQTlzMdzdXUlUzAVmIlsWcav2Pw+LVKTswJ9TH0yiPBIIDt8MISvDqLhCXwTF2WEO8sZqbE5hN1BvIUsVgzBMSyjBDREGd1RaBkgoilVhwIZ+nE36QoaAFRtnZx3j07YUTZSw0VDKrH6iZet5OpyCSrZQFkrqh9MQcFisj85yDtJH8G2xh8o62AOzuH80BhBFjpI90Dqx6uBcIOqzS+drncQxMzmOM3Tlv3nFQLiT/pVidsjl+B9Fv8CR9jbSqSs8XtREmTSuSB0pmv//ftiswJF/DOAoLLOB/YIDqGqWFS7qJlfk9Q5VM8kf0CBvSPLglphS5iyy2hXs7RMXmIN41rM1Ckk8A4Y4QYr4HJwlZRxSkaDiPIcff4WAMDhzAsGpeN+cX1eThD9hDxan1LL2p9zjj2/MZZa67hYqWTKu40oBqzy3BmSYQM5wx7mOpVWFqbKapCkmqggohPTvyFjmn2XjXe7Lhe26aI5pQ1JPEgaGj/hmPsT6bee0HRZfeLZMpKbvGosTCIk2WJ5RL2R5p/NvafHPDcERT4ITDQgI8BMtu/1mkEdazXhC8uNA6DfSc4z73l5xmOY/mQgjnFJRjg/azzJmcDDjqJMAFciEyh1VHROHQqcWdpSErmdHRUDVmpFvoApzi0BignVrkS8A+j6UQLoNyzWbekLlBS6Bu0xW1hm8IrLzN3gXNDiBXFhdzRA/hXfZ/F8huX9E5Ni6wajUauy7+cWej0vIEwJzqmeO45PagC+1DkB6ti0/bMU6BuuaeNLeGEd1b99l7cS0ItzHOIMqoEGq7YDEKgiWOp2aV3/YR6DkYhYcWMHvFUI/Yvd3//ygFLtF9mgIDf6Qeza+8I3rXKQaDbhr5aa/YZQb/+QBWvdE7ejit+oD1mxDEKzNcknE1PYDCmN8kT+dXnV/gqv9a7WBT0nI32BMHkv7i2AevrOplgVjRAeuVj9wQG/m6ZQSRLaRQyi3uAjn9lGSRmmXt3s3ZMSFjwL5l/NKuoaGk9INn/EiUolKBDmyyNjtJ0UoQ8sZ5dGWvUEjBqsGWpcuN+y4r/VjMwI4Fz8n11ZhPmcZVKDCgDa/5BMInWQ4345cWibN6I10lgdAiWz+hFY8ECMvP6Lzd4KoxpZFNnVnhXcY7qNgQIM/gdDom0q2ZA6h3RFJAwFIXdWLTMIMNNSsjv07xbtK/zKphXPy5rBgOt0G8w6hPUTeUjV2832MLTdvAkl7mAof2rhBunJcz3txU8K/cg8bK5gkF4SRp/4UEzQYFPTtNN3II83+I7FwRa3ho8qUl2WLF7p9fWjOtuVpohxyDYofYfUpek0iMqtB0vNEly3U79bJCHGKtDvNhDXCKtZbOFYc6wncPmagpoPm7IfW1/CvSXZsD2GTxGUpzM9PxOdUiF+auVi/yfuvkcFPWG07A8xycTI4R8sLpWbpaes2Aqv7VyLasZB5WNrG5/+x+eVLaq8fLxAdKbz20aOb0UGEX/YTvDYNoRGPF4rv8p/5EREL9PVQpXdqM6OoGHKjXi8Fr6XaFwrYr70iTKuAQoW1McSNj+qLn0cUSNK4qgjHQ27GE1G+9Y4NGAaJz/A1whEyOICOR0lSjIiQPIbDiNMnjPbLq95q3gcaOyzzKYbBe3QIPWT06xo0kwRYoZfhOhCM6eNTOrwnNAZ/3Yt96OgJCV8mxM2yd7Tetcta5l2CpIbuZFejT6wFxLgG2U0SSU0jdSrgq8vJsiK08daq2e39BXebE8FjUqqHiMQg4PGPOC6LbAcNMYO8Yskv6/73kNiePu72hfvVkdSvVyVjy7xq75MoDqT3K6J6VrQWu01o6lEqvvYfn6nxlV2Mfmf6xZS32B72kym/ceaslwJ2tVJNZXN9QKZJKngNHdGN+hVKLfBYuBQcadYFjRtBhPf1CwSsa9Q4D5vWwyRTFPrJtWTiKgk8mQl0NiKH43mMi2q/neumrfOSsSlV9ImoX8rRxk7jW9CJV9vWuX8vXcsCd/aBB9T5toOiEDJArzjq4e6fFtn7HFKWQcgv+kOJmTSA+Y5hcK4ugrCUUD8FR+ocVfa8DhFXRp1JspRbZjFZPIZlKiaiudyUyggyjQW1bfSBPzytqBv3Fp9bClhoMzNuTWMi4fjq1sj7eYcIpw4byUt9Zox+ltOLNMx6B8usdTLtL/zisvyvJn/50knlBSfB8aMUizvaNfwVcB5bOHG4aWHjKfSa2Beq5tBK0ynV1KY4vzJkfvogFJzagb56Jst6oFi0WL84P4OwISosbRBZGYRsPxeJdJZau5yn7zkjZXFeFvi0Uuk6rW0cdgIzGGUAEsNkn185bOwRYJRPA4BAVYyeqm3LsrQwDZMve5OywvQtutnUsvt1aBm4ZkNXoiVcitfK0KRcH7ClH3HBVIOjL5/nIC8dE7TkLQKLUhodSYdwgzea24ynvdWFQ1DASW4vwElxAW+3klifvzV/BLbkIO1Gn8felNiB2P25PDDD5DUGhXJiqZoJpBR1qMpbo9aEe4iwIc+oa3f3pbStqQzZQhfM3KyQ0Rw0XCinf/n8iBKwO/M+zuV1lfAoxofj2tGbJq6uwcrp8tguXvPponvztz4tVovaQ0Nme16zWkW5dfku9b4R/Oxm7y/HBEFBsnvfhsciTOMMXgdzkR7pQbsaHTI1wQnuFt1qMASLycU/4SaTpmuPgGPbLuc3zDKk1PISrwnP2hpvPrepdZev0R7PNoNAiwz855cONT/ne3hRbpE3NxSKfwwJSu6EKEnxaeuxNj/wv+4N4u+2cZ1RQdHSKKJeDz6/vtClsdMK4JkN0RivuVy8o39gkEys5upR+G1rYuDvDBLBQHEQU13s6Ak+N9dUaezB6uR4+l2SaPEuvhHbX5Xsg7LgWjT3RGxDiUTXhGyZGnspY+tw6nqVTLark9DTSYjjK3nJJYoG/JEeNQDloXreSFijlHZPHG0kCiOGA3CTK/PeXdIrqN1Lurm+30neB41Q6sIWvT5vySGWiYfQqfex+c/wcSDm1umJlDLKEatTcso57Dtfba8ukuBn/JFEPqb2GwObVoaJ+a7EDG9+v98s+LVsdYdpigSl/TTNHrpkskN90E0gSgh7nKqm4nvPQogosDhdaUtowwR40JYUvaphS91zot2LRgb2s7PbByxoTHe4k/u8iTPzq7JyFPEJsApALRhqyXQQSiQ6oQdhun2cJJJx5ysv848VxQykcgYkPw9B8WYT8u3ldCv2nlCrGlXFtUYjRHJEGcpMI9DQKrG889Nnt32q1mRFQDgdEm2YD+9e6GXuuT1s0VMC9mPcNBLhQgV1ltntAmPskeCuXp2VFdQziR473mVdskYvICz4iIC2dmLZq5vOZTfUJwe7f40gL1HWejeRYShTqPJlZaCgQDOaQV+vo1P1ZGihF0TPOSas0daNXlf5cLfYQkQ7AjRYZEe298xdBKVYUjx5BBIlXZmYvhZIVVJ/FutHagkx2myFrGlObGQRyL4LzVZ9KJLHCNacalrROjONUIr8R5qVJwqvVad4WazAzXj4t7x3ZzZhWfkMdRCtIJh0PndOiEUwjoYLU6MI60BJa0qAQZE8DwAlvW1x4Z0hrXJ8qMB4soW4+3hZduzjYWRUdcuktyZXt9VOrB6itdL3SPqu/1gLdmCTqI/QU6iq3XvzyB4UNxNtWHUga3vogG9SDoWQHzN7sOpbI42Z2jrGhReu7O/WLkurOd/MRnrNc1SVNeUBdwe95u9cGcj9rs1oto2+qCA4dbsNg5sLIcQxzau7voFF++1Ga+c0E9evEzyp9BF1G9FcGC7IJFq0cvA7zhH75PU2po3Rn01al0hOjQZ8BQYnxtapFt8jcNR0AzHHphDGy8cdYUv/LRf6eg8APUIiQ9bntSJRh5zSjinReRBojIvy3oavHudHCyzjWaZJIyYF8sy25cOg20EsaW0QNVdk/JgeOk3yY4t/JtsGeg5f5vYrCWoP3gdERSI+K+/u8Pp71KKD6CpqksnmzmWs1nnx/EIr2YPWL3TKuPXPW3cctYGi3rC3d9WdgPuS/RkuQzf+rOpung0o5JZ7e/qQ7eB3AbTt10B0xpoUqX2seyBeNartzkOy4xeY/2sqD1UhSLe0u63l2fvlT30LrJPqKICdKZAJ+pz2IgJUm8czna/2bgrBdSMQ19AFhL2BGdQ4i16che/UcqF8cYZFooVM1U/Bdqs9A0pbzoqYZ1y8Ud5rJw5Muv0f+bTyJNTMW7cLTO8uWkXLSLDUBNtgCdNCMzRwLU4yjJWOcgWpK8N54jeBL7oQpUk47rXd/OfTGwx4kK2O9kbl43z8QC9X+iRzx/BafB5T01Z/MahOyv4jYf4yyP3KoGqjyMb5ewmGoJZcZxUj3O6oUjRBsYnwI0nS5tSUYnqvDCMPq8GH3FDHg5gfOsyA1ZIr65O7mK4lPqAi/lORlpWkxLQsymx3Y2XTpwTPxF3GVdbrrUjJDKtO0JSD1JqrWsjITnnKd6UN69Ra6GALqu5v+i49wZcB+GkIzgHi5HP6IaT5CvYyUmB8IUEpcmSfPNpTTSZjJfy4q/RZOpu1sYHyeKT17LcRLTsQIINKBlPp8ce32U9BUHqPZbkPDJitTc9lNa1y+XqGcTnn8TjkwkDNbdAXOKeqCgPKjBFNiL862mRbyVfDMckig/+sdH5qLfjIEeigzlwsngnH6B9dNZfRYRoROgXfxwZBsEOQjC1Y0l72nrbR6VbVgNc3nPSB8JQ1YFK1FvFW1fsrBA34gP9R0+siwz5F1Yn2RLkV1PwVeL/SCfNqpyJ+TYS+rb/sI3TzCqDRIvtTLtb5BjD1Zj7yhnYNL2aMDxWI3RtBBdPEybmITi+PinzsDo6UF2ZCZiNSIaPH1AgBQGvWObFT/PvVwJiYvF4DCeKxpTHwAJyiK0z3euEUcB3kcBONr+AXqAtwOWyF9ymHuBH2Mik6jr3UksO4QlCSI8uySXfntnS+YQpw/9mQ7095EXiztwAOfUGElKYYkewQ45awnf3DJtkLtFvt6hxvkJhtrPQV3PWlJcyT4VSJqfH2+jmElzRJMyISoz4ycJ5qsfvQ7hlfoNlaKq0+T6NLuhN65tnyJTBTeuVchB1isj3LDUk+gwzrTvXvWDckn/Vz74f+qvpIcUpkOnIYRfB2gOuYHGtgEPJxUQGprWshXwZWjPbxy1pEXiH2HegiMh1q3td7S/a42HpBdtRG3Kmq77ZCjOIwsF1yiDjnA57yj2P4QtRZhNQoXsOosg7yDcXbDKXkr4DKMEZXzbDOdKOoSk37xWzxbBrpsj6URKxCN0v80oRMfG0cYM17ptBhzMZy46E609xe5Ep4P7dBZaIRwMHF3LrDEWazX3/5HrsGtlrtyAyPAXM83knsgSlDmI7WSH5QcvM5RYDdYzOtnKnZt8psbk3ri68nzTaJ2QzKQhnED99cwR3/UMYOS10sSa2UDRU6MAeJTw9heK/KfPSNhsbTqJ9g+mNnseb7eEz3ItEZy2n2Ap1f6qKnbbj0eWIdbyW06vT8OkFk7uGfcWTIUYVnaS0AnU/TrFLh4PfMTGemufZBlw5/TIcekgKyHTpgIJn8coWKkVSk3cNWIzZaLl3WFzv4GR5GMLaAsqXjf1XRRkVYb0BRQrM8O2qb9AznlJNR0h8hISZbLcDjO7b3HR0A9yBzE+fhwrqBvPz5WXj5JsVT1FA+iTFRLPzmea9iCuYRGBA2X6Owq4enDIAJ+Heofe1PNngnztdTL2QZB55HGXKGGEk6J2gqAj+mlvfGu7bK9usKihXunFBgv/aDVUykp5YK+CCM6xdLeBkjseB2EKSN5zxVSXyyMeDjmROg7QCNP+Yjs6Lr1rnZ+PDudVxK3BB8+USkOtws3LefwPYmTY/Vowe2y0KiSR+OQ0gfTKY3LufBm6qbEAAry1QnPbJpfeDQWiQDUpyJu9vxcCyAvIiNynfwKsrcRlnEaAKn4m49i6HuiQYs0fqvHJHQ6Kh6xvIqKtWV6BFhR/tpl6B0UB67LcPQNQs7tL5ruzOg1U7gcNzT1gpsj81o+Ikmyu3EN3jxcodsOglB9YgTgtByEfCe14yYixV3WDykFkHCy/ktgsZvbIhC4qG7+ZTFhZD9kcSL04unOcgBEbbrOI6ZY9Ay9XRZxbXl+2cekyOKkig+jRQV4n5ksdflWpt8rH5ObyS9iUO8MxWE22VNXXvizSZhOofeXgqhJHc3d0TtjuUn1ZF7fiyR04E08alXaeFcy4AFSxeMehC9En5Y5w7cFuEOYULUy1qD2bkwE2ObY72FuPR+8vt0KNzTh8uB4g+p/9TGh2kCYMz+2TqSUpnkib4B4VuY1fmq0ggpJfjyrdRPmOeEZWoQPaJcs97gQYmGcH9feQQMI7lBAIxmauHBeTGFHD2rkszIBAwVag1L+flzJJXUKmbvtDtR7Ymhpgvk8tXQh7il0rl8GhgqDFqu6RG/x3znbmOtvmN3qmHBX1wU5uYK5Edf1JL+ZWz0ro5Hf36nHQqBD6v0/9dfljAN9V12hLdAVpensewqALrF6bMLvfWCPafRDhxF5kC/MDR73F8EAIbH6vUGVxTRl3mo9rRKC4pd5e69xm5Tq4bvdB9gFpALISJsRXiTWEFT+rmzRS0G3Xt3wnaykZJ7AajjB1JWQ+CMNJdUXFwlYfYvrvAsYdOEHvH6kIwHBBAmMKucTEF8i4sEr2GbTWzyQ7GcViyDXorLDjHxBdcZQhevt77fd0AcoTzMkcKwySt0gFfMkuSCe2s3OmmDgEFMWjhYIkZyoD+Rk12TAEzB6Qj2+icuSHkLtxhk/5hfcHGRWZSsntSdo1E8E62WKxl0TuqqG/e16RdbW+kmXnY85wNpHd/NWsXCEvOTId0ilwakCqq8LAZMlPelOpFPrPmxjhbyP/uGU7FCFAy2Jb8Gsg2XF2RN9KwtB6/GCiSFKUgmWaa/5yU7+f6Le8Nj2ILOf+KCnh6XTXDoEN87t2ymCvuF/7SRaNIAbb4sBkrSRR1lAu4VFX7/SQWM18xS/TrKlyF9SAcUGDO2K3jRgTRx9nb4I5BQalf6Pm2sl4/oylT3iSBkIhstsT8h/v84gt/0BYpwTff3R0M1i0j19Uv+bny2TVNdLCKBgsrlwRBS6DD9DKTfpcX51JpaNq64RoO5WA6SsaISFu9n/xiXiIRp3rgvAG8zMbcjTWaIzp/L0IkSQwXt3h3Nf2GFzmfCb8OCp0W6fn/XFRiVipHU4p8OXZZ67M5eU/C4ua1+u00d80vZz0OftcrXyQCqLlWvs7m6OfKqsqmFGCO7/LvHeyh8JGbQuZ28d6boYyQeDUHM/G1PdyTruTg+RJ1jCk/2HbsTkCuxQkwJVxpYP/FksGSJJpePYP7My6mqlvalcng96RXp3MEguC/nkPWh/bydHnvMoJEmBxpXiZW34TwBA+iTWzJBXnwZxuE0VoX/Sv7Fwa8TYbi+eeW7yntiDNGqgPLGdZdpf4uomyuz+FiKky1TwmWTEURz5aeu4YNedDn55txkYssYAU8YCuTA7RQpYcXbhbMrXYztexiHlg7SUM0P2NidGKS+fAveamfL8wWtww2K7LB9EJmZsSoZ5nY6VgcoJGSGpchRmhCFBaXTqdn3jj+dgy5QTJ4YeH7AXe9zR7blwXniVBesGPe9en4aEQ+laE1nvWXwVY8zm1a0wwuDvfXJoLKVZaRPIL9wk2K6l4U2EtKraVQpRoKv+tCm/qF6HimhBjsRGmT1P5r4E81aUfaizXttEGFOldgmXohPLkU8n1I6E4vgUf0OtZF4nx1CKnaqLESFsAFi08rrOFKFsNfI6DHhM36mbJ+VFgER9VD7qYaX+0LzT9vZON4oPkfPM2e5tAphOtvU5zbw3t2b2WiaPC2PivooOpKzaTT1qco5dJJajecsFmW5EXtn6ExjGSIg8FdaA+LAIhCnGeJreVdFavv2P0uKBBRyKq8FeOHB/NZ0FnyvW1UvbssXX3AneGzerlofCgeGk8UXZ0iYnQR6XaXWM5KsBjmLTPB9WL1wx562jKM3DJLGv3FBM8/3H4FTZpoPTUTPvpabd+EBv3NewpdEibwNh4qx/2aslRA3/gra0KotNcIuof2laYpyOku5LsUYHcRiM6N9gHAzSIqyDbWzFaxU4Z65ZCsMNd2BM9qh4C95hKbbABkOtnNCNxHe+XAJ2OssbKuLesLWM6Tr6kPX33g55V8ZqXeGroSBurxk1bP28UB7xv/KRiAYueJALi6c9trcSF9kpaQcjWdJI/6PU8fVgwotYKfcRlYPXI+M4DovP60sPSA66B7Ay0mMiVnSVijHWsihRcbBfGUfFMmBtw7eU4PRtsTJ06JId5b2lRcwKerkaxFeYdMk0o3LHxRAZmXU3dT9Ff5R6zFPn8ksw2tctT/jbOJbaQEAC4eFBKwuDS2zb2OgVLFMj8UD0a5g1Xb1HI5Dj57yLQ1oxCuRoVmOVO/oBtspT0eoeW+aKzEhwWwNA8C7RdV8P7/BtqWdm4sX5z7SLkatz3WwynKwmPEgc0tI7c7aNQ/tdCo4zONc9hXn15R32vnmEQHRKCZ0vnOB2vIhnz5ZHJN1AJJNTgu/o/O1g/50D7kB0wxV9PAJudW4WBdthvsfgUXN6oPMSzc6N7e+qhxvJGYmcaepv9KUcIsgGs/gIC68mNyRvffjpWm8izC9pHnEbdeMMNz3w21/fTxKjEE5EFraDwh532I6CQ/18MCqXLKssJPv2rkuzkYCq1R/GbbptlT0ASPH1zLQaBMDTS3JStDvpM4g8EJ4Ikmo4xn1qXZ6DilDsO7htoZojAw0NTO+pdf8xlVem2LFKivVSlb21QqZMjjcg/JWRVmIm+qCvtqa93ial2kyq6b6cic2VTj2dFK2jFWX2zT06ebcw6qaI1ZTehNN0bXMej58B8OhmwE+6ABHANgsSQoe6pIuG1zAfL1hIXlMHqbR2ynvF9Gbqg9iyAKTSDIJB0xw8EDlw78UCEKxTceCu0FLLrgcDs2H6/cV81eRvJA0ALK/iKWai3uJCpkystQ7NEAwU6slzMHa/ozHh6wzY0t3UjJtK3RoqR99zabNa2seKCqseHeapr3lYbXoEd0sH5lemR2TRETEvcsgMaceQD9Hz8X6Pyv33SljIYlw2ahu8+9MzaJt+nixwpP3t3F81Ew0zp6rR9/hnzoPmyAwdi/6K8ql8ZhInE8l5dAnNTiGl2Wzff4yRMKpqcqYD+0ap7K4d/GcaxlNVtsy9xqQMbuN4RTLVB8HjGT6V1bCb4ugEnOQj+ia92Pvz+PVOAuz/CU95tTTDJh27ZrQcA/pgP/2Qd7ZzTSTwthEein4cO+HWbUFTqwrpfZ6pgGDCnIkyacGlfrW77lfiPQNhwdpWmdHMTFsHj4YNoag7NaGsqrzH7pZ20AvY67gjgIGROd9E7DspcD6bRi6CaWOzabSuvHryB7h2T9CvFmfc9zoJveEjDTNik1udczTeKoIM6zOIBimFwKGw8HjZqlrQKi6W2A8cNHkA3IavFnHuXR4o1t1HC3Saw9tODtZHNtR4yiKCUCjpgUTfasEorx2aaOf7XC6xkGcM2xj/4icndVjXL/+FoHE96lY86dQG9EgQNHMfEHm4gx0YpXcj9PRZ4K+I9M30K/ZWCnUnTCVvC4K/5h1NL5MFG9s/4qh5I5adUoY09X3SG4WniBUzLGQE6ILz0Hxv5T5h5ag7tnlH+8nRzT2T4L2xI3hJbxCCGZCKdnGpC2gFGW28kKL7hMHxhA2eohHPwWHgzp5thIjeay9hgF2Pd/YpUz4WwnqD9XDJl5/GLQNZB2O7fsP66D64LQwQUPWpgrLzHPP6paztOx5jhvlU9Bv95zdJ8+ZHEUq5nczc7rFZqcRITqOG3wpT7tizmIzh7epF1r1u4ZOjs8CphoGTS5vJdUR2gE+kvCgNXmUjfAAw54UYYgpYxQo9x/L00uETrs3ygguxWsFOHGRkywJYJ73wzvRb8Fb8XtXarGWVU7lU3ZGj7bdWf5TJpVXbFh0v/AhTwc7CDJWCM1es8Bf7rLolLOQaQBv3oAmnq3Ums7/LylKbZKRHR7CaeXVPfjv+iuOKl+6LY99O33VwZ3RIrqILbZELUPHhW/aaYtkY9e/05L4J0o/SmqnkL1QZyMV3PkobTuJ992FQK+EcszTz7M/H+A9wMMHkcwSUj6ri6h+1LC2W8DvbyDjvbZdlozs+HTbtt1b8RzNPwnP+9beUgK173mNwdbWG3D7m9HWC35Kg4kne76tjEXU+nCzmJ+uY5V6NLoldCHAaDmE57KEAvgyAPQ3TD/OSzEpI9TIArxG2yjX8AU3EojNShC6R6ostEfdzyS99uYQpO0TlCyD7oIqCdWuL/deRCjjzh+BmNPko51UMgGm31mnZ7MYK3iBrSwTUIit9e0oChRr6qPepAYU/jTtvsAT97ev1HjNs+HeqrGUkxKHQni8nK8HsHxvizRIgoKiRHmuNTIxOdNMuwPsYUWG7+0N3Kl4QiYjs4CvUrpIYU2neK8kEUrQOnGna8UiKfjuOOkrZsfm3p3MDYo9cDkOi/+e2rq1AnjvIrNEahRfiDMah3nULXcOIv9kIVigoauXIYZ0twuu6OKCovNKNwj+6PcvrpfshIsXUfIjv4vUtcOzMoD3E2lqdx23kkIrIzuU6mqbOr7dXAZ8/IsjQI8Epf+EV4UQC6rjAdUi0sjDIVAWJirYV7ZnSVzjFsbWuq0CwE9dSI4RENhzovGc0wkViUOt7d/VDII8ZqLdfHMYJ97VteseiUfFzyji2lo5q7amWqmp82GD3kV6Y2UIZNdezFHliKONEaw4/HmmQMJDSr1eTcK6nwMNOLVwJTvX2sNyd/766cxpfC5L86cKeuWDPGmp7nma1ToOJKgsKfgsRAUVPTUkTcEmwgpU2nVmzdrRu4sDqJigAeuQzD1eLQgR2JU3c0EHTPd36cmcOMsqe4P+KKMuG00rkCQEY0e8UG5WthzFIsfCHEv1qKZpXh1VZzI/AvVlMb0iibbSm1eD+yQ3g0RgL8J2EjVF3MNoja/aTaRB17bp7+F5Gm7AS0tiTpo3+pPkUXoOr87PnndKab1LEyHEB4lr435l6me6Lpxa5hzQcDKs3mOsJMtroJkuOSU1Qb5eH4tjbuNti5zVqNBGrtW0MMc9vuz/2JyWk3e5/wsTKKzfowymmk3DDpoLt102b2Ur2aTJg5d+xe7pJ/KHqDR8/o0+aQHzMCkC+yqfpNvOywHKsNWstvzWgTT/oCf/NcAdOcSK7jc5DffuPPV672Ez4+63LJxr27S0l3sdaQDN+A3owFYF2xH+J/HG0OP/CsnWEw7P+KsuxCou+SCyEJEfduGmpcrULD/5ilQQ0ZU5RT91nb/sX8XD6xotF1JSdpdgsQhrL1kPV7716eS/1aCVdpmjef4S8j3mNndd964xe4whFECOXyLJOrEtDteORvpLHEdqOWpFyoVlFT13vkQCRXGwb3S47sOLDJxQ1zTVckcUmXFOBTKEEI1V8P9NCek/LH9McRr3fxobqsrUUHP6n4EbWTl/FwcREYnTTNPESgol/5ILY2fy1yKNieHF4NhPZJbVBWiGVaePuWCAkhizkXKjcMGTmGGLVqEZsLgIHwqfdi2mv2lY33gXqIcoLRc1vBbnXOFM6E33G4P6ZfUnBz0Ib4AnWneWQa1obrIi+Jr7JJi2CoXtfoz38/MLBi0gbqgnjaDd6g47BPyC6BQAi+3h/WZEX6VUepDlH2j9GDJ9G6kz5r2KlAw7DNtCpWydqa36LkTPyrkyYFUK1VtbkTNxI8jP6Fb7WjfSvvZ1LJFpKPSIU33UVdEaNrPwIU5PgzXpHJ0XwZHAEVlkozp8rKTD0b0pFQ0ovxnBH+bV5PRss/7378+Kdz9t4Y9+/heQ/pWuY3zBrUQ9OT8WZUuuvb+zx1mlNub5MZnVyw3afjezk8z8S/p+TfXt/R+pzFxqm5RwUsqUrfl9lq7BoPeIxTNTF12HnimHrPUiyaC+imKeNTSeZbBzupH6OXu0xP03cRLSija1nC6fc1LRLmn0ReMiWc88ItCjFPcB6zXeNFE88lo2plDbh11gI15Pk42AiPaNGPSDeh9nVJFVMHOs7n0YTKBSqcxoiiIwstPRT02m2tapvSyPqtJ43DMm2pkI2Djcyw2o6llJvWKC4etlcbaTP9ueqdlRSwr86LYPl3ZKX570jlwfIi/Aa0dyiFtUxhnitlOf+2ExRuihk7JhcVOGou9Vy+CwQBOCsrofDEcfV4iO2Tj+88saI615WnITE8X7P5uU6h2aRr9Cp/Z+9BuafQOrgZYw2saJCW0klQ8Xr0XNFmhxdtbks5l9AL6Vp2Io04PlDfr/FgHdW5sMe6515aDvVcfV65jwCAWbKaH8dJfB9Ghuh/AnbLR6uT3tA9ncj1LQ9yrimQAqg/6Eb0nZoz7alltDZhH5mOnVuJRwHvmlA7/HMU6dv7uKx1R/fHl/YcN9FzRrlXLM1h78MThcYNm1BIQoDhfDFxoyTBVA1a945J5krR/NQ16pa4zoojQqn6Zw4T9oNfxP27gygYkFd40BgBmSOEKZWW1hE6lHYeF/icxh5m3Gpnjxnx3NmXbnMbS5YeGs8n7zMJKK55UEElWSkjiwy9tGmpsOmI3Zby8oksCYBHJ8DHVvVa+YNc0V26RTQszQ89Bjo5a9xXBydsaMb3tLNy8G7bMfw+5JLSOEWIBjm3ytdei1OWQiR87w4KG26L3FBW1YbNJOoSvMP7tJkrMvr0SJyotst2DMz7GtXsm3dnTNIGkVxmRF0S1XW0Din5YRStcZca1+lVGnN8c/WAhdRHDDDnFRXm/U4ojgLdi3NfdPlIkWxHxp93h7X9FPnmNj0tsjNW8NvGFi1sNnk70rBBg4ewQCz7jDLlbhRDRgt+SksJD/0KCdt1qlSoO289+RXo06yeg4vTXtA1ZgpSU0tMJl8uzs9/CZu6ZhiJM5+CpFF9q3pd5yt5jtXkpP3KYwfwNGhguQaWdEPeeU3hZ2hirNqYP3hH2eTJScu3ujEJhJaTH0yp8o9OGzBlo0KwVj6NYK/B8K9ZpdWP6RYsRihZyibJH8GWOq/v1gkK1k3tB8TeGGcZZM0TA1qR2eR43WumvrXeuo4dbaajoCM8JXS2AEjpWZmoKnpmxDJqpIxwwN0rLPdwJX6UiBP+1BYDzI3nvKotRJSMomsEChhRCU+HZ9DKG/CmFFGCb9qiWad4TOxP08RT6/Sds+vHKnlg1Y3rfq23lBxuhv5L7fEv46eqGCdDJTyl/POi253JiBb8Cb8N8jZk5/URD2o6m3Velq9aFlyXEx+d8b1c6pLlJOS70m42Y5BPKoxOklVzt0PR+bZp1Muq06NU2Scb4vzO3gKffz1maUNtSaXwE3cd/EfhPVq8+vtKdGWmuAHdiQnV8wA8Ed84TDIvcBASuN2Ldp/kM1ltPsOK/4L0KQHwOZEofkwQIwPuXG2LPxW+BxTg4gawBfOb3sJoJSVa8izv4md2nOTduLJoiE9nh4i/X0zOBDpzXB/IQ3s4+ngQGvQLB8A++q6hsm2g9s7qamxSGemiEtTI3Y3BYJrWmj3moTvUY3Ca83jtKkOlCAkjh11Ol4p7C5YVQixqopG+aKNMvjp+N5jiFHAKbKmiV5088jQ3hAsA734nj4lSfP9dhunB0FupcTsHr9iFJJ8igk1Q/L7Jpt7861UKYm+03OknNzLH7kEqx7VemksSDrLEn0T6rhDPaHx/1pRgfZQjfaRKUkKjCxUayP+fTD5AFtt7rTP9/tRETUcVzMCwnPhw1JGOAQt/QJbu7CrgljXd2DYSLyJm4UcNYlXOiJJLp94TP9Hw0Ar8I69W+ixW5aXHRvtNJjN3y2dj5Fncjhf86OlihoFD5WV6x189FV7AB0Rgp+gA6eaTgKqAW6qxdlsRutTZwgZaszWWdhL/eIXG2GNl9rboLVIqUNBjNmEAFeTlYNgmWCWnz3SMUEKIJ+ubn9M7KqPNH9UEwJnqjZHfXo6zv/sz9Isny9q8WNpcWovtCkeHJ5xYh1tv8NLCJ03i3zUQVlvWuu7BEjAk8BU5VSvRHKpchoJr02rxO3ZkDAh35aLPEmcunwB5PVB6uqL2yEwy0sqr8twZT0eqrnu+XsRZUBDpljX/cVbXcZ33+Q0tooYksy0es54MXfK3sDwymggdKRw7PjNm/eQEZX27CegmAX2rjvYZoe1kPXt+Kpo4ms0Htt0VD8fMlxVP4qYBMHY+/xdSFjENZMyQLpu74MZRtbYhD3hxuuoQVQciZKFOmnZFdimaJ6UCwAvSdSTMwEtH/OCBTt64q2/5R/G9i7aUUfeCyrgrnlPy5jr65soqXpYzKLOU7IM57jy82Tm7otGb8K5fQO2KD3EELsN2IYKZvr+9zkoIHET7R/hl/aIVHxZMPN/SNV2z4A26MLRhhuwVc7LfeC/C5mg5DulonH/2io7upzaEmsGwpayPDxCAjK/CAMID5EizCC2mOf9spL+iUpWxkEZIoLClQpgZlqb/vkCi8DpWNNgpPFQyw5GAK4P8BDnPfLKYFl5RgLaeNgdpqb7JT4OtIw0cTc5LsNg2D3Q9UzXxamgmD7grYJEYn9TO1HTm3drXE4+m5SNfrjBC6aqv2VEzEnwsK0AGfDb9t6cBxY0Py4cyKH0M/DuCBqmUhxLmspDdnTQxmmHQYh2ghFf48pwa/ULixDKKxf3RScMsX2zRYng1OzCNJwQJSm0ouHHnDo/keBFkf3MKjS5483cphlVZnw48mjHqjc08IyhJ75rbYMsv3z9uHNHKj7lE78LSukVdnhwmwgcETYtJnqLjN9n9Iiz0Pc5C3iGD9OTGr5fbGxAX1MmgEgzrXpTl29dJ4xPfKagI6zpnmNgJ05yZhZYd31Pg1lrup2lnd6ul3ukQMrp8UAMkmZDiv7qelZpGUFimu83/ojzs3qP++JpPBadyB3Vi91Wtjb3E+JnP8yo0THgP/5u0PH0+Nb4jBf1OcOd/Ffy7/vtHNdewyexj7hmguv1xFoFodCBt2wiyzxJpPwhk6/UkzzEDo+KldC3Ei0aX6X0gSqc7oXt/PPTYHglLsrGimw3ndkJeewl9gKLU1D1qUm/EtBA1m6WxKQtWhsSPYBrZ2yQea4W4+9Ipln9LRuOSYD6BMbAMsA6Q1d9GeeTg2rYP+JrcJSplp8uXd38BN6i+FMP63NztPor6IKkWm1y5cgeE8yj5GwaCP7s+mzxSZzKige/uno7tmpqKfdijCeXLefmdHNTu8D0YoM2lmog6Y2APQOLRZ4RMjv7Mwl7HiHV9RjxkUHu7FBqwQNT5IgCgv/yzv9OOKt1XmNamCyhPLtfVC3+cD6hy12QSG3wPQjDsT7LbaEv/gTFCAVDZFi5liYSYnWhv8FDOhxPWlIBdpYy5T2MQ51QTjTI5TeUkQCMvAYZaakVzH+nmlH6Vi7TfETcgiykZTZ9bGscoqvNkVkvZsRbA1wI7XiqAtmG3QMHF9apSLqPTMkXILioXOgEYD8tdF4QUiTLYPvjTf4i464TzV5O42jgtayywhA8ChlUA0WE7Qc8OS4NVhH77ID+bkjVgXg+Uy3iiU17kUlBlV+7Ng0Y2UxFK9aH9f8lD0u7EEPGu6wG0S16VbKEqZyhnEce0zGEWMWmiHxypqTemqKWMhFWjwZ86agKNdep0FUbsVizDFpjlPl9oz+YUXc0ibkvnDA8y4zNlJIxi9iUm7CB06IkQldJPsG3RbBNsdLUCVKQpMEyof+ctfDL6Twz575SxHUM4BCLCmIFIPz771jqFpGsyKT83V/hwwBwX17o6oQXRghAnfhYQbGg9yBOUiEJRJuuuHPDR8xyhSAnxpsRFd9b4F1i2yZJXLBjlaDegQ8d95B9ux1pV6qUODFous6HZDxmY35U1ub6yd/AS2PQPs3vUZohaQPzctmF4OdSbq1xAMGp//U62cUkg97xp1UqG16pwQHWQ/cRgdII4oO0thg+9mlOZWjmDLqMLJxb/Cyy5B+7OMouPqNBeOE0T0cX1CqRyXJ+A9P509WGyM3O8vu1hIWjG8TgA693ChP4mJ9Xwa1sjfd3RQDNud0F5yWPjuim6e/sOno4rjUtM8QU+SCCoQFO/9c0LyV6XdCGNkfvvRyKVNFGgtlPT0+PF/DZaCrRWV2jnfsLBLm4ubI/vgiHrtrT+dzi8wJjjpQevwq6EHUreheA+qWi035zvCFHKWqWbtg2gl7XMXDhUtwiyxjxbkGH+dsywrchFPj7fkjROV2md6YouInj88TpJ5V0q6PRTz13n1wyzrN9T0rzk2e1N3kOTa3mPJ1SezhBVY/nYy3IGlV/6S7KJjuTOil37nqgHaduDewUrwWkle+MG/xjDRFhd8NaJq1FjlrcqFol5JhcJpbUYqATxzrZSP79e4S8J3smSagvZqdx+/byH0kCXbYBcTY4ugIAOrNh3zkBJxnjtnUz/VRrQdhiSh2WcZfpCVuopB/i8meu6WGLYhk3az8qrod+PtNGtePT815jSFQ3XghfwsJ6/6IVh2lljC0X/IAOrV3WTg8DYHcdIhQBeDk/On0uYVB7PE8anssjqGtYHYAgU+v3qbnPysxjNQozVoh5JLsUl80LtmiDXkeKjO2iLbRyItMTHeebopkvRriGm0bZ42THVAHD/XSjKZ+d2qgDo1urPaUZpa0VX5ssSBQWJtrPyUxmVUTJ4S8YIqOkZ5UitVUBx/lPKK+FtUeGkN3+4/QqlKi/7PSWGl1FdY6mMslZitqoJ/7Sb45KcP0LUTrmBFuZPKjryFZcP72IKku3Z3eBvGYjaT1FtMDETXiYOj8Wi83flGcaYVegQSghStvFiIQtG0OayDtpSXFZ6icAMdAnjl3qOte+A2yT0N+vlvsJMLv21b671g26DDvxEv/IItvYKWfx91wqGnn3C8eqk1kcd8ummJyBnYxqpPiI+U+sqKrLHFpRTn+hxGlpRKzfoVHkBRKHh2kRp3mjY5OFzftoTLbpdOYa2ZTUND1C/9NWG0/1dVhY/IIzK57khlNXjKATLmpOPLi+wCSa/pgS4iHj1nV5tWDXDjcEIWkXnG1AtIhe5Vplt8I5CSnFsEGnCNwwxTIjGwRBIJKCZD67rB/xBM9knBiEPl+EuMXkmBxuh0fKvDj37y+BNYPI5Rg9wGPZlmfSz7HTq8kLgLrZH0CWfSRHbMTaiURy6EiJIvVTyHYIuoUbeqW15+Yb96eq9YPwXfThnCKiFVWF9pTFC+hXg57g2dIj9vvtxL1O4r8TubhP/zSi0SK+mAodgX8c/5aDYZlt33GorGEnk3CHq6mJbiCRuCrJh9nU6UsL/xSt2zlB4zuMbKy+DLd5OsBfVwWbUsXGWBK9omrn4nQZdZeO4oEtGhpiSigPCRl/JJUAtzeO8Bvulaj/4/3SClt0GbjGJRmgHRWtoRs73+8P6QgpeIHBwsgqKdy1tp/v2X4WAZMp5LHnWhXbsCaXFp6gaNUSNXVtWlv+TFbQeEPSI07/dFB0skjzwNv9SB7Vk3g2YERawlKaE32LsLdPDidhQPA0nYy20+TSPSpSqf/9B+sZSa14VxLM02lcgtaT6Rf3OKj1Kt6njq7OBB4j92NdTvah0qVqEPVaaR1B7HxRPpbNZC7/SLArcq1Mj49wwyZHdAyp+17O3BojrxhzMRWA9KcJdwEPnuNY0D9i8QyR3RQACnc3FLSOeptGI3y3OkXpi1EoIJae4BO1S+upt60lnh0pkfGGrZqghbPyjEsd0JRKnhAwQo3SRtWROLOSs89b0VyF6+uM/9tLPKS/bj0XN4AnlkZpgIPPxwP0LKf2V43Hq8IF2AdVA+0jnGxlj6jcoFpX7F0cU7fv3u99RBHAFW19pYGBKkzyPn/vCFEogl2x0anuSu7yySCJ02TBx2zrvsFNw91Gn4PQ4qsXOns6b5TLp4vWuSg+lo6v/Xt2stFlNKDdeL6/b3zhnJhzTc7HnUAMEjG5BMj/PGSfqv6x6f6C/qwhGUz4pDmkTZnCIR/IPzyvi8QAr05Z7vjQxLfoEsWZvEgVSIkNq9KxZApaDzKgqhrFKAOf4xp1WAKnTxvVfVjbdWXsik85u+xR+F500lD4GbXkgGaB0soU+rMCAV/fwRhWtut/s3fw8+WQBdbNf/HVoF4mRfxnoDdY1zhKtWw2HrG9Azr+U5l4pXZzZe9ycEljJ9vN0Op8MtwmgxSENtqee0aGkq15/hsVDA/dvmzm6ty1rgGUNJXiQzvKFg1s3lYh+Xb/Qyy7I40PNqZdNVQs4vZNRs1tOCcC8Yip6BA061Fe8jlrifp5kDf5tTRwqZ/rqCBDV/Zcd8SVwXZH+ZbrwlzriRac/GL8khVwCifnfJ/94GFoGP1N8a44NVXHkuhxFTEyq479gkFDvIp515J49H1o5ZBpNVhJxK4DLcFDNSQ4HKXKuFIx7X9Qw2UQbQq7h3vh70i2thaXjgWJPRX/FPLKJXwPzBLfruFqv9U0fV9pYHXr/OfD3qrsWmygnAN2AIt1PI2NY1A0pmTiJCp/FmLM5zFAkxkN38RA+xur0kMWYdUyNfxvKwQiBUrTWkXodZRyODQV3UwAwrAiCpy5SwQILB5+SX/D2ksZJ7eZcWsAurJqEGsTQEE+rOSlz8vw5UcOPJxrcFMcHcYIAmJA1mqkaQJVIDmc/ihFuWewmdFOJIm8A2NhYKEle79sM+ae/r+nCJZuBM5LvXFI+T6Fpsj1GIdEH4c3bGg5puzwWIwHYC7mIhE3cHb1H7npwq8bIWiR04riOocpv1nZhn9pkgpcR6rm1TeICGNyUzlSSRAmGvIftqC6TKaqMyWIGBlpxD+cqhCXxRWHA1bBSZSQErJprWKKn6Z4nLymcyls/sX6biDW6dz8fPa+VISjYX7XHlAwUD2guvpxvJvcBMGBfF0LNprmZxw3zPUAIcjfiwZKvmyx4rCSZYtN1GlQDZxhjxmaPnfvNV9eWYDjz43c15YRdF5HIL08K3SrWUffdarspTlQETCBc5fsNdos5sDgPqC3OSQCm8j/vD1TmpcHEUliO/+ZkjDLhFvqqpsQkd5Csng8fDGvG+97kGgA4sVMpZPk7ylY3m8rAbgZNEqYn8oEs19J5Y/lgfePxl/IAytGaOBAqMypu/f/btray1n+yHjS3qhemWnyz6seVIQ1FXJ0awKKsDITPhE+cDYLTj0jHQj0fFUYeM4ULQJH6rJcT4jdPyEtcHvOpaGjKm5AntHD4FSu2l+a5ZavXANmVVQ6BWNOV6g2hgMPuOoWETDAxxJreO4GIq+mYqjMrR/wz1N2Fa3rkiB9FZu2OUe2bOgW6Y0fUms7D09SSeASra+26+VmxMDFfnOXLq8M5pLtVVkGJDTISpF+smV/XQ3JWHZN4iH5doXZPIGHaYaOsPSvAe4/YdRjXlB23S7zM3uVUFHUTUw8Ka6vTBOwRh3fg29SBxvrrSat7bqt/iCM8Ue7aLlbIdBTxy+fIoG6uPMqXvBFI54tB3pkL3jXDJGLegOeuPBowCccTMY79+AdNzZxgocrk5wH8wXeVAjx3fJc6kOQreaZMX3P8K5MSuEBUbEwPdrFOzfVy6NaCurW4GQ8IWGpQu7LmZZRH9EEFPvjDsxiHF17oQwshoovM8iMbBXu11y0k1sHNpMbaq1JNBp1awtvYEli1bzp8Gz+gikFLhEFINFMvskXkU8H7QvfR9oPHz6FkUymCfHkPIqolz47KoZO7ke5MAJBqI4c494gVSzotySvs5BGX3KY8brQGy/z/BPbcgQjGlFkXGBiJg+p68M37aF/Jlo+QQn42eTU4vemqFIfEX4cLPcL037npac7llzt9dZfWRwwSZuTirlkcsK86uHg/eVogrducGoWaf+SPoboclz5jPsdmf8ZMB0pEqC59kBXqkAqZu5YT+gMt5+qilTmTZc/HfNqwj0phAsyXoW+4DfuCUU8YKLknEQlqW89opDPHJIvy36hpN8D+AAlxSchMN/K95vNEExAryX+NzLPgk5rg2J3caFJFR3uI7HD+K0UQ9cB/NYTPzezdnCu8tEiNcNhb43CQDrDgQVNtuF9QIvMMe1QYmtls329URWs1VMPF33aQQbEgSGGmEJqaTm8nDMf1HlDVjH04EjoJweNTYqQV3fchqJXcI4eXJE4ZyM257Ae/cPDiA26r1Zt4pBC/pQI6csZ1kvwPvSrdQVwvLz3bwQK2Dtc8ZWBY2Wxnl2HW6+ujUeVripFEcA+qSPK8FdumVwVa3EvUqxOZOZ/naJv76Ec4zKlNUi3CUGAXiWhI4M3bYzCjF4mYJRGjUuJ/pwdhJPiq8hIoMKCvmyuuz6WbU7T42hS6vrqCnOPiAJ7dxrxSgCVAbxcFAKUMp5gBA9kAMxl9rSEIA4el1qwNKMg3avGSUnZDF1pVeKcVY0sQgYcq6Zs5V9V08MEw1IrawjbLeIsgdKv51nfj1jsBzSG5h/JK79dD8aoJzaOaglFmOxBhMBBI3VG2ZOu0TyTF9N/aqfe72Yr7GfqL9OzjwPBRRqWJP6Q6jQNlDwK1dKkaoDVz9Nlp38ki4EHLHEmb5awF/uArALiX+1S+cViA0uHyfGdWW3Pdub2FywCPUR7o17Kk1QwjffnFXK2FXtrGS3BqaNjBPapeUbdc1rM8EKR4eRUc8JcQH/6TpM8CoivgWGAxV2w9vKjVvwE7Ia6qMLo0OQ+uOvDdIBKQRvqw3Uk10h7x0RZUnFkVKEIEsQenuK3j9xygkpEXcA0g9473tLr6gyXXmXosVMcTUBbp/BbvZdH+TuvpmGsQphcMr75gd8M0ouJWCXmSusyzYWyymn6nfrrr8iPiyZbZkhPGWcQOObUqQDStzwh9YTR/OXIqswxTR9GGaOwYVMufxyqgw8ZE+m7PG3QAfaDZz5CLiMskdgLxET3rVd5xHr3oUi/MsP85ckjEfaXNh/3c36aMbfRVsvRCpBvJcfh55pRECOep2pqQpu0VD9VYhEqU9aX7Qk0UrwQhRryy2mvaZMQZEyKGypHmaFKQ9AyJmZ6vIsabIo0QrF9KFuxp6YxvVTDHTn/DrvKNyFjf8C2ICEGtZaaYqvSpGQkJ5+MiRTpAM+b4T0vIJqFqP4L/mPfIuifMtfMKWaWlMYbrGkK3u+KBw0KwJdUx8GsIFm5mGGuB1OmvXlxc724uXchUHS4Y0OK+SShZH6U2r7eX8nVFy4zDNgdaemZBVCgTlcIP+6LEAAt0+RLnUe7WVzwG3ebaWx06tAXTFk9Z690VfLFHd9i1C1OT/dUiE6INjBqffgf2PbLbE2arNDkTPpgJdIfdWbPi4EOVYNcYmsg2twKMKONQn1yiUkPknCk3w8DCvP3Pm8kc34IaT+A2wTG8s4kZLkDLABkbgzFnvo0OWoNI71H0ffR3H5n6UJ49+0Y4f4GFxjIeyNqHzEFtkG3nB52AiQJCNAnKEh/JlXIBrh88y9Vui+kCSsqdnu/UaSB11f1HiZwFp4bVEJp633v+1IDAEbkNUPUu9ccetQhjENHvaZLsRKI/BMqkz2Jo4TE92cUMLYZF/jMg3DxoyRb6vTDbJH1lhA7uukYdvgiCzJAhPfd6IKnn9EwBOQzA7QIXv+b+iJCdMwo286UbUITkkNFqshdFRZFLLapX3cuc2Aj1+H3bBXVIa9gwPB/Ze7fTbzmR07CbDvTdwW91N7hKCzaqfiWmi0RFiFvjAO0uwWS+W6kcbsDkzEZYwsvCHEyfyhU8NjIiRj/b7md2I1xHgmzO1LXMYJ6dBAVsI7Hm8I1+lWS+djOkTWcU8TmRLFMjSE7c7yan1ayd+lcF+wgVhhbNbO1yox8KCaMR04dQ4HrjmdWdeNJ91kV5dN+J71cckLNDmsPBfEELl92CGS2dUPZ1QkmLq9C4tEiAT1CJL3e8d8v+h8hyU1JiKtydGRNn33ETmXEgRVqDu4BWrtCg3mnpfffAAYwzzf7Mrqe2XL9tpQ5poczY0inmBPdIEQMpznmyzav+DZLmknruM6ZNis22MmkczRzt4/aCjIprc2fLwjZwSJkCv0jeI7ypuTVKS/st3IgFae3Zjby3XY5I+1ns5Yyy1XxxbXXcmFkffjfGJt3Bt2GHiiMgeX4OaFkqGBvou2CLkqxz+hb/5H/oXv1Ix7KZhauQI82aa8+QXiBmn/VDP/2E2QPtSqMlIH3oRF8TDRuqfVSS+g2ftrIBWMqPMwaV88pSjpbEMgjJwcTkh3K3Evv7uFfcGq0sKHdkPirwdabqdmyUnANCJnOSSaYdwBef4ZJbyprI4wbjzrofA=="/>
  <p:tag name="MEKKOXMLTAGS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z2dD7pS103gZfJ6l4USC3jqtWOPR/ue0umjYEY9KlLthURXCUyUuZbmGDPUXB2idlVQc+R1c0j6vNnMaKvr/AghcgjyTjoGcS2U6lyGcWZbvoYqQsrFJ5DN1RdHsB5gZU4BjQJ6xKwDUEsW8X/QQ4uIPkrhyjIfLLN7ZR3puqzBiN1rMnctBA0J594at1EN5QJYMsPufr2eabAYzIDriNpy1GurybA3KWqcTPRKYh436jQqOHiPaCJtAtzpRgB7Igk7tw7BcBhai66Lc0jpyzFEK/4NRoFF+cso+ThI1HNgDMZbpFoCsJQtilLqk9nQPGX6RXGboCTf8hOOcHaKoTUKF81dro10jOa8Xb8mBGZBE+xk1l9MAy6INl4AKPS/xOfzLuLoOoO9SSYQF2FkwdgqV792ppXZ+DEIzSbBGS9qIMNEJF6eBuDSQiaNpdZJIz50ezglfEcwCG8k3b/TOjHnY75DQE5c5VJet8862CoavLWpVhS9LY3ICAPynZKLYmOOAxMrQHKZMbUwhGlqByDdbm2b9/utu8wT6ysIHeVjUcQXZFNqMNDLgBkE1yzgbd6bEYWeZo0HRsXbvQfeB+gYN+V2Yt56/t94pgp0Zg5VI7UXob8m92wJE21Pd5Ot2WUjKAPDfTJ+W+1TTOECJNV/pEmyFslDTLlx7ZY0ioADLa7GMSslRlRTuveBHrZQh1WTDeys5d85FQRZQavQrf8TDXq/5CTaXESgmN/lRqYSI0JyOZMIPAfxbpP5koNaInqk7o0kuQcKBt1uIV6qBOYSUQ0i0qCloYlc7u1Gl87wU05B/oA/ruEQt1Lq0/p9ZhbQP+0VopYw1rR8qwhi5q2N7tls+K0tFx8NVFs+ddGp63BmIGAkaOvEiHmz/4asM3aISupE921MkplCDCj2vXQJEJHM1b5h4U2xpAQqGQcuw8yO9x/D9ddYNEK4lWjNa+SRtjMtemFOMWWYpUo3Kd62tcvXjIKpH4b+8OWG/CkkYswRQSfKGjyUWkK8a7GLtp+4XFI0MjW9DKPOYZl+b8F+7ITPN1MnpyeGNh1+Me8S/xQrKHZPhjHKQBZ13EuO584gkbdjHSdwPRefxDqvYIa4IUmotZLOgmCFx3SfTgs/wfXMnfvR2Q8dleWS243o2FiBd7DL8xQDVG+JHfXgk1yNTXsjpCAE8Qar0LWh3H7csg0ODWhSa56By1HQTgNbqTF/Oy+IdBuF8ju4AshxLR0bm6Xn+4qSCZu5HVG+PorbYQhHQ+el0XozcuDm7rF+6OdW5w+niztKm8Hm4TxBbiVhiCRRhX4pfbaNcDmE7Art8h/WWJGlD7Dsh5fJmacphoXvVdXrz6xxvHRq4io0CkGtqO5MVyE7+w7bi6kExoCdEPgJfcULH/zJ6MOESJRIPInJvSVokWuxz+2jvpOzYql0+nvkz03tf6NF5ESvFSOufgJf71dp3Js6FVQMtTeIeWSqchmcyweDJ74LqyQgAC1OSnPsPiYJ24FyibiWH3UR+0fIT5V32SmSY3N9US+9+daOm7b7MwXllLKREkAzRXZfsqvgh0p0bVW8TsP46QstzTO7MJtkh0lFpPOC4ydHHzgX+vvICRONZ1F8cIgAyyBqxKMn/VcdcFj7xU6IXjb9lcly/hggmrX0AWpSSP0Dv/cBI+ucz5sj9VEemYhvrvk2A6iLrFCZi7a+QISlxpbHcJk+3Nv9yKG1dHOTOXTqhMNfLUBvKmVgyIHanP0kpsn3nD8qYaQzXJCx/MFjndJJMtLRzfx0I7dCx01kX4NhPPR3UzygQgbGTUpqCjC6e23Z9jVeE+UxrK7OLAqAOpeVLcLqyLczyD4psdcVyM+6OnLUa6PrPmFdO/dugULs5TSqiV/sita/RcjHqqYK3qQCa70Fi2VBz/ZihcDND6s9vwvPS6/fsUguL+7mU3OlVO/dpd2GEcfCGMpIRaNFK5JsXadKgQtD4fkQj9PKF5Ae0/wTk1IOv6wc4rr8hsm5L0/15MNgWpuYVfZdkXi75vvS3gbWGDM9S/g51Ry2S+8rTaO34aDhlGDhn3qTOTpS9kCkSu4djtV7II+IuQX3S+cEhLWA28a9qrmqMzEqFq0Q/fYKujb0BAHUm1L7DXhMsfhqK4ezWls2x03wrT1/0YadwIluX+eS12Rz0fx1cX0Jc2lSHTO6IXLLOF71BxNaBEz2poNIpVhvJnyRt5AM/MehiyfEdOYMBEMxu5I1bfPUs5WhZTvDphEr5A5nak54YRKdeh3Vx3msSUmiCIgk78ceDcWQurq0nKoIB2TpciaLnw/YoUNKi5tNhu5jjkY4fnvJaYvJkNSYkG6LowhsH2y30jTbVq2f6sLiCzB3vBYvSBei/qAgvbYToszD+BOs4F0wzrafz/9RtqgaXLzvwEp/HM7e9R5/4Hk4dz2ZRSUW7inkE+gMyHZIBLit3OmcQDYvyTdu8beFQFLGb+sCXdVpKmX89iVaQAsjYCp2RPqpupHBOpCoZMTNdtd1/0CbD2x1qdowFzL4yBgRfWfeV5qp+2fE1jPJQQ+UGuHJmVxepmJ9EkHMbJ38wVY3uemR4ysOB2td9QeVGor3txoa5yvqsCNauS4u4UpqXBjJTriUdCjiTUwc9KvRfPEWRHLvi8KnRYNILEHHs2vUnkLdeZkhcd4SY9ukMxzWM+IK8a+AQXunkTgB+k8NN8zOpxNydWyjgB+qbKPiwDp14CdVohyYt+gVSeMAnZi88UusXjN9Mk/xJqitsKkV4F8WjxITBWpfkXBNas5JUx42kAzOw7S88ZAjafFZ+P6xijzv7QKpqxC40iWuhaw+uOCNq0viaVDNQm1knO1alBHcjv83vr227e6dfglEqfXdQ0IdVfeUUq9aT8ETG1GbNcS6/Y3nlBDcoZNdtuqY4x7ytx+FLZiUpGZLzaCJf48K72mqQMPD1WAOb3XAjN0/EGNsaVSi/Dg0Lk36E7mF8o5GokHZJvfTM7R/qpgjpHSmAAvmoNBoLcu8O27nCAx3NCuoyAlR8jcyxTAePB8swJm1ZkP5XLIz4806UstNYaWBrCq+kIvcMpOzBHmYG1zmZxFMvXBatS+3gPUlfdiFJW1AwfELvXkfZTTP4ULEgPeQMlJE8WwHluyH72x5rwicJw+Xuy/l4nc1pCV8a7RyPmSD5W420HlV4/Ej0isQhZ8eJ6XkBDVajEPjKwStCMsiY1OM6+aY9Fbl7eHQkNQK1kFpMBSu05BNQgzNlXuknDJIFoahd5pW8bQK+a1UijhrNLyXxPm0SVKVkDk20COBytf59veTCbyEPx2vhagpvb/QpDYv1aEkOvDCgoEfoE/GF19dYv6Gg0kH7tGSKB0D3vmMjnNwA/T/zFOKOFa1evfoGpPZSOpaf0QkRsP7KM1LrVcounYtn1atjO8qEAjK5pVtQ2aJRGVbfDzhI7YsUqxwQVLLbAkKvWxU6D9YBCCRYwj6rtugDwh9U+mEFQXKSyzpvrIPh0MATSam9yof4v+lZ0520C1IRYlsYYPwwEhH+cEpd0iHozZN0Chwv0ij7nEbF8jLmJLRBlJ45KLWK8BHSQJatPzGxyHaBrmjVYa43oeetwDOXkBz5D+SjoBBkmGO48oUazu1uzWS/SggRlbH60YvFBiN/xyYNIFmO//DnsyGj/um188YEu5JOu1pbUlaLq3xlRFAP/Z+HARS7ZFnTvvGyloe5+Jk4db8myCilRsWhIkpfsGTff2oSpVmYFN6kccSVclnT2eX4lRxzoObXQCikWX71mudNBPWxjisVAjkBCidA8s3+MYANgMTKtMFzkGtgoC8eTJgqtB0GBYjMzObA5ovRQa9poqgUCZfd+ZrtEutYg5BscvIv6DSPUINxw91bgudGw8IImc7EREjlRPWNyW0ovrMCD5JnOEaWasVOIB6z82OYUAl9JPE+16mxsX+XmP1osJTNAW5WKbBJofyFZfAiNUZNbGigh6EFibsvfzMer/Mb0CUpbCZ5v2KAzo93eyg9IMagCvVYASeWIB0W1I+VARVRecx1Beqj6IegDwN3N3Z0l39e4oE39oqCHz642KgmNfREy3JFDTNAxaHCOdUINgv/B00KNwSxAczUxHVRNwM/huEx1tOo9OYz6LiZM1akbrDZvmp6c6mQkg6fVtUk8FKSVEI8ITrnuLwaafTqfOHERvKPDPLO6IPi1tc193H3d3kmBCg2l8trtGmzW2IHYXX0JpX0YkQC1t2Xq4ijW6KoVVLH44LOalKSOOmvVKNARSi+fyhFKnDlBind6WetqNP9BLRc6MPiUS6oRpc/gXEKWGAG+FU8lRrMQJYVYTPaGrHhc/wbYTtVI4SqiYI0RpNc6RsGvVoir9EAxiw4GbpDJ3KV9ln60DFpmW1POy21hYYZV1oW5JCKGm/ecHqsqxAMhjFeIpQAKgUT4k0En7OHk2muQh9dDnrTnUNRN3okymC6Ai9GSLlVsZrHFWAPZpoNLAE6StnMFbnnP/Ogw6RPuIFyNkVdPEPRXra0eeJO0c4uvpO3w3BFQSseOYrYuG5NBQnGdHqny3LVWbKw2cMUf+e9VlHypYAQcc7iIiuiLfc6yuDbHxV3RD7BDFxkFRX3Vzu3ZVEINT+ZXxDj2zSI5fQSDpxgsEZmRJEBA2jqC5bet949hJlO8QmgGizv6bvjeqdOGxuSLDWTW+ipnZfuFhcQoM975HEUZGcbKWmzh4AibwC8JpY43xycs7UMsJcbA3XYaAQffqZNhsWSj77bTw+sO7ARWdfpUXzI+nicLyCy6SJ8VRrWbDIwD3g0R48lFQPsqQFhcBzZZD0xpn+t5inWLnKZ2rALet9/NAwXxqe0Na6VLZQ6hg/663RTHsDS4dTo92mNJl++5wPlOhaQUcmrsarHgxx2IVO10qrNslXTTPNnstB/ZK9wupRhi4Zti1kydd1MOeHrTivA79fWCnhtR3aq4AHFwVj8eD9Fqu7yQEf/pSF+uX3LW/5xrJhDvJaSNlKhzUc3mDpIu67//lNJSfrsW4bA3vf+mVUV9VkuMEVQKITra7kQZY56FD+e4FP2sXIHZ0FglM07xCXXxrSBLGF0wNLWg1sQYPI4ns/IQUeDVhAR6P4CU+ApEVQFJJpCsMBvQnaykOszWhskVGPtxZDcASsmfTrTIdbrEaqBV088/hYp2TK4SDhaCC8u7hA1SsnKVs8QvLoAAuf8dPdH84m5zH+ottoGgg4OK6gDuEaX7jUmiiOFIUp0/NdAYA6JlJNp98CknDdMsHz2wdV46U1ImEdv538W4iBklYj9UrRbidWTl0BVVzOnmyE+fKis2+1+BBih8ftBOgCr7W6qVUCVSI2IzcLeifWrvI9Eoo+Aqd9UKsqYDQX4Y+k+C7ELfkKC/MpSd9/uI7UtL3ywW48JNADtrPgW9ibU9GWsytrzM9925WyHja6ee8Do0UEAWoKPzzGGs3YkiMslavqmgQSho4SLhYS1tUwypC7L/bqu6e+CiWDMx2O4gdAsyN/teK6tyI5E3cGJY8lS/ZfWJHq5oo7KlceFFtantKudvqhf7uXYlc+Kt5GQD4fdjV4oEHJKZp28U+0EbSEMHWC8Lblw6yfWWkQ9vYYmVy6BR+/XqyDy7hyILindYPLjZtGynOBdd5xyImsrRnZwvw7QGE1HxFhTQZ0WL2NXe9v8nlo5RiunPNmcyeO/RDce6JVnIxtZE6jgr7ah6QJ8uPRLQuiFV/+tqS84+GOOfOttrYYXOYWTSPls/AQkS2NNpMp1/TNrwfS+cIyc66MYAbhKZeTVAYIrKahp9mhhKeR5no37aBghXiS4MGYVmlZ5kmSxu/p8oall6V4/x85qXNJYk8c6zrCssa3aj2LBcxWm0/4UAxtVTKIJP6M8vuaOsULRqek8Z35MECmOrNqm+12oz4ICzOKnuEY+hr4f3/KtuCU45NeNWhBh82Fe4It47fd7O3FV7TzC1Ckg2048JkWqSIhdPDxQCZld//gOPsVuyxInRJtwJbZFPqTj++EnldZ+maMfIbpI6iwQHkC40Zk9Kx7OxxmHBeCeEVz+yoQGlwdSlap7roWXLwcJTBdteKD945OHfKJYWfmZS+5+QZAfON0kKgyAIQ318QkWmm1PYF9ZVa90jvNgujUeNqOjIOiRogQ0h2h9qMCng+FEYlzUXskODmHN6impJft9IzJd0KdVFh6R8wrySRqYO6BbxLIsNnzwzTdzfFXGE6syDfGlQoJ0Fyr3mOIhmS9s2ZBvJlokyE5j9zdpDCOLn2LeM4SieGaPKzH+/+QvCvb8XFnBIRrQsuMUaKicS8lvMiqg2W15qj2+o5M1xb6JucXCQM3qsK2qWQgUI7blyFlHarbCzm8pvo58zYd787zrSr8O6DYkSvkpxmsPU6s0M4XHlwZ8LWC8eWRVV022rj7jXhI/kNyA7/93xRZ3fB7CNyH56WDnVZpIlniP8QpZMdSTFxBRPga1DguHlDrA9Xutn15cFdkulEBOOwRzzmwAMockUQdq8KASkxTIZORPB2ETwTclBVSJlZRTgnFPiMIa5TnjYxEGGv2gzZGvVDaxXQzv0Gr/HF3Ra3pJDNVVs7YbTGL36c7oFwZukB1KbfzW/GdacVPRHX8DvWVDUsWSXO+NXS8IGQNt5h7AQtrSvElfwlYv8Al+YP4JoRbH9QCTTDKH+g9+j80dBWhRy3oC2/1IuZdjNu1rXBGtOw2gYYRQ487VPhFjtE0VYRbLu8Sxw4HxJl+28wGfahYl04Hpj0ID8MX1TPjAzet18DtH7RbrNILnfuGNPAw8mag092q9tg5gnXbgE2a/uXLEMsQX1GRICuQDfmBruLjHuGd1au6n1/P7nK781YFwYdaASBIkrPu5zbxAaT8Xo9FNY6xAOd4ZNdes1oSxgRDZJHxBMVatZSvCJL4Pg1BMFOQhnJE+J+EEjBNpw+MtklBkOrO2rzTTGFaZTUdpqkOEESsZC+xXqNORFa4m5wYqsZAnNT2V0HyinyH2ppJeQmD1f51KiJBt1O/Zui7jZ2MIB/qtyYi/py58AC5KuEmOf5GJpeeHJoTwPLp6jFU71Tk7tOx9+n7e13sj9u+JkLx/BNCZrefBV3BgxbT+TbGiG6kwl19YdQyENVzt97K7vKTP9DGFBec5hhlW1tcI3/89T0TOKgIkjLBGJZ2WEYWmlb1B5a33OJobaGeaAJNFL+2O8dqPVegdlsj3PmS8YJlmQmhnfg9aJIMufflx21gJoq58h35SBgH3OcrvKiScqGL5EFKZLybjGfo+iWBLpRa15sHZmtljy7qy4aEygHGnrD6lCNXaTldZuulycZPLYJbtQCJCs9sNJWjjmZDN6NaGscJ9VkxFWtsrG9dhEekgBfVCmQ1gegQgin7L+d1qAw226IxFa7dVQlgXuUadIjFzMI/6phn659506aevx2NjibT4RgtUz9S3g5jj+j8ToAkaxwxxcIHVpiHP15ldz9u6jfefymxHfVROJ4SnZu8lfGXnOfyia8P4wSYdpWu+6pkx7tpiYQztEEHEr0JL6XXu2D9zI8lst+hPlTfj42n973XTgmGJiahAVl1Z+8jd7AWsVXU8cfUtnoU3i28jggtncXoe/Wd8hBET4Ns7M33vAP+adez4YcPrRHYrXDqV9o+jMPaiscYFyRQLKKlJoRWd5bzdlT1UAsscCkxunQwQNy2gr0AM3dN5t+NHtvcYET9zAQ/1VLgdg6VNTsQe6G5kTVKypVU/RvdRHCgUhZ3ZbBAEr8fYBWVBhrHXhMlfnxlvyizl3sqHRHnzqc87rTeFQEP4aw3NzTAEjw4Km/UM9L1E93LMPiYvTVVU3PSFAKHfvsH1XO1otZoD9MOewbKS3UP471qZ6C6aPLvV+sYbbbcq+hy8uawmN+wPzOeL/3bpap0lXUpiM65eOHGQ+TE6tPDo+WNB0v121SQl7oJU1pgl4zJHt9V/SPOKLauHHpnAm/Ex9ePBKHujZRPtQwAizXhz2nCLM0E+BTXWCxiQndV11K9IMTZ1PGqMXFeSSTjLTubL/qVMUkPpe1nn2Hpu+0cbVQ4Za5HyE64hPCVexHrpi+jK5d2TWq56j2eAi+KV/Q0Nw3owhC3eUSXmOVZDdVqzHs8HyocnHkdXR68tFs+IPE2WkP73s5a7k+ctalVasGkMyrvDhrS49p0CvEyRQR6W1/M8YVg2Iq5K4qLCpnPoZssUT3bdEg3OSiFwrQHeHNIUTEadmBxHnbcGgs7JWqVJSxQQsE8v/ypOZa4fd86w7O65d2r2TUop+/VYoW33Pxg2u/IJY6A+FTWMHqPXI1a53fN+cnTudtjxgonBBdq83kV0wg4baZ44asRUZQB4uu300AAScjAjIDVzUZfN2Gdc/hE/ITbce3djeKo/0ksZ2o2//3zNEPrHRokYGzL58xUW7rENQqVCWr+OgkhG1S6p1qCkqI90lA/c2tDZSvUEYd7ZFVaBsCJpwoM/EdgVGI3VfEcz6EXHxxSeu4uLigVVaQs5V9d3QaY/VbizlWY6hArXlC/+SeePwSAcvwUg3Xd1qTFtm9nJUFC7gLcbXXIO7fNBmVL1edndV4JQOX15oqVRv3yfJzv0NhPaKrfvLx3MoeRjSjfrcAevwFoFS2W64SoQ/5SHoa6fGdULZ7ZOqPNgsKjbdSyIBB3EXjWeAvnsgOXidKWAn7WJmpQxCQhCcnrv2jPQfJUxVASq2g5adQ2u0xwQKXQ+J7NSsMFKHVNJu2CbRjVt7qOuaB3fVaE6iQq/rCq9JnGwlVFEGiSDfytzWy2UgIyq4qZgZMLtAnhS3o1FrL5RjqN5bFw2Wn8N1NnOG4EQnvlf5pDc4mPLhYHx2RnyiDJweRbTkY1dcCWKUuuBgQTKr6Tfwqx6dNWQnWM918Vd90R1xDPQiwJuWFxbcTzelm8X1t+g0TB9JmSqnJgK+f+l8bru2FQXIOtIcg+1+sFLb7yKLWe8nbZtyYv7w/8UMuKFm0+6DzPX+nzMKNJCukQMjDr7ly4ZbY3guuEsiHrE1ueGvXR45J1pjoNr7m3/9fu2vDPsUfenBwIekp31nyzJjLe3WQq1AkCsorkNpuCdZdrdDrw0Ih58vF1YAyKnxd7NVNu5WdvUX/fVXQqMmp7bbGiF3+YA9bCD/RWDoqe13ptZ+2016kaJkejMJtOcuUMCbeeyT7QDrOW1Bla1Oyh2aAPgZ0C/EMLUTpdmevjScEJmAxVIr2nr/oJhYKzjp4jIQS7J/5YnBdpzwJb3nI5QixUdiyWsDSoTzEKGQusyP1qoyRjzpcvZCIMUh54q6kxMEZdTcx4K5cSNQoDTYKEP31csYt0Q3Tc0DXgNDoyift8qbfx8E4IOXrJJwqBo4w1teb7n/TLlsfcAcHybBaRznEltAYoyf1o3axgE/14G32lAIB4EZQA8tXHfldAMja2paYfGeD2goJJiBxgtqqtnI7p0uPcHTu1oRGfDkYmK1+9UG6kgpmf/fz1cx9heY28aSPF+xFGPhBmZXRlFHui6xwBZ4plujkTaY+WV5/Yh4WQFI+NgA9kzxPjwb3zb2NiK5MXfIyj1bxoNcOCgXxwH35s2Qbzltv37AzsysCELIzHLsca9PG1r9Ys4Il1JRVoGseIJxUAHfZkYCNwKqirdieqfukmVfj5lLLgDDiOmd9FhLiqk0zt2bFArWelE7XE4iYcdvvtSuWnMRbZOEmhuemjH7DR3YHlJVrvPd2FpxdRv5hXP4nVDrTlaVeT3D+G8LMEhNeqj+EPj1dPPRoMElOTY9T1krT0PXWHLQC3CT/3oZDpMHOaRN9+IgnIHll8n2didSernH85Jh7piY03vxCglGzK6aWBvaFny3TwQzLyK/oRIGCpv0uwnbBhd8zZaE2ZvJVXIiwYK22hd392mqiIZClPk/PnCGatql0iFaOCKDcaVE3FIVob7j/xAw/ZO9XYIwhdWEVQfggnHDUnbrbtbE1tkXpsTW4MHq/pUS7UXeQptXfwyHNAPYx1WMy4aL0UldO3nYTgbseov70fMMGCvAio0Gq4yHvfBODxO9ckEnoSr7ImciFs1mcuRc+coLeaDmxstHrQCuAqgZtHhr5WNNgDGiR5TVJJCD+Ty2ZUiIAPKc2wgL1p0bnielcZxALobEsl/GIPd4GVOJq08QM5LV7fu3zBilve7TF8Y9BLSQ5+NeDipciwMPvbhiIPNAaeEQdDV7VPli7HPmw82gw1ZaSgj5iWQ1AzSkjbJtf71KY3KCHkpW9qAI2smTnns5HzWWyiicPLY7FsGsqmAxOMkNZMBom4GuMCUwEimoJTEE4bKH7TSf6bcHD6KzJ3TjG9E66NQviwwSXeEH3S1bzg6SVYe1zS17PPJuysiAjtXKP5nMHIbeo7nBy5AOZz9huKlgwkYDQ4fBKy8d0SufoQt5RkwS572H41sog7s4Fn8H92Fh7irxaBUHoO/oUmGwEVzlX4/WFh1UC+NzZy/L7b7S073Ds0FE1iK5tVRZWRijR0BWd6CdCRihhgInfMMmPxT0NdGG750VTERM5GsfIZ0KaM7246SoqjVYGfPb/8y7Tpn2aEYefRviNikJv8AQt/LGNMHUvz5Y4LlFxSveT0iSPVsgB+c78mU9jUNz7g0S6JRufj6Iqjf9g5/Km0sMz4LTRfOUgYcqBG4DC543XOIgNB96zHW4jQfueyFtPKYt+3Y9EUutIw8A2d2mpkFS7Wr+EfybOTCKFm1J/1X3ww0eleQhNUnyfeTVrTtz2pOzYhCxKQHuFsSm4XYnuzYKSOXxKpBSaOMsxtOoRWhwTzyohXTBLkf5HYpgrTJ41jjwAKh5MgXV8hXXmoMn+AemjOz5CxN6KT3snWxlhlpQwAzs8vO/CjlnR0Swt0niPGaFPbOA4vxPtyM14w3SpHlSyd8i1hVhJPQ8s2tQcAZNFs/KMJsA7MR0ka4V317uxYLLh3KDjjC3ryhdef7Wf+YDRKJ8tVxOv7RhSR6+79uylZ6aALWMDBjiDIbnZQcqVTwH46gOAVarGTHp12CAYYVjaQS23YPVzYLL7na12Yyp9lHtiBFBy59nKfw19oMtxo8wgXARdQmxVxEyxDnZvHEgTFmZPk24lEXFbq20ws32PgRMzVOMDwmxeIijLCwCvXG+zXcYWaC9K8NN/zVS6LgcB+F+V0JZ7xWPk4bKVrGDASzuAZ6A7zogsxtNpyCkwR66K/Zkzu4Fsd/DYnTZTiUoSUxe9sAKjWYNJt1DR005qKDq2Jxq2eDHl2fHUlnywSN1PNwYTwHGpgM/Lp49lgtbvYYjtQAhy4KnaZa7MBOpa3i9yCbA327a5cM6uciT1RhrfLYnt132iczAIZI5aJi3vFkT4rZUBa153/0KOB1KJvlCk9U8zPYBFeJxG1y6A2rA2s6gurtkCf/opBNUOH5GEsw9f+rIcGUtT/bAoo3v7xsMx3HHtTxCd+F8h88OMQjHDkSKzSTX6ubru1mLCNjrmw5Y7h7Xg1hOdz9zBqUijSHiKO8yJwgTqBNpVyYlE2nqxIM/jqSgdY2OTVChLFQPsBPX9YOd4+Z/UySaxVl4fYlkkbOaF/g6w0pAhqeKJtD3pjMVQjPGObQWduEjceMgLddoiT2WY1ShU6Kx1VmCmqXtw9tYlSq5WBiPWnUOO7TtefjBIJ4Ek8CUk3MRmR00C94oHDmGbysigqgy3Dd214cXopdYAN8RBPfMoBRfiUEutfpmnGEPpXUrEEHYewE0N5Sx7509SIzBgtU/oSZOnCCQDZtpohRhNaoD0M2rVc6QWDjWVDmUd8NJaGszRfBQs3xWLzAHlqEc1hxp1VPfkLKvx1OwTGHjN+/PFFJ3XCn8vdm+mXB2hDUvMBfjjGJJNX2STlWWtVycs1+lYgllfFjFH7ajMcZfnFAd5VPzxGsZsGeR+lDC3q0UQT3zn2297Lpsh/fKsxT5mslynEkHPAxULXlpo53DZqC21tMSkO0AL5va+tuxd8OY3oVReRNdI9p2CaW0C+19vBmJgGulBkxnQtsqp1z3Pvf5R3UmXlRL/QuKy3lZJrwa+QEbdkxXL9OGJryNzGmEiOEr3X6GLUEhdYy9yUX2FlqBSrH5/E6kKGbCMXhLAI1KQaT/EPUQR6wINiE+i1F1Y/pLihq3rZyBpvsHzPEKyldZlw6kZiDW5O19bXLnM3sBoANx+xrpMdezWzs8fIwE4IJ9A7wtzD0xNrbAZLH/Aueg2v+ny2dOEcbI39NnEJSkTnsKRa2kp2P1bx10rROcOYpWxwJOTnHWf+hDxhL4MC1AjGx5UFr3ynIDdh6ehVdmZJyoZHTN/GPdruVUSu9KDdy3HXM3yc80fP2/3x3n+rlD4lrWZBdzzLzcf6X/GHxgvxudh6Tp2DByzPdL/W8fyqUbkOYzotqnk6VmHqrn4v4J2OEEgpVgRzDOscjV2tNTZpmu69ZY+XosfGp0xvllFUm0JufmvnG21b5OEVvjHQ6gulxsYGpyzb9gNnyiygcITjkjWhEQE9sdqJNUnOV1ClLA/R1eU9eUfnrEnuukxew8lF/xiHzSD9PREB0AB2CKVA1oHR0JzwLmKD5YuCDZY2o0Cap+Y7T7piEA87EGw9TfLJ6jQ5s6LbgzlEHlM2rK9n5tSvzUOn1ZseWkzJO24t1zow5mZ7b7lfBNyT4E9RXxXu3fJRNFP820+IQjvSmXNNF1Ft0DwUzSskCmOSh4ADvvAYNyKbtTM8nMX/TLMJUR+nJYsuRNiaBHf+ui2/q8oqZA2cCByQigxI3JZmo3kjZpy6WsoRuIbgfixdirp7wP0uA5lyBrpK1ObEAKAelAhSr0QZgMe+nQVRwwaImbU7EY7OMeARNCoTR1wTih+w95QDGdH5s7CcGnb0aKoBISvR6AEg1HDi2OmUtDl/ie/qOu19KwCZvS75/8BeUHHN/tn9/t2ujVWW9Cu7H1mjldi/mKr7bdB50vTu1Y62hrE8VRnRpWVcn/7rhJQGNdOjN8dTGsLyZp3CGkwoIwzhE9WYwmkuPr0uR6jIA0UC15lS9kTL/t86fhfZiCGgZQpGabv6tQrU6zDeW4r6MYkiRSgOJ40amB3mxatTNPz54inCrwQ5Y2o3PUNDko6/jMGS8iscTFcZgBfk+GPiPPn5XvoMMIG6wb8Vb72r9SGF5n6inNrlw5XfhDpDKjsNOAhIlgC8zn2C2PbfUtKSm4wCnvn755y6PTCZem/28heSH8kWloUnNINQAMt/RFHJF+8WPvYQW+kL0wtZvitwuu4jc4O3GX22NSBaCg9gdwOx1Y0xoun0TaYWzEdKRNApXzgp6pLQRW1nrfqnnr/ccHseV0uZ8CIYx01HVd7xmgepmoCBMzldwezJYUxOg+EdA6VbTpcjv5il56cpD7iXj4gkw2D+JWyv2NhBcXr7BrAXlKMEEDO0OrJphyWtCjoLkYIqaY1FWoq3/Q12Ue74EQiT1T/vVgbfEGsG+aCL4sXmmlfMyCCX52ZjYV99gjCVwF59Jj/dt9y1O8rhk454rTt97zMJxB5Ij6+NGSVafv8QZFEI1ZnaFkpl90BUCQqQ8gLxMHTx13fUjPVYZHOibTHuNwgA+z+CA7ppD3+goLz0ull/rXPkdncPUIL+GAYlth5OBfZM1ZmkG+8cmneRgp6d7Ch9cKwxm9MNJTIzOp0jgfcVAsTzBINK5fec7MV5lgqTdpaBPjwschEeH/dJgt0/2fw+AiJUai7Akn4vPMbM1QaOMqJrpcTPaaARkjvMyf/2Wr3CHu99XC/F95C6Te9nHr2OqyXgx1xebw9KbkogtQw5wEfQ4Uu8Z8iBLPopHKxir2PC1xECo9n4NOYHWEkpxMp1wIP7iDfAz4+JsT7p9S9Q3PIpPOaGVkMfORugX0KCwZ7nf3pgB66Zqosckdb3eTPfdJfDBjcTVRYxpIqgwhhW75QXX7eYsQZuSuzP8wKVg8v7ULzgPYR+XqmZ31jMh/AB7D2z7fA1+wAWxKXCfk480f2BIFQBuN7h+J6SfmLi3fXKLpvbd10Yi/yPM56kPKr3xir+glrqrWeR1mgeoyH76DZEEs5gOqhs8/ZXVI5OdCsHvJQjhoQuHa4DT1KdAZa25l4FoJnncfmeItPKYPk8GI3SmM5jEn1w3cZM5wLJ8XOEcE5gBmxU1+A1NIO//B4INAXONY02l/I1YTmNQcB26ChQ4Wh5OhIlrPbt94BGW2Vy9hXElcPXYoSDvlggDIWnqWQUYSuk5X05/jQNOePztWBsEgzECaF9KgrmMg4cfJMSILMZSI7l+gc23RPz/gLC0SgtufVOErMYL/n8UMyT+buJ5xI7YqUREJy1smtknSvmtwyNaPBcMhpVVLKOl3hDqiGnQNcMnjS4W1TMEM7B7zNRVibZik2Jb333B+Vp/Eu5fPGt691gQ3DmYnAZdQMB/+XV6BZztshY72yinEExukAldKfx4wGUw+nBtTPeW/xozgUGa4ql7iS7CcAGBOXPDwEKhZjz2dx3Cb1CDooFEbxGHQ2jLeESMmZrO/U8T4yMn7Tz91hZLPfYBaHHAMQQNqx2xBxqNhJhGFphrZd9/sMVg7sJFKjbv0YoPOdOXokeTMBxipAgS0nbEfUZd1eDIaBhTCt722y7qo6gfyKHkVXHAu+8U00ddJhEKOflKirrReB1URInpczdvioDNeWH0cUndLB583q78Fyu5W7m/ARFY59ZbLXYa3h7STiDpD4ZeENYFuy7iMJCJ6ksxiGBe1trxaZFSKpLIlZesoLDVz1Iu63cUtA5cuAFsk3x1DqTJLCzrj090LF0QGWwb9EeChjXCZbX72kvC36a4yK4+AKoWBCVP0errZZZ8jkE3Y2XiIJdHELOgUHih0Pt/aUwK9VWOpZZDc3ZjEJRrfKISBVvUW31I2wsHm1c3BgvaiWipou/Da544PWNkporJ5gM3bsQrfoqGutxiqgzKBfU8eSXbfWGWq594tCxemSaxLJxkfBrdDiFJCj8sm7aimcsMEJZ3XdtWaxoYUeOLCX1Ozyj8MTU/IiO5qXW8DQo6lrZM8JS9xA/8fOnZqaLLzaIHZlPMaL0o8Mv1QmGse8V2tqqfvz8Ky3I1WsWi1L1T1Qazh7q9xTx+xGWSD90fYNdtRl9usTsrcTNHPr0bmUt8GsVNDffJ27DEF0fXyVV1i94wilsLPO5tDIHDQoHmtDYaInMMUjqrnmyuiJHB/sxGzz1AaCO3b70d0B+fyIXNhjfkMpU4xG+nsPYXr1JIsufGul4mJ7aGDtpPoDo+v4LOxOFueDO8WzRtJuc8FX5jNF5LIiaXMRhVcj6zeLJWovpf8oiJA5ORdl4HRW/9YlSPE+TC5R728iXWRerRlR/Uhn5CEo0hSFXE20FnS/pGDbpJ8CMJPZ2RYJeQO8CmOlJ+8M59FTCeO+6cQ6qC5NuDitYNRZM/DNfyG9B/WW64QZUxOmDeOs+xkx6NLMN7C3OizC1Bul/V3Nn8XPkZrWcLQdCbp/oqs3Q2zO60oPpW8xzpaHVhAcZujmro2VNjo2g9GWNYzN4J/8mireV6hDDbL3tVC59ows0TcwgPepfGy9gSHIESmJMGu06TvaJIg6YaeeKIgff6jAqNFAOknI7rRuk6+InPDzrMvQ4wwKabGJytoBkplr/QgwKn8TZQ+/Gj9Jfi9YUpPRg49o6hyFbKNUMQPRhSbIxdvJ4w0gyIvUd6ny4+4Tc326o5lt0v1pDmAyK3jBbIjpoHLEjtapiTbj2T3MYckdD0l0PS2Fe71D+WWDw480CbDdWsHu/+rpE/WdXff7IbLndvGeCj9tcCsn5jefzeXjf212EPfHOv5oXJySR1ok1L50kG/9oqK3X3dNYqFTAjbV+UYLxTOIwvHS4bYMqCeylqbRughw6QIkR3KpPZDEy86o5hsuzPLWAhI+n/k+DX+E04HkkT1+sMZbj0L95MXF9NwrMwv+02qMgOj3eHijBWNXpL42ewu654Vk+KA5g4vnVWhqZ4z5fZcth8542tKUcGwE8G+UI4gAsGHiqj/FpaeG6L2dpUfIDrEJ+xMhMd3VwEd/C9P8NcbgvCMjAl2IRcysCRvwddiscWZl7jI1uZU4pPNlpOSVC6rQk2hR5El6tFcd9OtZTa9FxG9I3P93qNAUig8KSk+kxZJLP7jCS56W3F1MW4bgKH0KaxEPLxLKGiMKTTtJV7+tZlYUGOgnwFZNDGq/U9OyoklGv2OUe1/u6/QtVsCt8xIDkYe5+yQNLgd6X4MF1yVqSR9qzgXoVaaeh5GyU9YFkR7JMcv43aZNcS/BXq2tSCnhMVvPrtXtFZkt9wguXQIpv+BEy5g7UX86BIOw7d0WKuhbWpDPX7BrmV/S5cVX1XJ6tyCwrkxDLM9zM4wYZsl9Im5QZnv8IXLSeXTy6lu1GoTYHYL+/tN2t9HpOgmMVjUVJX+gEtEbywhkgqoR9joZdPIQxQ5ptOME5ZaniANhLiFIBbOUmCtaaoBC8WZx3qImXmIiAQOssoCKSA+QkuHxPpNVtPq27wDxpDj8XG3309xT1ZVinM1gr0XcE2nrFqTXBh4gDbgMo0BLEjg+dnKBO0zTQhoNkt3lq3Hlic8fyeqUZT8Qs13BLIcb90A66ui2ko0RUX1bjMX8AWN23hMeSkhfoLkFe4nkHq2PxxPmG7Ep1xx+W926kPVMPcAccl9hzZtbHWkASkbwYuBpPKuuF1PFS8hPyLcQG9hM32h2+bTe8YpBdbNmxdslOZ6IslO8ZIZWZbmT0lgjg1gEuVmIvHquNp7ACEkZo58Lzf4VwEvGN7J9b3+D5Rvukt2iJP/EnkZOD1UBPdhDL8P4fMUBM0e4dbckCPnB+kLp5RI1I+rWo3h/iElERKuzp6YQiUMFpzZ4sGsylh1P/ipBvE28o0x1lfGJ6reFvBo43a54zXlncnNfEdWQBbWLh1HYW80ugv28KmnsgD1J1dluC7CzP8HreLD+24lR3JAxX8MUejnisrLJmFuNakbJFEU7AJFuETDQEB2/e4W6gdiDkV5LzQRUDXVE7ZCfzW2D3JHImDJ6gZMAl11vLJxnljr3egtQVGKki+IgpdTsBLEdZYYY6EkHtWhh4YqcHk/dyO1k4xf0tgJ9OV9+jBZ7AVG88KJigM9efgp1AdEP+AdGi4rTwQw/JCHU/Vm8WpmBkZlsLhmO/O7xDfBMzC8ht1aqkZ5y4LtGUBjzi9irTtwjUzBEzdOrvKh9IzpSHuhjWilI/fqVrsyq0U4acaALHdV5d6f/ifoTQPDcGzpQjjKu6rCOUF4hSl8j/ERiQTIhacFwtUe++1wV19Q0vrorpyUGYoyvMkqaMQvx1nZNa+onEoaJz31pPmoMM0jThqiaYMezv276muSpSDzbG113v7qWSSzYL5ZqfFahgtky0V3JmXaGO9PUxmLWzFtBL0+lNIKvtap2N9w3T0KgTDBixqPOvNwBPEn5W/IhmazW5U0d5bM4CaVV3Fu37HVsz7PmkyaMRhAvTT2B3x7LZTHF8Ma6gv7kSV33al8DsW7LfbsJcKeJakIKsTH/G3lk7VuWQbFCRIRnKDQB4/0BEg7QwzbYvEmVuJKLbtn0d0J+YfsCFKu0koRABcvNNGOoOMO7mT9B2KkuV6pjx9k54yMGid+rPr4Ff1D9wWIFis3+youD4ymoj9rLEYIeFaKEPb7tRfH+cqOvn6dTtZoTGvg3sgyg1VA1Q09U4JDH0uO/KKAitoVQrIXvIwtV2O86FtwUSEP7hGELzOBHH6SiggW5x3H6FSjnsuNPVcXsopBfPZRxjQTGSzP1zDNqB5Ev75/aakbqN6PMiQiP/sUwuMrMlMwTJN1DuaY7pOztENrGl15LknXLafBQTH09fm5vwCvNqumEx2/yGV8AGzOGK4Q21+xRuuEe6NXkR7XhPACt0UKuTE0vfoZR1bU75F7hvqwEWo3+zfHfX2QFFluFaomVXYXWdCsAnD3P6v2Nt6l48/koqKAA0h8iGLfRNkVitBvPOYmm9sAgaURZzak8f70tpsZFtviMaZDe3+GNv/4jaupbXFdn7OsvY/TNNY5MGL4UdnO0shwDUJsRFMv4jmNXNa1qLKoSwEFNIAf910ZV+CRt0/xae3nN3ge+3MAM1DTJn+2c7fgvj7Bn8KOL0C0lHIhX7NYQBYn8Qfi7u8trwn8w7CG6Eb3/CrMXrguUFKlVjEVREsgNadSULF9Bwgi++Kk6oSNQ3I745GOxDU/LwcPAeoRjr+96/Sc3VNDLxCipf9Af2eVpEjHP6NqWOggKxqoqmSyqepyMQbWauJzc9WvCgqBXhBYqZcSGTwk3rYyJ6AkvIAUGVXzTZWByGB3201kPzV/VRTS68t/Etk3m9ZGpGsK5K+zfWacgHvE3veK5QGaLArmTVimMW/J2HALjTSPvFJDInlFdkdzlh0Tazf4irwx1g/9wPQGLQiyMz6XZugPh7rWLzcW444kzFrPjahsBKuCgtVbZp1MIFwuY6ujmlbuNl9qcQVWvQVVdiCq0jDjeTjMpMZeniCMPOSYBsJ+FQx2j9xCbD4X0Ftw9OkaNDnBQPnCwZR+pIhdgh9fciyPj2HNKxeTZ/GQlaXvpq6v/MKx4eBogR/BCVTDX3ERVobFcHFOe+KCxBwAwZ5xqSNK1VhnCZPYFJ6H8zFC4saYR5lk+Fda+mMlANkdfwOtIRjuo5+F7CnLCqWzi97B6qnaEhDiShpRDl7yqPtzp77BsGsLBEi8QDEvcI4n+SbkJKQWJeP4IUf0P+X6VJ+9eVF7Ki9WCM0e7a3k1wLpqpBGA4zPkUg44xgvAPYD0z9PVWIfXuANEvCt/Jo+D1Ef5d65nDmJcEUVUVlMyKmJSKVkFQxslN5X7Xjl4GK7yNwJPQ760wTbrz1GkWWd/VPxBMpo+TUEq23PNncirbBIuiku4uxF1OUyCx0XPV7i0zRMBpzCLTeiBVXzVtkUGHOb9WFOSDGhzwLTO0vD/JtANK+QlS/YnHT4iEC1MMQgPWDf2xgdLJDRqKLVW4p5rcObS+jn2bAK8ML54ESEu163Yt7kw5tle7GnP1wMuWIYSwWMuqqjNt/XEbswNVQipeO0gkBT79gvNYzhZt1FtzOrY/kuz1N2bBLkeOX7srwhPGg1H6iozKBc9vFe78KNYouH/DuznIbstmpsDarN7zAd3bQbv//RAyOQAw6/hlzVBZvb6mfYP3jyRo/pSu21n59OIgVL8v0ZBm7jJT1vwCr4SlxonSdaJdjzXpp6/wk8cQbK/qvI/oVlSMFsxbbEUoh/l61YPje32CIzH6ARRwE0mPZ7CiGDjDbRO+xuROZOlsC4dhxrQ82fjYIBqDylmD8P5WZ5RPm3auvuXbmbcYlk6X6WDMvcs+cMFMIIEQK8gm6bm1SVIMT5vq5gs7WsjswpSYPYEpDuwSNV4d20pexWUOvrkluJRu9F2cj/TxbbKyLJoC6t262XxEzZakIc5G6GV7GCCaqHfk/h3p2PiJjiyOUbT2MYp1X9L8KfpKgzZyLshXgqrMnWJQvWQn7ZUULgw6YRiWjHv8EBegRGPRv1XqBC4IHxvqkbW2jSKO3/V2saLrqEcj/9ymfw0nrPNu7PT/3wffVEhSgYUglthWyuTqLamLd0lYlFPrK+EKRWBYmOtNsYjvuLK2yLDZKS6TPAs6sqHP+2vi0NA2CsMqviYqSaUtomfpRukiSzuMWIleXfXJZkha8OKn5T6cUuSAD4GVVvphShAfJXMAlbiogekdcM8FETSh/uUapqkZnt+lUgW2VFe3qf6e6Mupo3B6YtesNkK/aP4OCRZyGpSZPdDFG/KiHI3MHzwhJUEP6RkaYhcngPFDG+yAdp1kAzndNbzRLvEFLNA6Bw1Y3NmEgiMMyh26eDByEVokm+EpjEqWyGUhj8O/UjXsZl2/4Y48y0Rje/WUOOlrgJ8VPtrEDVNCZFKB98waMBFsC4KBfYonpZlKl5u/JvCtnpRKSNNSIvy0WYikv/8qGxbALbUz5lw3Rhynp64glCD41Jr3V5O2XvHcK2nLBvFAGcxM88WnaXVo6KSrAQKRB7D6gN3/mrnfZHZGxJ7qKyk96rGqQIDj/L71HTdWv3yPTlDt6OFLZ51uG+ZzbYinkgtjoer4yPyAiN6Ij08fRhSCDFDQTLnM/J2ACEPxTWBlaavcGdWqTYXNnz34glaDu2TDCbasGSMk8tCAD0G7QkwTxH5OpKS8YYV509QqUWvJhBg8tdSeVjVaiowxWjZNR1x2kyNUPH9E1jiPM6NFliyjXzjCBwY8F2lDWFyvGU/6LJBa2PkYwKHbGSLsR3pjg5T/UmWa6vCOAa/n1ehPz6TdVLtvJO/lchNR/HxXb9CuMQ6Vr84ierhuvBWM+q/l2RkOd2OcaPgDHHA7hQKboLI/oNz2F5vmdqfa/eWzcpgwYXbnrV85NQszFBJspJsFBgS78m45SB7sv8DOrzrDpAus6YJgt16epwAfZzTyq/5m033B+UH/nWZC3ghO2AHHvSSPvaBz472pUo0Mq7FrnosgCbgD8AXavh8EF18niAEof4ylot8pKrDXnPSoSBjYvJbSRnZ/tjaECgkVmDN2prKASHV0MFoOsaPbxTTZFQnUNem4MfNR1BnLMHrAXXO4N/z1vwRLgzox3YRT/Oa3/3Z3V0NEOQ9b94lwU6kcChO5fAqqFbRyusr2QoYhsxj4Qi4j7h0Za0h7H79PvoZLsvLnUzyxIjGuCcLWeWoPvDQt8golvwu7KE3dd53e32pFc32A8cOlKOGOkhOn/yaxhJH/OSW5+0WwNjuou8GmxwZ5T30KxWMmajT/k/suFdojtOWDI+QcZ7qw59ZIdEe6LDac0lES/DqxbenO5YDjskiKvoV1J5ap21M0Gqs1rfV7NinrdUEGgwtB5VLuTdbXWwBMowqWairlHBUCx7/KaSqjheeP5q1Z8e4/FqTD8PJEWFkfCw+0DUsmwosXYQTqP2c/IuYbZ37UZu6MwS2aBEWxw6abwypoJTxYPr0PH78dqWwV/B70Sy4fEJH9tfm1hAjyd7y6GhR87DU/goD9WUZtr8HfO58pTUj/FG+mC6J7ySizTZu7F2tTUGo5xU1DfcYgvVIh/2SkhzaBFx0dw6JqEEvFxi7XUE1pmQ4IaLDy/OKw4fAI8ppeEoEnrNsgB0Wb8KFSIUm2F8Gv97u+Ga/HU6NaKpPXYiViIx0g8yFVDWW3ittjmWPIk4S/xy2/SpKN5+pdf67TulQkSvkcAwbcWk6eJr9ZvhTbAETeP2bke9gFAmATUbo4sjNMY+c197IlW8gM7Cw50q1WJilhoTjNkbH4jJEND4aWKY2oGchidvvf9HVRU56BGMcIoXg5mqZBeSZLUP5IDsUOyQGOQ6qpzcP2IZQRNFFiFQRTYgKck+CmadphWr3w6rI02ja8c30AgsVB6Bpw3wbqS0nuawsL392l5QZKL7NFMXrXZ1j4/pluC0rWPNgs9nwxHFbCLILb3s6AjsMNES1UtAAdl0UZFfsSWgQLLKNs+lFBjPXlvOYFz3U++ddK9hK0g4bdsO+eEGEe2VMBI534lC99WSOjayph+HUrOY6RiHRVbdGZWBsmJg2AdZOgZgwdJFlUoysxHPB7TCcSF9y3MelOptaQYm5fbAgU9dMugsm0pYKxqQ16E/6WwTt/6G2mDbKq9WE1VOwWlgUfopq8Qmnu/wXzYu7/d9ZvaSMw5c+Kf9r8OAmyYCNMgrLOLlvRbbnA91jh1XVRBfddZGYMoqlVvXvAz7f7161bwDbnx2u/sYZyVLzKLXNHCrfanaNxbjLjfAo+cvKGWAlraiJQBVhEwMVw0Ezm9kTCkEVZMRkdVWZjSxFkOhGdIwPTwqFY9gg4AAlp7GlDjk3yFJFaj7t87n9EHu05oZ1O6aNNUS+r3GGACdXHC+n1l41KFcGnFMGSrFtLMJHkewwvMteOKeRuRAhfWP5sLgtuXrP0iYJKhqyCxbWpuq18pCBs9hx2TN2xQ2elsxQaqEsT0CctczCI7t4U2FdLuOy/j8fFALx4LJ+rOr/OhPA7eY7vuUlmWTGyNLljNzTSoddVQAtN+WbgYVGDYuiPzM/D+c6dmX61ypYjNX+2pNKrWTuw0QthLxRsgxLbjbBZRNurOAVZ/nSEtcEdT9fe16eBLf4/7TFG7KUGrOFe/Zd9VrGkfNoeF4dF4Y69EnwJZikEPSZyntwrbiyzWxyr/iVrWFbL94w4Bw8JmNVcWersem7zgTdwd90kRh81hCnMohWjTckOsyeCcl0F7pfl0do1KtcZrfFy/97nn3cAnGhKWCVlSCKpZG7HhvzwJaGPTMaiDOisOmX3prVx6OPhmax3iusW76Wh5Jk2Bz1xrgM+fvhgOvqCKY2SHEiuL5xIVWts8b5XsEElhGhBQyvEWbtx3a/6MtlCEdJVyNdDF71fskb7on1CwgEOB2jCTEWUzuF9TT3Md/SadoC0kvTczMzZXdpjrGd/dULeY5wcGSJNkCTjTzfRptkCcOROgmf+ibepMJ58m1+90ZkHBXWBtySyzebJnI6n6/83aCQ2MA5Hj8crJzVU0S4CUNlcv3XBpwLAviPk+yUa1UFPJDNgE0gq82adK1vw4VNj+rYfW0na40pubEoQ620Xgr0ugjFl61uUd8gGEws7qS3exeUKg8h9RUYi6AEd/vQg24RCXeWgIjCtvX6IMn+BzQXh5qoJDPTWO8POjQKMAbyWqBzFAo8JUBckYC9Xw8M9j4/OAB07cyLv+tznjSWjUOoW4nBQyLC+avjheEAWgj7ts/FLr5fPcx0GYoZFXu5+6u9f90IcwjcNKWUC0gGxb7gSP8WYixgwkgXugsYA37HXq/sUznP0h05hiN6k9jANobs/mBhB/bLRwoZ6IifYsNIS1EFH7epFD2bCd8gYM7kr92kyLx47c62EXDupvZAN1zMxKIKJOONbBPMsFWbSgLIERYDIOmWUAJWnbHanQFeYHied2sa7Ocu7L2dMqS+jpbV96vND2n2rPLhjL5U0W1MfannWHjTGhCbXPakPxFG1ryAcx3qMrovSINBozSW5fjavg9t+ekFIfR1wQuA7cDu6RL98bcW6nie269svazQKIyWleNm5xWOlUf7Z92g6nzJOjUazXUFzXogmnVPCDycRsZgRE17SyKR21yNvT0gXQY6iqWShbUiDULEjHLrgFKDBUzOcl44b92TM2YDyFgGcZPgx7cw6xuleoODcG4xcrbmm8Zl3HSi0Z2+h2Nc5PT+VRp8RpeIiTSZ/kLTrsSMKbqpnj63Ica63F8PHyQ8GQDo+R7ZHrLOJ6mRnX9EO7Uf6WKOlCrLbi7VBtT2YdoccJqQYKODFOcbIDCP+lVjCFhKDp6PZPD0shPWvcweFP6St3WVpP1ZHlEpMviVvmKtADA9hzpkVM+5WkIGAsknwYiJhRk0lFJbaKEfKdJaTNidK0u5a9Lf2VzZ9V++FV1KszQMkdUQJFwflb2i0z/aI/UUKyJyR7O3VQfMFGPLmqFnhgOIV8JL9OzLgDT33yZtr/ykdL0jSDbbbvya18ig9qPy+sj9Pj3FVkRzCD4YHeyTgJYKwkN/h/EOsp6sR4WQZNFdVN86grXLWoTGGVKtLEDeHLcJzkYAGUwDIQzHT8PalnWQFC8N1Vr1MEzM9mOk+Z80ZqsFSZvR9NldIMYt65QQcU0vxu/R8kigh8p+muFJl71qCzfLVs7TB6IGlf8pLei9BTCp2DgxFgRJyBHDI6HCNSGIt6ybo8yjhifHDf5MJi13+zvzyHtYA5YxGtbz9egFm7Grjjc98mBlSF1vO5UGky0ERV4bf7PRmamCHMLLnwlIauV3GZY8bAY1KKQdx5jKf24xRx8+HHfDuKM9yRue9PxySh56r2qU5xbntb78sDaW2hka1XimPxFZPrIStJlZBRiMelFsJPwC81qC5ZKUTNz4FwIjX7VXWWtff5rxr+5fYOYsSlyaPCQtD5H2/zIwDA3Ge9xyNW8WWXvfpFWEywz4QU8QAPsxUJJrlSz21SsN0L4TnvWRg2mi7keF9aUsDcPVuEv7UKfgLhGmlpD+De+eJK6sjfZ4ndUg3SCxEkOmPrZaqRpETVQPmFTa13+xSKihPNRS/3Ydi6sh98d8qNhqS4zTwu45z+Vi7xZtdBv7Y/1ulOqsPRgWx3YqNk6o3QfUYyULT6YVH/LfMAmHGE5wdsm3m0O9lJ2eDqEDd0T9Ea0LrYq/7biemzmpRD2BuWPDYOdsG3QKU/XUnav12e+ebkd6yPBdNMa/GWgHneI0JIASKhe9kqvrrl2Ix8nSd7DnY1ySE80HUA2jebeIYpTBpO5Qytz+VV73MJZ7IAuTEGbxYlulk+l9jEnIq9whLZrQa05Uoz8wJTb7P5R4tfili7KZfR9qU9uolthIdJU+pXyXx9AxoBFtumlMJHbWNByaKkgvOX77413+cc1Z29Za38XY8tQ7rskC/Av4cfUMLAgEktbswGN/erFEwF/2dtLPNG4IbvexOOrZrnSjwU4gTBeTzNM5LSZhkToC9B+eapNzPoF1xfkAeJLt943VHYHuJDHIn9V42+MT0QbG+dqSVPZzSgecuMSK4bmZ4L2O3mxXfDlgXqEMz9nS9VIzVrAIpW59xAiPBO4UgAmJW1Ta41f7wYsu1uu2tLVNKuxc5xjLsQya4oxLTfyP8GgFJi8njHFgwatXF/4+vXdqTp2sxL2sK8d4lW+elfeyv2O1QR60F5OmJP2wr8IIFXCARD1JyEezBz7qPr4uQJqcKHF52ZYXR/XkiAYXrsgINBKtjgXw6d0Z/hH5o8+ZM0py85EcSlkIyRsXCN/+zaWjHq+eTCv9Lad28mjXP+g/R93Fwatq4Sq8PpTtYgsRDYzYEN4fiE2WovbfgfUByVn7tz7ifR2mBEuACL2UZIbJ0RnTPDptKQnizBbRCwUlbwPVkSTOJlC4n5s/X8Ci/SlNa9eDHy8DY0r0aOtD2RWvrTiTZEy7f8aHWtg72QzEg2szfAEjWhVeC0MTCuO0Z4ih99HQVgdQNqq/it3l1Lba3aQKcZY5OofkSXHCry3Us/B9sfFZjGng4zVbAMeIxjGanO5VAOSmY3nxjEnT2v/4Z4LNFeVNaYtJr1zqY67OYJKAgksRZN2r3WEOClOa1SmPb4Fayt+LEe6cG8q2PejBP9+zzjtrh2X4oaLXAfuSOF70966dQdfWuPEKR/wpstx1e7qHVSVFUnzNuA4FaJrCXDcd7v2SApVBrnDebkZDUtuAsih8jzaL4hBF9+dk665YgrRKZPXV57e8iLjHk5ItaLzdgfL4Qc/NK2LImtZ8zsGkTuD+6yeI7NlPWlPsWt2DwxY6P5fmLHKerBLb5p/dVTEN3OKq+nMKjkNb/TaGlap+1nBwhLftffyo/LxktBZXf6aElFbUyXMObn/ImCiiWe7rbopgq2V+1QkqM8G+z/QIAjlq6uOknOAGQesP7d4P7Ax9LB+lpPui0BwQzZJRCGrLhklHbhxUq+Y1IiKg8OS+2l2mm2bGeHtVx88seuXkzbH7l3wNdpjUlHicAKDvOLmtUsqmVfq8VYnDB51wZB1WrHRBKv2zKzT5jSMqg4IAuLuZ7v3tWgTTd+d9qDIdYhdcqX13uszPsnyUqgV4RQHuB2F/miuuU5gOi7QTXfraoFgeWmXfhm07VMaUXO00gHYqJdMl1+2wiHKdp0ZQOJQ4exdkAAt6wr453H9PCVArEsS2SD+6OnaIRCTT+23mLJih35ltKXpTcDHZ8MYBPiyTPj/R2RPCt8LwWutXE8w+CsgmoFrLHxcPCKuLTP2wL3PFFm4od+n5fwmtwdieU9nwWygkIFHK2ji+pEVDMOu3+ev6UTsc6ZWTYPjk6tu9YrJOIinS9sd+nlpyX8Sf1BE34B1AxPPLY+NtbGgaLt2id2lPQOCbF2UGUCIHrCJ16l5UObcu9bL5zzwerY1DQOUFEeELfrfb07nSqXSI182FUoAnYqNcR+Nvcmujt+nrkqIuaA8rd1RYFxzNj96CKdSwBptmkOUwx7zsHiGsq9ax28eUB8h/Uh7we2H+itWA6riX0cFbKHtFaiNrlJR+TeGcZdJX3HQhao4ZHdvj3iys3/eC+5ld7T1mgt96NXEcM+w/dPnbfuDz20MoqB6rs3Y24LhFVSlujwMKKx7ptQSzQyEms4SRdnTWzK9EbpLpbfIMS+prg1je3cBpv2c5frFZEARYVo509zb2t38yUM5rWWNTr50OP1vk6uaFYxYKMmDlZLvxZMd9hAXj2GOHJjPcDr63VT2kynN/Gg0ruizY9vYBrguzidmtn/3kEMCZ7CecLFBZuzYFr6XJ9O0DWOFQZB1CmKs96G81tneUkq9YgEApSkp+DiBU5a43VR0IpMMBtFzz1J6Ni8UKBikKlZJO6Qte/ofc/jfctdkma8Eua4opf5a3Zcuv7ksp7HkO/ms7OCVv4H86gC8IsHiHtw4hV15bnCIQYt6wS8nde2/gY+P+mDj8z0SgfEp2ELXFVRMO2waEKbTbq6hx14Nz3ZkBy4KMKVZ5DEBzYROdY4fJd5SJoqlkA9XS+TlenCHv7oSSollRTuQ5IDnam9RC1WV+D3y5lhS0+eLRuyBJXAA3cpdl5qw6xcJ6As7GfI7e3t/KN2u5bpWkjxQv40XXH7r6lfU+hFa3XaXrmNDCTC1obEjl+X8sWtlMoJlfQktqrlyaSEdaqE36kugcCMYKqpLA5bEhDtVAnibMtylK5/wQ4M204INf4eQ1FsdTVkuBWTVswiVbrV/y56TwU3toA5oCf+dwSo5pIKp6EiLXETeYrRvEqFq+tptQAumJCLeC3RbVZ2qOtkHaLaebR7fQaLD2Mbn0LUlN8sGzkFGmoHLgueNG4DkLVoV6iL3KIi3c/2MaWT8ESpDj5WJsBIsMifamup+tqhCkwIDztJvwPXwVrefsoQ0RZRt4Z83CxJwtqs6qTSpxixiYx8SmTwy5Bcst7mVNfkSMZdaPzZ4kbZh3EfjMpTF6n8W7jB+CYDuWG76aF4qe/L7XOQLvEW/NcUE8XfGkIZXTSahsue+JcWltnp+liu1Hbv61O36qWwi0ITppytvEDcm17QpB2ekZvW1Az1zDG4vJO2FHmDN7hygG5Tojzc57iQu4QoHUK+yA184zUh9Ljo6F2umOskMHvbgXJKDuVvUxvPtlQlW5DMjMf76hWOSPkxR4zUdmMePYt6jzF7Y4mqgXq6LmbHyNEX8Ljrnn1Y+kG+sJaypu9O+aUg5dvcegJXqE15II/pTLTMG4al3r+K3SaYDDUOWoKIjpqQT3MrCyU3WpK6ZB8wZnE59wsUhW1vPgSEs/TRNMglg+FlWSmEDRquaFFYvGjq/7vTtRF7md4xycETHKSoZamzBSpED3EcjShfss767qxlThtpA/028z4D4PS9IccMq7KPw+l8RY/6O/8QAv8ZZGrhTjYsYjXMbgHCLdtHGEfcRyi//uvWJoNH2OyaLaQIM1deyMTw1mbVmtQTuiQNFNDS4gEKcmLK8h6PuH67hxFw7Q2H942+a5wUJKfvAfzTA3b6s4mYcKejvDXoTKX7ySAE+8UAAzkS2M7LjikzXHn2lhCryiVfNfngTrVqYAswEOXn1uRJnb9lrHFvy2nSNsCw1sePEwlrzirEeLF0tHjJ37eBomxtN9m8WJ9Uutza3BwdsESXyhfzD8uyW4HH1896aNo19c0waRnslb+6XowyT0G31R4SE9hUIaC94SdOfxcxm+IqtaL7ZLAiCIAylxjlCwg/FZDMTzLtxYOu2zimO4mnm+UnpyWBOdjJwKImEmE4w8l7N9urPZ7CvnOtePOOEo+wp6zOVsDDGHn8dxCBdobvJTQNdAyDyxeUdL5lFwfgNTsRfbbHn2J8JkXVDxlr5V0yoNTteLBaFWUVGn1rwCfRKDguq64sd0W761Z4P4ulQDoFSi91LDmmw3EN1KwjRfLNHvRHRfHv9qtHyvQWNEhR0+FlDvNJBF2ePQ2Rty43zoIW/atsv7z1TviOxc6LjCdWG/KlwBLfSCy13UePVIapDlxDjuNtPajH7yt8OKSXVMZZOMOcNZsTbp9HOo38ZAV8USnRj1v/OOQbhyh2IAWPiwjMioCn59qTzhiiwjCILzqk3LEnKhRxvm8utGROnOe5FN11G7J4dLZgo/7WU6U+74CKLzqrTuB43WhP9PQzCtRTpy+7kjiKelC0z646VVOp+fJniDZ+1yhSZTATaLjKo9OEH+3wfNzjDNVthWnhLBJeYvF6h/DJIvEooGHrM2HzaUGtAODlTn7IMQf2FXtZlYN9yY8DDu7knWpYqoKGKkdN92PjKupI4SPjYzAFpRz+xbKOlpn9P6XHIMuPJSeAyCITMfmdEgSOYqiFKhGHO9JA9A7KRB6wMGDmyL6fZRiBM5NV0EgfZRcW5hVf5h3NktqRdHtn20d1kg7U2SE+ONN/5EHujb5XYelMA2D1UMV55L1kxviGqVkXNIUxtLWUVM2HawSSMnezG3/qpkW5E2oN0PVjtXZ/BSKB/u2SXVqJJebHXG5FlLGglmeAb7DWaYdyMBohS4Gki3A1hyGzViV4dEtOebPHYX5c0RilTAdFYO07MFGa8BdNPf4Cbkv5jPwJl6F49xjWN4g0uKQVhNBCA7StoF/V2WoMjUUedGAhMvYNNaEow7pW35idcb5HZdEnPziP1bFQJTCsOWs1b5OCQR1DU0bZrItm/ODhxQsP4TiszITWAb/zsg5ApQAs6vvDwfzkd2S4r6rRPIvVnkbe2OxI54DlIsuSW4ccUqmkcPrl6C8o4tal25LgQJQTlNaXm6yFMcnxe/ffoWbX6xbYc/83c6IZGKEvNwRhScp5ohTbKG0N4d8tFIAkYSDEEX/OO5jqrXyGRMA5axslmUIsFYCHWp4gB26VnBQH3UGGAKDqXknBmt9/mJN7yUUpeikqRMsAUS6koK6LQh7IAwFx6HrgKCYezV2BeoReHq/vnaDrn7E9tppEcdwqgh9qxNZisbtFpRA8pQJ5py7pNVIojZcNZEsk0Q/lMgwPEkpaMDzVfxFi5wGdmHSfDrgREq6d/AhdZksn2cMhOj5tQCIdq2cyIYE0fVH9jbtbiO0jyD4RDBDKlETWHx6wjjDPdFQAZFnBJfuyh70W680GtaqKEywEXXbxp35u/uYqwoD0pwv8gRHS2mIDCttaNqXySjkwhR3SNzFjGhMwHrIIPbEZEkBhsoQXloAHL3HfDd6iFsUotbnlYvOYz4aeX6fU9322B1/imj3N5MU8VtkfnMNF5EfZ1ToVzdrKQ8EnfRARERNRhqorDkO3VJYVHgvrGgEQDeiTmrhl88faM222pZoET8gRNXnXD3M7EZLN65/xHJcf4Aj2n4B/GaL3BaZprRdXICA7Vqlt886djrtaUde7thSvfERox+YEO8ZCq/2AOEMrDQSVbmdXa5bNNxKMv+rdgk/TRxyMuTxawEaOLVR9uby94I8Vai9WZ0xc4GxHG+ij+TkNu8YrWbek6k9ArwvffF+pgQvplwyHpPQHc9ZQN3A4Vt3Vatw94LEzfxlVBLYSfahvVqDpUAqXFYC8BfF/0M7Bu2pbLvqy9LUFauJBTQTwWbF4r4uBgOuvjQIEtPOUauQlQK6pfohsg73bhN/zSZWzw0yom9VjJn5lqdlLagh9FOiYYzONulWugWs9WRRiZtLBIm0YR0im+E2P8+u5ohuJWsUTcpnuqbBhHbeUhbH1X2WDOceaznS1kGOV6vyEX1I8OK7r6bGIjjfhdxzvQM4bqpzLQNYuk7UOfqdkIgE6xlfNxY5Zj/QZDYlbeR6lMbXTRMepEDEzBHjD45582cQTAWxT2d59Pd0lQ8+QCcA5ufEk0b1O3llmIC2xORiMXZwM6beMqjoartlNjew8Al40ZOmoQ/TV5EmmDC6ouNAabUvxNfzuMqMQZwIdYDPQhyLDidty5dmSWeFe6QI8EzHzKZwgacccjCQYdmKEajXibuQ0QI0S5B6HMaBYorNi+5YSHT4g+eWJeL/0ohfoNZffQSBVP6Js09pWs7WMRLuVbH2FWO/XmmbB6sRObinre1ZGX+oMdLicj4ldugolOXKGqtEydHcPoi6+zw4FCf+Ndt4cIl+DVujgankxxFww0HaC0u3/8YZri3SkMXEMITNg5G13U3SJ9IoG2TVXeNZphRyUQJCPKdABKuANgvrR/4F5IQf5XnNQC1Itf6RTdzGL+HHRa/dFDWAEvhkkFXrXMYX26Lixn2UX801BBKK44gva3B7YH5r+Xbrm4dauiAk8cbWq0uNj/7iOFPNPgcBO9rWiQjPbt3VfltBz/pLxZdlIjdvYNl20fv6zSxc61JEpxS+MdpRArP1Zvs6OOEVDfFfhVtytOgo2IWYQ5zJw3VZrj2pfVnwZDFu8TYPVEmCl2BKGT/95945mcsEGtxryhlQgAR+uXfE2YQKzLoDAnUc3k8+9x5oVsCcwy94HsSitTedpHM4rVu1Hog7XGu9UPVnGm12QPM065M8lUqr/7JxgsBnaa25lzmEIQRSNOLVBoNkRA/P2kh0S32O0DJdsW6EmxDlb42K0mNiDI5NRUNgehOzeTuIP4HeItD7XRHj1fGX8tBlVQNK7Ggela6mhszUMsMiSr48WjIwDb/SrC5qZZBxIjJ+cJdwE8ygdcY1bGhbtY7kWDibhGdEzmjSeK9XtA8O2Ghth1A+jvXKieKBzPMIieOIInuo73+68at/sZM6NpqyCVRQRC5vPc/v+EcSVZLSadYjGwvGDBtie3w2YGVj8DVIbR04feW2cSs7VLnkdyFDIYodSRvzBY6tY+cw9GQrnQ8F1jc0KCVrnvNzzHEx9bCVvZlEvU8JZtycEqYP7Efsh370mvtPafdv1pG9udxEP3jmeJdVo+bIwfDHgs5QwUVg2ieEzj/ze1K92yPjb1fvQXDVgJG4VnUAKFGI8toMVz661g+L6Z9kXFgJV/eq/1Kgseb1ynIRee8z1zDCvnaH4zCnQdswpmJU64DuWdd18hCOmlmaJDQjRI+9riA98YrQ6S4xZ3R0+AGlNgd8oAtU8j14z9GQVlVDiQu+0wiEZYBUJsLfRi5ij3k3Y172KdZnWrlMXoFMNJqzdS8Me0EUrQsINon4tEtpJNtVrETeU47yRrPPfSLZcatRVOxid69E83r6ksjNcTJI0UTvY2snpwz1Q21F8Usp91t6621lev7ns1AuEqbecLjrP92cMfN7xbcqd3vgfc1MJMbKcxx3PatRy+vKOW5d9sO4ofJURyUKMM8Fa+oAibntFdMg6WsenhgMdNoDAw2ttAMAxk9mg0Xl/yqOvApdMSXajjU5isyyDDtNi+HL/cg0boRMnYCcLc/E1uDvueEsDKbD2iJUZUF26g3jGyO/UKsHoTJgq7ATLdcIGF0MCM77AHlJKKeO3/RJIDzoxUyTxGv+Gjp3/9evF2XIzX0DFgJbNdbTnVgJOV+qVX1yMwytY8ncKk82ZcEdA+iWYWgnpAd8xiEDgHcwbVSGoioOpAh5ZyH79hbb/vrzahFrregPpxypug0duwCnf/fMgXKFPe5UPTojKRSgB9gok8yoV3hemlcfvhNYJR8HAxNxARfymCLxyF9z43bxyDLyUUVpunn+KIHf3ZdJL7D6JUAXJB+pch1IeCa765kIPYBbZ3t/Iu8JHrPM1D0P5VX+Bg9G24+q/6LKt3ws7eeUDKWQ5OcQkQTPuvqhMiJ0jsGz97vg9cC6q7v9eTLL3qQifAH92xb3766SqQsIvWYLGM+ntrxPliGz1Mh0Ys3rGUFArqWRgky89h7FLTVu4dFgtMVkyKUj6nmUDYhup1whrEGlqV4BnRepcLLexws3UyUObLwt0CPgGrGqMMo3oysr8MCReTxGmIEE4slk1KP1Y82TMS04w6Y3sj/aPjGZe23t9VNiMl2XYyoc5Am4nUuVkqrssNFNYtFm88BmFVrE5FZB7yzqPpH84hvNsudnCJuzCGIdtb6XftY42/IYnuxorL5qK03U9zdVlwRCrmeFgvsxAkWkpMEkw33OqQPc6vpJsT6QkWHYfC622ijRJM2j4ju+7UTGy+5Ctub73VEall3RmRG/RlTz4L/LBaSzJcUu97LAg+x7AhS3Rxyr6ExH5mWI4iQHhFKx3MO7BV4P7bH9AxI1ixeR/c6th121qlWPjClSr+B0jLReHO1qzMw54iv6vDRmMuTAfxT2InMq4l7sSSYOaD8o8KBfVTqUUjyGpeT2ZcaWOP/mIiK2KyP/Ug0lWkOdr2plJ4BVtnlPDDW0QJevOG84Hu8mzkG3BWgpiu8N/1HjPf/qsgCChrd+BquvGi54Hmj6YZexdVdH5t2NJ6rJjFMj9gwYcOrLVXfTgF6/S7UCffEITlY8Lns4P5YbFI9rxuCIl2EMxS63O7PsKwxwLxEPOK7T35VWwmgmWDoAbbBRHJ5rsYPWX2pKnSeWgjdGCei6l6zQ4LzCz6tFsVnjyG/6eD6Ag5K1bnPbv8YElj6Ch7BhiWFdbswyn6vBJzwM9eiLxuW5tCBXUiLFr9LajyI7XIIJOLAC+JSeFAlTCA2KN5ON06deAkN0xZ0VzkdXh2qXFT8xUvqAuZRI79FiTeul1saELVh0vgA7fsYNudIBTjhmQDYj7cknA68FpM+6b1RXvl/i7PG33Y7L/NE6dNLrnUQILZbDNJIycl9zLWOiUldyEtF1TutLtMdvhQj+kAMH3WxszuNGbgTxEjE67G8lVwZ+4fJQJsAWejLP0va2qz4r/z5FoKxg9cDdCDL1yooUewHM4KCboCuoSWHEjJlqljbUosqJu06m80JMyfk3YNPgwoiBo3B4AZ9kKexD18nhnER+O4zv4eY1uoI1S5t/fVuJ89/lhLi6ewAdfZU+NLZOF1/NYaI3JMFGt8TkAcabmAUfntvBUvXcSQxCxt7tZx+xoC8jTwpBQT0sNQ93lV8VaDXiUjErtMsajgEK1J5744QTswEtiDY1R8wPWVtXiwu0OsHayWKMPqTHmH1D5g+E6Ch6a9ZQxZp9Iw7Zsjrj79mnv/1/WujHIIl3MAFlEHhW5USRdywhpho8wMzZpQAaJG95EBbOkRWLy1GqM8zE3JzFe37O2vDs9saRB14jpJ6uSUU6sokpr8oOEEiMLh/Ik04mN7Mq1sp6wDW47mVM7idGSLjqFaXpYhmktqnDwuZyQ8xZMEA2XibmQq+0Zy1XT5Yp3j/GY5rMUB1pZjfR2VILjThkIzYF+M4CVJQWTV+X+ar+uY2P3JKwXmqMshKvhIqzAVl91j8cGlcEjLrQdlhJT9ZOElcuRWkDbHABekjUw9svfmW6CiCYr61g3oVzJWVS/qUf0BypNvIAzkaYYpxznE2Yl6yHeqB9h/oQzmhNIN7Y6N1T7UgYN6oWSJWHHo36qjKUMpQK9wgTBCt1RlRm814f8gvnjLmcjHsUJMIl756zBxUw9bgredg5wk7ZyFFWO2AdO6pyn2M6tjT1abb0G7W83b0hlvgdiRe+pQmRUexMLQVAps3Bjc1zG14sRJxGdQrXOCWKKxxrpPE1xZYRdahNTlArx1dF3SLiInzB8far+Wtg224tPVLAmqGoamqclPMnGBoAITEFW9Vr6wle2jntJxvYeImhlgMT8BTggNBJwwQZv2mY0sOBHqjVtd3xxBfxDgSlVHRYOnQ5O5tGEoXFJUmJDzZqItz06oi1dJJXfocbOGLKKUONiJrJz9C4j7UUz6r/s2cz+kn25xR/djDoJRy3yD9zcuwPy68XWnpi7o9nKnJNU0i6fNxTVqUjWbF5dMZuwv4cjM+DLHugSxeQap8njJbR0w8mSJAVV6DQVIx3VuD7hTlSj/Ofqr5b3OJ9BkVM873lOLOGu2qxkOQwG+2ywqiJx2cGn3td1N9sil1PLQvrOXkbyIDYypuoXF4m7liYSdv5YQEE9droKgzJ/NIm91tvpQIIOMnosa2yVvdv4PnqK+jquZimlHrCso2d/1EPo4NMmw20+siRb3DAqERbw62Bb18Ycn+EosvjkJbUcxfIxrkmc7T6WMIylL43xc1IMVeIe5JIIOIhP0viM8reC9n+u40PE9HGVbik0hkHirkDv3C/LmXKGy1pyLG46lC49sevBlwlSNqdl9OQ7AC8qMyrQ4xiACyvhI1rQ87flIkJiG/ZF+a9OjMTY2fBunSKCOfVzp7s4qCsetT5oJ3XHx7gJxt3x1Twi+80Aq/pTJV5xLpUBaizgCByyydoB6w661o7ksTH/8dttgO4Q3qPuWN1uHJ5mLZN3MThOQXwZOZB2VQ9hAwT9mOzaY8Cl/S/cjahcHVHwszFol5O4nWt2LSppQjgUXzSz5rcBuPMza+Cyo3pCi/BLtLPzY1HYamSYXe1faXuScUdFFDyEPPYVX0zvFYL7lHZ4Pjfx+atnhU0MUb+ZM7Yb5f6EpXZs5UuG9bUxpPbmKOuykSD+amhL8EMyAMwSNrhDcwUzO0tpsVVm9T1furt3763xRDyvMnXii87nBP+ccdF7QZzGGWb8CUywu/n8ZD1xAkviWoOLX+7/0oxSJigw/PL78HZ78mzwj+f9JOhElFxIaYhKXgkrxPFRYkOHBYjSfVuPRZ8YCyoX05KQdK4cdMb9jfSvmHJc5VTxjPF2qaFZt2xWWqvBdfFR6byLUUpMzNN0FS5qTv89MUFpPVlThI7AVD2l0XMBdQHL7zzkFER9ZbdeWl0vA4Ou3THp8jRWEqn5JnjdYQLTrZz2dLyVFWe8MUn05F41LqirCiMTEVa2FkU4YSw+EoQiMozCZSVW1Vn+zrS9TGLNQI8quDjD7MyKsuVZL/x9FaANXENvyLlSw819azhW6Nn6O+FilErUw4jOdol4VHX/L8Uwj2wBxR3k9ii24V8LqWvr09v76u8n1AHpqjwR+4ncVcbgWoCwwfYnRhhTJWvz2zwz5wu2LTLgQbQoXXp2wVNWup2zeMSjTy8TOEztBmd+NeywwIjx7J5TEqGORsonKDBam/davg75osWtOHbFkn3dTgoFwxMT4ZtW1GWTUi7tEHTaCdreqlHMSadmv/fl8h4bEfDA4XFPnNTQUPZ4L099Onu2FZi5tuTmhagaUNG55xdTDdOIwGoPPc6mAZ1RB6zrn1nFCwnPdiJZLE0Wu0ONJOC0Ug1n4e6nTuGLL2MbmZdXvPV+6sWeqHcO4l8Qh9UnquCQzNu3M+XmAwrsWBS2z5Q0EhlzMaG2RiskXLGZSgbmge/exNcKLZyOkjMELOlH6FM2hDUFd9m8/zaVhOu+uC67JBIoqeJrwBLXchzHAn25pjz+SX2bhskQxVTaeYeJ0ejHKg+de07gUF8Dlrexlf3I+M7W49t1ekcNvhJdIgS7BhBj2xi7ucVkGgahYZyTQBx2g4ZQv9I/1Ss+LxPM1MR+PNB+M6LjyCtzM+zT07A1V1wnTSShLalD1UQWJFHWEWp9E4YA2Lw718mXzN3tchpq5oqQvXR6uD4PfIfs/aOsdP7h7KPEi5uCmxKUkaZ3hfaIUz5TlNScMny1RE/4va+E5mjFUpMmSz5dHNNjDfVcH9OiuqStiSjqAa9Qp0jadbhAsHJBAnb1nwnETjEgWwPuCDSkm/bpCaCPJYu4XGm839LzlmUOQejrjXeZsG4LVSBkar2wETHOKXpHDxLhQQ6Gg/FiNl8lvXOEF+kHj8kzxHNyP3YFi5OJ/flNh+x27SMV07tqnd0jNiHusGcRF9RwA/uptbTKagTI0MQjh4bLeXcCd09+2QV3DLpJkRlg40fYawaGVgGMSE4u9oGQ8ZtzQgj9UCv24KsHiHNa2kTnITD6ULGH88Yo5Hn/S/iWgLGg15f298udFGXxMMR27ubSJJGD7MwVdLNO9dw1s8TSpbn67+qGDkxzx57xfh/RvuvmHBL47hSPDqn/JuqbSJwP5HKJJg/SlMdN4bF7yExyoAQDAdJTBnl1/rDrPUcS87XRG1VkRO63ruITCeFeBPDgtlGcYw//xasXxMw+UAjrrzi/NfiEMGPKOgdEqWDN+QDSBn3dBjRcjk7/nYP0IXC/xiOEo76FIR+GfVADeX6iw6yBVMtDh6Su/rtpbIREZI9JNp7SfQoOVtjEpvo0ac1UP6wKExlVH/5C2prU+BVJI7WFKwi7yI40sAgugN/km/y6MKOP+04EkI7TB7A9w1OQ8UPjumygq3m/0uGkcckmhcik/9jF4bebbiKVHfnJuyS8zA7RgHLWBtL8JuiuLG3Rn//880HqzxxEQkBX360x3FLopbgAsAVcuBAw7D1PLIB/yI6BYvdJrznTqODX9vuASwDW71VwUSQf1fcvPwQyVljPC8yAgcZ+tq78huJp/+9yakIwGEpTjxPsq4P9kG7snGzFChdUMxlVzDj5cs/x/hWSiEQhwj+nwaNcHg+P0r6Ks/hwRqrgkbWdVGxmtXtHSDdxaH2/vs9b/t2+5gqB1JAOEc2LoL66DgNyec2Za041ozdh3CN2cQbCIvBJbZcQzeyhwAKHFOC0YEUB+NR2yoHy2zKpkEEdDsuq6KFwF/ZIq04hhjHLLU0kYgnZd2jChzMJ2aJSOeJWKYQuqvZiXs0Il+2DF4Xpx46kk4cAgZljHGgAGBg+ejC3cESSUT06Bo3iQM+hDUVIjlJLd80N61dR1LR1pxUy+lSbOWn84G2rotgJP7+HJv3/XoP78nCUab/ayaGUUGgmtE7AZ7alu6+jR4yr14P5SaPXs8UfHwmRQ3wt3DFJNARUZXYMUDvj5ltNiS86UQqxzw16oeDOgJEsE7SkllL9nYSXBtHla2RYCa80N2F9WnU3Bbhmsp2PH+1VJGPm05oCURHh4XGqY8L6KjV2arwzi6HgmHXOVb1G7rBL51J1K5pDbwHbKv8L1kIi47ZP/BpVH+Ji7tS+GobbalUJlhHO1VYC1LGZUO9yR/pg/AFDIX/fJ6v+OtW7wirvFYbf3KrkG9unSLu34Xid5m+yMhwSWfRBFl6Us82KGf9J3aZXFtRaQ+V1oy5VgBhxV+gsc3bZqq+Kfseg+y0YcPBY5fcFpNTBIXlzjlMGJ8XCMvGBB1kwt3XPV7Lj0HY2VQIajkXps/PPra0+iA/k1HdnZlyrO3EbMavlDm0//YE9l2V6fLYKdpDZCc1MGnl2eYz5eU8V2XI9MI8x4NBr7WNmFqyxjZEXUJBrPpx0C2qhclifDuV5eSReUh7RPcTN4ctMAiPPbK7KA+2lFeMpke9CjZ9UERlxsN6LfIns6kfsrlZ51dvaRyegBUvbp0xqk01rCL2+ERC1X86umj8JgvzwV43Ip8NvTbxBSQSlDBIJ/XziZluCsLSGPYtdByOSEFgUbvMlJNJYodYHwRydQgqCxvg+MFTGNGZdGoecWkY6nTamswErSCKTtjBnDNFk98/1Sz6gMyol95Lcg+sQhtKRqXq/ZKO2//b9MYZOecKPXDqage8moCSmBA+I2tWlHiWJiLjiVry/IN3fy+hmGvYGze96jk9lLN5KRHvtQMt/RLR/mOThIy7BjU9IQPdLZn2owjhSj40vyhj/F7wqihHWhYalPKSWJeFgtzMiaAXWf44bmHv2WSMckX4yMwTMGJH1zcGuRBQYmR8GwQNEtrKI6vnn/JDflwyhbJy/tzr2EF18Tbkcpw/NefvX0yuQW4M2GyvXU5rfTgHZTzNtLCoxEtJYj64OcqQTkMZjBlgr/DoVLS33mQEnLlOD+tw7we5YBuRlsYzySU5upqh8hQzkm/KQCltVscjhuhtHfY6RnIUiSeo7+dsGJbM9Vm7YNYdK/2Rfrta8lTHmKckQjJN60dbQM6zCCKLMZjztZfBnpLT7Z0USBnkMfc7t+jLtGrtuCcefriD0yXAxY2YQlzowKW1op7iVqB7+/Iv1t0KM2f/ukSKFuLwrgtnAQYnB/wPBYZtHr8ZmUOMQKIi4yJ7yw3E6F9gCSP7C8Bqu6ZOqUqGdy6u9WACLKDTK8iOF9fpdR3cYROG+kY9XMK8Gsnd7zZmgzIy6DZpEI4CkdwKszorA6uP08gmIVadAm2oKFAdDl5qUnRfa7NG1aC9mulfSlCzClx4rT4LgYsNvHOE4d+lnHPXeXlUvilYg+U1tBKNh9mWNjPs10v0gef96nEmNi6jRb7lPfC3IcHLanM2Pr6trmktBFgszN+XFP9A/2Yb0xezFm3tH80hEQ65zzIivy0k+bI6kVYyUs6CT+6Qscb71Cx1ObD6uFv+7xZexF8cSEA3cdJImZCfiaIJwYbus0NvGyPtL+sW+V+dd+NLcZvdypIOMm4glbdUHWbStR31krEIKEgrBpAgYHOjMONwg3uNkqTrkXu1rsb7k7bqTofWjxtyGqzPgklZE7I+zebUh5KtPGtvYxUtzScSBTH2D4fqBsJRu9DkQhbenDtGhcWOl5EOJMtfeCOvIalYS0ew/8GrCp6T3JhVmLN03+SvScOl8v+gHGeX/+Fl6vJYH0IuscMrjbZL+18FXZokkgnn/YhTT9PscM0JamzEFKl9iMEzxDFFqh5wOjFPonfw5o2wf522f6quxaEg8MTLLe7egPNKPLZJoUEFrEAIZc7pYP+3CurhWsoLrFpZ1FW6GdOFN+3nPQa4TFOIa8vcdLQIj84cCFpZU0uy22qNHHJHnGQ1sEFp6d07kTDLuqqXv4k9DOylKlsDaTzgzqfqrSWjz3hLWZcyihMrPlaSP/wK0p5ali3QuvdxgNyxb69wRdnDcwuVKPJRHzK+wItGdnkY0JN2cj8i0fM6r21RQepaNNHheewKfrCuAJSPUiB+gUjr6XVoOi50MwLNolkKpOVuUyCDQ+iviSWEX9Vb3umdskCubAdXnLKE/MSFB5/FkWYAHTlVzT2lZjcu4X0nHhNHd7yLOZHipMuq/3TmiNGxFwgHgK4JZCMItrSt6zueVRrXrvTSJyE2iFJ6cdPv4ck+N4quiRo44fX+ryW9NOQ90iAEz7xj4M2VW5m6nW+T7jmPRe8zmpm+oW+DB3hFoIUgoJX31nAty5HeLH69KdSuU1YizLPrKTKy+Egva5pIT1vSuFaF1iHbt1z8B3hB2GuDbM5oqZb3x2Ee83i2sMHUTlLgJZJRJiGy5OXDVbBZ1QN7RCelBgJr1w/u2/6zZwEFK/4uGr2PU26CrtLSfNf6ilFqBLj7AN2pPTNMNnPMu+Jy8HDOPwLFmxvau9KL49T5YfLvA/xu9b0/TCB/xwr4zd9hneRBHerhy9eowheBF+ns/BgHH/iYdumiMXj3CplqD2AWSG44MBlN+HZYmhKg2JDRUloU2E6JDoAgRtqL91kGceQ+xw1vgg2T5lXCV+pAz8XTXne5Pu3Cgf8ofTGulkFV1HkoHrByT8F59P87X2dz5+4TGXmgvJaQcXP4S1OdUnJxSRfeFCZV4h+0dPEKJ4Yw+GJxGHM7vRsrxHMhr1DxPpna1RzM3fxsgSHKW7Czjdxh1HHDqX8l880kVPr4ZGq69rMcP0N1H/ZEXx2AuCk9ia6bFcOcnux4tIXJ+fgI1M0U1pF3H1nCFEiXadKGXVlPImuLSacdvU0ZTaA2UsFvx0RSTnA6zyPEhzphu0rbVCl0fpq4K6mo4vWCt54JC3iifkfncv3XF/yUas+0i2JTf2KZC5Pv4fLpEQPT3Alf3ov1GlamZzLXXScfvxRwWqy3HyHiD08GNFlaAWuSRVh9wwWq7GntnJ9wPw+kPEbQOvnqoMcEttjEXhbXzxQ2HDr4EU/LHUt9EPjbATa/0oBpLSO+ltRrXjOU2zYdeeEd62Ka61/Molq4saAg8ciDQcu64XsQULa1bFfYn1o4rnQxwiQKZiH0BglL1QnsaNG/OeATXfFb0gIOSH5+/xiRJfRQNv21jzA8yaxR6xyPGQ57tZgDbMm8eo5Q5ZW0Oh/+jP8fttBpHTuCWuUFHow2vUVGZJtIN4o/kFP2tQZ/L9HCxHMpmTZUcztipfMJu1ZhPBW34DVvNsL3UT/5kMjR1Id6Hcn6ShkR66dJxpB1XSmW/cRqP0zvFpTqjKBelZ3krfjij532YfcpatXgF4kSo5pXWi2QXS3Udh+C0k7TmDsoXBuJcSQta0Ja8AHt46d+L+PiDokSarWKcbHqR7x+scEpgtzD/Uuu92UWWet86k4DOCB68/OKjPfkWY6s4gwZ5obL9/aqeORbx9nQkK+JnIBNa2EcvJfmbPIv6+0YiL6zFpLZLV9/r8dAw0oa/cT06kLgK+dTLxsKTrBE4xmtVztj9V/cM0mfnzSn1v38qH/l+tZcSQfpHAdOrf+OnlldumWzkCRy7n6qhQJwn5glvLO3XCXLv1p/A/9Cx3MQU6hh4vvvyAmJ0sILQGbpoQaGGXuFMlYZxVJDoIQYPLhhEirsI0mjn1T73UogyImrABDDCLzskWzirXlzrVbjxRM7lMadfyZ1AaqvSBc3ZNk2tdOB4evrgMOKIAx9yE6BFzmeJ8svn/rAJSGOTUR5/+/YR2JOPZFu3tf3+U3c4NMbyjJVWHtn0tpqL+s77hNFCseSMoOMp7gRj5wYhV2NuHPT/mEp7PpyvDwdHT4Q1ojHsMxjN8yFWV4yr40mZjAcdAtxx99iaNV3GqdSMuJsBbgIjNTwRCZbIyGyYBw7Ba9a5zKufcr9hSMRWVRoLy4gCiIMna3Iqv7zEudDh1iRX8zKYzEtLcBpU5MiU91cuMdUk9zXGjMrImgI/Cof4alPJAecD7I18BYqOQrYStflIFWmSLzPu2DHxPUPwmFzH/2wmptMTpkx+PNdXOtDSnIY4MP+FMreVJIxIUeQMrPEalsK7iMHOkPg4mtY22GY9VIbjylpHDHu1jRcXDEQeW3dCBNcr4bedJuNnuvz/gVG3R6V/ivn6SZvGHSDI5je4QcgnsIiuVMZbH+jFSEVYPLs12bicVAaibOWJJqL+Je8IqC3NnN1qdSKIAksgznT05+vfntWP55HwkHnsuyNjWqW4jGLpnA26ZOtKUJsEQplFc/tIEv8DGu5/wLsGGZk4DQxJ6m6X9Jt8B2qJ7bOrWKxI8WLsHdDm8YOTNXC+02Zhwq/kOc7W5rIjF0RpJF3zEQXPT8BM+eaCZ0Oxa7PpGDivHuGMkby326yI/bKA+baA5sTcS6u0p1kFzgujrvxN5d7HUDI3rQ6GJKXDgAdz/3+wtTM/8C3hJCzXiIPpZclp1G1O2GnwVew4Gr6u3I48eXtH/OHy/qhDZXnwwho2BDUMbsvTtTCe4tNS/NM0jSvM3TqGleQ3svGVBPGMrjC+TygE5c3Qne0cdOgY5QolrRWVGhIgWbm5T46iULLOwYTx8JidAeER8ys7Jk18TtUzUE/MltNkN2DMzJN/TY0Pa0+7T90DAxsJHvAfUjJ7BRMd77qrXARZn1S3KQcNHVTb+QCvKZpgnJp9X7KZ9YIQZ2ntcDPdiwtD/3lg6qBa4xU3icsjzbDXny1sXVdFNE9CSCxlGdqUDBwaDPUE6CGY5iuADQVB0C6rcnKdKfIZvjPFEttClknGRvXiaCsgUkZ6tI53BpXJCKcvyecMaSj4az+LlFvJT0XIOVqi4pxgO45PV1hQQLrtHl46vtgJ77SnDwZpTQpZhGidW1CzLrN/fiqBroLNQxGsQp87HHXm6uD2MZxkD4Atck7yFBknO0SxiIaPVXvh+SIDokG+RawcH+gRfxYw/1yMWwL+BRlEkJuGV9Nf5GWHIhlhHm2TUgwZcP99at0mCd4GhJTJPlEH/fqCC3Ca5HCk8id32GNqcqSwvRyThF/FWPpm8Jwa/FBpVsWnYieIlkp6eW3T/T+a2bv1TvjlQZC+9USN9+QXMsFdjM1aSMLGm1vQwc8ruDQth6jHqLpF6mqLCYj8/TwBI0mdHNjDNbtjVW3daXb8FeQ7vIGZPbKSulnpyfc0nE96apg9M8GbxSrX3KB2RewmkDqfIoW8Rnk5CuWp0QP9Gv/Aw/+QIqdVYWo3q3B1nPJ2d9HxteY0AvlLTDm1clqzqqCPytHPEIYNo61Q1XWt2tn7VwxRg1QNH6fYdKK2sdWRxjIQnxLz6qpqFZF8r0Nzg4906KOld9lmIuxQWo4hBlaW/CUGt690Klr5SqxAk9bBAlZCFmsEIxHoJa8/UrclFdf4SXMEqvXifgV8M8V1gPJ0SgS4sV+j5KRcRjG2zobEpR/xhnm47cn1HpVX9sW1pYmYEo6rU/7qGlAcTPJ+/DVs4rEk2SpJW0r2Nbm8wmoosDTAQBSxMVJLG/nyZxdBOMF3rylvIAqxV9zVvKmdEQVIVXIbyjEAeUKLGKEAkEw4Yqs6X+GIuumeb35U7G0kiz2Pba2xJOmpxP/JbfrQzwucgvZvXw9x4B7dSjwpkIGI0yAkGFNgt0sglphM5rSHD+9lNLEqTzpy2OxJrEREO9ytswIIwv3BY1nglxpxD7CvHkbj2MNT4wVHRFxmwdp/dC0kpiyfIlYRt1Bvjl4bkY24RbvTDZbQPMVUeB6LOwK9e9DpcGbSK70OCKERq0xxvnIpFOz83aUmHHlnT1Q/c3jhhf1NpeCu1VnVWnCJCg5VMkordKUhsk3jIoVqek/4vp4/nD5G5lNpqZCyaV0JIE8L7RCpuPMiMGJoxkJUpjnOS7fd/FgmVL2cPH3bfTzfruqbL6ci1OKSA4zmsIjnHmuM9T+Aitac3J+l4g+7LEWFRIJx+XifCkbGT691bCNrruko986JjXQkWgBsfiCj+5G8EcIFfNqY/Fups3zAEdDcppD8t5/5ed1wsRUzqC6TzoyZVotEgQ1lr4cpXfo6U/qsAvBK8fYyfPgWghIE6AeR2c3fP7ys0Qq5SyZGBk+NPcQyLtT4c7VagUKN3zGBawN/m2iv65xHlcV0ohSMr9szrE1lM0iP4AZEKTJ80hHXo6ePEF3yTw71mPOrLTxccaYlTXmiblZsLXflJuoVH1FksZS53Rnn50vJMGduj4URQ1fgA7bPEtvLN0hAMgihyhelRUtSJPZ1+psfwa5sLmW3kBuuuUegfFms3rfDK4PPSsROohNLFhpRueMTFSixtwHdgKi5u+1Db3wI7KgKI5m+587uewyJ5spniTFktbuzpoqpboGO2SEoQ7UP7o98hNq8ydbdmeXFgAcUGWwzujGgnmcqDT9LdxTXepI7ZY2TXmK9GNavIwylNWRWEr+MsUISTQvfx9Gl8jcNV+JT8I7IrCpMB9djdoYYD/gL3bNqPcNEokpwqPnvw3WIWMF8WckBtJtJ5YACLaM/8LOILURtMAGG3ucIIgkawaTnNi4u8qM6lE7yjFWVJwg+1jUWHmC2GXjDcya4EuQm2t1tkRpjUuFtukVfEBiIGLr60flngvQi04U3KURsZbYLg8Xkf1xgV1gOWTCxjp2WhZPvDfo3uY88ZpmkED6dErafkgF6HShGLE4vdXdZUpQPNER0VAKwB6dcaqZze1i7IREqGua+2KEXTJmB8Wa/aNxPcX/JnSz3dES6vAMzHBoJ1bEfcUMmS5zxIEpEkrNoJMnS/o+Q/Z4uHmDdQMYw3zmmjq8ClbqoFmA55MCJgTCfGQl0e0fYwo9MIUcH1ptl9yOkuRFeE+rb6NFaxrSK3f3KLrgEl6HA+ym63PFjInaaClKjplqOJrcCgJCimulD6GEsRLdId75rz90KQd7KVXAQ92QxtVFHeiBok9km8yhGnMJKwr40+OfrijqdmLFbAawsP8clUMayuuUIjFmDwVxqPNFo6T+GB4mE4577wNwEjSqZetRb4QQItZZHgwgjRJJwlJvfaw5vXTEvrdB9frw2O0DpC1hKSz0Juh6Awk1vjeJWl1q9rShJjSfK8n3rqQs5+Ll8McwEf2bfrYyK1blPHgReBIM+7ebUA/RZWNHxtPEsb0KW4FABngYUm/en51U2oyecWY3l9S2Ua+zqgtulacQp5XzuynEkL+o8qFZykgEEAiwuHVEC6yO9p1E2XqAdT/l3sAnQxhiqa8ro4M9TECETVwkmLfvH1YCTG5WXOrHCNZp3GBc8BWKENGUSxoI8YDWXH9ozSJiYBaESjDQ/Oo7f2vi9AROrbsZJgpaqsuXM5rvzBS2vuiLhbRfDG7cmWslDnka7ejRmWwG9rdNNqmCwIi7TREEN9I+SB1GNqLVbaoig/DFw9RmdZ9dnktD9emAqzDMcjV/NakvXVynGHZkmG+R+qmMsvvkuyTBIL9iijZCiv5MG0ZMxWRr+F7mZCFqxlwAuyK+3xkxJBCmpF2XhRVehzkoZ1yLS+nbFGQKtLB+OK2MhfwPO8VxobQLCmJodjTsDg0MqHpCRlY3wDXh9MnB00fjQ1c0qOLQsgkHKxLNQ4vV0yL3uiqPZlZQIBBEKyX89lqbfl/+aJLAnKdiq9sUGUd0iOFrSDJX6EPUpVQPf3toKi2/ayotT0aC54SyE7gls02jkJRpbFx5I2o8nxJip/VQdX3UgAL08Gln7vPIJXNBYP/9y27XrWkW1RcRNrfVe2Nj/eOrjhlFlA225ETIYpNyGJTdGBWr++KbJAJe8z2/tPkqoC1GCh+nqcy/mHmYsezlx85PPBmEjpHk4NXYZztXOdfMEPvncT6F2pjeW4d1y/Ec76QB7KJ4pKczbBLR+etn0tEr4b65vokT8ol5DcGTngK2tRGYV+g2ND9zZyKruRc5t7aevjV/WLz+ah1UckJkwdn6GrVjf2nKIA1uPrZfrNOxpCWgf+Giw2OjppoEWKNnEOo7ThXmZ3XHQ+GwAsw==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z2dD7pS103gZfJ6l4USC3jqtWOPR/ue0umjYEY9KlLthURXCUyUuZbmGDPUXB2idlVQc+R1c0j6vNnMaKvr/AghcgjyTjoGcS2U6lyGcWZbvoYqQsrFJ5DN1RdHsB5gZU4BjQJ6xKwDUEsW8X/QQ4uIPkrhyjIfLLN7ZR3puqzBiN1rMnctBA0J594at1EN5QJYMsPufr2eabAYzIDriNpy1GurybA3KWqcTPRKYh436jQqOHiPaCJtAtzpRgB7Igk7tw7BcBhai66Lc0jpyzFEK/4NRoFF+cso+ThI1HNgDMZbpFoCsJQtilLqk9nQPGX6RXGboCTf8hOOcHaKoTUKF81dro10jOa8Xb8mBGZBE+xk1l9MAy6INl4AKPS/xcz5nAee5NU328meUQl46/WxS7BruOJN4li+dIuWoiAXqr+O8iqJFxUrkzr/HUtQUu86H4PEykD2UwNwIV9mCQsPm8oHb+WbYc0UtlLL09IiODAu90uBx56a/V+Y7BNHPh4mcODGw0jSIEH653OfjKcxSZT+dFxIKUwTiczZBeqTIuXM9lvYZ5AKRQGqF+5QTZghqEI104FPlZjrLG9/2u9c7CuRpOwXzxiwaqjkwkGqxQsbBeVYJvge29o/FMpDWgzXoc4GDvj7p4CfPvGWiRIu+7/drzj35YbHGFV+fCkVoQr/qiFnqPZYHy3872q0FouOgU7Fj4lBNv9ni1v8hLILmVeHrd9YczZm4JH5/PLeE0KWIxl3jHM4FJmzYT3GG41Vn+GL2+FD2rNKMlEHL9aYjbbMZhbe4mTyqpZwXJ54eFzyXno89966lTdnCe/+iQIPKtUmJORn9zkHdIIkCnqs/tcT3xgiXrn5AXvKS+cIEvTpksuiBg1txaci5mHVTxMyopob4iA12TrcZjKV0FfyByKjCjnNzs+yC99Z97ep1gyskd27heaThSgRIlDtmLMrV1BnuLZg7GvTvFuqd+EuLlmJOzoFl4emsRUrKoDLIxQW6d7KVTZK8W03mRwwTG1KfKDyS93YO4Oz8Vyn7SbrWgVbPheq8000YVI8K89XS8HTHzuJh6VmU6oNzs40DeY9NYqyWtBB3p83sJLcYzDUW0BsTLUUTM1X6WPHSp+oiOT2Opxh/W+yx27FJIc9/WdlhFGOiu7j0ZYNFqB2ekX25cCCWci8n0FoFmszToLXlr56C4A6qoVtXjMg0FznvYzZnJGhSDF0NWoaMZ4AuLeunQikPc5rG9MtWHYdztHQUfC/OooZEMwgbQLzB+po+JJHBJgiEQ2F70FuiPS/bWW+2cKO5sBdMDMyonYLdeoHY3/+2vxyfUFRv2ThqLZk/QS56MZROKjdyhfQ/xfZ4FKiYurxaYfbBDUdkaro9H8Kh9rUUcRGIhcc8kaKqXill8x+rKd7tcSZeMLtA6AL2UKudFaahenMNBcCi7ZjuB0epJF3SnWlRUiagJasG7LVI0oOkLqcEnwto+My4gSu3efu/Jz/iNIXY6aTvHSjTfXIXunUg2MQgA8sz+AO1YupVqFXj4TMSzBgojlabwfZ9ZxU+nIOePDjE546Uttr+XR7UpNx/+GT5n5V7JbQUYDcM3lJADf6AfGFaGvlvZrdq0ADYC7wmQxO/evuVMlRU/FiB56WlQ8fwH9U3jEeNEw3mbyv6q2ACMcs7v4OsVEbanoyQYuQqNV3E3me/pErlcMGG+QXzE8SC/gS0hKRpYALleOIqrxC6IPXL+pIpU3V4qfkiSP9jJmsnZlf+hHn1CTA4rrdTl2RQb2IclCJkDCHtN1QG7YbF4zHqBKUsk3nitUMwPkjR1xxHKclkP7n87sV0ib2ednVtXWtgm7Prn6UlG8igAcQxx+wxFspozaixJqdXbmefchJifFQdhTkr5DBBgI+beCat+/DQuCYkBHY/aq+ygjqy5J+df8mU514/olK0JLQzXmrTdfwbCavgjDVsYieqzGOv6JMKucsXaDvCjtyKt4haev1Ab37ep95yi0GTihnHBubq5EG+cnQ7M4jI3D1XoYn6GLMsMk8yhAV/Dm8QvQxsBgsINvn6btpP06RSzo8kOlSxuH6K0K2RWrqKQrrcKk8w399aLZa3tIkSmUpN6RpuNH9Ahai0lwuR5bwm+qHb99Bu3x5uvx2MIAy62QiX4UAxX1GKUoSVJferBshcmVvmls2vVb8RvBaNA+YSRbO58cQBqYJjmEn1ywq8eCy0WM0RAMqn10WCnvntTDkIVVvtd9Caj5gifwb87OhHuBhFsQ22TnBhJQv3qK2m9GdaywJVn8DVKR1A/xwLjcJW9vHYhwC19UBOhUcCpPZpJxt4vFJ1Me7ZMrtxelBye+BGBehEiI/O3q5ELggI99d6n3j4/l/8wOjfOe7Wdn5khl1gdAaj/FJC7RwlThHeC9ULgEYUOz2/C9MyX2+egZKkFei0j7oVl2FnttTxOJ9x4mlq8xJpgpvSe7iZPlp95sHOhmnuqhNT2cz0eDTBKbOjkkpFY0gnneze/83nmCIYh7bm+E4OW6a6yfHGKFgtfWVqMEmzAjNX7IbOSYUzCSRnV+ltfqL2OupEReuaeLOhzBVZzj9XlZWQ9DPSpW8jnRiUnHbWRYPlilIyL7+lFtDH7dIA4M68TSFlR22N6aWwA/yvlDGVN2NeovWk1MWXdc3QstZVG/9AHxzYA6IJIBHvGM4QGbDJy5hIusYksutRIxsjt8hOL+mZEtgYNSvalYm5rnynAnF/FXniYIIfd3Rt2BaBBDmo7Wv2mQoBMSjMCdIvMjDwIcQgAhXqvHvJHJMDt4jF+ZkEP6X+BvUKSLQxZwn2uAFq+Ou3GZm3iNmgdA2aL1L+wsSpEe7mBsNPXEaHkG0D2ajvaVx1S2TObdwAyJLkCbwFkoHNN+dY+Ru1GRk+PeQEfUbuGYbWdJq/jMVRJy/rn4jdr550KLWhq/yAXuscVVIgXMbXrHvy1h4OSPwCVLLJlTHi2a+dZfyP98fODGTVEchRSfukxdzSqaRuOQ0gHHgrJ5t33LV9pCyngf1EP5I768r+ogIjGJfAzhsH6TrzxhIqqh06Ye3ATCIL85U6oWpaRDkx7Bh8ku9eqXbP5hVvXP9fAfMH0q4JP5vs65ucqUmPGRid5OhWdu/cHP9TgPhQ7NRzBAs6Dcd/6jwecninX/9DBeAWpJ+91sDbZ8ndiS6DVHOlpBQyb65Bhh16u9vZM7V/hCQJmqGavHTPvNItUFeZjQ1BNcwDRVRFOIsm5XY8gh0o4c1AIH1bKDSvWxA9A/5qHrubbq9yWddeuu+Qc4jvOwpNi/AriXR6lDQ/xMZI4YcTbBbNvmRp23R4Cdv9iYRfO7F89iTVwnbt4ibtYaPYkiujrBvGeKZfMyLbg1BZGBpsd9gi7LLHCUEJBDNjJp9oWZtyljL5R2w+R3IvGP5hgRyrsPFRRz00/HLiulMMhBTAKIL0uG8S6FKZAUUGYxVJHGF3ExOu6fS4nmS/vBUg96vqt9MVrV9LLB3w+J2dIChGVcZMrHVm7o71ULRK/um9wBj9XUDVwRDqvLxfwtKIGNsrJdAHIE6fa91Oe1qx8cXvpr2LNHVk6RBELO3YycT2DdaPwEv5pf7p9RFSPTUdLvMuFP2FVgAbqaUnBDZjGARIpOa1U6K4b5s3HKoaSFlZxtEZyY+8ou4TbXA6dHCGjlFKBku32ew2GweFSl9i5rZpGxHumfJcfMIhDlfh9X0IC+Q9HMJcAcB4mNBmK0wC5gYrO5Xq1/uTVprikmCLKT0Ssz9AQ+gsVRcnz6f7ebFMfvOOPrZGdSgOtD9WGvsrHuq9KQKn3dTqM0mkOc6QJPURDjE56RKrIu8Q5ZkGqA6+SaAX+xF7ZRQyES3gw0Nhaxl31OpKpk5z8Bm9XAUU9hz9cN4knB5KJuqyol4zXL4CD1ZLZraoHyBs4nrQr2je9up63BxSWAvkIrlTF7i2DmdksKNLYUxWjj2h+d8bR1rqPbzzy9OGKRkUFN17W+Yh1uw9ujXFElXRf+Lm1zgH23tCil3hwhB3apPi2Lxf94AllpH6jVdtbp2tFfKhYkhzC0kHi7dm40E7lsOButnvhluFPHOquoHtaPI4tcAkDSrPZeLWTzlQhUzFgmVng7YJj0+3IdVMKjjoPvIzzVmy1jXu739Mc3rqPrvr3xf7ET0qurpxaTDCTcLNp/Ye8GaWrGrHR/oLPFOzwm2gAd0PA8woNf64fz0TwAK4PBiR3e/8xh7GT1/Bs8rO+Rp2IQBfWEeTrw8jZxeGHp1yuPe+O6HLJn5XFMgl88jT5J6f+XRYYxEhErbwYzixNmR+uNROSvfisIDzY9xfuPwPo8O6ICW17MWWaL9yn0tCPHeXnhe0l4hI2cGv62jG++1J69IB6LiCWY3a0U5BqT04x8gyBrEpzPdtb6lmE1vPA+EWo8x9IVdoO7cYnu/rMM3p4nGoA9TkFEbKx0m4E2VrpgM6MQkpMxCDxUXdMgHqy1geCpuUArlyb4nlEon5W/tsHUyU942DF58HU7YpQpXY1h2Sn0u6kjyz/iPPcvP86VMdpt3e/3RCxbu6dWxDnhjtcI/B2qGgdUJ7OkGRP489+xlTopOFY4lMDVp4SLGoKeIIGJtI2UaPalyfjhweRW0t2qY43AwVliH8PUXQa/Lw5IryrspirO3LSMIaYloDXogv8q5HjAa/V0Gvsw5MAR6N7UBjCPjOXPnrCZe7XDzeEgLmk25/lACXvNTrBIjhruWY4QqOE3Fzfi/c92qqx/b6k1bAcIG6sDj2Ci4+U8VYs61bAAIGkYiMaF5CP8Z+oktqvTdT93hJTnlY1AZ+0l9apVIROBtjgYMIXBuyXvmDPVe/z75oTMrasb+4r2Sea1fR4dGwR0+2reCGh71mm+VL37riI68xDBrRoMITVvZZLlRWAq2ZGt58W/4jClW/2uiG+GwzJhaTGjH2V+3gMZ9PVWmm6o4Boq4U16rd88KWvnxuoTaQXzHqh5znisTII6x3qhsroebc7sHpybh4jYCuXIoTcwhHmYBQdbZnDXbE1tAvDZmDm34HDFpDaqitUqNXq2/IsZRDERn5OULif5GO7Pgu3mPoV73X6D0EjHUOQ1L8LCmWEyantlOetU78/EjDyFLfYcF5Tc/AX4tRUfQm8awNynjrqi6Mc5Tu19EdBiI0pNM+h8/g29lrNhk8vdwEOd/R8y2wDa0e1jVXN66o4L105n+886X0or8BVIpcsEMnAzR9zzRuy5HHSHTFBVOkxrm1yXdsCtRb58JnZb2f6HYNz0W7dLhvfVuiU8qJgWX17oL6FHuG80uZa/MC6HWYPk9DzWwHFjlU8A3c8B+O3c9ST43isZJaY9DFFPAOlc5LRQbUUDnfhwALXgS990PlGJ1odUeSMhe/r5w4ntJqTg27eUoYW+W8sD8Pv2MSo470wUQALCDzPaiyszq+vuvDk6g3d9lasMC98o1yD9FUW8h0W3wQCCU6U/lXESAvge55Lfbzs1rRBrhBIroEr7Lfs1UdylD8ZNKpWinf6ABfmMcLMpOtQrDSLzLQ0ycHDAzvuJQoo66+K6YFXmm5bAhn6Oii97+0oQZ84Ch36UBZm9pkbXfPImyw27xcIJX+HHSuge8G15DztGnqIsHwtgHpy+HrcJuT70igNkHp5q8Tl9Hm5o+NQbHY6M+ECCjlOLrm1wsXLVsTEM6fkAJr+BSa1NILu1PtMqyWCiHbgBNgdJe5k+Yy15GjnP9MReuVdKY0paObQJbV5Y8aLdu1XsKYy2G5YIUkqhMfeSf8WTbjgYBG4fZKvoWqs7E9PAjTqhrIta/brDm8dkIHaNS3kHDTtoUL54ZjsCyApvdm6op5kMbbru8h99P87fePpfaK6y+Ixe69qYLSYnqOm2YPG/zCFEmi+1yvERUXWXcP6gWLaE8HzOUD2jl84ivWWRUvRMomfjdAJqrJZAPqHPwW7Cw+4Qb9pkO10dm/PW7zIvqlDZjVZW6Cdvu6Grm/0rDiO5vRYHgUyKvLmYUqbqs4WmdHvVZtMWDf4HwJWWWZaC4rzqTCWdKQ4AyoDHQ/bFTxgnbLBQoceNvveCgP6PDB16Zx81M4XbDGVSu6C7jZQzsVb/BgbHPFC0BXXTU/RqjNm8bn4pJKatobZYkn488QAIXsSOi8PDkthEXbmbbLF7UdYScgizGLCLd0NgKr92T/oX8YCUYlUBBZHw+vczIOoTIPrYAPhKjfBKISNnxWoqmRaCigCNJr8P+2NaqHDrlCfa4JcaHXy6hFs0+SRO/sf8aWrkFShYFHCCd0ndjMbsyyzQ9F+87Od74kC1B87cKwzBzimoyMVZeQQc+MZCx31FSKg9nDQKGPL6ogg1MlWpTagHSQwyjIYWUcavkU6EGMEnuMdVbS1BHe8qsZuTuLXoQClBnUN8AesRRunPsEQ5mXXHT7aIeSewtyxchuS5Ua7VxPtlRTHFeLA5gF0doQWV5/pxirjLBeKzRb+6CACgeHDpEALE3q5Ss4gLydpizGbUcYsiOLTbgTNXp/ltcIbTDX9ySfdAr5TxlTPZ0IkoRVObUyt1aVeepwxI8UGs7qLbTO0XwYotMmyMbYGI8unXPI2VHd9XM15pbljMtEPNu9hWWB3Yoa2CGdSZuu6GtVNd2NX1J+Pjj4KuvZDdDFatu8yBsJLsIlsU1wenDmBqoUbSvfrEEW1LAGSPHJWIoVHs8zxC7b9XEkgO+QauO/ZRt/XIVjc/m1Df2Gu8ZJPRXEK1+YOpLoG9rjCqcLM40m2puKnjAnSx3xI03aiKgumIixYf3hzNr3V88jG/oZaVqFWRa2OJwl6Cwi3liKf69CamO/Tyo47b7+e7UtjsbyhyafK2SVwRey2fLCt+viT/1GLLz/UcYSyjLL9sxWeQCyFoleBxS5oOhnM0IXbdlDTDoPdBimgg3Qchi10Ri5uEHpyZVxu3IcAAYcXfEKqdbbbYbTOswkx3814vUO6AKJaDZKsPcDRnNd2HlHgFGNVi3R/XeBuLGlgsNBnXltJhRG24n8ASG0xUrajVJmj3+Cn5+6iGgFAhQsZaRsaHTSbhPdx8dV5Iif1XPuLjtosEZxoyn0wUM2q44llHGeDDuXZkThNLWMDhOyB+FgFv/yr5qBbXI1Q6FiPOWfqS7ad3Sukl4QCTPTmGJWj8ApsJ/yumLfnCpJPTQrGmImbo7qGKN3cnilaqtJSdtHZKBmPVU/QhxuXKBx7DCUlgmaGdfNwPxa+wFUz0BLDsColTCPND7aCfhd418Ji2w0ejzodj8p6QFap5DEYuocWeCt9guq+9nvexADg45eruelJVo9ReH7Y6YfFRz78bL+HUeYqWN393TxQtMX8bwlBF5RL8QVccw0kxazlVGOuaB4pZTJ/7aYh/xfBsbgTlUnWfEuEYxDkjP/Eer+IxFVOBT2Rc9XpLqzjSK1vGqjKOJkggNIcSiFYvw4fIbynFwRHZY21jvF/FRB/14I7YY9LCV5oT2YHHzLe44gynwMCL5elGyaJ0MvWWYDx3GVBzNWP5qFA02OrO+H71eC3IAzalCv9pOTRPQWmyK2w9duGIEwWfyVOQgFT4QwX/MOGRbJXh0DN67w6sbDgdx+mvNcgW5Ba2/L2hW5aNV0s/OPfaaymR+bn7ltWRozBJTUC4dTu5YDrep0anfe4S3WCbV2pbXW+gT9A/YcfySwUZzUqY9Uwd61KDVC8Nk53/PllqFZXi0g19md03bRnnCyzupcxeiE8QIW7WBqq4HEz45D9uNIWOrOXwTWXhALZ05wBqdt+OdBe84RWff9/n+6jjmcmzLQglbbo88O12bxFCR2xfVJPpfzt5Q6DkBDoVJcc17XfahN0+YcpVE+BEWdj/5ZgmlEdlqNFBFe2OeSnvGaHqVBwXF+J+EytPMgv7DTd9NW6Mj4ajrhM7EQvGxjC8MbChwVj82Q7G7bV6mwlbfenwC425o4iga7MtnvC8V6TW4tX2fPpMrpNWRNdt7TstTD0eeeJSh81BkXgaxcYZsseZQJ05Cncx5FhIQjC0SxDivk9HLwLGiCXZAgBt4Te2UZWeMCCYRapvp0DGCtScBhAjVlgVR8VDFKFiP3yTb7HVlintUZbH+EC+2lx9LytfIrlxOOugGzyiLriJbbhitYq4l+uaqeCbfmlHL0ImBSJWhscFRNJip3n6xaTJYNc7Sxn/DSzRreCgz7xFfgXw2rDFBa1rozOb2BeAo92Mgbi7QfYU7w8Rc7Nriqh+ZHmnmbuSZb4/m9WVRAlQV60og9+muFwsj6W2WUEKIsd9tzwxFfLU8eOeLMczZ1/yv+PBwR0FdWpbBzI5UY6Yd8RAafaLvbPMz1gN8OoH/+WvlVB6LvMqA3U294eKk34NRvnGF4WILsY61agHBmejbTJXlrSj6glTnbAHBxLg88MwHgYixM8A7gTEgCR8dW42DCXzwdzZAI1XF/drUEE2elZ17hQkvoh9++HOU/B1OHqpLKvDa6vPKLvb6SxDdnc3GYY7w7FZqHWyfTS9iU53irvm5RP+t2tWmrOTiGiu3DsAsGBXcbN9sr9Eddb+RrowT0vMjHY4yPzZWTn/NC+525YFDmF/e2y1ZgrObAQym1CTj+eIjHeNLdI9FzjSgAAiAOjg9DuFeigpz0jUcbJyI9ENyWvt3nDECdKjXjerhR+RTRouLgzWklRIHS4fC9tAyft28DymE/GAvtPa81v+hZyRLMVlRBWasUegXpPOfhKVPMUFK78s1fApOlgc2h7TGridgqB0bruWna0iv12/iou2gAYLwlgUkGtnnVFnvAx3e+hTHlS+CabZLjmgz6znJCTSoubK+IFuQYNOLZnhloeWZgqopSm74r9F9YCXmTicy7ah5Azd11gN3SmsHZnZ5DD87DGZRlTcVDg80f1PNqPh4/nG7lNB1dvUhgkb6OVM2GaNfrJ1hYjxnVWmIGgfJhtZoee5e97xeU1bE/8FZK2bPjDAgWpRggpilE634ex7hCful4qzTs25fNnDOYDLYtG3N4U25WNqBc6ijX/Y7p7/oj8p71v36tbb6VBRowSxn678dQFnRbVeEdCU/AKCvZCDYiAG5fOpwvpL3eNdTUU4sI38dgVF3ntn6Uwsc3ZndCovanm8PlxzmQ9VyljQObEV6zc/vSUYLX++dRzcm7rDnqnJDnvPokHoiHzizzdRRm0cSP0YJ0RBepNiZF7jFAQF7jYM/5461xjaUg6WoTFTLm1EpneJ6b2OVHRLcHG5LEHRub21b1+sltLYpBcSVpfkzAzF1iP7398QMxK0SrL1kDg06CCGqrZt67hsYIe1FqcFkIwpugHkbnKlsc+Lw+KN+jbMEvWzRl4+Y/cymw2NPeBFfaWpyo/oEwiHKqm37gJvLnoYbs62GsvFtHaZFOsFIJ7jiHLTjX1/dKgFsqXiYrXQ0wtgINU6Id6zZAkfkL0X2BxBhx4O64frL6040EqHMk0YWrmbh+Kkyxlqi0Iw99pNpC5DsmFPWBcVfFM+E7T5EgwHMsXvWuc2J+0seaCrX5Wq+7sBmGORAJAuE+RGnwixN5RnN7+uXsDlWvPxiEJDHr1mbCvw/XRDtui4E4/MVOZyAmLqH9euJdVhtCxnQxgtgk9BiCv552wlO8X4gb8ciJBPcf6AH7cLPKjHwFbhBgMT5s9l8HTvZeA7h+TSabJhQMP25B88K8HWtrD4bquhlsuzZCUHTDdCOYarOYVpm/oQCiTE7OI37MZYkMUvjN9xKi8AjDRfDCoOliXsJJAQF44uCxh8uaAXRuNNlpxQla4/iEwB8uIEJ1r34yMHnV+yKdbVlLo8vkqgn+2YrWvOEnL8Tzc+1rsCcWXfDExRF2STjc/3K3K5nISNsxbbDt45vID51Bw40P8lBqfyIOk7tsi7TA0I5ZL7kWIvca/GLPnBUAHluwXwsnaSVh5+1mirbNeFQdSSuA6yKKeEkhz1KXFA3hlLDeowHEi5tf7glm0Wqvzq4xmNdvgrH1JZOw590YZgL5ckqh3Zvx6z96KLyAxzXAJ1FL9ibY204Tl/CwRTUJ0QJT0XpJOjJ/DIPY6wZxiBCc+VyZMY8T2kYT8EhSHtt9PlLmj2Q0/APNQOFh+Hb78sgRqJ7b/TRcc/aZBKlQpNc7XZwbU1OLcuUb4aWbQwYvRhT2dOnbVpnkflfJsvYA1Og36nMFHuE2wAGsqBVhNnHPaqyrUk6Mw+X9cXr+EvToq60tHWzkMK+WK925MtxIOqCNWNADObN4psSS0j4cdEtnpR9GpF1lQEp0KTni9CpMReIDv1VOy/PfLrWGJP0qHkfKqBIJaf07gVMDG4EJNFp/JZXSSYZsTvh+iGCWsv9cOfVWkHwn+BeqaUowQGV8QIKeHmnWooZbQivpm5JtzP81PCQQeIEJXG6VbW6A5l9e41//HLW5+M2Wl0HF31R7kUsaZSTFUC67zyYFfsan8HGut0xpMhv373NYF8QlU2uXeBCmKz/59nfjU+/SnIzzydjd0RguzoMWr35OGRUQJj/S5B96USueEpLUYK+rUJh9T/R0kRFIeO+myWZX/kOqrfodtmbqCPCX6GXXB47Q2t/I7ckKfINLXSmPA8xi4C1MiImvI82/M+u7w26rZlJ5whpFlUlPfThR+CX51qRYDse2zx/xy5chayo+mkw3TMtRbY2gardRrphOl6oBzaGpGdXgIOE6XW/XCeq2bCJChu+cNQfKE/9x1AQCuE6ejkfxGvgDNEiYUCX5s4cigFNEkfbspZ8ySzd5sjhdzBs2Vlg+UKXAbJDV1BR3rKw8LWyWEs1wp7w1CzNeGddlJzAU7NVf7FwYGHlMXN3RRR+7ZYCGu6ebgqlLYuCKe120w609ZcSEi50f7YTthEdIbWHmvvkjPu+tLJpVAqg/wA7NRPkwFmRHXTzStXgZlrWjuaXj69j37EYkvJKKf266MXkZj+TmURWQtAQ8C2JZ5BEi+eDEPBGfZaMFZt9v/gjLEKpzRGGqCAUnxsXrYrhZ8D4xaK6xsrxP4bjbczXamkgQinLqzkt1S6Urx499ghmUEcD2v5eEQqY0JrKzDEUWz6sB716hDch8/yAGYQi0WTxUP07qYXNrlwWlZAN+K3Koem/0c3QaMO+ml9ZqLHJLP77TRAt5PYc+UTnVA/pbDfo2GHbRIAkD7UnizPqXqrKCs2a1kNzziNkYZbkF1GdgUHqwl8u0fzMxZumpATCkbd2cW2kdnfI+rWkrmML1YZ0PrdxaJtQxuePco//el6sOfu7VXRroOLNaEBZFgU4w3RUuJCP/f6Bi0Up+lFlJhGa32Potu7qVF6qXqCwojjBDevqGCD7piwX4+HrFhvXk1+KaKe8/zGQMhyQvxfxOJFoprflX60Gx5Znx2XAYM2e2BOF7+N5IvwLN2h8YK+rU4U7Iwo3D3tIzkDmyYqYCXAgjKfdYJDbF4ByTPRUELux3GqUXAfC8KJWwUAPKtTFblbH/TMYsVuLH53sJDSrj0JHB5vKYUMpCSK2ydb+UzZ5KveCbFToAJR17ETCcf4zMjMUeyf2bi036NiqZvXj8YvkicAcGORpGb97XTWscmlYArn4xN6CmEfG76Hf1qAt9j3W993YDsdEx+YphRYqJ5876Da4AxgVPKJtGe+E+Svc6bw0ON59YXwArXQbYrH2MTk1oguilp39y0o1kaPAM6vJC9bPQynTVege8MNJfnXOBS4RvIQ/2WIfpWEtMV+1nd4WrAIRuXXKXcwfrDCmi8oabE83iq+hpZNbDPedUv29MTVJLaMNQbdmFd36VhkJBHV/t+iArXIkOjvSTv1bjEOuW4CqH4Dx2BvZiIGQKaieg+jXUCMNecFIciW+6wmgppKUU05qnMLs7OIAPMbXQUrkFndbDwHFJL6fX6iNCkzAnQ0zbQTlf8PoItYSgds7VwsFVdgQ1qyuiZ3SmPyfYOV8dnChpLKWUpAi6dDmvOHM/I/dQc0vYzmBfzPyDOFWdCdj9yEr/8dOYI4XVcs08CDsoi/sC4Vkgv48vVvn/VaaGJa377pI1+RS38TDeyY2wzMuu1G27FCUL7TvZf95qxn+lU8tAOfTQeko1cKbh9sFxNaP999uTbKH+4su74DoivAbOpIJJlCO9BKqwZvuF8F2nYK6zxYKYh5g1aQUYKNmug1R1IxA899D5XkNQryux36jmubRX3WmwEspHm+/7HQZaARo8+CJJMD0PYnRr/6YBU0ElCEMG+dW/62nWqzqaTDm8nDewafAvKcDW0G4gEEfxBvrUcKJm3ToDFcQhLkhGHwZFLxk+qCby70En7DLcVla+ql/It/PwW++sDp1HLCrjmO5l/02pxj0O9gyh8mw5QXxaejyrme0nq4bCuk/7jCR7qCD2g65O1+cAn8/pbPA+8EWv/IooiGPIfs1BbOYFdfHJFpnFB92ifYN/IRC4nLTbKcT+el/hvIaMI18+pgfT/oLvXkZvMd5zSSCdyOcxCUxX1sX/ltbQsRoueM60M9VbGOHRHVjI2G4tBpuq8C/lYQ5nmU8BR5qsJV6OKmULqRa8+BQ0d7r1M1+ygPFPINJCGH+NaYjoblYjKAXc2IZ8bQSppCV2BpkpIpdx9TKrenHkiG6j7rpzgxp+YeU/OstoD9iAdEfFWqRnBENk+OTXcrFvXGXzBE1qnmYkpR44ciUHPsvrusaRv7kx7D79Ao0DzlUcBdq+khOvz5bd6JPkf6SlEd5uhS3l3YfEne+CU8VsRdJVSilHjBPp0VaTrxPFlDl8AgbdRJ+Xhc5gd+BhAtHvAVQgp17nxRKKIZrfVjQwEUyqTFS0ZukRGrleqTVLxYD2cmba/QJKQnlc78ZeANB/IEqPHp0GKWPcla3KT3ftXyDyh8dq1s7e/Tfvua42RaQQw1IfYem+lP9GCs5BDlD4Es8l0YaUP1sU1CVE1sNigSFYZEYIXagMTl9q/3yy0u0dGSprW5RK5PZQTaqzutGyr2t4wCDSeitZpweoz2Xsj2pqr7IEGKMLvMuqAnrcUzjqRbclGZd9wN1q6e4GxJBk474vGVSTZwqVVj9v/TA/JFwnTr8xNRD+b1019gxtSA36WfMPOHFuPTM+fqlIqqTod39O9aVA0F9hVfUYl+UMLmzJpSnbD0se/tKvLN+6MWkyGDK32+n3JjvI+V9sBa2/uxr/pU4vNFIsUXP8UvLDb+nwKKoO97trSYuemclIxK+2L7AZ6q/QPA0/Z2/9qMQgP+LPOC5l8vTlS84X/vE3vMa7A0WyH3glNc+Ol84hHkH5w4qDOdgC6Co4oRSOSeKobg4ltHEpLiYE1KxExlQYqqkuJZlauIV7gLd1tJqM9Nic8MSrxrDEqKGED+Yuxll2EEjZAluT7X5lsv9/bgK1Ga4GrdfrnwN1thKCrGzU+Dj5ooyFEWQg7kaDHuvyLRZAkC4FpWNKeErDxdXhBl0T8urdwn8gx1c9cRlfj5+JiXr5ApddvPOIKtqjFNMrfMgVwgww0s6Dv65AqfRa9yUbbdkjIVcKiArikUzA9HJ7nZf6nzRP0wQHiP5ZePpjQFMpAk+Q84PYlDXNgTWt6D0LKE82RtH+akn+2zr98Mi+zotH050wu+VkFB5PV2aQN9zKcRFqhxuvfx80v03X2dotlTqE4X9asQnEUt4TZShX2NfWsenCeumoMnphy0HDS7bIU0rxKtBhrY48c1b1MX98QAyyAblfyQKg4wzU1fe7VvR6Kc9AaxSoUCAWsSbcJly/lcU7AZrlGEz7RA57z5I9TbDBAOB2As7cLMJSSrSUPkGhfaByLs31Jw3IjbmMHknrx5Ymm2EcduZEVn0YvzAsbBeu4guJRN0bW71MycskYs1cctwt5O5txRSVRLu+MyJXyuM0fDa76VfLXgq7Y0/3HsnMo7tKnny9uHBfbGk6gaw+cMOPYAPAaoiDoVSgsr47mECCQNv7Ml0mjVq7Pg0mE8PiCPbrB9Bw41JZ5XwMZO1SrPQENQ8n/d2FJ/ppo1B4Vo+hmwaepBeRtm+g8yH5ZbJ6bKvI9Kv/ypLuEUPhGyjgQyvTPAaC8jRrrKfzTQifCuEa4h25ghkfVGvApymyh35pu+7Qcc2/YrwuPnV76b4TCOO9SeyHwd9f9zyooq3+10Sm+NDZyhiL5yXWxeFCueNeW8qhmnufNMMh0wgwgE3jELCn5fj5+0HaQXThPa1q0M2cfBrY1yCtHXlBU6aQnNDckIhmCT+7joDRry2zNFSLNc0nSq7IvsRNGDxGC86MotoZmpljl/Htj8jA0Nu92xiyDPop/68S5JBXPRcZeIfAkqCNQUnqkOve7ZfxTEm2ky5wezexUDX+Mp5e+ppEFJ+Bh+E5TpBV76wOS3y+Yn6aKA7lvFSC+H6+KpcVylA2AuQ4f0YA90BGAwDkhjphBmJnnIov87x+Fgh4YgKn4HPsPpBzSlsGsZitZmr3NHmMhzMBrdYhfMpsKF6rXaRpUCt/ihqocOfAUe8mQV4n8e7dDsRwElQXZAuJlUa5c4bR57SxqdT5lzq2e15D7078oatalOufgD+FrP6Fhce27MFdqGD6AL/yuCN+p1n625Z26IblN+URN4Ds8yvZd68XC48IQHGMrQLqS8SrqANKWdruSyfHP5Empv801Enq6Z88WvefYlb4isiwyxMJCROyGHISscglBZjRb94SWwwrkWo4NY4lPRe6t6TSJpaU7gIh1SBtXno9xBNJODl+Y4iCMzZPiNhjIRFEx463UXtSquer+VPh4rYXoMCl1+2t+bcwZ0mAIzkRKs+hc9+mOZVD8Agbz0+qPGdurKxq/4lTCjhHkOQ26LJTVo8j4xpDaamSvNhwrUhh3W28mu/bnr191AC6SycVr0HH0nswHViEgzWakfeMCRKnwtL5VFmlMAunD1lltGBwOSmTxRt+pQWoyc58wQghHar1mospJVWxL9kEo07hWFIYwGWQP8dBdr6Ip9GPhatrdcGGZ/aiTXnCWzX/Zt61000D3qJ0KZzDF9xgDheJTsArTi0W3fudjQG/PgYCO2sHQZn+PLnB7JVfwTPwzpibZDGxZ3gA5oTVd0YyqGrdUBqPrghN1OLKHRrM6oY44T11tINbX1QrSENFvAg0qqR+BC0T6qnTJsuXrQaesT1jvLjHd5/J/346tceeBPU/SMZoJ5GOCjAROh06CDt4mFYYs4fZJXzbUKRYqc6vEylucQE9yawIUzlMiGEEvkDXpkYL4CHjKvF1sE2BfD8bSGhNGJENIEC1LIMi6XOqSpBexScfwWgml2o+mJhEC/zK3u+tJaNwtVra8iyxVw+UNL6CSA9cP2hqhl1XDaFlzb6+XHdRMp+8SI8CzyfdcgzB8b29B5l1osUjKV5fPbGsKA9pCVjoAm0o2NuWzhJBlJS0xxH3V0rnnDD/2dtJ8mwDD1OcLfCk0VWAZdkGPnPHeA/PFr1FVxiMHgV6gufdAD9drOG4NIaCGimPKS0WkGSIu9B3DQxzRvUb8IqaaJwjVdU7jxKJ35vtHeZRXvzU+g5D6kPswQE0o1lKpMjwRw2Bf/zafX2QpfWO+nmV8GGd4viHGRhtSpGXXgEcuVZXjIsmiaF1ltGVHw9zZhvnXP+/nr6qvbLbRaLp+DXc2t5tLcK9cjhhhmv1GYEWg/7u7MVbrx+/Nw1Tx5lryZi88VC0cDvQMNZvWiDJ2JbAfa9h1JfUMe8jND8Xy9oa55mUtPGDx7URDK9NdnQgm4rMbK3C9q6z/BvqypLQEhzLQP3dwHi3BeNknPsTfqd4gHo6f/lVRaYTxeiC6L6RfusoIyVv4s4U7404xrTC1EAYAJkoweUbyn1UyQHTGmFttyBIsms99Md/wjj9FHjfD6EnVo/Fw42/dRHvBASlpLyDopGjtgNJT3Tf1hTlcz1FKQbTilnchBVeSVt7nowBO7glg+H59IXazNckVQIfTiCXaFyN+10qY+MPoV/cYa3pZgE04yOM8WQNi460+eLUcdgJMyz232365o+DjuMjhKEVNAPTH1i0mctXfny1251v884SIN1dn5dmdeSjAd6UnCDT1irMQ9abNMixMN0R0dlpqGHJr8dh6qVxw0WvUIhhz8/kCjoh8BC0dfNEpXtw1lOVuTU56WWnGtmYofpY0XYZ8YPIZvsvpoLdZBOmMEWn/rRZgChYjQQtHqHs9gUzbBx9TzcQ23RHu8wpcBfpWzJgrUAaFmJRDC46Tcl1Dw4CkIbR8EZgHCaE3ayFVzIvgnn5HhcZJZKYl9lI7Ft1TBxMTOURBCaDVtPynZDXREi8tPmEnHE9VNtKsXOrDVmS+TsrY1QGPX7eDhiQ91xeluL9G1Dg810TzJ845gPeJBT2W15RwFfJfNuYEEy4FwK1CObbfdjuiMobeahz83JUEXl17NfJHnG2yxH20Jgdpp39AZj8SYHq74x0HIGTAsbRCmPdfT/61GKVFKYndQkxNDIVWYZKa5l/XC+R0eN9KynfodTCbpmQ/L2yRSLBDz2Lh+3qWiuBdXgDuzFHU5ybGb/xR+NboMaNGxn5fKQc8yCXSQZVlNyoJciGnOr9H+pz9G/M3MVMo9EPTVwcgUj/Bo71HKev3VgOVnROToSOTQ/+6Y5LEvZL2AuOobf81GHRRXU47urUvZqX6hQZxgZSz9BnsUt9fi/XYUIaG06ELlaN6bmVYWbd3n6ImeongCDxzc4pA304f5kVpF0FjHlrvjmIy4gTCF09x8bpNE9GBdB5855T57Cg27c/RMHi2MCvDTkx+gTMMmGIbPRAKrf8b0m0C3/wZy5HEjdTP5Gx9/F0rlAVTT9K0E/ltYY8TjKOt1WC001lzbMUsWGCZZnKnucH289Pg+18ybWlUIgqcgNnfnaUM/SrDCKUCJ7AeF+U3iIRxblZCeINXD1gjm8dUuIbI0/XBRiNP+h2dMxWUa3hGkbo9V9+XKQBa5YiUHHXbs794lalyy5+1t8ZYNaxIGg6apqUQr0B+xDU7IIYrdlejIbjWkPdrN8653bHZRiPOXCNl1y3fTV8mWgteP5Mx5xF3ss5Nf9ix9jlKfXqKHFv8GdQYakStka/u2zfyyujn3iGnkNQePrB8bhROvYZUW5lFS4wHxjEwO3Op3TmwLmYMb8PM0kKSrxsgZN9KQkFeGJ5nM4s/jamhGLlxryDYKHuodKw+sp27ZzSX/RQICQoSu5ZH6fxCauw+YsditPvADDhJGrkxZHj7dQHW9rKZ4SfkhfAFQY3qeiFEogSir0+7zlXndFFZM7k7fVKiMoFP/0TkGyVFx3FmxjObWOFvfZOYBC2CeQBxp7/sZRGCdgP/3d59P2UrwLngpuH7qFC4mUIt0UNKPsKEe2W85kW+2uasNOGVnahYnRJoBxus8n1lDPSYg9tz+YFIkRDlfECGHeVVg5nLSyiPhnZ9swa/uv8XJd72c9iyKbX7qdGIawjzXnW3he+QMs9WNirmtvGloYKtHo9S/Yj06jv8i59bfiTPLKgrwKYbShSqQdf5RLVITsd/Dz2i98F1aFNRo2AhJr97Rk7BsLIclyzctEl9T8zZFkNJtOU0qd2klYUZibrDkYo3nDTW9kk7sPwfKce7E3uzgepZHnVmhUgBLcQ1jpK8oUlUi1gr8y1I2GbNeqI9Yd7lMdBSA8n3jDfB79IFUmDUB0BqXw380Fz8yNPPJd0LiHU9aFKm1KHcUilMQcMyXLb4iJ+F/keDxt7yFN9oO77hT+CyC73ytO1XW+Jfy+gZl91TlMPoraDlGZDpL0j68Ste97CXTlpjVjq/iYfJ6NjpYGkmA7ejzgJljD0L4ndV1xFp3CbAil8iQzc2O5oWMS6Lvf7HcByFV+UnfSpBelCDo2yrPaDr3ennJ+dmG7H3UWg/S41zrQVQUWRPAzAxD+mpLB5IHO2d4pN+UO9cL9dUgYjs/NeVFSEPwbifxgpuxftGwvdL7sAWj7HlN4pTsqSSnEDo0RcHS94W8dfT+r4yrHL4nqHHe9ovRdoUTFj15B9JgFQgcMTFpDUej+gV3lo7MNLsirTUUwlbw4859V1NPK8ABVtVzgBDpoJTi1hXf2jK1sCwrmWWipTUiELGEihkN3jCgaUhOg9qrr7vLdJHTSp5r97V/450LKPrwmPKPI/kTLz1ibG15mvZ6qmj8mK5DLspvQEECps/HAdZ/pBneMkM4qNNVXllHwH29BqcPMgRalMSQwB60AFkKmlgRbM1rQufKgiNsVOSjxMic0KfwgVo+AE06Z87N2wWQdEMYQyxc7aGhAtkHJB4VvupD2iMx+8eFokf2p3ihuVfBieDkT5njJ/CbpG8dCCzw+T0BaQ9le4+utMBZkeKjYOv489L0mgRB2zj2pd9/XTzVCAz0zJVzOrtNMESOCbvyS/RQtCnrnPeOx1jXxT8uCGWxxrlXtOqC0wJ50ckil+aoOf87gDeB9u8ot1FMwm0YCC5/6ZLNL6n/8qnLeyaMzvXD6RHVGo7YSh+BgAW5DG7EQS1x0WLd9cq3Y9JoklSKeFXC7MCG+KK0jTShX+R/+jv12QmZx75oFwkjgj+3JQePFUyRwo6IBmhcCHtRqxCk2rTZEn9qCq35BbR2VeOvMlDs9yH71K3rMrKUFwr3Ds2kou0y6JwK9n4rOCgciLZWZa38Te7SX+IOC0OwhzBkbdedJuZqPPASR8SofJVQxPOyN/X24emtSQdcti1CIGb3HLX8mQRajgNah6caNSqAZBUp6vkWK1o9JeSc+eH+8gmeL8tyiImz/8IQjwkPTms9QZPFX0x9PZ2yvty6CuksNAhemqpA8pY09NCINyOTwjm3Q/07CGZTOb+83MT3xeuIvbykEt1L2wiYo+M/GxxdaXst4c1KjShsyLWH/nT9UNR8CrZsO/45j0xp9RugdPN5BNqE9ZJTYE3JYSoVhMl0OpZJ2q70oIvYkmmvGGOUaGjwvlOVJsXLI7Vx5zLm+0muyfS7S6KYrcLfmmsQf+al9OgP2b/cWPh8KYRj+Oo5QbNWfI+BeHY8iN/p8unS4pnIZqCn9N2/CSsBBmBqPR8/2+Y+9G/+qc1Z55PLQxeqtaz1OWwIQYcCTBEzH/pGXXjqDj8i0Sv0SIzvApjZbmUSYiAxC3FwsW4p2+Y2G0x+kp4cU7ieYvQxZbn/KhkOjotaeNlCMB5p+i28Zk8BrYxfkk5x30Vnc+16mmUoo/aV8cfRqFMZwAn//zj2ce93E/yP+3TDzPzg2HAjG75XnHt88YHo5Z0ee0DcebASPnB6o9b1OAJKz4v9Ecn3Q424bEtIpP08SjeDCJ+GXQncJgEjWsYQn7Kg789dUY1pgGzsjEcDmpICOBWwxVUzHbAI18Qch1Tz9gkb1KJUJ9G61Jb0r6+vUnVLrAHQqVWYQ6tTugzLHDxQ6tSb1AxwfxpOSjUYfcVzGb9J0s0QH1PXizgSZbTA2Lu6KP9ov0+VqsfsVmYk7kI0+GLxXqSH0n0tYToJjSRfE1qbGk13E3/8JFcJF/pF1o9hSpwP6mK9luxBPqADun8f9Lgzp3IcXCfC0tlUdDEOp+pOCt7z4fbvTwxmjYROw4sq8eUPX/TPqDXd2vOxhe0kziTj42WhGrTNSLdd8s78wfGzhmN03iR/ZJ7XoU6Lu8jTizy9YHiNb5wiurgb1vojLxREuXq+m/eutiByj8bWRxdUqYLi1eQhjBgu2DUBGwL1awlHchMt22ocw5LfDN5HcZ5roiJkHI4/g7wD8lzWf4FcG1MbwVD89gXHVmrulGQ1ccplS3CwbdIMZFVcq9BloivkymTWsiBdmTjIUVh6CHtMryVmL9FwWXvgLrao1k+U4gYrxCRxSS/DLdxJxl+CgzHZuJCmtSa/iBqmaZk6CUP1Fck/ULqCNC8BVdGObRErJLF7z4MwVe7ObVaKW99MIkKzc6ALeEAZU4RDl1Eoqg9/e7Y7JfcQwreu4+OW8pgO74gsfGNNc0+eWV+tYt2fMxEkuKLfRwFvZK07Iu/4fc4JVGIPcwPbCCcDaRbvbH7L5mgIDuNZMAmoWanO44yWglIgqy156NTyiDrnvki02Rptx3YflVLIh9yq55mTb8NYzWGw2sjsQ2wR/gUtoLf98pU98pz3p96um1I+1QLhKm8GesQe7vRwke/wSpLOf+nrUKGMJqbP3uePLtkfyTxESF1JGv87mtPmZ1ZX6KGkOUptjIyAKFzIGcyK7nbK0jgQK2UpZ9goAAE3FAm2kfs6sWA87ntV1QV/BS5338n81k9/E9bFCJVKad447+24S84UynhTXr7x4VKUIlktACzD9OSTKWPgwyqsVVtmoKMnrWypeOvlr/Ygfro2MT/m6OAMqakp9GsXj2BJm1qqTr5uJ8yh7G7lgVESJcS9idLCH18+Tpq9a5agfS7UgsvNnT1asESFyScAK7dYmzThN87JaO05Y0eID8rx10Uo57Ra1+rFupD/tLhV0hHsJjuXSuzuSx1evC+FNlpR50tt1apIWi6HTjYxK2VybFw5zYfs9t69Nx5ZgQBaqm7KNmZ3/b36g08QPbJiEuJ3SwtiQBoVVGTTlqEufu0AgQb9nKcj7yMtlvRnjUlyfQ+lrP4BGLy6zry6KAOOxnxC/7yCQjoNLqdNYyZ1Dj8pXH92qAg6bOztNjS85WTHLIXz4y2B28GpjZPElwBAO8CLhJU5hBnQp4G3VFkN2Ycb5z8WyEbUDKBHOgopOG71zTQuMYBmuUY/3oJ3oeBrtAJuYoHAx+DEcyMRVOVDhmRHRj9Aul75t3q18jPiAZxy5UwIUZ8qELIV0DW218eUpL8XidNY+0kiBCVNu128rIyi+4pUzYdayTe8txFQo9BcaXH6U1k4uzwMiIcxQTZfYILCrZeRCi3GUzjurdoyP8TYoCwKZcy5JEOXvd21yvTBMfqhR4plpMwhMWerMpmVT2J/9SJwZAI5igpGlnxhs/dYc0lTB4eMKGkxHah3mE21vNTBON7BTN1qW40YIv30aLbGfYzUXzCLfyrFesVgmVJzwaK/yENAPu1QUHzBrZvN5Od1lIzQuNt0rjoyMdI1uL5Qpc21wUF2X+l4FLaNAxlYctOfY44tbmrqJ2FMBIXoTiQuZ1i914CfAm0VgyqD6hW+WngcBx+ik/Rsjimib7+bRYeW8gm8N1E3hezTjO6u2Mtextv+5DWyCmfBaa8Q2HQDVZpvfJepCG8VFpafxaFeFKPy1i/6WqCEZwqC5p/iXa6y1P8Q2H4LwU/rZV2hsvHfHvU6bSqFGVZN7+WYYml6KDC3kwkb0w9uHZukGv1YdN4r37j7P0exM8+bfjVXBN2vP+cB5dOj00g4NjlZn9ZUNllLPenaXO7ksEcXmto+STVi26PD84zVvuSXcEw+Fz2VHbg/alwJ4wA7bBSnLl7kQ7tpv5HEtGoyhvwathqyVDmSGflBrtLY5/pRzHLeKi8PZPwmPn6U4GE4TZcL3HUShQgSo3W9NjOU4M4ZtMQE+MLuuUIhL2ahEjbRvfqeoVHT2TZEluZEoOnAzt5tAMoYz+qGZDgSuwPicTmpE+iJuqXJ7aUwIfVGyv1fIpHo0tLD3gpVLb8gjuhOZ0rzlZAZIltL0hd1sk0cp0mSaRTsDc3RF/1lkYH5Ce/tHbV5RjbnUXiHJmbpo2ZIsdeQMlaEI1nnVVhy2le0YDIWUbwQKBMh4vQEZFfo7Sd7HI+ELJ9tB6R45Y3JYDRB28+VvlriK7NQSeZWz5gcEvyonCYTd89ZrWMBiDMMtldf4U1IQ+W8BNP3aa2Ui1bd2RdM2lVHesSBa4I6z/bZ77AnLeq105OWLWkSKwjlOnMbQd8ZPuhpCltaHAKCrgA5TmH5jzM1yFYDZ8a3+VbXrrH1XqozvhoSjMYKCATcDMGGLdG0cuzqieqKiTpu8yzSa0WSrHzsqg+IadBLsz1DMf3G6yzyByTmmDuV+ObO0tMIGHTckaLJXUNIf1PUflOwQ6j7pWD4C0nlWbNLaAO48t87TOJcs9vJ+pJr6O/I8W55ckPmk/4d83fco3Q7dzB81gd/R8AnERUVOzbIUmGcq+iZ3joVszfdC4bXrEZCwfSraAEuvctH8MnB4ScASqCRR0s3fCkH4Ah+Gjcjb7YD+Q1FSOYQ1rdboR9QXYa5NPRZy2nm9PDl6WLbItVVIx1SjyO9eatpDXeJcSqww9fxJFQf7ARPiq7iIIJJJOr/MCaZctPiINO3xiqaiOwDMv/co5NotIOjRrwsjX/px3+XVxqI6H7plOnvCNbgwG0/rPGqcBNudVKeKh1uQOu4A3cxfTeOS8SM/YzXc/f9TL6ZGdRTquzCaHTj3LApZCujXHLaYlkumHSTrHWaoDJfuD8zgc0bU2vDj4r3xBJpdqJwGjPJ1sTuHhkM8lX5aNCRnztfbNYmhu5nPgzR35Ko6flTmeYURh4dkbxMnMs0e4vO30Yew4kaJBaAMAkbHLNXTnoUMxdTfQIjP3cGoDh3Bo3v3MaslrfXeqfvPhCiIpO4M5eLFRiqXxD/b2X1x4pAwx4OA7YE/1u+Hfx88uA/QbiZc9NHwC8Irc9Wyl1/a0Bk8SN2U4uYqVjiVyfSTXXqBcSlxSeBu+VHbcrvWzJ8qd51t3JHKuGasUbi43ZRGVNZgkTsWdB54ITDFgAb4BIbG0P+JCHyt/z/2s9SV7+Dwe32wMAYkisiokjZtxBNY/RdEpu6R5CAgNzpZmO6Vi+dV31snCV/fRxqiDqcUdtcskowy+NLPjuIgXI73+4SDlTpZ67h/occdQ5oeGnX2OBI8iHS7rUSHQ7D/ohTK+Zedal2iQji8ISdX5Br9V8/gSfj1zMo8JRyDAZV+CWN9uMt6++vi781ijDIQq2mTdeYeurK2bAvoYf72KZQ6LyieLEzYqW62KzIrXlQoZabztj5tya3Kc+kfO6oa7i3SbArZFz+SUKkYA5Y6cKne3DzEvrK1kT7Gl5KTnrw5U85rqOYlqo5erNOB8zDEde384E5h0O32EhDuIHrpreiAP3BmCFnWAPF/99hVxCYaLDmTrkN+BaJ7NKe7k77qSLgiBQQCmqYhmJzPJ5lXt9QE8JpAjCmDePQkAOJjKjz/dK60rP1MAIIQo+EyXYk+cJJ9PWEesVGNGs5Zg/V71s1zekN2/OmrkBEFiG3lFYcobRkt59JC71/kJPb711xSNIlRLiwQ2uXD3mfsBagps/8OCSL2OGZwGZu0YDk8zsBHb2pViJEGxDtfrH8H/DCTXTWhFSPMYohRWNq7gTz1ve3KfsTMSVlRXQqDkxk07e0+WARFf52iXBaY90lUxzkqI6PkyGHm8EqponaLh3zYNY4pZhM1Mg/L6FxsbSpTuvLiroudIrqyigYcctwk8aCy1g6Stp4o2hikMaFk3B52WIUoAdup4INWahvjiPMZ5ly/pekkwiml9NYI77oXt+MQ4w0/QHlcqj2NFvdstFW/WOOIpRCmR+hjqG7/Jy26oWb+ejiTlD6LwvdXEe9Q5/FMdiOFMiv+/PFLcig5Kb7Yf+m3ulhemrPqzMi2SoP2zSLJVVFPiDYw1kYG7moqHgYqpeyZZ/VpPVeJUaWHhfWE1KkEhxcqO76T1MICMx2wX3oAPuYdYOfn+y/147LYA8jSf/rP6WuupcyBajBQNBfpitlngMmLD5JWcBHueMo3AaRb7u8O6xBE7RrqRRVVeBax3BXqxwtD9Dq7g31Y7B71OKh5BoxFJ7vjxIhGzqM8tPBO/3yvcGyNfd51xAjLji5rHRFdpFyIhRCTPzSFEIYMuXKADYDMCnmYtYFDcMhxeBXRDXXsSsRZpyMq9WURuMSvcBpYsBHWI2OLYqOz+02OUrAEmpLARAsGDyRCC+vpDuPjpKkNu7fPjMC/JpUM4Z+DmmVULvJPre7ry+aQN8DSMsARBqKzneUtP7uHtWhmUSKvnr91M40lfdiUaDohu12v9EIRTwYroNgGrszb6ggk0zPZvUxloIWotfVSQHwQL4xSWwcE7936bwwP6/7KnAV5KXI6NvRUorb5aXvaZ/iADUkp60/2AELCwioL3Wx3weU5VDGhZ6lHPlEuuWw5HXLk94emwUd87qdLDor8+fq5/89TWKrSnZF6qAUfpdre5Lql5sll8dJB867yvAsxkHoxmxmpkIjJpawc4p6w02gGH20/GNRit/+sl1ROcpKxqcHhFlPavpG+5novui3JgybkLiV/Hu3FC0kDHWfcLmr2nPdavavBTfIojr+/a3y8Go0i5Io7xGDi38m5XIa8GwcejYwL6vMHh3+5yewR66/lwb32T40HBZqxom0evvfCX/sZ1OxJbVUyEFOJkyPs0BEDKJlGBUkjy7W34s2dPike0O4NVEalNyLwOE4FIGftDnie1qthJprp40pV6JXxQAdHWMtFnzNPSSfGZEmvLCSCilgu8JzzlUFhsaCXpVyD27RQkxBGM6NmwFCVzAfd1ovtti81y8pmnRW4PB29o0mL9NZs0YJi1Ls0b5W7l9PvU1K9jnlarglhBjcynSWUAI3ZwDECZDmsauFTRgvjU0IlS4ARai4shhbp5rU8qZls1Zcfi5unPozbW/jndT/kUlPehGSv9uL/GlPW9foXef6g/fpmg4g8hqAuL4YT4vRCq96Q+hfL9tf9mlj0OndmNlcUY7zRyoBK4uImaHzb0smK+Ui6IFrFmFFW1O+4fLmKQVuHuFFqp9v5bh+R7jwdjRjJUd43BC6/lwKcatpX+s5/N+VfCZPaSB+POs63TkLc1sbZD2u1zRmF2aHglwXs4csxZWU/k0drj5PiOBzSfRUES8U3QfYINYOzhp4HRn6b6CqmfO/h4OtBCX9hDnUd0PFxIZpgUAeTDLvznit/Fe2WlGBJWoDFdHcO3e1PU9Dj/pj/b3YudRn9P0S/Xgm+ZCQjzUP2jF2RXAxm4RMM5vAGUDEirjZXmsBcAMWm7ESWGRUA7lmssIHbQ7ZzXVSmXb0DRseqhIVwymInqgr6CZ/eTAdoOLwpmM8Ep39OU/jaYHweJLiXBc4eOg3UtP08gcjdgJgzFo0AkiU/NFItFEiajVClw6caWeG7AiiGiayEZwh5TkMJkmqq8CZTETibYuS6v6b6GpH1tTP+gRyJR6+jDS22CciEQdzSP2c5u2P23boKz1IiJPofb9vywU/1z/HlHrSXHJpfJ9RC4clEY7GEGmbcmnreKo2gXRX5nwudBJd6rtdWc4HxCJ93qih/hcCz4mU1oIXIhBrnh6JFQOpR2L5LC2j81FzXWF2fPh1KoKZ0c6UwzrtCaVEMSKbtgHKg7so5kHx2ZR+Oe9J3vF5P9PQa0e5Zn+HSu2vSW8DwNNaXKshbj3aCqvZNgaCFyqqn3G/Ebd4EOgBTQZffSkCU6DnrfLsysLtJuEhUOES602fzR2m7/g4qS9ld7x48wUgn/7jjPNgkx9fqa0TKuN6TQeRagDbGahjePFfAD9nHiCChYv31isJDTaHihb6P43c2pyO13xeBS6gNrd4IN+f/5rb91nd3mHibM+8SA4kM0GZpi2tJZpYzGGaAwg5oHp1pNRrijXsvZAx1ne7dtd6JotCy9xRp05jfmZCmx1goxZ2mzA0Vb6DAnq8zRK7aU2h50UiMowyUabEAlMHheUSIF8LX68OABO5/K4i0bTE7l+yDrN0tG2V4yy+jiLhPcGoBlfeewhA6WMI1i2QAPgnxR14ecWId2gyvEZRO5dmiXZ6hBZcjqYQBZ51oHC9MEHGwz1QtkDT/BaQaZ1RQPqjkWh+VmYxmnCR3iiuiA+o8QlhcCVIi3lGYZrjOuPLYEqmuXnIh73tXAN2bi9J2t4r2CFSiNmWnmMVEdhK+/TfQl87Gjvh6GCUBJijyDzxD2A6/HEOVyASuDiCPGMY7wG/tYpHQ+9Buk3mgV8qRQIzea8w+Bsve9sUnmy+rs3jbhSdSxPW3QNt+2lhAYKgJucqmq5jkMQ1t2gYV85tH/aoyw3GiCUvDoeTPNWgf9ypLUcEsakDF8q2RUnSCyzF2oaP9kPQ9Fw+daFk1SdSvjuRa+cJ47i6JU1m/T0WnUFS3vkQ2ooedwVMw8CN7+Z52YBlbcp3zItJwM68Z+dVsoeQSu6C8Y98lZ9TIi71BvVoI5Qt0pX8gZSsgPb6H4derxtNnNYCzXlP+WXu9Z1vMFbZuc4WHYKVc3InD6U984FBkSkdhqodPKdMXhgGvISd5MPxAsx1Q3tdc2mOPfztNwS45qhuTXhNfCheSKyQ+FhfrinMC8Ib+06gJ24r+2Ibepuu/T3anVfROgBNGTQeneBMJdpbw3Q4/Y9czHRyC5dCNttom0KxMptwmvpF7QOQpTb2LlvRZR/s+c21TKd+/MVlqDQo1ZxQAmULVve3kODHTylFB/vCPAbT+gF4/SUmyhyf47peiAdTbwVZHYVLobz7I1jPKi54EXZvLDLhTKU8AsjSYW6BEHEOHXEHo+iOL3RIVR96trpfvWLKsMkmEGPNjrAPRupNRUzk/RP6rHznmPv8r+m2aYFkMvIWSdxP9l08AuWdfq7ckzoRr1SliQai9pJIw1Lyx4PBVMOtQsLa3vEql6fM6Eyi8XqrC0kOsqila05SW99D4VAiA43w5DYj2WyzH7NC59+PKLiQ4H7R42b2c2Ot8eShIZcR40ca0YiIgwondJ3qldqL1PRyCBNj+GX0XF961vSRPH0QeLjqURu2rbLsYLfHoIPkRLuf0vaOd3pqONdb1N5q90krgBKp6JrsdojuI4hLUsxcmd2IoKlYvqPhH4WJ1ygF+/gI+NT+9/b+1femuKjFeOVbgRgDyh9/UrFipl81GYH5Nr/AtcVuQXHLImXPciZEgtb87zBuefwuPpoDYFfsQmDQg259LFXCUvOdPBPHLv3d2IxGAXZ4ZPX6CK1sp7tEgmkan20jobNv2JiBLy4S/otaFnXzert6lBlU52fWR+Er9zLLByiFfBq3TGil+j/6oJJkrdS0wu4Ww9uPw4MYfBbedsUzi80L9yWthKpLNZU9oaJzINbGWSpxmgwun+2Ew9t39uFdFWgykrHbMmf5Zw5QqErVhiqlB5K9WHDXwmuf1KNuZEHJjwouZ09JGRjUbOHUJavpERne2as9ik1UUmhSm80mw+JF25+F30KUqPyGMcdj/uwtUiuS3TFeGo+RioPObTRqSMtVyQ0GZqbbvkgrMh0InUw4f3V3iVr1EYZmDYqvfs2qR+8CnXFuZx8WN5wyqWEOCjpqadmnc8in0+2seMLVFJMIp0khUfNvE2vrd8PV5eNebFK9fFxAk6RTP4g03Zs+2YtTalSRUDJRLWXx9K0Ik+31DuFmJ1W2W8rd0fHI2uNfVuw/iIiklj6aOyilqXxd71Umn+7sGpWb/jtosg/nbBQClSjkVi4+YYFDUku7MSd0gQHIQkyn3TMdYCgEU7K1swKLWHt5LpGq1u78OR/UiFuQur6GwYte51Gc7j0U+7YW7xDlh3g++NIeyDGZCVEXT1tZ+lGY24VgfiJPiadvfxldrk4ASpvDJRVP+MKrm/GHt5g/lofEnv4WVmSl0+dwIFFGwvxLiJZdakKLDHQ5dCTPzCtIrkshmxUj/UY8e0aCLToYpZVWCxQFcSjp250phYWAKiQRs+YhFWGCLcwdanx0txfHq/NDQm5R2fWWJkWYSTJv82sRjSnEWGO4bsAYaKltEHHaXsluPOJuTOk8EeSd6ZhJKKo+3Jb4aokBd4+FcSheWX9Rc+U7YEBS3PVNz70Zhdi5Ypgk6O8yfusW+158nR/s7ZZyyPxqnMwMY/e4xAv1XgGddfATHhXBrXqo06qM9kU6rksJ4z/nYMJ8Xx5feexvie2zsbRLbTsrL8Y5tk2kZxX/e6KaFfbpjZVpvz1fG0jSQ4kATHA1fvWTr11NghuxP1i0Zz+Od32mFebH5TPnWzL8LKPvfL6Pgsr0E+5UdE/i4jMlqbXDt+lEBvJmCG6/wE8b3VcncQyNbDq1MZ7xv+aLO5dqNze8+FWky2fjfh/dfRvoyaXLMInKu1RyKVBiNWWVLKiWeF2IgbnpR6egk21wUo7e4mop8LGd4AZcgVooovGZbPKxgkVBwEeDYCPpFIEdFYuL/GeDP37Kaap/whl3hsXOsKOq1nUfyM9sAEt/480lUY59glR+ibLaAITJQDL13LgKZOiV4UlKt2VOuzbiSas1cp6JBmkl2vrVm4yityyFLA+glc2hVvQ/MdAbjc12l6cXkjdCHDey6suT9hpxzHHm9XsJHNYe55DNpJcj/40kzOYMNUA0KzTuAMqB1hB6Ji06Rg7PzU9e1tty4YozDs4OgxdY4jPOzcXJgWoZW9VBPrafFki8VOsH+Tx54be5LwFvXv2NM3mVCvLRs5AyiJGKb5G5WDhd26rnGeASkpVN37Wrxr0PK/qJBe6J/It6vessrzPT4rb1YLq/Fy/XAf0uptBlHkECiE+Cdf2tRk6yxUioM8eMHuZTEcTbdANUn8keqei7KT3SkmOCK/YmqZeo/+Z6d3ys1gDm9tHHdsXkVbdxsc1UluOMzttUeU1ANTNoRTItlbUdjX8ullX1RM93husWdy/OTNa9li1l96IPx/l66SLRX1hTAgFtqS1rBgiONMP9Q+MVK1oPuMyOSH5HG13s8D9kw51lzxT0gWZkTDnsopZl7vqp+SEg7Rn4hhOsUNr9zGSnLNHtNISd2MZeSrpf4PqkTrUyPNb+7VTcjQ5GDRIxy//zm3CzgENc+LIa6NoPRoWgYDNxYaTQgNHjyxRqh452KGdIKFBnMPEsNzG5IUlrjiot+1xqGWMzjEWfqyYroKcCgXotWJLjprIcVkB95HCY7/1/V10IFI1rcCQunnJ/1g3/fcGLKnL/Qd2/F7go3ZDH6IMlZ6dOLJLnmFL2G+xbssde7+HzoXdM/wIqX4u3ghJGr+hLS9g5Yfs6k/lyEsDhqpgp/x7B8helUtfnsuMnSqsACuHiquK0yScsWPnZ0GStJhEwUDAWGghtamxw8mO7mh4ozPmWoFqM2qyJr5cHm4//Fm1Ia+D4WgGNJoSVAaVwfcZXvi8hvAqDJWJhyheqMGn+R3+y/CU+SRaxEhR5SJr4UfkVwlD1T/pkUPhuCYOAwpVRZkzagybMQbkAfzp6PqA8qZdJYkbu92dx6R6awo58RjwpKfsHx0/X8g1s2czBxvPPtIaBPsDtMRpWFeT0TbS5FvQrLZlqXTnI/ORwP7R4954uHbnApf1d5jrvqeUDFdrQcj0etjok2VAmZynFcWr964VA5mIm3RJAGQ8or7ANW4ZqC2TUVyATDAxnRmdGJj2tXnsuKqH/d5n7ECvkCgfTWOj+V9K5e85vo5DqD3QgmJBAw6UoAuRkGv1Z5yH4HEZXJCSqkzdYObTSJ2Q51PY4ys7s0FGZqV6nHlomd953h9CptKjNKQyXH82jlpJZYuRb2n3JgmOLvBxsKVoiQyTr+e7oY+O+xU31l/Trr8f7BwVS1wkmwuQHXibN6a+VwtJ9D2ofQQzRtN6ZPDW1+NoYazUQQVr2e5g7db4li+NVEGh0HGDTlTdS3eqLm2dzqJhMHs/MklqOGo4wigQIJdgcwfXO22GQ8w03NxmMnq1k46W959bOzThHqXEqzNnA5zXsdO0VWWJ2UZgdhDT4k1pclwW7ngr7LeT42IkhlLtqDHPjLW3hZDukGPvrK9oP5ZaVVA015QkTaOdugCFvgq9LrJpyJXc2ZGk3LJMY7mh7Vy3/tCRlKoS6gqI6C0gnrm1kjzvrm28AgfYYR4a1IW96jEzh3rE2w+0PdTfDOvoL0IxMogsC/zooSVegIxelr2T6JRkFAAUdVtMGIUDon2URyb0YwCwnU7fqgYUk962bkvAgGdm9PectcUR7j4dWzYEBlHu1nxT2b1PdnkrmYSfCQiLKPB7IidT10rwoamvboSMGPGwF6en5b3I/QQ+D88RqVRAZM96+VmWgh6VHJK+0p8E4zteox8mynSmDM0bMJFlzrapKIXWIb86DOBbUlY2q3RdKiofEK42YWuVWFCZTj6wEhBHWuXzVPn+6l7y9Y2T7srKB0+ddJ1jTC9G9uDxCDb4trceki4uN2m/Ku+8fEDuL5O0fbBS6xQL9bUpnkOWnJf02nTCmaFaYOA/uN+6J0sSygd1STOflOsatrFFoRPpxxW4xppY4F39E1MpROaFhpiAgkN9dtoNHU2MtZuCbE606TkzGsPBkHUKCawbqnsp7kH+NZmHsAip+yQfXmGfENxYdJ4AAQRtfJQKib7wVeUSxTOqUcOeSq4NZQsohtcVOdfkYRoNU0BY9kxoX9oQASbJN+v1koywkXlf2jBKtxhNKw7pc8sPhN1BF5s5fLe02F2DB67tNwqSmYll+PQxfaJbCHHOiAOjfJgYm4J6/FKlgAA8Pz0XnYOLsgPXWwvftkGAt3R0eWdxGbS3cw3cwyz8NAv0HqFuUnsM3qX5QUq0yKMAToKS69FKECSrQ95e7Mnj+gA7UMj9w4BdKUWvMIlI/C6Z/zk8psvU47mlroLrFbCOVd6+2rpLKcrFYOp+GC6OLQT/5UypZ7aStcI9xyEM5TatVC1VnX4CNy8WcKOiIN0szEOG5S5lJhNULAI+JZYK3KZ/urTd4LUfIeNwAqIOeHXC/6lHUcTDotIzyA1GaqK/oFdiE13d57/xtQNytTvtdq0a9RhCUYDKo7lHl8lU8XCe5XnSDummfnQukbPei59fQ3NgCbd7Q3aJKlutH63sjfkjXuZXRt3hzCIYLFDfWQkfvOjfg08eKIXrItfPPg2IWpXlm7dSDHPwQ5EAkkEB0GG2SpLfCAKQ/KM2O8cMGQ7a3m4t+BrtOW5J0vKHDU4XdLNSR/Wo2KACl+sOxMl707qtyUFm5ipZn/gvsZueFRcFFVlcynhbgUOHMBHJymg9xliB9IKQX3MDtm7Hs8Co/DWc/CO2ldYbfpFCMC7nGJt8hg/ppQCYm3svhXEBAZ1T2cS7o9Sdi7fdBTS8vb0u5148fSYpsr+O/Yt95+gntdjyvhw0Ztpv3FRtQMnSyyVhtt8er/KK/vWBms3A18qSQI9Y2GZIvQoWCja2RQmgrLAGP2E0n1Vj5pHDynn4V/pzrItwb0EH1woZBuGa2URBO6Lc86ByXQOdab1KY1mpvJbeINMOEbedViZu3ExpLS3/YNlCzKPTrTjNv28HIj50m5yuIA2BT6jBc5d/Y6GomW56ADLL86rRt+W04duWVakc9eaUrTPIRr9hOxTv+7k+WZ8EQUopbZBW9QwY3eUZ/1zPyS7UozyykvZfOrDFeEnipbeVUn9eyTTTVTNaIIarTP5U3pG/hzZOTczMQs4h+u3p0OdOE3npJihoSECjSuq/+sHRxi41wM+Q1caz8fVZ2hQ7PFUfGQQWvU5iyKw19mkegOkNwuIwWF014f2yjpbzbaA7Jd/CHCcc6r1eHxH9cnTDDJ+LNNC9jG2sWSBV5h6kbGfvH1g09348gm9mUVCQRkwWM8gTqfu3VXwKm/prtqXd0Mgb8cHVqxNfID2rbrN6xu/OZCCAYHd9i7wx7zJceNU/Jen+jL/eFQW4zgepx8f8iHmrUTaX6Mt5LiCEWqP3Tb56rAbIyCrVvA2kuNRcQRSv5EpbpL1KBWRehoTasyQ9z8GqVwEpJP5koLx9Hri7ByQO113OSm8LQ1+VMx5xqIFGwWkt69Gt6FX4JAQDj3mwlbL7J8PTezrM6gMva5fE5W4jprLAd5SzDu8cjf8zxmqBMaMvvrMae2ifNWpft9woNfHh7VUsJA6TGbAcltbnHKrjQqdMUk6QnPs73udJJ4QmRyJlTfT0mmPA45v7fQ63H8LvsVsbvIiuKHM4TfDZ23d8BWgDbvasmXUbKTGMF58wXDmDEhFEbozqAJsaOvIP0OUxvw+fl2vlTv6+sguAvPX9O8FvOVTQjqQWkrWZFp9fqbPAGEiEn5IWWjiyVa/PGgb5LyyvFNKMsVXRG7k1ZlfnBeHnTaEwGka4eYjpkibRQPdxawbWPm2daSEZaF2wFS6TE6xyln35Ba1j4WjucSXIf9Z1X27PKgusU8Dw/09RUoWlXD855sGve9Uki0F8PeRZ8NkLxyZpIjlCBXEZ1ND+XXvtd7Nqcd4G+cOQBL6ZUE+YRAxXEFB0vskYWfGdEUZmnWf4PlAHTG/cauFFDJsLNcpZtzwFWz06QW47o0kw5OebSca36VAYZ04mB0Ap2TOQusy6AZVshROFLCv9HD08BDZUZ3oX1hj99Mhi5vN20iM8QUsR0CqM+y6JXgu6hWQntTjggdarV0ofv/PDbOTcpYPT2HvRlIquBvslVrz0zwTobcMTOwPuowNNv+Lf6fcLonRH40TfWtd2JfHjbOJ2FQQ4axtLqm8JzYU45VksRXXc+xBgIyr81KxITDNPycWdQ+I9zfrFoahOnMTq9KxoqUhEWihhKy0pX0mOwVHE3fbILRjXdVDbe4TLuXX4TSWAmetHO/AVH+mDQXDi1yfHiy2okMQlldC1FqQ3K/MzD9zMZzaBEd3gIxhX4ngjImQWaIZQnLlEZPaO9FXRbJ9IaXG/FRhYWpIK1xNHhJt4VmszB6sk60igQ81gB9ba9j3oB9Lngah6xhNePwZTNrmXMilO7cfCengqi7mDGt2y89B/6aWHe7RSC17v9pvzjqF1cfF1qME0lEW0trsR5DStSGaF1lNLb8RjjG2hm5We7XjH+BDHRUtK1J5h6O2f+dihKsvW0Jr+E8dOCcJ3rfvHDQjmKZIkzBvfgqAEvE9qkpw8scywmVtKAXVK3P1FtkRu4uspZ9sajMGcdbF+bQuLLUZW0NGaYQwewWtgu5e3X/ral1fgSRkdNUaIKtziEz6yRfK7+RWPGpCJCNB3NQKq/iI84EFwxSB84CQMqlxu9B8cMteDiN0IKtsmwESDOFb9xUyLID8UdFBqPMR3K0RcCh5k3wDhZGMX8z3HwGVhD4myS/MBcVxUewfy3hBIjhkWfgs9AmZKsZ4adTYu8otDXT09shFfil9rWGQQmcxZTViVbWKfjpAS3LYqYxhhEUhsz0QwSGfuvKitTF/l7AB+u9g9gbsiE1NIFne1yqtwbwHiY6GouipdGTU3cvwlVvHQ7ocjbK7vNlHCDF5barUsTPqOX9++fYHiogMrHX1RfhjaP7H4XQDM25IJVfTePjJ520Zk4EeeAXGz7BkuhS+ZKLFJpiBFfSyXhr2VtjAAI29eBJF+Gq8Igk+Xz1pyUlkDk7b659c1s87lvN1lq/q6UXggipt+OhtEn6COG4sLHkZ6wdngZfCXSikGnh9I8sjccwUm/hQLaeYf/F4eAiz6ZAQsp5VE4A0HUITQwYVjaPDwaH/A8xlHwfrx51f6v1RXoCpvQ0xRnaG+kzy2u0THX3wqaJMTGqq33/ZSfhlaYZPiZpIJV3wOiVCQgkS0SZVHsSjzeIPkz34X53my+c7KxgxPGPgOhI6byiIdyGN0yQk/+b9DZ0pfIpzyiPUdKP8py8rqP/uWNQALwrrIIatiIYb2yTI4OjO7CwnfPYRFMbQD/5dOz/qqEazxe+px4WS0C/vLy0CgntFe2Pn5ctHHtsnAK6Xos/ZBULMVFi2GbtowH45Npc/Uj+7mPU8ujQHVAw1lbXySiISHlYhN4Ur1Gs9Rw2h8GKRFwZiv4Go82WJrllSHy1fWEUOfFU7oaoJceNmntkk0mLtQKX4EEyZj5InctmGZrOzr0jSduigm1ndIbOZ8e2vkH4P7TwqUBB8hJ91sr1daX8JEj3flfWbIsrKnb85y5PzojfgeidaTi9zyVHGD+SKTpW/kosjrL+sCha1+wVUFCDtww4USUaZtbbHm3LV1v5Qy8E8S87k2tKRDIhRuYsLwLthJtZF/xDj6+AB9YIHeX5zgOciPqEF6yP5tgVK+WLFwxOy3TlmhdXhiP3pjn3naDB91Z5LzztPJBKSZoNydW4FyLnCaE21g5riMn4j2xqcLQ8r15ZQsO6/ptTRyZuc02q2ykftwCBIHVJMR+xv1Kv+3+dSfJAJbJ/fCAFLqa/G0suhj9ZK/bEcfHGtyT14wOOyB/OuMWsusRwEnUC1KBY+arGjXizFaqXtexYMN4AaTUlUfwKTvAXy4VKlCVp72zq5v3GATm1FLKHFCd6rg3QQbKDcrP0N5NsME8SCqqA4VPQg2gl/C3F6bkTqSRxP8uvFSiiJgkHuI034XSO7xXGhG0WsbdhmgqPrf7Ck0WBbcmPgABbgohotIVTFHAZiUzhcAYmo4PQRgadA7LyK4Tb3qbiqhUJXGXGDgcXp8h0yavi76ipp9NlxNM7mHRQ4yb82i78B4QWrSpVagWzUWICAe+OdP5OfwXFItvgMoChZK2sQNDgj/6pstgyh+hsio2mnObq7avkxoyof5WxMa+PIh8GZKauNM5ZAOjSewFnxH+zRFgPOvtgefyWpweHsdW6jWVd1g+Z7pHShu2y6qFZDnWGB4sRG9yyVFo6rkISYRLG3eZkNOjE+vrcvnbVgpOOzI46Nr47QX8j1zd/WmZNGcifxYKzVp66PnhWyCYM1UBXPZyoN4rSqAO9xmncWURhCQrkLF4ODWCYnHmRG4FeRs/cOUs8VYqkkZDXSspIWsB3NCrZuXQ98BHbTdOw2M5UcbwldCwWHEcqv/Koo90SYV/p8cAZi8JM2Ay+hIwPpjTFJYsmJuV2iICo6nOjTzSeEhbpUem2NEEywNiYJZdh0UEosU8oYxcGY3uBZZis0eKH/Kok7EVvJDZ49s/G4Y0p89yniucWxNkdjwYsYDhkddLUc/Wp4xCHUePP/Ii7sKq9bpygTpY6CTjHiVVO0BkdkvGxpLRwnaeEFrV3wmWLE7hIy70m0HVfm3FPi3s9yXjBjFzJTUTyhGrAA1Z+IjDtavbyaAZfKRFVIA9m+0SLbzV6takh+vASYmFbiY2s6FjuR4XDI/XIgegpcFV3MjWI6Kl4YpiL5xl2Jt0DR/OKo4DhshxRDbj8ZYG8Q88HlJOn2yFTCxUDBoLSMyHCnQ8KRaWb+pAt0DdIm902jpHXE+BJapH4oJx41o0drszktqQVnG6sbKcY7e5yw+LDWFVGcedM3etgIdnFXteN4ErZ9BTmuCPd1l90g6axgsYO3Bo3KtB0Eu42FVzvrBV4Si7SS6h/T2LraN7XzLfzCxijgHOcS7k8Tjyg88xSojnM9fBADG+DVYENPr7Vv6n+QimVsHZYCs1aD46135xIhP/yCP5krXuo+qWnpF3ziMFHTEIcULsn9lJC5Z5GbS8GtivxSYiUpyN7OOB1ZQ52okt5Xcw404iA/SQKjiQodsyDoKNhMGoiwHr6H003hiC77atEfqYwPMEsYjSArXcfWQT8Y2SIzBMdD0IJyHJK1P/vctd8ff24FRZ5wNhabKW0eKetjKeV13xA6e7Hh0Hjpe91cKZAYWYp1K+H0IhAadQmipMRPowWav7O9+dj8SEKKyOm3S1uzyPhtlKCgOerQO37pnUoXW1fmYtH5JrGiiDaQhKT3eCl4satdBCUiENRD92TT0lNPbxV3eIus2W/0J37n3Q+HkS5WJvVM/l1qd1zbh1NOYWTn4JWZrG/hvLjNeCc/U1aHAOXAWgWgCP24rcVltc9rylHXBAtRFvnoI/fZ3Y8cRBDylCpmuvL/6GHOxrdOYZ/PEtg19qJOEHn51ZZu3Cf90CATjsZwYnzSSS0VYRjaOsvtp5Nw7uodjza8bThL76c67Jz1DBoTrWeU7don2NYyGeGcTCQvRib7LwgTPaMG26Gjr1g00/PjOF0+tITF4L0bdbLYWX/uPexhFSqs3nNaZdobkPlY5W94iUNkLFFEv//NqjUhTmm8vEishffyOWEQ++9KbEEkiFUExjxTDbI4mbVVPJ4pR1XpiwSiOSMnQrx8rQ5TBjDi7BAMaIwbEYWXj/XBQL4AuivzIWzYSf3WauL0Ksxf0WsUAdw67ii2kAfr9fTA//tO35Rc/Cg0tc0VmQFDozjS1J1/3jGpasjzwjMHxId7hvQPZ7blCS3fwkdTbsCdFsjYLKq6pHIdMusUrMp+dkqJKiZ2wNkXmKxl8nnuY39Bt14Hmq8JMzjYpIpvTnzbbRiJ+5jzJM72g2aa8mLzjLEvjeYST6Sq7LYAYtllq+B6PBYcDg4PKFCpKxSbr/0p4ihv3N/m5+m9TBYPn1Cr+K8JyLE4h347eh3Zf3b6rToDHgsgVHZTXfgTy+8p2HbEpW7dSyK2MyE0dzxAuhqO4v72onT07PUE66kK6w+X2fSXObsQTiryRFz5dz2ViGQHI/Afl3UteSZ2QmxRWvLKFwyeJFzVbueT5DUBdjEuqQMLOcHM+fRFFR6lZ1DeR3v1sDkaa8p9oqOYUXVAg+5vR8vqPVgGiRwYcXzkrso16fSWjjTkqfeffXMZ45j0pVOGE2xAuCiT0IwLo5fFZSLd/eMw5v9kO+gvv/DbGXssmSI3vnxssqnoLYgraySEdrHYE70ugSa3Ahfu7RWpEMGHD0p7qzz6AKaKTKRNRy0Oj4MBuS9p5lYQxRTqWBOPIcZ9rtJY45vemad5YhBL1f0aZNNXpGLWLiyulUbysmOVDxkxmzOm3sjS0+RzYnVhp5+iXQ2TUuTQnIX26kbJSdosm6dq4TK+Fs/i+XunbjDOfspIWGKSMvU9JVqsvrWFOsXRV2WS76+WS0L0q3nxcQEq5htn0zq0Sb5M+O4OOzeLRxFzDALfxloLxT4+TMJuQlEgbI8zwn5qcW//afiOPBMIiohdM0WXQ9g22f/obbH377GHTmMoOARcy3F/9ec5oQ+rxKhfkC9YT1Tv2iYKpKmlHIIql7mic/pmcLZQ2g0/LSjmKEyqa7MrmU7VLEnqiMhvYnCXkelIhiBTaMXi7IINrsrYzX4DnmhIbGOv+cVM6HT4FzMoGlvpQ0fF9URBoN/UX8QNFbEl1FhhKg60zJ38zFsviSOz0ylAYiUP73TK8abRf4kzb5tHom9EzEjXXh3yaMICgE0uQunN0x/nkp9wU3ZMRpW+W/AIHLDT0zx0Eaau73MDM2IXxAsdKRLMZbplDGG8Y7oiCwhbnJQ/AdpIcyECWhblx4p4L0qdQXHN3YaTJLO1O5TYcer4mD6939Srlx9hVblCxb8PR9PN4UEZehOXNWWDVGKgImzUAlkCLR19D+dBFF69VRlDhNbe/saPZI51oDmJ56+66yOJoElxkuh+1k92atS0cjxxzsmaQVHo3rPmeegjt6vX57nT99w350wVWPPzQRe8hBfm7joztuELy0WLSFw7bVzY5SsClE8Mckm2ib8hLbhQdkUcEKy2vXKqiMEekDvKWmfPJsJXW8UctrtnFK7XxkrR8Yi2M5LGdVVlJtF37geR4qPhVVlJqrlDa9mGB5Xv9z/KDuNnfW8+LFnHLPyEaSulsyOVCl40VcTxuF37aoKmlm2n7cG1ZvQmxIvPeqKiGUEMNdz+C+cntrI1wdBpDWRcRSjctUVKKHWwAeBXfsZ/LFoD5qkfIPaqa25ukf61k5PUFXzn/MkNGczjDBFACq17DkM+EoNOCx9mbJAykYiyVRtgq2cMQV7gVqHAQHV6Vm8BIL2G6EMtQ+0VtcxjqY2N3odtr+slxSO0bwCKP3V7xBd0elXy74Z0SH2AxvNkgSiwgXaLBCtOIGntyqQOddyvUciy8waf2iQYIVEJVp5GMGVgyRnJQVUGOaALTQ6om8kg4oNsga6UqK/NbIMxv116K7mLm7GpuWxfjkjNpjC9Was8fdbE17+t00zu9ZfvZucjY4jqyyHJMBF6vDtZ03ddBUUrtGQmLwFSEltWnp5AcfTjaiuyoFYWj2xvJO6T2Zkz4yqdvVjmADG50LdSQ64rQA2qfe71zFfDcxNQYEdQLjbe0gx4sGEZmYXd/0NnfQDkJLf5NBvhZPfg/0hhS3OUqtRx86M4ysUCVmg6ZRYfU6z9BJwCi/M93JcPswlCe11xlEbEgd3+CjNgRPsmZd1m46TpT4DAsmJ0RRQ/0y2few4tneaQv9tMDM7rvp5yy3fvGI6am9Xnz6cJwFK4iH9K74JNQeVeVGGkkyDgXZPTGbWjJFSH5NQEn6IZHqtHonxNc+DOtUt0NR7OZCecfpI7wv98o/fYWDpnB6jnfszXxfS7xItv7hAriVf1alnKGWd6usL8bAWJrug9QD6+rISA1tnhC/zHrCfDhAi5LgHxK8HpewO5Xe8UOqX5QAMTVx0oE3OKs+cyF629QBeoH7qYL4iLbOzdg9Cnz1zigiRt8jr+aEq7d/SaHgvO6dqO65PQf3W8c7N6Dy2sW86oagSflyrsgHG2C7/0IayJnsYc3E9RPS41g/5PDVnh4vt3l1R4AfdokDnILEb9gx5Ajg7jDrcjwjPpGi+IvyB8YXB/UNvIfYtENbeXMUsaisK564O52yByFw/YgINWM5TD2TkSXHqEuBUKTWJF2j8/gejSDM1ZLY0n6NNfhi+x15ULUWPdJSoY81lWoBiBuOLA2917OyXpaH9iLFgqbAaQyFLU+RN/zJY8Csn7bEWcaqNBfOpsDvsIqhX+J5lkvWUv1retlNM6fTBcrPaG10CgHLbTl+/K4ytWu4bNi4iXJkxgRJHJz1jdmCYRAcvxgkCf5fYCiQLl/P1Vy0oSBF+VIp1wppl/Ri4iMu9gZS4fanpZnA49zts7U3XC5V/rpCRKEue7scRnAdAidg33YuPwyK6ACCMKLPOYyVWyXnjlx5cYacoVetjDf5gFL8EdTxGhg6asZe8xetk+ZnALV1qSjzPmgKEx6j7w6NxqfyfLiSN+RHryKhaStn54AHWF/FKCuAIaQSwEvK1pyjom45yQUzVK6pF7Q2Xn6/ZLDaHFMp0qYxW3nDpfKUW7KXX8gt1fWtftAibewiQ6zGgMXM2uYc7dJcnO8zhwP1cllaIXkdwYOaymwkFJRB1DHUBgLdTWc8ENS/pK06e8DZlCpWA5ZEspWF5c6+mCTRStc2SYgF2MPWd2BwMRzxzqrl5rZguWg7BZnYhFw9bRReBCZ0x0r9xwT3xMhrDyaTVuBMwATLJTTN8F7kKLAK2HB5XwKH0e7Mp9QiF5CXyo1W2OuxkfPlG+zXMEq7MGArXDjJo7MxPiLzUOdg4nOaUHXvAUnzSsFX6ZsQyQpc63HbfUgn/Cg/jV1tI4uFF4/Vz2SivgW5qHbQEHRv12rjhq7/BH5gx6zRnzk5setzS8sucMneQrDdOGQi/Hiqa9eH/RPHG0to4yxySmT8hMWqIHxc2aGsypmhEcobQnI/QOF4SxTn0PlEycYIewJ4qDUGQby0PzSjkRLCQzrytjBhzie56lUnmtVX0H/FA1iyofp0RJ8n5zk5LxbdQDLRMmd/CAeaUyggNO/aR3SRSdH+LFfWITG0xmBkRyrnA8p25gNTqYA9Wm8/COODILaZRDEtxrgxdKXaeqBQpP0SExKYXkyIEYnCFQvFRoWolTkBALrFso+H7mUMSAd4wR3za768iEu0Q1xm5+dtZKR5/kPDrEhFcudiA9cC4hUrDHWmjYyEebElEsrLW962s7PFb4WFH1sWpac0cMQlbI9FZ3XTPTwegAX/8qPUullF4vWlt41SUs+ZhnJ1yDmNfmjRU2ntbEs7vbChy/U7h4oodYq74u25YkD22EfrJSJYdLUz4Cu73ru8/m7I06z54FVUd8I51kggJxaS4zQxvYvdO3v0h2/A+ddd49nk6HNCDJ1Ns7GaJS1viW/hBNZHZacR1SwLYRd/YKpCgTLE5ELGEf9/Y6GxROT4TzDgFxxtSjgbMXLU14wnGaN9n3+rGzjNovTGYm4un5I1Fk5jYsSA7JDMrX4kblV8CkumRT+dFRpxuVK+64Pt0aHXrtqLgL2o+Ob+qwxRSlGU/xLPFaph85p+GN4cMOaaKzI4wA1ktIqFm0M2NjShJO5Y1AsHa03lyZiFm2N0+LNfIr6i5gfuaaRwa9P47uRHSDkQ547ABOTvFqqPVCKBk68aCM9YlXRpKn0xsxd2D+lakEulenUqtJeJHRDCCEkF5ulge4f4MfUwu3HuOPEu6rp7IhJF4iYTMG6o1inbbj0R7chn3dT08oUYI7mcwUtHNcCHRwjTYLuazbWhl5T+VUYdM7JB7rc4vrgRGe0jJ2CDwYMtNTd0Kl9iyA9lef7+n12ILQhYn8hrYwxfffNVzE33leu35Gvctw9abcy8XEcv1qsKP7poZEtR42YuxbdhVCcIuoR+eA4ZboVpE2sDqVgtfR/4rEKkAyiIq7YkDZHJqgApkgFSSV76K4D5XOIti75U+y3/K3oCoeSqR0h93+HNRCMbLr1m/pWtum4iG6NQXWEmWmOr+dQBLOCHJHLhUYKu0tXbQql4vbn+0KUxW2hzXHiZzyQ7HZfcwXhe9EFMGKHpegDTLUsyYAE7RKzmKCvz45p/gVaLEI8nvu//co6iL7i8WS9pWkSqHhUA6AJ904YHtUw7Hp5xlMt0fTGVOT0Tdv8288k0eCMbrqR71XXnaeEi9NqTuGpcp5tlC6kwIRu6VjSEsDqpr5k5+9m9G/jmCEga7j1bLb48VTTF0P2JfMHNM1S3g79AZOp9SRGLYaYJKIoPpgUtGkX41SLVwboNpx4jlu/zDBXX/nvTmjXk8Pb6MJVEaYRV6wUOArzNZHSHLGlVyEDuk35/Y85hDQqOU16v3s2oRJaGjpGCxQeI1jyn8tvPOEnSRPCSKO7xtyfFacuiDZCnNeU6/2FDXMGVwHcxp5MN1jA4m4oHsFgxA3qfkb8UX7kkK4BfQPujKdvpjnxL3RvaLp/RdQktKBlGzuRSgUmBFexcY0Pa7Tbpy7nDcSuM5CHoZzxQFQCH/jJ56oUaTNo2ElKfFpcwEa0/Vk8S0iiJnp6saYoPJQJekhi47j/EEycCG+2pCLCCsf8TcEXdgIg2uy6CD4hU/PrDzz0jo5RQNqk8W07NovAx2N9AKKDnTE5DUzwNTIRPkFJ3GvOIAa47pxwHum3hPAAXvVHnMQjfCfuEwVVTkzuB9PtHiH6XysQr5iQSaH6cn31bvC8VVD4B62FbHJwbSpJLdW+te0t1GR42muQeQ/HLj3/5H32Gpzs8PRnjpoU7K5WSwlL2r4Btke/Gn1fs8VH0j6ZP1Ik+dbZ9assJWCxiYkO0GVyQZ4Ixo73uylCOR9diaFYprSkb7tLvD453Pk4zzwNCmUj8Xb+TYbqiJi5JRNBfv2ozYsqLRo5Y2SqdT/UHWuw73O69K4p1adjbve7vh3wMbny3Nq4fMzpCeRFO7YNQPWgnhUVhFlCNy7AlfGrZHfBuvj5AStz9UUbGq/tO1qzeVP7XPUGf2pAiI7aWJRcGNZCIJIIegDAk6pQJqWyDys9m0bi3BPmuNiJy6pY4FhOEnE5FOmc1h6fI/EWxIpu34Kaoeki/2SYqLDC+BcFsdvB6ZU8/Bp96pVcdfU9wnnDJSsEUY5X/edQELhIG9RSLzczl5ePQZgbwfvpg/58yau8WSbZwJjAkfagvw1FouWCyZXuFFFmJDE1mQb3SRiLlIKsxtVQqd2612f22LMvvGgK/7ZwnHFC5OHXxjB0WB3v0cisOZQcuizyoMNJ8bPH3zMwFWMa7+SuJjOjJhf41k+nH6t7shYYK9obUh6YbJTZvv+SoTPp7XQfbC+n1Mfd+MnAHq4BpyWF7z1qFSdAfgC4shEfB43+u58rtuw+DJ6+fTJC7fxeTmW7XngOenEvjzILyUAKdXPfFkut7qHsH8fsSs24ntvRV+ndQS29wsGjbMFatgRcaEeA9Au3IS/O+Py76ktGR1mbRCrwJA6IbwLzOdhBUG2ZbTMoWlRbID4bmfSB2Chfx5H9uMwCSfQ6LZ8uflb1ffVtWpzs9LKQycOqtplSkNQnpETxqtnVmTiNqOgcTaZevCy2wcReBVeD0eKxZhlBSnTOmtL5aG9Z3OzCCWP4on4mS5Z4lNWxgmxcV+i5wd2vDFu0C95eI2adStwr1wheIMjkIBzZeQN1XzVf7nO6ITJ3zc+kL6iRrurcDViE2b9aU1QXn2ZCPBcPq3cvLP8zDYRr86oYDQ6px18nYu7bEzAu/SbAquxiJiupUlEjtpaYz4qev3bb4Y+Us7Hosyy0gJpG8tNem96h3MiCg0ZDfxrAz9RMYlDmZobxWo1GhEc0Y5Llp4nNipbgucprQErh6JniaJKUYMI8L72w3Yr0BtGhMfaFPMydHYfRG5nW0KHxn5OB52uI9KD5HrvIk46eShMi9vYaCK80jwPBYgC+85+CWRnIGEQz4AsrqpuynC1ljFF4xnQ7pRfHq32/dL3irGHHh7V0fDBqj6YB9vH1fBsYA7inUmFeTu+nBda+TP/TpHuhVzXjCcaRpe4QGfQQo5K26ZunWVttBHnTu/vUxmAWkP7JcybudX+C/IWcr+OmBiDNLZdaVm1b3TKrq0DFooMZigyk1CUJVePd8XIkfjJOb8DOpFU+indqA0M2bJwIjxPB8EiFGpFLBN6iECcyekL7lQN1lEyPQkLn26l0iURPCT+1EJ7g5Nbn/tlegbf4+J1MQZkQBbZDSGI/4m2Dk53dnyvlVP4eVhOnMCq1h+EbScrUiLIy32PZ3m9ryH0O8GxfcVNFTJQj5nRiFPWvkF+7W2RULvTLdYWiSds/AlGAt0DjECfwDkMFh9cR8cllUj8LIE6VdrHqKAvxoNQhVm2y5fhL71bo9dtPc6tb1KpOUvVL9ADIRzSsqjk4uGRQGhWQ8xjjLK/IJP0+lAcu9nqxw0KxjLE9/jr8xslHfRW4D6nhX2NJz/c5eETvthq35Bhdov61pQYvSDcDDOemO20+CvfJYb4f8Ta4LNJivlHuOHZqEY+/T/N3d/LUm3d/XrhgHlze9tt96TgD0tyUry9XppVFPyvLYVUvt0d9eUIpeiYQVGgsAFuwS4JSCI6tpATYB5A0oAFSWlH6NfYm57QKADCWVPteFckJyG6GWFVHZ8DHfAOZSzusVmLaFE9h3VKJKdF1SxcwZiHpdbvl17Obt3hmw019NLOcetTe+cb/j+fxyNChpTCkzl82i0eZ7o5d3QBn7hbWndNEZph+1QTE3URQx9oAmEZnY4wU4Xos1CxtNfrcxjYn8hCKbrRwxIOy513HD6jISaRbzCL/IP/s+oWJKF4lei+gQj2UBGF9DFxY9LDaPNHJNurBz8+7ov1gKL6vo8FORisoFkWI5oCqBWtjRCej9kDfZrpuTxdOTbOJHBUJODuWed+ehNSfUWhYCXzTlQJ9Yk4fX2cCvgXQc6KySQ1Jv/Q9UsOL5MWyBMmsCDuGJS5MnlvaU77d/7k3vW2DzRXgfABsXV2C8L/Hh0sinONRT8mcqgq69lYbwakLfsP7psA1PLu27PgYgnqI0KzvBHrfMzPSZORMYXXRuGr7HZtnxUnnV4wOxezfnOvb64hhmRCUb8kJ3Q9jZZviLTa7e4Hsdop1JKPYgX8u2x6ij0RAYOfil/74HFmQ9IK7LeVBX/eUZaYOSQNl1xHD76RoK26NJSAOI+6osxyyetBhRAk+DDUKBzYo8bw0HyBV6Uaz9nz2zJrQywV/UHveXocPJ+Ee86V1vEtMt1dWElZUi7NMP0pSaC4wl0TObVksJawTSnH8iSjSfUa7wOFKYm9F2msOIwdEYpmkGO1LeyZTTwoqjH295ZdmuZR07r8SfbEbQ1/kSPnZgAgiEQ2YK9gRsoxE9yOSpHcUvooz6ELIYKEg17FLUjJbv9deNzoaoL5He9IiJfdLbY+SFPQ3lcl1gj0q30nk+3jhXNp7oXQfRI4C4iDn3U3a6wns5VTrx2EmPNfy1F4Nk6P0GaUNf7/m0VwaGbeyC5tRjxulfiB4UhI0odKT0ItQE0XPfd42VG+MBy6dMN2l6sfhV3UsLFQ59LIjxRjNRs4AVpvbjbAblivOLOwCzsWD2HYkJ5/y/bLvk4FNxQJ53QEUFef3+8qL/nG03hAQskgjyKWebY/ykcz1dLJUE5pLFM+7NFEQhZusVkKp5tsZ8DbHSx7rPBXguEefg+3npk9FPnrN0tLktTDv5ClE/6Pt/Qhm4eMjUfNz+NdsqJhHTylfvP/oq177LTkSC3hLLzc+uvC5Gkp1OnMGjY9jM/R8J9u1qr9921NJ+y3ldGHWdCw4etB1z/Fw0hzo33EhGgyXR/+WL58zcnwIBjMu6h1UZo1Qy1/YNmAaXX0TS8oq8M+oIXStrspfYWUV0uYsx0uvdM/WEFiaxPFVPRcQDXT2zR0qW0AQEJKJ1DmeEAIW7DsSWnGGKg6zjCpXV9Hfo9MbaGVx7YP71+CyZTEWFOSYv6BBebpi9HJEf0nGHpCezXwD3C9m5KygtSf1lDvLGa4l5nLSEKOCkP7/el0o7OrZ+S4YEl+pN9uUhP2f5BdZBkrhO4PKBY7lKRiIh0vxPFDCtTPsNTTU+/Hex/g9fMTw5Z4N901CcCBTm22FYjm8wOiZvOg6VzG4xCRxkFQ6oX/qLCJqsPgsWlPM9FP00+Yhaz7qvLfj6joda99ubR1vzeWt04NNNStl4wCyd/wV9lbnmEaXAl/7k9ZDE2SnhlDROHByxJz6OqnJCALaURPgxYavXCrWtgiqSwgJn0duBwJ0Rix0xF/T0mgPubUDs1jfOhP+wl+etRRXcCwYoyPufTxB5JZ99XEb+O90KDMa8W815MB4fHadOeerHOwrBc4MnrZIBoei805SDHLhiGfpJxazlXZlcydJfyLiZm8zHPCP+s0y4UgH40neCVywHB7vYyW+XYAYJ54rx3cmFtKjUu2cW6Qf8aDsPN83XO7/B+2r3EtIFcmFrUunEW5O+VWjYr2AZ+xb3eamQJWbSMXiIEILR9Qx9pZxCdy2a2xCpSC3OYxJjOrCS+cAVG5vMut81wHj3ZhaD8zvU0gCmmIGtH3z/I/TcZSOB24NCeiLoYijKW9sv/PHp+S1rOn6Y4GNzeWcvdbZIDMqwTWB5TNfv/AEsV5zIvI0l6c+cg0+DDEB1KP5+jDdxZ97sQDerWkWwdn5ItBlyc4pmD/OjByO8Zw5nt9rhfJ0dSkBhPJRyB2iIXoqIsT0DXQ9YKSWmij3bQ65noDmxv0hFpFEr+qLqmQKwWYXEZttQ0YY1VRFU+bHOWJPi3FsDnhWkZaNHTUdaVi/ayEVYqFAPcfg0k+bXKVmSwSD+3Zw3YRHrw2p3gb3QUT26aZMp3y8gYmVafZsVah12wsSrMyndrB9FHwSWJ/8btxgp5dGMiBMJK5s7/vysBfMzYg9bJewPqowqI/kIG2nwGuxBLD5yGWp03Qs1iupId/gbbu70Gj4VDc8/lzEw8prAMXKsGnKi9beAcfM9Wh17IfSwwwPwHTJc05QZEJ6rUQkO5ZgyKTJyItaaO5LKip5PodRDSR38XpBeOn8lfSz7epV3chHe1uSPU+aHs0tuiPMJuT0DV0qjfRB638rj4uQGPeMx9U8CTGV7eEZrbgDy2Kx8q0k8hk+81mEoNeLGY4zPbsOpjNYRPEDO5DD7me6wU61kZr2o144vYwjhXCg+vZZYk45gRvwhDX9+UtAs2GCLvAtajZnw0lkxO63tcWzmcCkmJWsqd/Jx2INCuromM7shjB3AS3/vZ5SHl89GTbuz1iYagZmmxSPIhl9FXv2471Sf1rtMBPCZx+wsDYVlTiA798VitXVtx7g7t4wPITfapad4FiVZhde45kfcVomAVXLQ1yHA51+vNpXRCNOnHd+JG8o8h8BiXte6vRtYuqx6rEJFcUM7ZsW9q6REhEcutNnP0nX2bWNuBg1mceAFvrhapUaZOfv75P11jtbCOmswqbQBqiaNyjMC8EeAjbI3x/n2nnt7RGCV3giBMECgAwVPOCz+vHTyusuNtZ8vmyWM6/wXmR/NrfgbafXf2/g+2+UaYGEnJHwdSoQIfV1/GY6EboIBLRX9nwfvi5bicsKEGfNb5gNCygjAR7mTN4puQqp+BMcqFPiNXnmKtUu0AiLAOpKWF4XCsQnv4qCBvx1R4Qfq26vGFT+vp1F7bqqp+5evNZVRo5ynz8hgBOJpMGnw4F0tlAjJv2r3PRg/mQjQ26u1zgKj42/HaYbIugH44n2p/xfaqlQ1E+9fWAYN45iDMyl6Qh1fzOUs0dm7qKDeo4N/yawJOQXu2k+pKqISnoG5H7+G2YIBj4EW4+9GolOZm+o2evxex7sgINWqaoS6159ZP2lLLP/jK22zxpn8YjQrn+g3xM0YPbao+CB/md6QRZaYQ9TtjnqSGqTGGcF/gtzqL2m6kbze1Ncw6xcO57LLNY3Xe8MMcSJgvaFhhZQ0GC8ZsHfaUI8LsTSXcoOPso05S8qkwl+HK0Wl5EOgtb43Wct6fqHLUjowteHp0RsWYN678pasdFsgAvI9eHTSlXEEF8yVuEhjmWATajV7+rDcEkImuGOsXnFrcdkQspwZqNx0C2Mz3nHzpuuFfJRZbAPfchntGjKpIG1BclKlLEMkdkBjgzwclDiHwGiWm/lO3uIPrtDNiEm5qD6/LG/3sjuIbcTjTOyuigH9lh43nzH5t49oqrzSgbDC6GBsX7VUGTk/2y6jokymhZn3rBRdgiOBxC8MuivQz+/IZFiSNNKGoPjIMBcw4fRd8zAGkjw+OSaVj9Ho1NpUss3cayKGqYfdYmzZFRVrbhp7n842J2bgFOwEh7Xh6Ocnv13uGHl/r9p8U6fIWQ+3zzzaYMmkZjyFXoLv3jc1FcQNNqbFzFZl6d6EBuROW6AOOFOTMbjZLO34Hzqag08kieiPWHwjMkbMDVK6wcRjs3fqEnmkbcQhwyzkC09Yl2FFKAQYap/VfoXZVpzdYRPwqILPUqhf0Fw0qRTAE3hPgoO6DC1GAmHSvCKiYhOSDBJrwK1trPPqoxOJCnDomr8jucQgRdEtcO5n7/d5pHQJZXxLJ5EfDCoAijT7eORj5vJHf0U0okDGvY3dS202EQCOPVcRkmPiPI/OQLQTIQa9ssgcozx1eGN/nzAbMVaDvzLMXnr3R5JcR5NyHaAr4HgR+vugslfoBNyaxyU+QpXPRNGW+Q9ZNR+UPc+hg7yQLAE1qzH0eCnedf1/BhhFyOiHmQ+UEO0t+F29AYHsTBB0qK0GKCDCY1wD8UtFouApbr4KNz1wJDMstnkfQjlY1f2xRGXT6eFPjoA56NjkmKbbKKWYttL9dspNYIDqNV6ijrwVOFL2EM+pe+Bsd7/eLZZCcoFFGMp2aC6BwmCd7WLi4ebxkL2ARcsqw3pfLp87FEbZN30zzIHf85MfeeyMMNlq0eOUxjjCHEVlGVxtAO4TQTun9odwyQD1ojyYzbxspfROFKEmZfmjK4qB/tL8sEaMqgRPvWUYL+3QvY3kzxpWgniRg88GOCH92cs3XLlL312+GiK7MkHPzobEsfEoDlszS9lNEjRe+w8vIC8PiMaEq8fXd90ZQ2C2txpX/YkJNHTZ5847FxBtNmlzwcGRc5LquUUKoFL8OnZdRl7Fz8xKfdFEfH2u30K0HxFYFF8l9ACZl/UGigt3SK+SbOQU8Am8q4B5p+3365fCMPLjVJcDqzsmHwuGNDtNlFRglk7cPDLDS98/4WlLLLdmTsnv8phSY18yAkPrFlTFFqn8LnPJqKdo9Yhb5zMZ1vCPC3Bo4XV6Wiby11hG56HgMNIUHbTjVeOtQYyVu2bYarKQbLVCglfHfN3rkgAFt2U+JIrmF8G67dJsTngQg8EA7hgbmYWvTblpmYdiFiMf1HIJ07uBeNbETBlvcj+ojoCkKguJG2yHsobKFL5qmvhz91i2e6tCMCTsPhn9GxSJLywwXGETsnamN6DL9pdPMCIoqABVKccH1k+KaUtNykA5Yff4P9T0GJXXTbjHpsY7gf5NFKSB8ayPiEBh5C+v5Cd+gEXqb2XQOVIbnhG6L1hsJLu/Fc2sQWu4vMFJZurShlJfR2RfxgcLDpdaJ/kxKlhRV3SYYyc9hwjfvMbth4ma0TwasMhQEUjXwbbXiv5QYwSyvKUnPfhXEudRr/vnMKDgt6T3iEgTEgn/kYK9XrDN1beWRw/d1rgIYvBXdTQamevXdp75i5CQTJcJs8bqAB9FJsdCfVrEFJ3f5u+xJ93i6PlfHf45e8QO3wQHdQRe/IVNfR5YtOmmv7RynxOVoylN0lyeTsD4eF9cU4YsDBMbC5bBCNhvajBruaIf8LmyuYutNVKx6zMIt8MuRCzgcLUjH5kb9B7GzR1o0OlPDn4Og2wUHXhYp6nla/MABLYllKj3X022Gt58Q/xFbPs552vEInHaxL9sP+frjV4FTFqLaAkB+zcbG4OkrQjutGm298miW5Guh/bvzc7iQFwzlEtYAUsc5yLU6oKcAsol3V9qDDEpuRn13j6dRVtBFqwx7yQ8PIiVOXplAHJjWXvDvpbC/mqAUQOL4lDiHppr3anAB8Gj1E0UIxrtPdCkZbYP9Q9HeFFFPWgVqSNuQJmugV/Ax0shc8avWONv4vycgVr9CPCKwLbxen6hXq9CTCVWCH/EXraB2D3hM9V9qoucCaZC5W1rw8WIfMiKC3DQlkVop3q8UT+D4HxmEk5n6dqz3ejAdqimCpWNs+vE6NYlMf3cbmQZyF0m0QHfucI63h93WUFcEeRA9U1B5/dtKq1kmuXE7HZdHJ2Ecy6YCWb28mgRanHAZNW7P9dlefSn/SjeySunu0fKg4XKuLoquDWg0Y7y105+7wzzWaoa2KWcVOJv6daGaIvdEfrp5tN0SHBvZQ3oLzDnHMNPam2UY8UoKtaNu0no6RoSUAj7QJ0fK+4SJ7mIEPRq7YYCLsDZljpQw+QMNUA1IIoPtEkoFeLbBr2ZaHtmUdcCMhLiDRFan3/lfvwim98anFgaLNhRajR5Y2I9XvVlhZJgJi8aeGdv3IGmzOg7K4yZzQt1jfs17Jfa/CgQDdo+LnLnlisjLYdgCA5/1hdfIwkbb0SOVg2ACYeWpSLq+oZtOifYLFZmXYeb+acTUq8RNYavS7dTiSmnU1rY4U8836go3HhvRElYeH/QLekuh+sVCPdapjNoKKdU0AqmhYdK+3w3OD36k+tqsFEBPfE3TYKjPnydmWJOBZFAfUCg/iJEsb3F2Vv14xGcn6vs1hlbtiynzwoLwfKz4369j6VG67BOeVbjtVfHf68eGmS9ysEZQ3e80C+vuyi15egkpydLX+jN/9Z32qipZ5/12YySwxTsv9hIA5b2x59h0J9ijeTioEV7gyfLvo11548WXMLXzNjF7wYGmbv5dWKROFjeoCOQmJscafzUFNvTIijcvPTQRBp9mZ0/cO+FhoiSlwMcsamTAHbxZ2tcmjBVxSTK0F1tFcGj5lYz8Fm+QSjX3tM9wI3Tt2G0Yph0gPYYUkLUH6d/9HO3dTBenWLyy5K1AQLOmPD/69W/mAuV3dldDIAoZltOo0yayFWMj6sLXA4PdA4H7GkW/3ZAh5nBc1xnBcsdcEm1/UMeOv0nYxI8MereTgeAWvYSRHAzlfug01yGi2qeBDwiq/XXEYUiMkL4kKVcKzdrP+2HtlB1xVUexI5ejKPUmEIzk5nkj6mZSTr/lysNcdl4tsczhZdZ8bA6Ags5nmIh93O6yQN/rDudgxljjsHrxH8VyELxS/03MyUFZcbVKNjsgO1FYYDkzoP+5FtWxE8W0wi2zw+qz4PJOCKFjf381XbtpGmPCfHEl++CMNQ1ulzOhACWV/e2mC4ehFdzpa4B15GIOE3SRrMcTSCR2kvPOcRa7xwDOpNdT69v89y8GxKn/ckbnFyXt8sDxLbE5r2yLSCcvRgvHXY7KxEBlyYgeJTc52CgAqn3w9xye/zWPsldJGOLSVnJCX/Xhsx8BzGWUwX59dDDVLWYZv65sVaVXXOsoPetlaAnS5b1gY66uf37QwlxbFsNcBGdqoPSFiHuldYYtC8im2AOHBsNVg4MjY3DNuiWC/vTERVm5wlhVi3lLV1NJzhrSpq2UW11mZCjWIH42aJ/JozItTd1ZNzNiWhmik52mQA2hTdnPhLocvXlOYQ6s0oE8OpOXZHkv9d4Wt4phQ+y/BRGFagUYWPmXiH1KmdcqJ4mSL9ORIH4ilI0O6bULNIPBpwuHVmqTAUVWeXcE/ocQBrDMAQlYYtnhxXy5zsO3E0ZTaMfmW9C/Ot3xg4sj3lZnMBa8q7oSv2HCeNHK4hqz8A53Bjs8IMCZlt0AlKL82UPDWi1sEanQWeAiIMSKXHmdoQOvee5vMSl7XKE/aNG0I2MM2dxCQsF8592M6GuqFoOasAz01A+NozPzbyhVs6jO3VQSNMUZCbmAKnHvv4ZMhgYiWVovha8rVRU49lMdbdSmkI1RJEwPK3qOWuZxd24qGCrWFSb43+nsoouc5K3dteDnz8rH2q/vCTr6T4yrmCKDEVLuD4Nhb8l+ANVJZn3ryknhBUwD1y8f++7SpoQwokThzXKeLUSX8v10P6wCk4ePne/IWS6z0/wNVe4W1nOOX8WgeQXX8tiU631oGmn8q/mh4rWM9bBTKi6Tqn6dIFTGz7e8ilAF8smfG7NwPdvSgLF1HFIBYcG5nB+G5GxUBi/oqy6Pe2LhZoDvKLgeY9VJOqOKKaxrlMSc5WTXz9F2AUff2P9/2UvUPnXEFGWplxqNuYS0uxeNIm9JO2U8aUzCEEugTIB32eEg4wpgzrRxF/u3AY60Icjn377e5TfzZvK9nnLatoNwWfymSFXKaK2042Llr9mCumni3cD/cbYo0rTDv08G7feD67gMBE0zVgn70CTbRBaodjRhEuWIPc8bkqYI+1BNFxXRORyq0giDUp0vi+C1yeONvEtNuaWueFgqub7+0eEfw0rha/6BVQ4GONgFUOnk9qtUkO0nVVJgEows0n5ercomCD94Cvy5sR84kEh9dFX8ulNlWWICaWR8D/39fvAvTjzwiWveF27gF/hKuNuAEQ1viuo+Z7l/UAMP+N2Bqo79y6yjkHB1Hb3P4ufgt6ZcfqE+BWfCZx3Qlht4hxxlKJ/orBKV7dfdMcgGL7FRXEFHZQGT9eJ8IgXT5gz1HcK3M2a08cFu77mS1plKhfGw+MHm1Vs6g8t01L18NEL8f4Y+FYjEC1wsjEvScXPyuC+QLPPQ/dgDjA+mEGri9DpaH49pBP1acW1sFSCFwU7SZuRj1Qfl7dMYDEcrLQQA68O2R8SAG/MeFt5a8fqN7Q4zPrO223+WJ0cUhBTY0mLF8Pl9214kr1krVxbIF17zmp9p1l2ibbkjzNc7sNod08jeAeEfzDd4V6Mlrf4VRDRJydRDhL07cdL3a37lj8OlC6g7XLXQLi8Fv73DSXUJEJ1aiF1s3SxSzkzTapABbI8HJ20AhHsn+cRC/BB24ZTZgtQnBxkYOghvjjf/rff30ImlJXO4KVAL02kJBiWjoQUSyGTzDU7zg4TBmnnymCsv/ph9pneyGhQi2JDpOEYAYYdMGXBZMCJi7j5xcTOETYtHTf0/rSHQuIiD9EWTo9Wk+zcynSWN/jnkMEJbRR2J9FWZL6N9REg44caU96DMeJQQrploAJFK6Fh4QQgYspjppyh05SPcw1FDrp5W7vTVsP130xGPv9lk6THrN6ZsSAsjOG15kFElMLCkS/Rm57FUHHMy05Pwveuw2Q8ejj6/36vfBkJ8PTS4Heyg8oBxkQnkGvOtgGGSMlNz3fFKfW9wK+nQrWl0tHMiDeALFlu3C+NDMXWUFOnmAuXqPTxWUuGO/qO5hGTFcKw6s7tVfqlrUs8OfcGs+2ErYwOlUS8cNTlu8X1jbL8P9zQXiCy/qK5xDDglGU32EdwtXUkR0hOv2aoSQf5Be+ChbWX7NkAQZv2XD4MrhhEgAi8PazkqDT8LmuVDd0WNcZIw0nxs1iDq8larQT+kNSJmQulszf5575WJWM/jOM8d/+vZgY51JvusfJbTEqA1+qCEPJgJHIgT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z2dD7pS103gZfJ6l4USC3jqtWOPR/ue0umjYEY9KlLthURXCUyUuZbmGDPUXB2idlVQc+R1c0j6vNnMaKvr/AghcgjyTjoGcS2U6lyGcWZbvoYqQsrFJ5DN1RdHsB5gZU4BjQJ6xKwDUEsW8X/QQ4uIPkrhyjIfLLN7ZR3puqzBiN1rMnctBA0J594at1EN5QJYMsPufr2eabAYzIDriNpy1GurybA3KWqcTPRKYh436jQqOHiPaCJtAtzpRgB7Igk7tw7BcBhai66Lc0jpyzFEK/4NRoFF+cso+ThI1HNgDMZbpFoCsJQtilLqk9nQPGX6RXGboCTf8hOOcHaKoTUKF81dro10jOa8Xb8mBGZBE+xk1l9MAy6INl4AKPS/xWUJD/GXtnIK3FutlPH3lUOK6QLBqEMiv/S40RjvaG9s0w9NAYJm9ouMja+DBDxEiECBvmQ/dTAlg3f7e7VezQT3GrGeDx8MvG0P95NT+Eaj3TnTFD2iwL19g6/Uidw1vnbshRRU2AHTCVLVWS2QzDUJJf9o18AutC4b5rgru28hTgfu9FfVJUYurVVFbmNcT55Vdpmez4DTnIz+bmKSypYAWUZahCUoaM0tyOb5PmYFr4WFEBeWNCb29UdFo3N8ZcFriyxLCFGOed1MdqqWwtpbzAItYu4DJfCbTx9L+D9y0yRBYIkKgNkQaU2pzLeRx/J1d3kmxRYKlFh4cjeJ//rbMs49Dp+1TLbkRin0zLqab9pMVqj7M64wZ+dDWe/7Uk3JItlYwe/JVDB8tnkMw3yH9J4EM20AC4HITWmbe8pfBOMDO/VcHUo4H6jUMGYQKHy84M60caYM9VCwB/THuuppe2vh2c2XnMEkxwjwKJHLXlYW6u7J7SIlo7VhxrsnctoiQMQMibDWPiv2Ojlb1CIiimZU8zi4xWs5KTMoTFdp9/9iyaMlJRxvBxPZHhc9asCgh0XCbgd33bhoodO0SCoxczkc6sCyiED0uRwWe8gazHmFnu+4Pzyiw1I1lB7zqBS9U8Gd7MotbxWSGAWdKL5wJ5aK6gMX86TfxrvVMtLYG/zWCvqubVv64ydr3HWLWoMpvS+g1KuG8Gpt4u/LRY9hqIrzA6IsF/JjvNKsWuwKzebXSWEZZcIQ8lxH3PBXMYl2kuWXMI/SU2quKtM7HL5zSL3+39nCHmcpLzxdkd5XcI/QFa5YpmY3pyH3KYQLDvIRfcn3vJmMmP987bar27hKMxthYMZjyclIzKFeV9g4aWCxObgOz1q6lhQOUTD0fLS560gxuvZqh5v6vAfGSaJ0ReAxZuA+mGjRjeTy34bY6Ub4/8esgMgFhp3ZUfxX9F8L96qTc7hG4UV0AhchLddOj1k6Xi7XTW8ZJL99+Tw4UdR0vcWJxtQ/0lvo8OH68aALoE22Y1SppnQubhc7ClozshjbpkorLwai3ZM2ZNuZTacHBGhyg8fUc+m/Mjd29oCmpOKwwJNoPM9fdmwBDz6mDSZnOH9QHHl762N+I9R1Dg6jKPhQMb99z+EXL9Kuh9iKcZw4CfwhdbdsM3i4CecwzfxZ6hGjpsBgv8ZeNUt9Cd15ieIdCxQUbtsT3Jf+RQLzXSZNTMqrJ55dd2SIoA58PdBO9K9FeFEqkulFjnjsj8iiBEKYvK68wzKvBeYGEFF7akThGRxABXwDG+KnDKX8Yw0Ocm91Er6YG2UrZ9dycUVDUn8KEvYnF7QXgD3Q9g1EmB/MNIYBAg2Bv4LaUE7iIbs4Js/WmM0CZL85NW1ezTRckhCxCHhVritlrmgtadCpdGEDOy8Vo6opGrRbRELl5hZ01d0SSvq2aLg1EiCIRXwJcbV/FK+B0ygmt8hec2Pbk5/SAHNWVdfiSvvTWWxOhKVLA5pgjBgF1vtDkruhlQ1/1sD8xVcS0nMC/iu9ZdyAfMRyuBaqXW/wTyBAJ3lFZA0yKR20him4/+OcqhIHt+eDDqsPkXv2By8cgzbDnpidJKvAmy4P3p2q00XDLvx1jmcy6I7hLfpgv1hqw6m6VAJkMAVzD5GgpdeaapbEhVD7twC/7b+dW20+0kYDIBGYmVQh7oDIwRCUOvuli+nV4JjYmAenTKv5fixH35FRj+MRjWZRqMQnYXSLOdFu6DMGUZeo0aNxUJ+zpYz4wG7b9B69W6B8a+ViKz8EXe0mBqOgluJc+3Zrt19UUV25Z5ved7TqzgQYHhyRMn1rgsZ05Z1ECWrlaCBZlwyiLN2hhmn9OsWbNos4uel3j83YHwO5qeopQo1kUKIF7t6tkuEy+SsCXnvQ0e0rJiGJdgGoBdTmYHi3a1tUziCSWy8bMz8swSFtFYD73zp1aQtHd2bO78P3i0q0zxjtO1Cda8yvvvEDXWt2lMJfTKCqJmWpqaUx8JLF2tAwOpj4xyfdDtUBG2ocaU78fadHnT65yZ8gRXBVQ7dkb+RHizzbUgpxNjEXFuRbqlkv5fbawdU++7bGqzF8YKLq1fAFcvHYQkw5HnLxgPDI3WmqjuPUdQKymESWgG8Q6Q4nyNK5TUuzmGL3JoEBxn4iKclDdbcsjMSyyi4znPp5stkoKZHefndU/mLLpcoowJjATtK/A6sXDqKXi4/pIcS4zjjL3jRwtJIu7bpGXX4UpVOtyrjnMvEittUHexFxC4Bma8I6Zq1d7FM/Pyg3XBf3xmyxpb2zhJVxPNpYeYJzAtVtMEN85xvabhbYogUXc4vPjaC933w3hiDxKTjHWnD5tsraaUHBXvEIh1jaFW0oc5JfufdDXKeS+Tz9EhmXr/oyV5cgrZSHYRthlSss/nMTt80CkdqvTEBGZk2wWY5mkhRgzRTf3H6mbtSUfihQSJJ/U3Dbwm5EALhbL1P+zUUJI6r9dAFd9abGma6ZQ9in4MWqDTrK9kNbWZBXhdgyBCBold+k14s403h1bv9xrwBAr6jLyOYecQu5QG6KswcE8syrGS65EFozurzegGZAZ+Fyc+MkujR37qiOT+jyEEjci2K1ud/S51SjvoPB8xhBLuUjHqyf9rYmV1Wndr5TiZP/YU4Ldbg4ehjJQ7eCDVINR5KwWa2/WSaaSne8Z8YCUV4NlbaGcb8eShgbcxBTV7kId+puBRxFpQEuK4zPyGlqnhp8/hj10qea3BOnqNd5/da1xu2quVH3sstaPRoS4wGYGX3kS8SNZ3mitvd/+KYXpKOXbVpuKn3MsB+iEr7yO9PrMnMwyDolzRtvCoLkJ4JDpdu7R+yt2h9KprFeBr5WTdsKrZ4V2X8mkkaLoIXTQTwoF3mWjVpcutaBJ3XLAB6V1XFM6mKvFr2zYmRr10XUwAdRzEWbkMWDSz5yeKl23Eyiwvke5ayWSD6DyRX0ePkq4FDwCNyXOokuX9GeBm6bAknzTtK3WWjGt5Zn2Twj1peZ9zgMI4v03l55bomCmxQu7sk4VdoUYskqyfSL60Sck1vjO+rU+ycrXa4cLEyfx8zII7cyoAPr6NU2kbO4Dqv4tTri6UNAV4a3o09+ZZaq0x2bLc3kqx/pe8Z1cr/X9aiXfkEwbrJHhTbNlsUFJ0EYCvi8fYrILckHMzE69kB5Gip0wToCz/CDy9LZoIXgs794PlNynsOEjJrchUUb5CVpYlGFxoG7iI+txqxeeuQ3L/+S/YFIlS9kDOASUWz+xc+0+gSBl+9VqUyNE+RdHBqRnKTBoit46dWhx16JZCmHadyLINXYX9RlYHnMf0ND8B/SBPgUOiYvkZY1kr3GrDrCWUWh96xqG45ISGFegQPf+tlK6UPvztA8w3Vf1/Il6Xs/o2BUqrgEfTtr2pED0c7Gt2WENVv4c3Qe7jOGRHZdevR8/NkDWntR82TOvTgfzbrCfTjuSpcRl43IkfLNIHeGCBUEtyS3LUk9HSWJguJ3u8RvsZbt1tBAk+vx4Pn7xbcdzWzm7vV+p3BH8MexsH6145L8FgupiT0t8E28EL97UQujplfYZAUnr5qgDFIXzi4TMuBvHZ7/lsVh/B3ecGpZFq+F5TorWaYDUXvZACElGr8JGhjaB9N+kwkpjD7VkKH45inQ8kCvag9Wes7rejrimXPE8UL9+F9L1j5VDM/zYbXpcVeDheo/b/ZsP9fb8NuNzSjmPebdRn3+5/E4T7rKn29CCyR03N270j+OlT1LtJ2d0zaAJ2N2RpZX1JLNFtq2Tdm5IJOe7PEFOcP4tMH9dYnYy8zRwWjjJTqjA9FRQ2srQ8kPUuJdWx7TY2Ze0mQhhCaK3/3t/yYjCgYq+bsfcQGXXYqi9EhEd1pT007xhCt7vOWKfdgngcmg3+AFLhwT/GVzfeCGg+7VrNzrzu+6EJm550s8KNFAtfVKEsmEpR7nu/kJoHc+XLQMJbDtFUG4eYZHAvrWxScfQWuD0I+/HwoVbuDhnslCIgMkws2XSA5F6lpDJnX6+RoU69hK6rMqpat3OlMBMf8eyyf43tVxTvWh4PFJUb2nTBTWN78fV+PAF6q9shiPVBr+Ax4UAl7gbTLFj8CcWqbu3OVT4XXr7aFXnqx5d+PKz97MQ/cRkK5QUyO/o7Si8KTidDx7A7H63dzM7gsZOaKs0f2BKXl5CQ7T5mNceBPC2aXVPuITIxnUG/7NmVza5uGmVPvIxN1ni5RF5Lb/2MH/p/d79UewV5VJPWUxlkZuJbZZCINkryq75j7LAkYX4RMeQ7bBUnwtbpYLs5+h+Xd+bkFILQ1WKKNZicJr3MJ3bjnK9f2e5P4uWah0mgtPr3QgZi0cqfa4twNC/88NTPCpRE9dO8vEo81SX72+GwhnfyKAm+C+t0aNZ2K43WzhXq4x9hVU1eDG92l07vzyGGye51nzlXnw6OaGbREny/0dNe893Vo6mwE9cs7s2Qq13se/cFmJwB6tfWQrMK+e5AUv6JRKfpbGttc9z2mo6KoN5VgNwaEGbtzE20eX0TwNOa3NhVOnBut+4wx0T+uSwep+tCeDm16tSTmer6DetrQJQk2mTJcutbROYD68+1MRxxXdk66UVqDl38jucYu+azLNIrE4ozT//syK/JIM/ouPPSPsF2ZY7RpKCCGxEENxGTjQdG5qeVTJaDv2S9KOaZNgqo83eJjsKf5Li+1iHQmeYmFCls9unuJlcg8E2Fiig3icGPucsLXN0uRVMCrKdWkOHptpOyFW9XPFjeTFatouaFtNPKYRGD45AEyAFPti5EqfT06DDaQnlb2Rs1CTGx/3WAW3uXfryDg03Km9pDI/ONdRES1AEGYhHyyVeEDs3DHb6sIBypcE7UcCYYZp85/hRGkPiT4y+HKxoxBnC7VhqUwD1cl5hSg4yjpptC/ytRgFwCAnhzqJC566RbyKT7yC+1p05oRHN9tALMwH8X4v2Q+8t0G+p0gzxLOesutu1ifHscG35eY0uowIHdGnhC3gpjLgR4r1/IFLQ9pt6XpX+SgmOtnuUrtkWn8lYuaImWvgcL5NLsPzqByY2UxvERQ5xgsIgVtWsZ71VWEGvPMeLkbQMRH5MRlQyK0WXneY8Db4LXI+sAbDUscXvfxSoeGIxno1HZEl+0a4IWp1L9j33u4B6tucy1G/4dAI/oOnb+pMyjUQyxpw8Q1Gwrim69MdkJj6oSwjpEdpjVK84oDhhXo56BSFkxFUG0GZpZzxfiVg7FYnHU2FqdN+NFIjk6jczM83V4n+LrUYgiTCpbGHEKQ9RbgfSGsoVLmsizFgDritIKt8mIj2WGpVo09S2h1PBkgFfITNCBMJWv6Bj1HsOIYSTvcgPu+7iLDBxYCKOdnp/12j81VvUV3OwzA+KSCo4ISkgFd+T2n9Pw/XTBe1o0dN5PImIZOXQ28y9UpQ3MsgOuaSBA76cCtqtnXujgT6KGQEZGl+AUg74Y3lgemdSaaZuYHQS45u86NrChbXgSSg9YbmurhxDfCfig7rlJ+h7ZBWYIhZJlkqPzyB3hpXWZqVeUcMgwaeuj+RmFyzBmYlV7JWhJ9SCBsmPYv9gQ30dXpPK5SmKmBZ4v8NeBrYGKUnCCUaHv0vCnrw0i4w0Lq6XvPFjEyigELWhH6UyEMqTCKGbVBmpo0FHPWbgDocaebobu9k3idS+XqSKCjAiW1xBtzHm9b2E3pBc/HSDO2OPXCUDYTRYvOaJ03YytPXGTF4mdSWw4YZJ+wr+KZoXfc2vkPdteG5wpOH3FBRXc+gD/L0cxLRT++h3xtjxHVwbrSszUp6NGJKvrqwiS9nPyfZ53jl9FahNx4q0WOCZZvok4oOKzJUwSHXx8KXWMeAIgg9q9yI24TV51CHaV/9p/fNY9ipjhKo5UJf8q2Vyvh6nYIN+5qaF/+ZsikTAGJTVZxBIQo84RK2pXFGApVja4IG7zvmG+eLb4i8WAq2gfFBGC4zRQY/Afx+lpv3BRaMwmPVV5b3PCKDcR2VmFpuW8fHfkJUZ6Ctv5XcPawj4Obrt242zNizHCq+IenpKWLIxsdVBvGU3gpqrtFZ9Nc1CcEkyb5oNMz1rcl077mLZHpQOjcIO7vLd4e+v2zVrPRKQBlyn/y0616vqHXVUvfXHc41IAX3JFMZjvN8Uph6kWQXgsfBt3kbiKQRQIO1//isnH7FeKKUkgMFPGsojHrA4oFvPcakvQ8yH+kXHtfS1/tYi8vGumqd1lSI8+4tvW571KYe3rw0QkXj5nb8qbuyy2AZHTM4H4C17fQT9cSXjDjLMcSI5Lg3Zpsq2NJrltjpd8qvWQ/bjTKHrnGC8rGrHIYcu+ktWKTVh6MhC9rgvKoLCJkenbkmWzW9QhTf9VrU9n7KMRS+lpiyrm4F6T/4USfh8HGo0CVTiW0BAEkQ4Jwt6JXngdlJjNMcW/3gd4BpeJ3a4ue3oaDafMcNHZBDF/3CYflMAdpaQmN6kwvK4jSEs8qT4R724dnWWnwEF1k+8zdAwoHpdW8+eLcsr9yR2OuKv3MysJq+1YVOcm/hi/CHkCh/LRPWhoLTzomaM2dRGMky1SqRT00LUR5kFSfDECHOE/f3BUzfCedHeP1obPYWsicggVv1cTzxkq5Z6KVLPAewJVAjF0E6rYb4xFpQ3iJ38OYyrT4CmAi/XK6mnH6t2olnGZQeTTyQrdiOW+mqzWFPq+/FSiAY8vcIlq0S3BSR3wOz2NfrKHejRSfrOpmDgbFjSuDWD1QTeICu+XztY7NmJKT7bF/5wEhGX1BDNx33+6D5ClxSV519jWQqPMU6ec4zeMDtXjVn62rPF8OD1UJbVGZkU6ZEfCSHfEh+z0ZgYAljthz5r/CkLtklqAxN9uBKE5BYS0L+Cd7XP/kToPw3sEBnyRSGEJ25DM84C5RYrdEtIdwceqCpHOXoXJtEt18EW0BFLyopd/NIxn2iOAK5mmwaB7ea5OIH1+AZs5VVw3GAjJVexK9sVV/v572LmxZpf/b/8kqB2DEEW1N4UzZAG/DIaeo9XockCYrzEXluFsYE+jJ8dB7QZKhmH9DIoK7EADHYfwiCDeVuhgEgr7+hlWop0ywz0K4CIvTxvStALIN436oWH5CmJ/j5AU2wEKh6JFYJbClePuZFCnzZailHgqhI/1cItYXBsSimuJpOp0kRo8LKvh+ETyHu83jSEcf/BUVytbxXOqmRvRWh3S3Sj+1lK3pz/hx2W8j87JGvl8FULSxSvtEHv5SNDxzd8F+FerNQ2bbvlGoLVReMP3su1c5ANMQUJw3x+9ywSWyk2HbBUEhC8i6xx1o87EUOTBcChBcR2a8P9LxAwRBMiOrwhB3CIV9hP/uRPvdV1hxNw7c+t/mOmEkCRfbsjZMv8ImQC77yZS7+14uOPZt/lYZ/galWZK45QLOAgSk2ykAAGVc0bnz9/ESKqtRnvldLxkE93rf3HOrvaeSPmhCEPKU2SHeAg3QIom+0R1WA2R8YHRw1RPD//UdXoacI0recDjaZu3TOl/V2jMa7IGuWzen9cUkI3D4NJhBNeEr1IIpkRhi9tcSkC/cHoVRPyhUM373L9bSaIvvZDeM0Fm+lKX1PvpfCVX3E/kWEL0SPv6bhOxKOCFuRXRrqYD8S4c27nEO7xiOUXSkDEXZrJ3Lk2OQ62kFmypTpQi4EnoMORDVt4BbGc1S8PIyFYvhIeOAgSn74gNR4iK1clkWvVbR61t2LZBySfN/FQyecDSormeryQhhFdaDO8PhloPM25PHIkJ+WiKufbiKi+tpCgGFtY7Iss+utmL6Roznbs8wsWuFVYG1jdAinZfmq+LLTUIkhAC/MRvY5NY7EmgdM0ahfBEfY3dznC+cTSTp5ZSXM7IO4HmCHNp7kA7ABFT74gvKH+4xoVRLdJ89DCYfaSfZIOcko+HkSlr4KCWeqplGL2xrQRdP5MoXq/Y+jrI4l1vmIb6AFAaUMormNKTqunvW3I0BetmrWJxcrNJ+lOwxRdKw9bdlCmlySBpSM3vvxPFBTkvM6/4nT0HoMI57GN9LcdAPzVNm0Z4p4eZD+1Wu30UHcgAVpNdRT8y/47OCE8H2lbIXRxY4/4e8Gk0N9n/vk4icp5V8LQBaSh7WlWsx6+SAT4kNaVAGF2qRHcBp2g4ES5gK0t1+NRNbHi2E+nnAjkAeU3/ZRaMEQl/VEz5KPJAlQ8J8/aR+2+9c/rliIw7YvVcHm7/h1s9bnBhKg2BL46ACHcgT9rMekwYYLWPV7VE/M11RN+5du538C/cOtC4qU7iZijmmwX9XzY7h+H4d/bSBzXSRoekuYtzYRhoI6v+BctAcjUAY0AFTSwiu+2lSuH44s1heAbHftMET159tYAc5hxxgw0TvX97py/TblzlNRPuVCgbFWVEK6wVJH3C9Z55hQm+/DbsYQeYpV40r/m1qT/74cusnNcWct1CpxYS4YrfS6FbtNU9bRu0RkzNZglk0FLYBq+9TNzN+8wVgueRIgTBn/7FMG5T+ln9f0OClNwyhnzU4Or2ayotpYdUC6sbwqDk5p8izkQ5UVGtJH6dsGnI1/4jQtu43Go7AOtTdT8Hz5UjHZ/+/vy1+Yct380WqtSADkwGBRUWjaseh1kbB0bJvXV2uy7/X2y6spA74/pofMm4YUIErtpDUX0rYS4M4ZYER/2yk67QHX8ynQPisk7r8Pb07kiHkbmYbru7O0JGVckckwVN+/QJ6p3sUFm8zLLhhn2p2unekbwSaLglKdEEQv2+zNESVzSwyMUAGlJ4sAHBrUy4+tUmjGwOe+CUklS0N/TAcaN6t9RWhB3ciRNThGLJJ6/C+Y33PvGdqpBNGN8lI/7nCZoDjXyYrAkR6pyTqX5vi70CLnmgs+xmfhvpIExUeFkJ2yC+vPm3f55kivUnukPsNinTQfng/oyt7rDiuY00yIBNg32JrGbwm0BYHLwAPSd+e4nvjQt8NOn7tV9qqN95tEaGwZu8dypg4dZAypuJ5oLhNtoXwZFcJ5jbgN4PgKtYV/z28uFKXoMSB88/JwCc2eg9226q63Yyqqf696MCBQ5ZO5Q80aBwnai0oKatNtNfpRQ7kAFEtDDRjfJPxTsi2wtvPuxFjcgZjC8rXIbfE9YIQAmN4ULiC6fvEGEanCSosdcOV8smmRee0qoU6Y0APO9uXMyby4qE8Z58F0pvIQwPcAq9hCNHPSFpS8QU01HuxCJIpybnRtGjgDw0EMnZUcrkIFi9UAlNjJiMxzrm5rnp1iMiaZ8JSN48xfqagLD4ofSBZ492v0UBDT2sV+QXGMQoPQexb5M9LFMocaS+uDzascWibQCY3FqtXeFboF1yH5oaFsmYgHYh0kj6mSHw6hGaBz0v6p+ocgmTKcmsXGvs31cPB4x4xo2m071iSF2/x7Pix4SZVuj/YUXWG/mK2UEmsPZid42Zs8HQHfcfZ8bOGPwSYdj7iygscQlnA92fWc17K/++Olf9cXsAAuN7HY+cNIVarpe/N3YArKEfoPZ6QeQo1rcoJ8/fvillg8RJmhiU1O2R/FSp3/3rw18LSq9OfIsFRnL3Pa6IoEECpUzsdPLx3kD5OdHG6CNU8fmTtm1lmOBEDwF63ptHPb+pjhwBKilgWOtAD5TLqI1NYdkB6lYQwIcAGVnxct+c5ib+bDZLg8xD42qM0ncFSO5N/ZlEbHhMEOnTnS/vqTLMD0ht80Q2Jkq5FUQbrYE7xt5ICTGxJALxeV9tgF0PAcGk9wM+/k1977ZsOTfdUwuuUvbrqQ9crif3ZEip6V4IWyJPMWjO6FqsZhop2tPvpp9Nm0EAbHhZSnV6yC3cg0bJRV9bdiM0Qg2F6nLdAr1d2S19AGpgZdwnqRERoSXbApH2Rfecb5M/GDATY2QKOEs7de/TJtzHxdNcG/X91U0pBLYN7+NIgHl9N3oMyyCdVAkxOcuN6f2SMxPVtJisQ1TvFbHsF+RRN61P5wbRnWsufVhWsRcZ9GLYRSiA938XZTlC/auJuv/rzJLnvmJFuVybiJZlhEZftp1Q02KwvdkVoISKU0dyX4u+OB8Eu2mB3qYa3UOdJ9nCypXR9fv4/sNlIzS8mj+LnCyqhvY0Rt52S0SyZqoGAqVQv7kiu27yqnL7Zn3GdtlFHiqGSAiuXgu/uRHo1V693ShUYVbbMiI6meEuuN2FCWR5GoQQ+4BEaLvFRg1MR2ycLM3TI+XVOoACQdEhKDtFxnHpLXikA1eLjGcrqa9+z/i4g+FZRXgMlBedQOS8/nTUDQ9YE/6xNs9wOwYr3EZz6kWHGforVmNYo29yJHxeDdxIwHSnz3aMcEWx1JDgAf+ors//VZDEE13e1cVhnczaT2vj//tZ5ytAk5DBxpQ5S2bJxKNJ321IhQlAXAzcxvZ56KrSp7GMKn54gN/FQRd0rcn59PEz7fVl4cT6Xfp6eNFKCLEFSmIXg65mAfsj4zXy9wabTvMsCe9XC8a0c6Ryfa5AQqvxvThA+e6GBFXWA4qeOPlYk/Lj15o7XLpRZmSHxgAnUWCWMalF3V92ssC7B7GiXZ3KNlHhRaeOadbAuAKxw545cruj/rcEOP8E5ju1Qu2hFG28bOuCkzOBrSLZHrztGxfFUOJ9+/oPkkMunltN/f0QMVnk1jaIlobntSrv07hebxLgUPeyay4I4iO7g23X9i1MGI4m0NEaw36PVwMXGieJxE7PHqC1p72nXdWnL1zXV9B5vjX+bRVAJw8HJOoAUk+TAE1V2oEALhmCgb9YOtC+iklQ+LXediI5GgaoUiEIwE3dBONOqA7h/kMI10oYbny7nQVl5pMQRC8KE8WxyRiAzXFOlJ7mpkATMPgWtLSQbCbbPtpMRl9edgEAu3qV+rANzCaDEykVdRNvnFOuHvjxBl5u1OsgZ0feFjFAJfyFU0FARFJr/i7GRZ5HnSvHlZUpHBpBHcLERf+Ho5vOFcbDPwbEXMx45+bm6MaZVkyDHx90BOQUuROhBOUBOuFyu4j4Y/9Qe4I06je5VMELzGUyGymlqzSAE3bHQ6mHqMWcf13R4UPK8lUucYQenpVDdjKQw0GQFi6OORXY+jvBBWAy0G0HY4xsQU//yOzwcnvP43WpQ+qfvtm05yLmawOuSE0PDaoCI6EH17WjM2VRLyLBqpAvkRGFC3Je5wDG4n8lwMuCOCTjCOjZ4r/HQlow2bDvT6rGSX/3bSI/B/7/JtQr0eDYbykYFIEWtR9IBPgJk7uMnj+GzBW0df4MV+rAfpHmmcVTo3708fiVn+h8//g2BgRIwOAuwpIjTiXpYBfOmNgQDkRedXjY7sb1EQftABoyfdF/oXDnQO2okFD4BYdSjQ+pkxr0uj1mXTDaMtbUWcSVCqalAf+XL7e557Q7qVubeGqkaohNoA+Z5bzcqDyr5XdmrSDjifkCDWSUjLBPOqewD+M54ZT4A0lAwb/8kyV49jaOAbckXqYi9lG+ZxFEZv3iwOmF1YC7tZkMEFFAkwxxMDcfEaw3RBvqTSGU0yQmX5QPGSmH5JpMkPE0cfYKs4kPqFKfFzbTrNPO4PTB8UVa5yK2C4ygns7uDjHAhHk8NUTQuMmfyJX8avgF0E1Eo5fz1pVU0u81AFuo8CDY7FzTHMaWgLiRN5aCUlbbDG8TzQ4P0+Lq1rKRP43ZL7cJ0w3eTemf8bA9rGmbDzlrNC5DvZ/AUp+uHEM1asNG3IMf/Xhtkp0dVp3JZpZQumdWpdO9+W+A2xS7Dt4hm+Wo//p8IKiLsn851RhG9lzg/5Aebu8azVCLGXXmUrAvq1Au1xkzfqDMOnY8HT8Y/ZidSCp5CWfeohD2YWDEdoLHuN7gUhKBvVz9afU9r7/bvqTgeaPqD3jCNO39u40d89tQKzQiDbyS8Yz7KvUVT+fRIB73UMoCNXWwujJo8ra1Sf1mL1MAtge4184kqA57CH6aUnEC+AGVffbsBYDkgbA03tq7sjKM56kopx1Ivr8q57ECBEs24/k+DJBdaS++DY+SFTlHkgWlvXHqRA8v15BYLB2ZrNHLjxDwuPdgtmIx7vHevkHigQgl9V0evXjzhAD7B2YwwRB/0AymZQ/ndE78RQPRNio+E1wPfvnbMUp3l9IWOyuIw2HG7jlSDAHU8P0zsXSz9GEcvY8L2kAxqkZ4AAztwiftb2riq5Dkv1hkQnf/XhXq16Tm/PMGaY7CkD6AbnGWujCQSX6yXJaSas8VnLuYWvraG5wqLTH4dGa2GNh/FpT64RBiIhLnK4fFZNvFf3YgfZy0kZSby6SKoKJV2fMaKPsn/NLBopElQ+sQLaAe6yjgHR7tyYC3jDPd5bChY0EAE+Rbzyeoy6+b1QMYl5AeTyMNMxH4HznuolHn2TgFv8iUQCYWw1Ce32BE/F7TknFHthhVypppSX0Et1d2Ocdvxz92qX2U9Hr2nS4d6byTFOmR4DOHT5eDJa+IRoT17RWPHSEwm1TPxMybVG36pZ/K5xyT89jRwtZMUkTm2lUf+OjlwUZefcwfb8I7JEgb335SZUpzCXLEuf/AEyuICXrj+bxpg4VyWhY3FNmCuDt6jaRS4DptDNYXQd69pUGMatDaZ6wuodcDkZ02O5RDTqsFUX3ACc+8eOGqPwvVoXDIsEIpXDZT8V6bhXP6ToplAjgLozNMU4BZSuFpP1NbtKYTvikITq5ISAtBDDXzjIo4mquwfzktcxeIxAmaZXARCMlvAzI2BMPbJ6kcSD/C++oGbuOt9twx2/bh6lFR8KNZuW9P3kOqk+31JSi89GlcHQP6UUnoZSDzkIKd8Wv7dP9W8dnfhY0mN6TdmPm4i1ah5ea5c00WVLazXJVYvipiS4j0U4LuHJu9GWkXu7JTWg2Vl2WbEzSo0eadolEQ0Nih4IhBwyTVzKau9THwZYsFf0QQdNNb2UPv16sCo4xFZNynU1m9h4JkEbN3ykdJmMHdWuoTk+9tHvCoE4ghJfCEOOfTnMCAOj4UXAhn2707yNNXAtYlNuZf0zvbziyYHV1SJX2qsBCxE5GBxzPP20tznJQqRhCNS2qe8X7+aJS9mnqLaAvGugOuO+4Qo5flabNWvToMJkYh/kUor6522r+Mnx3xUW3GnNEd69Af2HECBwR84bAb733FTJycu21qVIXrndEWl75RPp5a1DI21LGMKS0qZFpizTOeewqU2jJub3J8MBxbO35FojIjlJ3fQidwTYsy1qHc2rNGIaOfvjx7saj55ohNZ23iD8mX4GxVOiwJt0lk2uSM5Pwnd7cFz2iKo9RX+L0rX+nCf6CnpbqBtoc00vkrSwwADRYo2LomE5SjtCwSF8+io7/x+T0HD6Qba4hmjr0Kjx2Nm62YudYlNCJFDU+SfEa/A3IMgCcKPkWt2yDTz59xIzHfkde4183sdqXhXLfgGm9sSetg42QLlMUXGJa/0Ehdo50OQtVcMjUf8t9BarDjekPM4xnTLk6b7X7fhsBNY5kUKLfXd1MaOCnSDk2ReZvg93TYJ/0us5aJoszpjzQ8/jfjLTqLE1eKqP6tHWyT4WtAku6/FAYJOI1iP65cjMqNLUcVVPSiZohwSrVyNp8CO9JVHGzNjcmmYtFM62XDFebwc7GlwEIbY/xKu/AFYbKszesL5nvT6mP5sTBV1bRkL9nyEmmJvZHleocq1IF3vmxU22H8p0qcawYfbtnY+giV9l0792XOW7pF6Le+wt6kpGYAUJWLAhGOgT9Be6VVLblAb3VcTM7ReFd09GoYN0yAW2UP0tJnyJnASqkk3sFEtEITwhcWCqjp1ZCDLuwZqtgYlYEYlM8FuaXpnpN3jPblKN3xD1Up+CMeEEail7z2rE/ltXJvKImJWnJdopTuSq6TITlD3VKVAGrz0z3wZQdhsnXfIxlaea7vToCEKcL7TdAScVEvF7NKgKoQoFR07/K8s6bh+2CUmznfVDSQ+A+lCrz+P+I+WE5HGJoyIRqP1Z6/ZL3MOPIMT8So9MovP3zxhYQVDvWq0kXdMxDHVqev+uOqZ4iBhG503iaCAjKPfL17bFSHK6V6VkiyioBuF0jhGbm2UG2Dl0jIRv5a6JB9LiWoL006BozNiJ6QEwRFQxMkUXmaDU56maSZvCfUlze29mrQ2OXSfMoqRLcfyOcMfVSsDJA0rmljWD9aB2aVSThdb6cBmWcnA9wxmLeIJ0DX2mnqPTmoYPFGJix3LE+Q7jWtLUwIBjmHCAbLn6+jdFrjCl0RgN6gGoo7pg7eAmdFovHpCJzFyTh6iv3p5OdBTI/SGFIDM+ET9QH8R5s/ZK/B2drtBj2AR7evl+DG8/rDiMayfofmtW9lM+Cf5jBDGrHp8PL+JesNEHBxkEop15UhSRE7C/HntihuwP/pdmhS00Cjw818XgSzee1Kwk+yRE11GQdFOSnf2Hk9ihw+OqXWMYFWIsRvnKcWDyYRDYQEhNnOha74nHQ4iHEa6oLM/cbRtcium5FDCd/xg0yYAO661rGksdiHc+p1wUbZXe1ymnGbptXB2n09fIy8ynrhb/ifU2XwZTVzQ5gbIBObngi0Hh0pCym+dO9GjJ6lEdu0bC0u7Hl+vStWsI2SYya/GZc31qw9/aR/qPkTO8uHfdaHy+dMNGxhaN0qTZNv64/wUWBzmlxDM/iOEzo1RHRcdMGdRB+p9lb9/pxfQXt9y8cqeI6Fgw1jhXqPNnd2hHhadBpLV14HZPo8/kJnKzT2nTfEDTOgKHpkxsgqF8qPBLKMkL43w60rYkJ2ZK7lPKD4XZTZgpnuNnFVvRyJae1r+tbLAuRHxXxVHZruNnE0ilnWsiDtvn95hMeS063jS1hHoYqguf1tMGd3c9tVSmu1CTdYO6IpNETkq2gq9JZF8sS4reebLtMioQ+wMtipEdRShyIpmlbO6FVr5WoEJUxuZld3EB1PKiLEVjhmqWX5nPcT0CdnA+tO/gQ4LFacb+sr7W9PKlLaawmPSQpjjSTLiscSRpVD+DyvFxg1GDAc6o5b8Z20AGdtQixqonoaJbx/xswmAEXC4s/e8rsGx88Be2N4qHlin+b3VYNMvS9FBrM0Kjteyu9658zJ5N+VejiGsu0e32BHJ3RCx04DfeUuNG8ImOmDjTkuY7A6TrGijmvMKlkZ6Mw/W6UVCInuX6vuO32Fc4GQV5S8oacwdA2wEOK/CUex4q2k+os6S5qqZ/wDMwO0IvcuoK/qetuSMNXvY98qgk/e9uKU0gyLnQFm8jHqWDRK3rU95OSuHWYTVoSrzpBPR9WxNf2HM47roBMg6D1najxQ8ud9+VXQot6X6USnae0/Lgx2KSKdTR/CKyivhfXiWHuf/kECczaJWHpfbq2+Uptll8tT4ELgIp8ipHlc1vYlxJ12ItTNumhAhUmjb6VFlGbOrSn0uiabJCsSeP/0xmF/mNeKVOmUkk5WW1n3ZwTe4iNk8uEQIFY98x3Oy3Rw72ccpX/LHGNvAYWI2UES/LxkXgkJKvL+wIGRXfgzjTChxJ902PoRasNBpG9zJaj/idB47xV0o5InlIsSIlvkGWBQawsoHJJK/q7anK0UKNZgQV+5HXLfIhXz5myBprjc9O0TVGxj4vAd5cmf05jxcCMrBwenmpYTl35A8EDhpF33sC3EXDw289MWv62Xfy9XEANScpN4J9rrkNQEf2FEfgM/jwN81DkPoWVeu+0db1g9YsIJZ6S8iSHuRkJkAJBSLB8m6fxpno4omgnq0KfIOCDkNRPoddeKD6yKqoFlH6JdKgki5dOCK6iHJuiIRn8Lp92kUKp0Wr2IBZ2x/VVulnDP5jkeXuqNeWLo/fW0eO5M+Z/r8+sYmgmPYPSZUcrNKsfvHGs9JXIlrm82RzPX25ms2ymLHjrx6By9WkHkyFHKWN6tLDfLRJP5p0BpJnKQMPjBDeTm1G+vaFj6P18V83aaZleY9inmQpK3UlPw1tHIS3yGfGuRl4nfdShs/G6Fli75w80DO/0P6Uf9s0Y5UIy2uUqi8c/k9290ejWE5sz8I4E0FMWiheIAiXfH6dxwApOarvP9a3DxgQv9ypO9q31FFGMJHyP0+v1yzl+Al4lOGDkPMuPcnxMAOQgbwmrTvems6f46BSrvBk6MAq4Cl1x/rn1d2LEkrQprtTy+I1C2wNM+kAlJFUTQwtatCTXfV6GESCsTUkd3ASR7iMW2yMXlcNp+GNZC9TzzrZhVLLQLUmENJ2/TzkrAhaaifI25awhMj32munNLEBUWgJEoOi8x+J6zsACAoYL8iSXiLBhKP555PqSJydHC7Q/rRryBXdBn6u99Tp3lGFAm2JlZAFxq85OiDl+bjKYuhTN9cpZbM5QkAmWS4h0rvX6h5NzSK9hZO3nGUFxDqIOS+U2TdLiDABrB0OL7deiGL8cZQaru7qEXa8+IyXGRa1MxpmyLjRsSO+8Pb0zyQXpK6ZjbZxWOcQ337WjCD5tllB9fLT2U5YoqG/cNKb4sBhp6juc7eoSCbA+bu1Mb3AB/PcOUk9NE1tn5o3HPEzpiNHGCsW1QjNsHIktQMDANlycyx0fiKWlrmrSPeWUS46400sfXJzWlj7HxlWIi4djX0F+uhEe86wq/k/Y0J0z6bRKiwfkL2rjAfLIoJRoGPerXBSO3Sgsh/m6T2R08cSCmCv8msENSVJbwCY0XUHzUrmQeER7pObhx/rHXN4OjTm4+Ja0GCEGp3No/0Cr88jd71mle+CESDuu+SqFCjtOdsGQ8KcCIbyuemjIf+oxTavHNywsCm+5AzgybctdiODUdcTXUYPHxr+FivTMjYdsqkm8eQsskxDzefa9ap8XdFwrzBb8P9jveoLgJJYeqGNXVlcrekgPD6ldxZVFUpzVDlL3/tYI0XC+/Dmq+HLxO9d5eM4M05sTmSCr3YcbjRl4kBSSURW8IuO/1juH+ujD2iu8M8gytfGVuQiamSwLnkSv5Yt4HuYkneGJUDGz7mn9Ei0+WACKDRSlKuCrQLLojTLuktPNZ8uhzPVVxnA45fK4fub3sc1mRSfCQ0rmlcrCt6M8gPAhkm2zbAyqS9JuvsRCVHbAJTu2RpuDF0i7cdkB/PycRyIfMDAkRpZeVJCjBVei9AAS9cjYm/R2YFPFpOGE1uefGoNsvXVUMwa0mUqVsZcD1siM8sw2GSTo0+tWO8kVmb0BfhfFqrOLBdphc3IGGzSkbfqIv5dOnZEAUEFD/0YjhU8XftnZHbFmnv0kS7cgI8+anWiormgekGcgKTopdlmPNZvESfT1mLPltk9DY/cy8+HfFNnsDH83+VmrJFfm/nuSj8k1xl4ablV5Ig8gJONJjwdhqPDmzDlyH6hDACIfz0uvru5tCtSLVJKXoDoTxTnOV1VPfhV7XB9sdCHEY1NXhmbf/TI6eTXe5Lv0Qm9dLyE+g0Y7fkfyM1/uSKIXolsuSLeqmPabaYjJ6MfJx48GtJ/4LVedyMYgOkOdgcake2sQjoE1HX9NKuEVD2hzl97FVea6ukRPcbFZdEUK8YqkZID6UEkVIN79mTY+JxMLFEvOXIDOW5j7S+1Xg1nGtAu1MuQ8nC5xOdevb3Nur7k+x3CoYeVSqfuocUBTwSqoxoWhMuEsW3h8LfDP84cU/99YnKBquZHU1klQP8LpUVALQMaJRypE93YrXubQzFo9dXRPt7Qv2TBKl0rVp7R6rxvztDHUIjlwFTFwGdZ2orS65byNa8zO9c+313U13nQSoFxEkqSkgujzUnOmydD2Ttlx+Ab+RsGDw/zpVW2HTwNCGf8KTg2Y4ekR2BKhMYaE+/sV9dPDo8tW7Y6ndXdknNR9yJGPbp4XIh40kawyJsBRuoaDyfERqW99MvYFfipXiZyXvLq5NMkjxhdOY689grfFOSOP00Y2dIpZdyJvi8aCGojHRZJ6etAYcjXR49Df63v6U+EyG3k6zkFYRZ20fG5nDKVfTcAlXrICQc0/LaeewoRQPDPmcsNEIU7gw2GEqheprBrUAXN69+ZIazIN+h+WvHAjJ4wks0FflUDIn9btxBloZRCtSrjLCEg5zL2WzMfcoaFf6fdReZR2CfO8dtHphbrzOpHk0oY2lJTwItwhGqnZqcCXplM7GLhmwZqSdgP/KRXcaWq+eT6F+fIi188OMrg95JeGK90npJQ8wyQZKc6zBFJ9PmbvdljNkDcX2T2D4SNbzyaHPikj4X/ErSy2pQVNPqre4wjsUThJJ8yJW/GobCh96vczC7/enga4s9l/GJ8t2NTSXvtDJg3eBhqWoaG0efXJbCi5lT4nEAHBYidXTgqPg89Bd1K2/xuY81dKP0KzqEdykxRs0KHuiypmxwfdvxFF4EXiMDFJN2+edtKL7xKAH2NYLrDFUeftvlDdyvhaJEpoTtv3QQGDrCfv/QtoP21RGZeRaTxSMNosYQ+vCmxk2o6szEi3YU2HCcqtSkOFM8riV4E4Jo0tv8KQjFojOTDc2GT97b6XHNo907YyRJg/gZLk14dF0R0hEdfKZju9tPm7yX4eRSJ4YejoYwaFUwjwAw0eW1Ya+UVz/x3+uv4nDyc4eKS9gpT6ENxzRLI1xdm4RQ8atkl3Z9WNyX9eZtFBOoaFDUcmxxWFfyr3IP38fGzSax8o2xkvD2ymCi04DUl4tzPyZnCv+5RZhlJUEe1genULgmM0Y2P10FfgJPG+jMxq2YPl8Mjn8ZopAyBHMqMhmjtW9IOn/bpvnIsCGQOBHT9/b604HreBCn6b3ZL1xVdwYH+HHPkX64zt1Ae52iYkvrnr3xiikZHNrfSwC1idL8bDHlJteDQubj5GTvIi1XQcALmWJ1AdS17HdDPtC0WfKW0+hFMHgZKnr3VPtUcBuvZ1SrLq3gVF4W+XoWc64G6BgXnucWwu86yK088+NnxTEtFNZkkhtG5lWLAy0Uz34ael0rYeu3T7QDUGLpPw3MbCTqoZiMjPmSCmk3xKR1Z82cmQ/755BzBHSs+BGIv9ua9j1PrdmxdJyU3NaQlMYqBWqfU7wsV3OZ6C2zk8W+25zzI6eYadgNl+QAE6xrM4Bp6e8wo7JFaRxlm5EdkmTNCQo+VE4PQScYkRaJvP1iuWDG35lkpFTtIQvtTTYBn2xGu1IXwvLEmf5G9SFsvYVhzAYQ1797V7rrg4/EKDQbCLh/GpuQgeBWC82ybQlUBf48FLhoGOYilkSXBxUgnEpu8PtIxCmhGJcCS+g/NBUeuKIY/Xr4jn4+PKhNoZDEGtz/aWLrvjNqS5VCXjYbB4q764CIZ1NPLv+vMq7rcUD2zTumeVPsfOwmZNowpt/v30Lj1k202x4lzcA7tX7z7L64OMl5oIlD3GftnQWVtRImPpFVu4Ywt7IYB4iAtlRwzDJzXkGOcT/1c7OK0wlyxT0y4h0sR7Lr/8pLOKFLAXfDK8KUUMACmoU8ZCd6k/ueF/tNK3V0bV5EfMyvTwFfX2ERLw34AwTrypzXbveCCqXLL6L92t+K97hFR7Cqye8iuIuae2VaISpFLJssinh4LReSSZtxD4WPCvBUQ+05s0hJ+Sq3rTB4+j+RfJYXauYmjtUTO3VKyPDhRP7B78JEt/uRGTkuve8h6lK3XEN/wpz/0W0FAK5fG8ZINmg41gzFRj3YDF6jjsaq0w8pwpqU9DCwxWUPU500EeO/p8lEb/lRc9bReKBpp8OEr3tphRCve14blKBTrbm3yLRd6I1g2Rlu9xpdRtLmmESilDrT72sP7KbmIRRmdo+ZUGNV8FtmDvCaYfLzxXcplIFXN765e1ptMyEuNnPVCDQ7LWGat2Ad4yjT8r+3bAKGIApaXBvEJHJehfVLVTueiXEzX+tdk9Y02KVEM5kSvvBeZfxGRLtc+GREM1GhQ4UYsqFDdVwmrQJ0oehm9wIHmF+0esyGl/q+/564SufLvkEWWKyAT1P1GFoGnty0LkL5mmQKJcsWTnHQzJtojnhllfW/yLyXS8alL/WpkeQo1m2ZU0gtPZpONRi1ld4cWbwVbS3D6wbE0UIg9HwXxSeO8JWFa7IBkBOp5i2jj5Hjn5vfWoL7GExygSTgZ8Q+QSKrCSDLsMeSwnjcm26khrrTddsn0gh98H+/Z7lxMJLmFNh+++WL8CbqKb3mkCLUrXhgnQ/mXfrmbj7aTL6is35DW9MDAcXWHOiLY3JlwvQRYMwbr6//N4c2b5vAbistjFvsHujBzKUOxOEt6rRRtIE2mmRWs+dwXSSgttTA18a/81HMcEcny01EhYKmOILBPdLaVIE8mKT2h1bMn7Cgkk3hO9/OU4rw3EkHKxQdlhh96DNrWrfhJNe4FYi1IlFqF8BZNrJGJAHme9DeXGGQW1hUn3naie0g1SQf2T3nLmfmPKUa82RZWMBZlCA+9T/9NGhdfUEXDgMvxtYNdPcoKvSVnuuhjRh8PUVA09rpl7m+9DUB81HACWszaIoFpS4kM4C8TdWEYFPNIVljBcdDQTo8L8FtMWRmYzJv5LqL84PKwQeixUV6mFurkYTwISnyfUCFfn/JH7iJ8iQY6U4h60LZix1+ymLfl3eawhiU2x9I/pyp3snEkE8zxtNrGEt8FrM3jo/ckUVMjonp1uERc3md/pV1056C/PzS3Sw7buVcWetnSmhQtD1nEYq8jlJ5vOjzwfYD6wu2ol1R6YyfoMgUUVBHLotOTB3atQxvE7G7/p7v37ScN5ufD1kDZmSVS5HgCDSJJrUUQusLOqdFvUw8HBILrV0hf9V8GoqFcy7+zW8XRdq4TlbR55A/ZnpviGg0uAtiWQ0yyptCNZLhkown2OvaJkVi8/RCk0FbbP0bOv5o9KTUgkM+o7JRpi5eFmxuFrKTiuvJxjYEgAQLKExOkv0vGoTLrIyK2oBnbAKRd12CVeLlJKMmcQIRvcAgnWTQ0sU9czwVbhoBIaWNvMpXIGKV6zV84R7PUIsRfi3iT+kFRLuB4lmQ2fRxU5zTb3hTPXE7RQ7uJFhYxN6+wGKQl4NCf1cJ+lUbG7qvKyV9oJ6pZIx/pyrFbpkM5ZeOa+Ox/i5MHDjpAZqpmUGxVa7ddf1CMSY1DdyahsTbrU/GJuD0WvcX7opgXQup9n3LZyrZTdgttn5eb/2I6ihe9T3fXftNFNhOog7mhqUQ4+ZG3jp6bOQ7DXGexzSYm+AcEGXfF4KwDk73nqrdBzQgprcx5RQhnR0HLcCdb8fBa2zkOri2kBXQ5cv6t7Yp4JborwAcgSqu/3yDWi/GA+DS3zpRcHrXwKbcfkkunEeXnLIP8TrCGfdR3FN8BHERpXSWrgQbwDTjeV77rR89z9SDcSSDJ7M/Mo8q+0XOZckTuhHaV4wv8kppz/O0FO39EH2eBUfiWirvKfiLT/F1Oe87LL8GO6XunniffB45q14pjOvloVT2GM2Maz40AWH5LgNQj7dd5xJOpOqwA7dw+VTE0zEiALly9ilhoaddB+WcRmZB7r8+qQD+kbvfLuE0yWSHzLMvUxgqSrqzf5veDyTgmIQj8X5hyXbLyg5rjoX/I1JuXBu2r88h2rs8IKbcG6xnqI++CSOfcEHy8pluYSJ/UObKxfPEqgHBAoaJMbkC1RFDt52S3nOk/s+VftjjiIYhDn32zQ/LdyTU34AZoEHyndkUyBnqd1XXZl/0Q63YinSol5B7HOVvivbimPoUe+M2CvWrLIjm9ai7u1BphUcAZdWhzrqnnC0bdZn6B00wFeHpRnRWuWx1MhP6pMqqc0VsPV8oV0tvcyElAsJKJuddvrDKTUeTarrxoH6ApfXDlbrN0DKwVYitvNKebXa+L2i6DoAYW2i9k+Ud01vl5FzP1mb/lLzesLJ38qTm7yHOWZtxPBzaQvCsuyiduP71ZTH/TO4ZZoeeRc1OiMdi7rDTKpMfwWSTKKa/kXmlyw4ozDXVuhg4moHrKnnewlW2rSIhkMm+d+8FgMhMEtm2cTKL1MtGj59IWOILPQsRgZ5sR2k7W26EgAao55IsAIoERYumn9gkZ2LAsmBRApSWSUjlINBITRCBgJirHS5YZNwRNieHAkEBJrBC9KY+S3rAjwWNTIbrJlpzb0aH8vFBfsSenoZYayiSqQqooujrpyRpR0VuXf0oJz0tWTMg4kDTyqult11hySdhAhPlV0to6ExmqFB9zm29YWwvuQMaUQivhx007HN3+QRO5TQQSL3SsMSfmoUblsIcK1X38n/0q+a+i4xXnWeKf2FFd/Gpm8Ka5lkm11qyPoTEQpqQQ9Dj2d4pYxm3lW5TKtcwhCu3Vo/p2/MxTPyioxrB9SoYRRKYL57QzunK+xoXYyvGnduX6S9x502oO29w0NNhVV49Zsor5KrwHHzKVMQ3p/0eRA7Wsdswq+bjwURzwkLQmOqSEh/+R/TvVPheGu6W8yVMoXEzo/gBVfpF4FIhfEuFoYpNPN3JXexgfTAVaaip+k/sEqSk/00BPJWbryc6o0UObV8cAj04cmlVHaIKZvIsIxds6XK2RcIfMRoyqzUX/9/TNiZXJ+R6gDwFo0dyI4AfxNzBTYprfHxL9qZtInLLK0AYYc1X28TDPNDP6PEW1LEomXFw8KDTm6HTunUtzTz4yIJmchEzMLT3HjQfqRo//YWDaS/id88XnE59LaxUbeYAG1AJ6ldh15nudkAMUTfWi3sc5VMOUd6V3ZT/CO7wRWtuxLvUNiFJuhXrzdDbWzKZ0ozPGb9gy8Wb6BB0L5IXoY5PtwV8EELNcYAzczNZSAL3cYWh4hEy8LCxAYbOUt/yGF529XkE4BfUr+0hjrDVP3npHTgYiyMpSReUJoHcm4h+M7wgam61Xyz94ATVmZfqdVw54V7AsEgPba9UjHpgT61QKJUZVGJmtffxxFMr0YeAE5FROOUmdHLNPbtD+nYTqxF8sh1VoHyKwlfQIcMq8InEW0cJRMWEssAefgTpGJFFma4QiM+7znIuGCj4f0IuFElP5RW+BWQFmkWZw49GQ5S4EOQYz5qtmsxIIX5/lMwdRGPV4nGC1Edz4ygO9E3npqvfJTUQu9WZqIE4DpU0jQbdSHudSrkGb/xSKkT8ONN2wu6YbVLKUJBDLYfiHp6897yXtTlDB1d1ExG30D5G32VvYQy9JJ7sE5bHsx6mld1VhqAcdKfjQvXl7qVcotI7PrqT7YCPKgAiVnvdHCvpeFVO2QEGeA2RXQXCKhBA0sHEgN3X5Y8gnUIqaFpmdfT51I1WMnxZtGxTstVjbflDLXhBrPQe4MI0amwGWRGaUU5NRsnvZ9q2VdgCpBWyjLgEJsC/heUTrDLt7gXeCz+g6MmpLZNezR/f2mC5L6QzPaBPky1hfxPgM5Mvar4tOYYxSIeeC3ZLj9igYghyUIw+eXgfphHVAEfN7Je1tkg/1zgh2WOXVHtj/73iGjquufrsAG2Ox9DYAecubYoLllCyIvSJD3zIvfnlHgQrfTmUyO4+UXBqBEtcSdvsdlRILD0DNo+YOlExbJVLlO1erJ/6/tdoQRBPatcUBokVJHIa8fmzLn835+L+CN40a7yp7mie+HPM4IVIiAdaPK3wKUK226f9T7Zs0NnKUHbbtQFH7Yee0Lel+dXEQ1FZL9oWDcrdXmE+vBKUQLZDngzJtEYbo7nk7fDRyrBfE+2X+sQnAOBC2PIivhkmHBZA5x8eW99PtFMzjh30/BMYXvi+z0BS6mAzQ26xc8md7usFLqMQH2S//lzErjKxteCHWrwDjlg8LqqWWD/el1CWU2/48Is3In1FU1nQl2k73iQZVEDMP2WzR3gDxU2iEZCIqboYSUewFxOOjcZ9J42/MCxZpRNjZWodSAWLg8qtQeMSpwKbQDJ4+7MbF0wLZKdG7cLiAqS1sMkqP14zHtytWJIgbq1sDzuu+l5cwpfpqp4CajEDH+bsIH4pv07giyjcB6E8iN1ZgShe/t0fyj9auHT/rh3V3MNCUO89e4a/CfcI5beYU9rY3gDj6RkRcxJ52Ne2C3yugOeT1pTYlSQoGxF3Ks1Xgu3viFR+LagPKeuvMG8W3KmVhwYpsL8tlin7d975eRJp97TvPG6uzg3nthJNOahOEFl+iN7kRHvZRlP1FNHGX/D2C41IvuVSKSvIdH00yxrDVSQNVHG/fbQVL/XH6g98+BPHiNQZP4calRqbkVlbcanyzxqCksZ3dokzEf5JbCcHsLSVLuGF9V7ycjJEwUZUaFLrNXAMbv7HhyBkWYSeEQAtp55xLCjrdPvtNxoA0gbVqHTckX8zZ5xTkb5A+RBROP6KwgfUK7FOWIrAk1+pwJMiYXkmvcGequYoE4agTc+pxo+kuWmEpgI3hV674cdcsC8sRh5uMzMPQDs9UUMmjalSaLerPmjm8xfoOcoUNFhGX6NVCSCFAYj+H64dASROmaWXNMDlyhn+zmKkZCcWAAdfjvcfbHxq1crrwOLX9/0ezMWvpEM0gvYEzTJY7pTSLbRr9C5yMcDYZPFKTYjIECCL4Gx7mW3278YbbFeo03aXb40iqOHs9EbDr9qdW/QoXUFecx87cd6njxwV7uB0fzhomD026GK3G1m6g1wE3C1XAWjJzcgmFxg1WqInu27np5uOTJUg/L97tqTgoUphGe2ycDRdMsakqbu5hUytu4QvDVgCNMUwXi3pKwwtK1eDMY72W6gcYWKaj4z2pJV6nZPhTG5UmBrN2aufloiht0DQbayH/9s2IGeNseaJ1tIbhLyWpfR2CQ/CtQYCJxHBm1dCvQOYMyYRGL0rpaOzlkEYs2En+CZRYutNHddxltm22044og36blGSpMc4Ppi0wgORG25JDfWsE1tJFzo7xq6ZcbOd/tLiYCE2HJXVoft5hzGt30+KnwZj/WnL74TdYbSJSfV+fVMB/UJMoIm6Rs2JizftoscKJ+fFs/BnYZ8C+POSGgCRwT6WepOiq4SiGe0VSlnvOj1/tSJ7ZZ/40xTRB/1kpSmBahClQUjW7b5x9EksMfE0enXD1Ly2f6NBo1eJnp2wX3dArsSV8OhGZ1RJpKkrzlDYAmpcxyPWlyCk6ugBwGZBbTuXNDufSHVqjzCJkFIgVKohumD0esz6j3rxGPYYlqM97KTx67C67b1N1N2Pwk5sBrC40aDI4l0HQyzWGYbF3Zu2BhKeu8hezSgMtRAlTTixtbRSBnmhCEczcg/e2VQd34W9KWf2my2z4ZqyItyXECOyur/ET2nMCJRG5TYxxEMsXEsz+5dci6PBom2LGgSO+KekMpS0Ijxs+MphrQvl8uZR37AOqk4b42vyZlf3rHtmUStLBzukJXnZ5t+64DOFB3/pOIx8/5ZYRK9oBYPxVKbAR2eXQF/Jdhft2ptZQcz7XiTBQiFJJCwtp6RDayA9Z2ookNIrQvurB+o7n4wfMuwdYLuFXZcpasJnv1MXJtpxWLpoK8oFdv/UwbukMcZWn9qZcVQsBwrI+4N/Z9TrTx0cOAPrdsRxlnlniiyJ4L/jVdsTiej2L6VXAk3inTYXHO1N1vJWszvPfAc61B7YZHwsriPWRg94dpCunOJ+tpmt5MDhQTzkZLY1hpbwMPkeRySDqO42jy/GVSmhAkExhC5bhBSMmIA/D7oFVFCc/0ELOqocO29rSW39xs0TruVIJFG6FEWOld8T3jc8aXeHia2yQ0EmFK81IxwCJ8YKkrSChXTsPgTPoy6PUP+s0KTGfg99qKbAfdfIfLCqdydO3e8iiuM6/Q7W2IPpkTTU9KPkWwY0Cdfwx/a9kQ6HyX9STpF6HIiEIjqIF2SFVlmnlmNFnSJk3R5lgsyiQpjei8+uAVS2PIrGiHgSjkEar53TgK958/I4vKQPkBYiaC66Po5D4Um1xV/vDm0rgUPQ6UpoSOW0kc9EJaFtUZHlXpU0tqknHpuSBWVcZSVc24ApdHHAndnVEUOnu/DzlldXHNc2g6INyUoZoLpy7oaJ2P2sKvkKUPPuFSxPtpC2lcxeDWcNCk1bjA0nbRG9J/8ybCIjzNrWau1BFFjw/2JtHJ9mLFqTl9DEW/6xywIzM6vkwMSaMd9jjeElIze8z/ScndqeZ6ZJK3+NA6yqLgXcdPugr1QWNQQnka38CVNi8DUUUvGOQjHHn/oZjdsIiJLBH3PqFg0KbXWVhD8bufWj3CDVE4PQvO49dCZqlMIUcLLsj4oKMHXRTQda1cGFef4blszQU3tee7d9dCw0ecKiKj88bgSeUPU6IBuznFzN8UeHo53/IigTOx4BPm2G89QYSdfq7dmPRMVjASf4+Y+FWeojrQN9wrQ6IfgR2ViaLpIyCA7QkvvDEwemPve4vIORdkzDbMXBe9TTu7Sc5gPoAF3fZvW3v5Sqb58KrpjMWxIDAUy43uRJJKkuveUAIJnzW5ATC5r5954Rv8n7bGaWpMzb7tl5JDlYPjEvZ5t1ILh8X72iLhqVWEK1/trSMd/KXThxkVpfhggTkXVlT4eUZlZtungYp9LHCjw8+441SUpbf0KkDx6Tts3KiFm5kFfD54tbsxXze96DkcKChHDACmUWxASt159IENEYfwfsR/SR1wKFkmANYPC02FpwHfcZ57tHegzJJrT/XmRkgc7ZGDmXslFeKGSzDISTGSnAUtUizP+5jEOfyzM/DaiWJJF5fqoLEWjvttiQldMBIFlaGM/qqmmx63zZwo6aAxWdAHfZGgUupkbxCb2o71LWffdHLbF8dYuB2/zRd/6GYwi9BT53nI7QjKV56+hhuI62RrMLjeAVkY/SvOCpsBABIPCczc7OpkTWXBopsrqz0uymxFax+0qPU7p9Ks8fGtQkZ/MUNF45MtrFqnJuemaOMvUTfKOB/4TJak+4I8DWoRdstvCyMiLgdohJjwUP9Rj+2asoI90/ll4UScpIKx2vyFr4VJA685qTTREcKiCnYlDfPgVI4nIFLuTGZY2YHLluHiZE/+SRa2+HdH0hV9Kb4j+r3+2jgCh4BdxLc5fULGgfh4tp+gupz1TI8GPsQntAgAZAYISXeWbZkTBLlxvTe+J+ZX7SDx9uqGfwxvtQ733+yglzG0FXdLKQM1MyOS4VPC1WC6gka5j55gD9IyLqUFRAgk8/fmzPk5AfAMxd3vuY9TC6Za3AISa5vGWFHnXGuFAwTvnWdG8dEB3yOEDQCLQ16R8GVvukHIoCatV5DNYhWatp2DUzaC+4MKsvj0rwSyUotCRTk0oXbx2y7J9Zv6huzvNS43ZijMK4G9LGGTzjBIAH+X6Cw8wMqx9UA1ybFwzZe5h7pdNVAsivyY5U5fko0ttuz4KGyra7zacafSfEe3nhMA453PNX085j3NVeYvUdUGiXl0KyaGLMmR3Z0dC30Doo+ehKqzlvpvCyty7tsv80Lu+sSZ0Zy+RR2Z/Q/kA/fURS3qrBgA7m11408gaHILnelUKL9rv6jugFshDXIyWydgPXPdyC8mdenVmJIrD+uUHAhpxZVmga4Bd3GivLqJEJpH0CeblQJQxbtf1UAdhq16fXZeYDUN2MMEL70OR7Qv4xcZjrl8A4gW2vJOrXIfzKh9LUH0YzHYn4FKRiUGsuT6up2otYznbu8rohc11wTEjlpah5YGP+mB/IjAY2tzxJz02argzN1aq8++3Ki3aZnuzNIoObgIw6CtQelvC+Cn1Bd0i+zu9JOh5XYTozgROyEbQITJmvuyhv/2Iw5fpEq8T1/Tzpt5wMXIvHHv+ynZ6MdnUD9o86O0KwXZ7ZTjPfUdiCUbLnoK+08SNz7PyydD5KRaIn5UT7yI/7dwxtpRAbaYnesNOfpoOqdl9Qr57Bss4s5mlJ384L4vQ9bhbstK/95ByC1omcAJPMhOacpx9f8zi39ETblylVU3mQHmlSnPYR07oORLiOoFjfnFnVt7F1gQHOfnBM2J6Lj5WUMeKu4CB8jGETBaD8xxPbOGJLkjkMxz9EeHNbUwNWHgmP2fsT8IgT7ocf7qqYWgMjWxd2CjCnqnr8o8cnFzvrE5PHettNQCjtS8FuIQqC33jm/TycymDbaf9yaViUSUGWcHoC6HmzAMxcwNKmyIHVrXXWOAB1PXcuppKzbUNmterGjlK/PF+Pacp1U7KiU/sSxhNeJYedxsFQ8GzN9vJyL9/d1Got7GWb0fquPSQO9xsEksIdHfzmfkS00eB1a3Y6tD5xIXAfAmeSqvqvlxC11w02sgYsDRzu3d+NlTpcxmH4u5M/5iJtxNGkhagKF+B7ADPbghJM/8JVgHp/BQ8bpfquhPGWWWUQngyYQkNyeiLXXJBzVWCPzHU9Pnfv6ayUfombajXjGTpJnuvS2x87sJYMl8daO4TZHWFv7HCFdwp0PHd8uIOraWvGLFe9OjVeHrCYG6a6FrndUgVX6tm2haLYRn1Wz9utA/BM9PQMUVTnecIFzmQVnLEVAqG/rq9t0Hvuj/p+VyTGENSPZGXhqc9gS5QtNTSWGQWNY6dRGjVXvZ56Uu8Au9k1j+LjYCejn90sf+pGRIq/vGXvHggMqeleO+cdBVK5KK6oQF81fis++FfhjzNmSmd+oVv3Pe+IYvg+ct2HFUwVFTScbqN1FInMaZFcA2vZT263j4XNh2MszKaH5dNenBbcrcb9l0G5zpSlAxDDucCZKbMsAffXIIj2wmfRlSnJ5gbXxcOKkL4dv2fb4HRd92Az8xuZ38LGqqA5Ipevq5kDE+m0jp2S/8+jQjK6cJiUlobfQuj4woTzozK8yG9no2ZY0I5amXLieyiZjDm2hdhF1nIFwrpu04uvx82ryA/O6/sAmgf+BMnKFoLmmyxWQ847Eeskg9yZrt9u98MDU8iZQYRTDWV6CkHjiMrEV2Yfi2xI+6/BBlKykFIFAIWGQ2gXXwcIrAHAQSO0O2B3dhhCGLaZSgAVhhZLUqIDxgOPinCqDVjZCCUQUTTnqZR0Q4KVs5sgKN8xyo/1oy2UGIwyfvr87uohrsO27wp4zpM73n5qhFHazvUtaewit18Sh4FgMFKXHLTl9TDfPdxRUsbwROxT4DzLPauXze675PKaIlGcce5ls1iht9pquGTilPMtL9LbCKRXEXVO9BlVIa2F6/f7yBPcPr1Vt71JMcEoktMC70wDSqVWdPc2hWwUdER2NkoSx+cIKg7m06Fito3OSV65qJBf09/YrZLj9WXyr5jTwaiQkd/bQ70QbW97vF0YedLRY0V58IWSX0wVeq6VX3XaudYRcnzmy3g6l1A73zbvAlIf9f0ncJZmeOGrP77nqsEkLi5pvY9Hfo21PVs/ADAhv0InGgBQO1UqQC93la+k5V3YNPoS8+Vi/JZxd4GnBa5cF3VrxrDxaUnPKvMPqmOVzY8E9tXTSxnisje4BYci55tIJoCggE31s5zbmMQGFH4d2hzsjtGr6pMx5KVeGCrLUwl1NIM1Shso/+MRbaRoJbcqcKi7PoXHN+rriXohYY2J/DUoBu5XspUZuKkhGlDHwI/8oKQkEmsgcDbgol0C8Y3wzldWC4X2CC13sh7rPiL/QrcWV3A8ifp283/7c8PQOXYDAgJwxHsatRYQxEycMD1BrsfvcEBX3aRwsVtuHH0lLqpxvDFVzFYb+46kuc8J2eSeO9TTHQVEbdYM7vPkJJbAZKIz1AqTzSf4jPQEmaTXC9bkXVoLSH6WH9IStTTISAYmMRLntLgHW2PIMin7X4hz/dW8zL12pVZ0UV3Z3r3RgmMC68kul8mH6qALT5+bBmw9n4h786DRIj8XLJvWl291GKTKuh9DPsV5MypI8xXYAd15g2868ufKLcNb9bPFH0oAYKcww9+eDQpBDPCbL0fF8GVgh7WcR57EaaRyGeEdgqPJwGMlllPCcqHfNGSZm/3HUUBfq6tT6rC4NEe4WKltWGSPOql6WUNg9TcWVGKqPP+oLXhpO9bLQF8VjTiS8OR7bvdRN3L3EQK/LP0HBmiNcQFdKrAR1srGe1xeuPhySXnRMRVABGLlVT7XQKULs9QK8RdE8Sx3pNnRf/c56vSFN1H3j21oSIEIDfijk4yBkdqVeLH+Zl7dY+v8JCdVebUQn1BLji2hB5mHJL6xtc4R+j8Nj/4ofOBRDomxuOR+rrLaCzmesTIguaPXsixrKKqWxY0KadGotVtPkeTVTTbiiOfUC5C57sAIRgCSKJBQ+j5X2Wv03PMFbPbXynNXLnM7aLAqoS7hdXnzIVtBBYZz0Vf72YNqMEt6x8AW+CXh3eIghOMbPrNLVVwweZjQYJvdQE6k1PoZOYH1Mc+HIyvI8gZbWxsnEP965UxOjONGfK6E185cueF+31gsiTrkY6qPCJu7a/+S/S8TiLpFZjh/7gZbkvpJAyb/Yz0GRMo2F/6Eo8wL738+Opf0E+teQaVtajb3EKLb1zfiisiVYH7yv1JbPQPpBITjLyn3PQnuYzq96QzVIgbyTW4EE7aTOXqZzS1RFcyHIFmqDCXLWzZXzL+w3/Neeof+Tb3ROVooaUM1llOyuegSpBGAdTYpBg3FJb+CIcF3XEmotISSZ3xHN5Ssr3ki+wRIhy2fPBw8ppJaSmTHGzKwOe8msVVdTU6D7mkOL9TEGbE2SBUwL9yQGeYAQxRnBgh2vpDS4/axhr7b/NUolDaYRZtLMzk27nDL2sRE29kzH5ewuiVYRZk3xTWKKL5O9ux47Nq++Wj346mIG/Kg728njUf+a5KtBO8PS2bN+p4FfS/72sFADViDCl8MJUxBb1FPXmAgr77oPg0nLjMHnHdaa8JK+Jz1we1EbZ4vBL077W4NinqpF5rP9m6/1KzCWpRiiImW9YgOWbMLRbjlU5kupTX0yzRdIba1VNztwlkNsTRh3dUt4VYeUhWm4+EcnIMvCq+4AlfbSsz/pL2mYpH7ecaIlHD8WdeFnA9Sdc4KaZ1bO9IPzBxSwjBryGbv3hFuHWDEAJbj6AP8aPl/cGegjnspPvrVgxfUpqo9gW2JlGC7om+84eQoDyQff0x7pA3Id8TbREIUlqUfjTv+N+NRJCEiWC4gcjk/w37t0l+A5aBSJ1NLNOqCt66WEcTCf6Sdp1fFcVmRhuJdh9y49WnKYc74FnoD/TGK1bMHNyq6M/tZqsDZ6Jh1pjKHf98hMLR4L98FHri9/1moK+PUS43vv0zpxTtvNaLKGZzhAz0miqIKKM7+DRdu6IrL2RtUCzFCd1j2vmZPG2tldrBF/UjCfEs6mCowWEcNubYJyP1m9i5tq0zSM7gyJs+cc06wNh9wBwAd9WuxpsxgT51E0EC+CmdWawcj0dP73alvSnqN7NdU/jxfKsntrLbrJFZtJar5zSwU+YIQv0D0PZls8ufTHBgpufeZwgOnq6v2KMHd+qsMr0XtC9JVdbEwZKO7YJR3Ac96vGkarmC/WnMFTzpGWHh59D6ytIxK95uBF2TLbos/0k1la3nYAbqR6T7jkDarciUTPtyE1hmiCgO3fMBYuv/3A1LU0RHREFhgoPv7UvxUXvTAxzoPf+SbZVWLEJiBCIloSTdHkxzagK0SPH/SVgZ74FNXA3Bk255pzScjHufMICWhzo8IB/anARH5irmj6QnRJqdvVS/b8mDgh1fvivKxR44RzqE6woyFgNFyE+a8IIVdCRGaWVbwUX4L5NVuJ/m6NfwJ07wQKNvmAlt54lK9MX9dO8sZAuv1BQRVHVzCqkxgg5wB0nWjDyXo8VqeXN2Gujz9e7/F8+g01cZ3U2ydwvMLBPwkRon3z+7tSLZy1yt+ZB0/Xq1HqZbENRbnyB6vKMp5iREmfIyq/g8fdwWDpwaaEbYhv5vBs3fZRNO7T/9WlRP8cgKCkMXHBH3+WoPEwuEZ0WKfjFr1INDjHBWwIfAm7SEkD66WVHNGQ1k2tk8WUUR8BKf0EEb4oZMH+0vUTaPaaI4eYnkNCldrJyT47OOap1nsiWOlSiKRP9iujdjkVRWXl+pHwEvz8aDGOabu8OFew7+MS8btytvzwgWBFfx4N+KvcAz4IFjB/Z6Jc4nwXCgrkPq8AjS7Mys/vvdHqNATRmviGxKkGB6ZfdA6SXh2DNX4XSBeFFkHzahWj6dws/pwEnGfFEXUZ4mTSlanVHwbQ3+ldkOiOvFT0hzSWp+60voWXH4FcKiTBCF/J5fOYcsvJKOHWTq2iqueSXUW7eXIeRbQoBZOMp1S7pIbyUpxq1Vg1TyY4bTXESdhSRawiI8EQDH/9lAIoZyKriMR7+8p02RsH5rywHdSvSHkZc1nXxK8/cECkymk3yBLNmU5slP0QvkJgAW4S4yD1Ia+OZD+e8ViojKmEjHlSkx4v8FgrkvgVYtTUfYViEQEPdYcJuhFlepFvABZjUWTcpw5M7kJvDapOr9uLWJHPMes3OZ2rkONSTs6sVwaih+M8oOir5D+mK6ImoDphwB7GLDS9XZzIHjbtRyK3WSysqY/aICCTSZ51GKUzbcU3iDMyi7jU8sOIvMPp/Qlr8Fy1Ly29HXjnzZO+ZRnvT9YI2HGveyQKEOQwVA8zZEidXm9w+LEc8aRnZrP+JC0GHZ5Ev3yLpCCrBPWICGY7+Ja78hyuJWydSogsYHPc3hw3L8+k+m7mvz+82ggCoxLIFTZOMJ/bUZzl18DaotDmXRBanf607FjBDa2ih9o/LOguL7mO8MFjIJPA3W7+bbk2tQ5i+4rN/flJApxHN7k5eVrQFxooDTV/SnWkvdijBGTmujhpHy8s3y7/acPr2wXHHZrUPBWIu5LqCnDt4QC20Ibcd+C241u/Mjl3cZ+gobHYkhUzTwvo6kREmRViecT6LLV6Hi4wBgLERXfDtpZu9r08ympdxAtyup2FHdGpAJUpk/PDTb1c1OH3Z6jAcwYbeMC4rhW2p+rBdWHpO7JSuVrW3Jr92ryghT1evF5QVJSwfRbowblvsp2nlp+gLbtIkgxKwhs2/BmU8PU5UPehYPiKIrsBtV8qky/m/Z5qLiIlsNpEIegsLfFuc1/JkXgqDpwe9xJoNnBlK4m5sRVq6IPvPZkFkwQ1anX5KR+DVa3+n9Ja5fRXS/VJGdMUuFit53jDxpTN50grSItpRbJr/Jxj6B3EPkkDtJbEz/s6HXzAmhdrpFcW0+4lEKdbSndZH8IOQHYFxWyXni/39AUyrrvLUi2PW8ikFTtm8oS16cm0mkqwUHBi7BN7plMuiGNuQoZXIq2l994fLceIrQZ8gO+Y95UyyeGX0KmtXe4UekIVTIQqDjjc9mNxDhh8wzg+SbctmaWPr+mHUz7zbaME4ESvFDiqS2Rxe9srYAs0va8yqAl+ucm4CQi5Ag6Ttb5nZMqorSc78OSnkVcgDHB+9apke0F0GgwyfrIpcsTdTi4UvLf38e4mOwvn+nyPzKjdRk3M7hLDJct5IRxqyqkRpnBV1YvYd0T81CzAp1M5WrE3Ma4NcNJyiVmZNFu/0cpPzYRm57YVIvjoBZXWfq64C3602EF4cfCVc2zAmjm2W32KEZgHIuGEt6vb+WLyW7ag5PJJzbvQsf0UuW5IDrtApGUaAjAHYRFGblZOnVEgDA8f0BLXAFbPHLJMVTfeKyevUjs+zlomI0wQRKDrf4E22JgwdQh7NwLGk3EaPk6uJTylL0IdwnXdP0mL+joIQX2tmRQ2i+2asOMR1N4HJcrnA0uuSuSlmsfubYd8NPo371Mz4QWiDsg89mS2/vHaK07lMiPb9NDTYafDf2Evr5qpTjqXd1RrRn9WRgCdirgwyIEX9zKoD7jEn+1New1ZO3/yd+Y49XKD0hft3U0N3qJM/8K5zreCist2UEjZXFy1Nbl6shz6yRddxgo90vLBrH0q1iLleT//txTJ65MSSkkEwohZkeYbI6/U7XwwWGRRBhpCRU669rc1eVVqupU69MBkQowYRdFkA2gwhHaHv0VKVfzjHgCLiGJ920QgCV1SiKIH3xeLZQ9nPzvWTLVjMxP0eJ0gjEE5xitYwP8dLXBpZjxEBBdWRJu/yva6f9RadjQjus0bUHzhXlOGW3PBPf9XgIcBzQDVk2biTmeb0jp7ZeUnqJZN4vPombEyP8jOdSbwXd95BofLouPFOgvxrboJo0XHRPsl3xK4S+N3AYSgTLAvBzdjrADqqsMDQMYDxvsbdwJQYXOaAtdyzBnZyZR4iIjUz1PSXFkr/dbj07SnkBog9AWP1bX3MxbRAnK8OG184dvXHRhyrOnx5IYXlaLn7Wl+f5R+2rhO+zdkM+4OihbYnWM5uRc7Ll08XAeXQqonmpkJdZLgIxzG3v0FMtdJ20u3s5e+HnehY10C+p/DIUkZ5EK6BYvbN3WeY9Wx073FkOmXESfNJV5iDO/IvaQyFkQLlOclAcglkjrtjMb4YTzV7N+E+lEBeKOMVlnYXqJJ8K/r5ZxQcUebRJYtdPQgZHQwTf7Qh7GVCiCxG7f2AQRVQH2Hj1CAuZ+tUviZFMJ3b+UZyQ2uUB8Jcv+oBzwkfhZ2JvWVyii4vsuIrzsSnCR2hFv6QHIkgT16XZ0WhNIgMOtdCb5iH2EGr4q75chyak2qJ9M6O8V0N0Hi9oAyNI2vJ0rwsRRSeHMNt57ULqvM34qaC7KA4FMswu2Vj4ZFIhjqkKEyHDwlMs7TdMmKZTyjO4gizsnWubFci/BhV9vJCKteCM4rnyQdR4N38Yq6aZT7l6FRVcAJ4yOW4x63s/DuPAz2qeA2wJ3WyUd+A513Er1ilJDR/19eZf1VxiuTXiEwVHTT0CHJVu04k0RFAYSLf+xsQRdWUhffNTsbz1vxoyhm/TbdmQPnhsEtBqh8T4G52Y6oKMQHMFailjII3o8GaMmWBVT1a3peYxTe5EG18tfUuyjEHMlrSfUGN26MrA/xXXL1SHDyeR/XEdo2LEY1tuO3+f6nVFUKW+hX4fLL6x+zO3hHSdV/uDXuRNAKGSVU08AwzuZDZn42DanHSvyd+rX9QRgqVdD9ifiQxmBl5TniXjN97QMowQya+hEOX6e6EFr4BultheaMYJBgzPC4YxG6MXqitntFqflvFvMzYOuFOnVXBVPW6vwoNqrLyCpwloxEysiReASm18lx0szDohgTNx83XyNhU210eu2IonoKjoD9Qb4c2GeK5azoXNs6SH0hkwXgRjtOfzIneGLv4iac4/hiuCvhBSVMn0T0jbnlDC+ZecmFCGI0ThWBPTqf2B7xewb0KSoXXiDyQfHx71O622jLiU16ICPlHLZlXBLifzctwmpqCG/qkbculXVhy6obS8rt1T4kbE15mwpX3fBwzrdG8RZCaQuGKkF4VVUv/j9XT4BT/Cn9uMWTe0Bd0o5KpsMdAFmjk81EU1RheZbedQmJZ+WuySuh0cWP2qAnbN20UG7xNNESpolmseWAdjLwarUjOgjD0iCLMDx8PVQgTrCH+Qt6e3fgHek1Fmrf281DUC0o5Aj9Uv/FRIKr/CpDPfPzqqo9ZHS1bspirJkgVAKDlbMfJuieW9b6JU969isupNeEBEDlnlZpaB56nFFaYzYBvhyRKJJQD6zFao+uHWhiBHcGiQhoxcR+unRGuP4vheUc3OAYxStuEP5B4CIQHeMvBaIbcEufOW94+EpA+C0bahpB5ZYb6aEo8LHGTJdvYr9MxFwZOJ636pHUSnyXyYKVHTycQGvgThc4RNdoLB7QubFjdNGaILxXnrKFbRwJyvH/W7jQ4lKg5HLDYHlTJI7Oc1Sy4/p3d9x/8uM8MxOvot/h8k6i+XqAOa/bS71QT/jKTbykYM46AbwF1p5MSvOM1xG2pVrhXprspljzPFqA/ImWh0bs5G63wyECrT3vKSo5ykAiTYDx24MVm1oLlhLm2xHrD2xSlcaYX1FFyb6okj9LZpmH+2ObPGky/ZxzXfpa+kVFT0QPmnF/zOy6UJxMxeFmp84sDEuOAroHNLar8TCb1xvWZwWrXRB/q7I9GblNd9/L7Nj738zzW2IT72AlcGnt9mrNYkalCzpvarDezC7I+jC0pN54wQY62lHDpLr80jhYNUO2jgA96WhQNJo2gDz7Gy02is3CSNLoZsKOoD270VzpYnwvLXUUAYxS42ePPaFo02j2iFqUp480+rIb9Vclev2/dfbK90yqN5zi1hRvtZipeJ4PpOR97vq2fPiP0Gf+xEZD45qIi3OgmpGdc9A9CN6RQQdamtLGHjXwScIWGg5gpNPSKtaibG/77Igh3fx/OLVqlykTJU7iUTNwFj/6a82cDfii8LTo2Huo06qYXc/xIX8RcxNWlGlX+QWTJcBdhBcHTHyLRq0ygMiFTt8rbydzftRGf5q8VeNsazPNsGS9asfQPFGi43EnbDoCaxnVn7LQxvT5fhLxJznh95FQ7gWM4NrNaqPwzlKnJ9+MFIMeJB/F2ag7hKvGinwyerDiZ1/tpf/+7k8MGwVnZM8BKUBoMWZT9SqhZOh1QoU8+GcIcGJqZpPZtnwUbHDAWFxEqiTG+XFXiZtYec5V3m8+ipymtt+2R6EPid4PEI55m2Un77lCFqvzTbc8u2lRcm11O7uUzA4IH30WJ8dEcVQCUPI2mzkNftO1Ai0UV3h7SZy82dSufgEKBnwh39ekImYoPc0mYEdnedPXjVgWjaK2fktncvSJdLocxjfTKCkIc85AG4si0R9XKWg3FVkMzTC/UInGP9GqYgTEFltpAnTKT+On1qj0o/XOY/bgr2e8Ox7Sr3maZ+y9ht8QVLW5J/grhIE+iOlK9mgIMJcSYmEpVlwQIQfuZr4c3XB13FOTmjU0PwIlypS0p1XEWBjshR14rxBvRA/MfG9w8eY2YGy3Zx8KbHzGHEYqCp3sS9aVeLKySAAQnoJk/kUw72uagCWg3LDZLaMYKzPAJWOiC67ib7wy1fNPhWAVKq2loOCt8g0IKsMBGgbm5+uAm82BYoKC3/6UYM3PVh2+7VfybsDpg71vCCwFMpzZuLkyE66+LAZr8nNrjcDQ0nE5bzUQrbtRFuZXP72cPCHowMCohcxt7j/tTKveoZZ/FC05VBw4RFluibqwf5/kG6b1UUTt2YXitI5sytpM69yq0Uc4sO8C05+hmcPqodkvZY95N5/h1H2MzNtLgovoibsIV2o6b25fguviecnypXwGR8DM+lYnVhaq6h5cf20J6lIFnusdihHoBgYU92vHdtIVVwlX3xX5CvV8E7xQYwElfLvmik4r8IqwrfKpsQ0ZdJMLWD7ee+phD5dnxCeaclfegZUaxMSOL2Q9RUBEFd/x/JJcu9Q0Rg8WC+23EVO6u1dda2BEi7GrsCeWYY8oJ9s1pUX5rNl42og7vxmL1GQKm9TDmki/I5fXQVz6rRoeDwH0mi/htEPLuBj90t2qzLXf1g6haYq+QLyMZSDoAnVonkB+X5VacvvxuHbtahv/JSir6VySeoMqA4nkRLcp4RpaQbaXBJIWvfp3ZcjIVM2xqaH5QONURd4CfaGw4xuzAsDgqmHjYkmlbcevDzwXw+57RpZim0FMTIZbBsSAlWfbjs7WG/Bx5FTxbXYrnLrD4stSYFCwkEzjJ3LQqWJmg8efDVIGBC0jyPVVkB/UQm5rhnCMcgm9iEekmRNwa3NciwfsKm3CbU4n1KPQWELa9O7Z1qcX5vmvuR/kfZtS3FZ34c9asZaWbL5cbsjPnTow0nDcFuAgyjzp7iYJb6oPl35Xtxgzq9AWFy2jHdIdm3xJdmXCD3JaVmvCuApZpvn6/zyfaeyJqstuoVSG9GHJJ6uzy3gdejhtAQBdbuODZiHmRHF7lMs5R9tHQyAj2ohyi5WdFbLwX4q0/aiooSc+UdgPYLEv5plN6f+NIj8bVHmNc81wpFS81o5U6OXPsYFyTKm1YfzrUIGmt67ykiN+HXn6yH+hwMEquDClPosXr7Xpt4eKqTaeVHgxMqVrynN0efewRYvYy+DXwAbZ/GUxtPvHvG3pZtBTnMhdyffUFTHfwj5jbSsvixJthDlzYM7xCXJET0p2jCB8iaEI+ez21sekx2+ALbcYMYQlmNsMRmt/5sm3nuh2jM6heObEuNcfevB1hpylZ8QTQq6SIrjqDgRVYKCkaHfmR7R9DCvE4P6h6IBjGWTUW7FUPWXiZckwWY9aOPfLzeefmYmwXlC8mdmwz/P/8oNA43l793Ix7lxh9Y9ceaJi3GE3e1NH3jextm0v/8USxXLfwvuPIF2wgl5cMEmqVSix4yY1Xbfr0ALdMx1HldBjM6DPKLMT8T0eHeOs7guYECcTIKQY88esty2zECD1xLjOqEeIHW9NTPreO1xAe3iWe3Bt3Qm3tXAv8G1VGvsBpR9Io5VzrQIuZVAvbQr2+XErR/fb/DllKDbuZCxyuW99Pw9AXZjXGU3HvUOh6gLpi0mZ665QF53YiAja/FYdlEqLCZ1/2Dy/iXT7RHLU2zPuwyNDXcjBr/V/jTaTk5W390Lh3MSKqxcdpOQy4n5YusvFccyREJnCBDK+vTHwtFYYmR94rw6kHIqP9bqspZ8FBhxUcmxhjy/CvTuhUChRhvOkORLC18SnaIGUiFltpFBRjqYRkNks3QfQBnM3NAUcc78FVPDG69NoRS32uxwNk9LNUQiyCUHL6iotVGWPT1MysAJlonEBTP2gYKwY7veMfC4V3z7RdZVZ+074ijD9x7R7ba25vHMCI15cyhC96mYn+0YfYKuSPlHc4/n08i5CdbtT/wTr9KFbwGvLs+PsgXdE6fIAhHrYWGfUTzundCU4nJWLPIak6VXnny2/rIAsfI1C8bz/2wUP6hCjf9bjcf1kHTe34A0QBEoct8Km1+wH7yt1PPr9+mhGqXR7Q4gQru/e7qCX1IIJ+m6puvBrNLIHaoM6KEeqg4wizPy4LK/BkfgT8WsmROTeddk2vbruYJZN+taNZcNsM2UDVNKqNYIol3I3pwVq2TZQ6oodA+QPN4PiMsCJ0oaNSXsJTaF5lttnof/0/d9ZxWHUkJLEcR5rU/jhib1wbHCTk11GvFY5oev0S5VKbwBh15sASyzr0qkarp/21sIaHnDf1otSbPa8sOofpPtZ24NhyTOl6trSrb8udpK1GeGXFmlWo8PESRR7GsbVLaHZM6KYABWvPYkJTU1PZOuH8ZCw3Df9JzWRObIhzbIFto+7O2zmOoeHKN+t3cKg9OOkRHSZcmn7yxx6Ap+qalur7Zqgj37qUM8WS29vf7yr5+QFPRFkYKwCxdXGLscLxNMfoaoKKEswfZph0CidS5KOOtVWRBsMYx41X0Q9HWYddNhFG+ZKHfJQi7YVyVhOEIghLTPLSYDAd1me6TUbQtY1Ri+88BkygkB+q1EgmqaBbYJUSkUt1NxxPpsxDp4A4Hoh3YfmyaKtb8/6xglBtbEc+qOhc6fl3c4U64KWHtaFYNnSKQzWgaksuiHlkxgMUHHuJ5o4a8xxUbhpCgWyATs0gTZ1Ok6L2o6R4CLTM1LMXMgKg/rJhJ4KUIhegJrYWgOJRSE/iInt8IYdLAnMyzZDiZkIPMuFaPNaI5lz/pfFRgbBBqEn9JeeVotwIBJEvQVcmXbpIN5EYYRhQ3kj81yhUvxEvQqZvZ8oaiIf5kl1+AVHKeObrJtXn+bwE5ab3lUrL3AP56+XFyKj0VGU3PVeLSkjjKM+6awJbya9i8C5YcgVbu+i4BagyybXHL40q9yCj1sOb4ehq5WDeJiGIhPOL1wMqoEF3DL62/uN9PIgDMXwKc28pNNFZb3irXOBGJ6rUKeu30Byo6349ldBPsTt/mVa4jLsbA1LGHuzj5uE0HCxL9wwtlRsoXfNGtj2dJKzt7OWPyGmVCNBLx7z2mDfJyjEyoZPXpn2VRBIVe3qGf/7yBMZL2Wu/Qy2HN7OriVxvqHglaxXAOsQSkWOBV0tE04v/13wMbv4k2g5f+g2E4C5BPveYqZ+4atu9Z5DiaCZMlbID7iRHDoRD3JDGVASUbBWXuW34iWGko3AUQ2ZM6hgKeo2uNLrB8Vbf1pXzCmph3M29k2rtycqnqqxdcTgu7ScDgfAUmq/NNHTC9fHJ6cPQkACD09q+ghpde7ltcno0WmKkiotroeYCwc8JWze+p8rf/Iv4s7O4wEUmN5L7rm+mqCxBcYGRNNdr1zT1xPb6DuD7zIm+n2ADynTbKlFd5gbhIl72VXfqQOZhoBLgPK+z2Z4DTtVQ0e/M25uOOVSCbPg8UtvQFA3Fwbq4muD5CYZB4Pu02GSIKToK9f7xjqwWodWEjqFlY3P1ETGnxtCA7/AUyILnaNJsyAny7wLV520oK4+BbPZz1jx1wXyVr4MMbP4oyoXQP13RKD6kWdXrnvr5hqOoOHPCzOV9dK5b2bJ4/wvVLmI2SqxWoCUjJYbh40insGzCnjBFy9Csq7pu4CSDYVgCxEHwO3vYwRqaotA78BFqJK+8i6GbID9ewhiPvnXyrj8/tsb4IjfPyGb6XaJLt5FcLKEK6816dK7ppVpuOZhx5NXTl7s6LADYr14dHsLDN9Nh9RIbSuwwicz3oUDFE328i62VryEOk1i/QPMk2llFI9YHBUIrpD8uwYUxibzSRzxmo+GM2EejA2bWwIA1kUvQ8ozqN3ZejBepJdwuNZ3dqSkBv3i/knNnyoshxDhQKArsZD2dYrpjoVl/QZmxHVlUrtwLZ8RYF8PqiOLoshVhi3kNbsD4KuZtOyBShjFHj2dHyKRRFzrRVlb9swi8WzkYRS4CIsiSG/pWECuFsiCYcfqK0ly1L0hFx0Auel5CtTZafeA4WjSCrp1KYHdpfVYvRsJ9XU8ua65EhZ5VAOiN6PM2OwdSUXUhrMCBe46Nvg1aiQtK0VB8rg2nIW9ij0If1L6BXvTCeLop/Jo8K8+CgJ3fhFN/VX81jWTk1df9AkVwzZN5sotrOBXKcTw9CDA+TthcOGY8044gwigVY/Fx6AdDT7g4FYkkjfWDy5r768HMdxV/vHuUjllpeQDcvzvEqv6I/CANPxQPgLTYFs/qKIzA4+CJCfD16VqoDIFC/eyoPTj9BOauZrgmpS1K6nAg109Wu0O7pzJ7gOdLU359dLMs+RbWJjn0vtswfR7yPzN1CpxmCtwtEuhwn7QSywXqriOPlr5HdbNoAw8DSe2LsgIByLwDbibVt73LCzOgdUOdVdpMUjUa2m/gE/aEgM1dTWhFryYHM/55ffdhjTt4WubU8Z3F6cGSX4H5BIeYPt62yeCOoifPSiUsQgmYYi9MazIDjktoyKMkVx8yHk7u0mlPNivU1fvDr0J7KcqE8LeRy56gckZA7KVplTWzxJuPqys1nchiScY1DP+KKIUuOLdKyEiV5Z3enjfZrHkUioYMqxr464COFsZLawcT6RwD6Lx1tjh/OFH1sqz1k8h12R1y6FLQq7K8c+bfE4lJadu82LDecbN6DJdbnLsOyLuCcZO717W+ZCGzS1tdrcnWF/JkNo5H7BYCj4YFiUg88EzTFJqwwh7PKbKhjk+9KAXIaM0wEASi6mWCaTnhlnAyJvl7CeXjvafP2TD+6dqbdkDm1/pM03Gw9TegXayascg3584Hgphwx42lBYgmlxQI1h8jmHfB+iCjegDh5y2yLWSbhf9iVZaT3exhZ6vtdvq9aQVsDbVVW7WLLhf00qHsgcaib4CSG+Q9IuxZjJNKeV1KXWGuMtiQryf06xvJ+4zWm3tIWbcdC+VXpjBXhX+NdmTqySW4vlxNmfFSIxru5n/EM4KqFNhR/mv2g5MCPrqCDRvk4bBCzR79G5ATs+4Vejxqsd6MIOlrLpWRPfwfOroL/iOrPrC5CsnC12eDrzoF/YgdzXfhtzjlMO9rrl0M3ZXvAVCFsGFog7ygNtCwAB5pOOkCI02odQ6AAPJFOm9JM0LH0r7N5mzmwPGP/g8D61bS6c/yDOoUUYtIRvaBoWWFwRmJcX6yUJOu/J6A002WfB4BB9RiWRmON0ZT3m5er8EEKX3eatp6QAIC9hfv4V1wCVu5Brpx0Pkso1JZKxOvUCX+VOjzgHnsf6NWTtzAFtkzzNlRnkEzhyH+IP4PC96KUoOEp76YrWg9TxKExcm2kNZ53crzUMBfevCb4w/NKGI0dfburwixfkrZpwE+0k9KEwJaeVg1RvchBJK+Z6nlSHPCw7c5+cAzqwuc7nQtauq4FdXqqzFwoTxPoZYu1OfZyHzomdlVWDD1opLNCJ3lZdFJjwYlLyZAQ59c0+u2174Pwg+crJYs3lsbaV4/LMO4Xg6ykl2kclJHr+nxYNUo0zuZ1kTqApIF/nRFoSUDACqp6GZ/HbVsbTOeOJC/eHScl201Xvc5gT+tFL6laupavbsIv7aTQvGaF0gCyJvCxmVtUDeM5ByTqqacdgykzLaMp6h7R2JmzVN5j1fJfmpPOv+fJCDO0xJxH9VnPMs/euYUSbbyN38kpObhCFVB+ucYgLgqCausS7/eJBGepG5U1IIxE+vo3sdGjkzsk8/WxPeKta2B8uh49pgxGqoQQMONXlanvDdzdnNCO8AJOZlEXl13msY9Uc3wc7kh7EX3bvjvKA41eyXHmvcy6lEsPUM4yVyl24DsE4MIzNFmIukg8rw1UnIwCR5aFVAG+sCT0mxuFrrojMb2FlSI5J5YNJLamkVVJHBWo831FM3xoEND6Uxil01Vd6eZ1YGSRxAZ2XNeUgNcNUJGZxjdf/lZZUYEmpE/oRCnuDoTa9caLmjJrTBxGoISCHXr9OlMkqwa8Fi+s2YIz4LzXUiYJ7eI+YOtyGxaroOAKbAq0TB8aNJnktZVUxPFGEVNVE6BrEXbFiFC9fF87vcT0ON4qbCMi6Aq7eujWeOFCtQlHqAmbAAmIRhB3cor+s8nRA7WxOH/wc0lVWIOaIY1b9fBTC/u8P3zXl5oe5CjW5XN1PEA5P4KM0qAyLUwMaLcL9AHCt0vn8mO2RCfv3NhXKizpiM8kjLmd/6scuqXZfKzGq3TDENmI7YURGOiEnsaphw8zSEcO/goCYmNdLNZ3/UaglzwVBnnICM+rznmi/x3ffjELfUuB34g9VTUCG+45mspp/jlbQYJd7QEiyt3BA4g34cyrbwYOpO0sz6E6t2NS5b806+ykRMTfhd2eJ64eOSdfgYPCXPy9WMvAWqvOF3gKcMcQp5VZXgmWaUSUc3qHV/QPqK79R1VtuWO9lGcaVHkk2oMVXOhMEowvl/yd9LgO6WCc+IGyjxl5uf0DE2iIVmgUn/9IrlyldEXVNwBVTpr3Z74w+09v/L7/5LsfEkFoHzrYEP7mKxDeXOaVBmDeug3PcG0RAopdgeVT3njw7Wzld3KMdDSarCPPf6r51gh9hMjNO2TX1QTjhz40oT81IjCFRZfy3MTvZiZwIF9jkhb8EAxGVslFRPADU8SExnrdOdHLfl21WoJimrnyT/TySE6jyO59uykgCoTKSYL+Djr3yXadMPnouL7zzzDsRdoZmBemhsRKkItatwsDVJC8eP9E2GVnM1f1oaAXKMnn0XzciBpFf8i+tKRWYC96JlHg1jtVOTye/52lU97C4ni4dWGBGNhgA8ARG2cITaMMJ4NMII8EgBXZLunsJtPu6Hx5ihUYnhTu2IhX/vQMBsBHNRXdFauQtWbKk0qOq1Mo+kFm/E7ELpkszH8t7xS6YSVutLeeCDxtHFYgFHqU8fknwCKa2ZuGNuJIrHLSBN7fzc0tzPWW7ilDI/iS40pMXbPsf0uj3Z59WryeWNfa5mIZF1lmDwCzZdK58B01hhSdzq/OyNAKTT294ZRNKDLuAftO8tCES0lx5HJ5jczXkzkc+uA/D9SHLKG+Md0XxKO4UKrLqRqh42XBy3QE6IxuLGFzpo5vDI2LXnjwz9tfb7J7n8cpt+r3mugNYznd402aHp+XYrtqvTYlI20ved0fg9VuVbOyedlu/WeL68q3/G/qfTVB8tHNIPR8GSovP1wQFOcxwuryhsUzQFHmqoMRT1x5IuXtYVVjWHzjQbjt2Qj51UKATzwpTv+7uLcXgtBUsE4I8IvJtwPovtpkZvHRxOwjAAatMRbqzsTt07uhG5mn34+Ul7NMOefsxpmFaKT7VlZSmjRDSq5mSnUV34OkXEbN4C9NVjjrN6rpgndOnL8jn/TGQvdX51PGywdSCINkngghxkVxmZj6MWB0CZiAUf3POsYJar9i9cfOkpc5XqLe+Pm9kA5rtazOUep69mQuntaFvex+NXPa8tTyAp3+TXPnhCguZmHGRLft8syasvhzOePcIMwuM6HXZxFoyyJJAsBccPE44abFR0nUNrRGPFlNiWCJ3m8KauhIDNEihHP1m2xZYiga6980i8o66lRSjdFEe695+TUQaRbyYrqXG9OazZraKTrjRPsiOpnrkP0NyVD5gUCXuET/5nKNh5FZ6MzKMXO9wVTZaDmD2vYXRYLdQVcpBa7FTcWwU2opbSRI5m1jUp2MlVqqK29gVUKmFGASR1RUiCiA7huOHXMMbV0pGLk5c3TvuA=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False"/>
  <p:tag name="BTFPLAYOUTANCHORETOP" val="True"/>
  <p:tag name="BTFPLAYOUTANCHOREBOTTOM" val="False"/>
  <p:tag name="BTFPLAYOUTENABLED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False"/>
  <p:tag name="BTFPLAYOUTANCHORETOP" val="True"/>
  <p:tag name="BTFPLAYOUTANCHOREBOTTOM" val="False"/>
  <p:tag name="BTFPLAYOUTENABLED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False"/>
  <p:tag name="BTFPLAYOUTANCHORETOP" val="True"/>
  <p:tag name="BTFPLAYOUTANCHOREBOTTOM" val="False"/>
  <p:tag name="BTFPLAYOUTENABLED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False"/>
  <p:tag name="BTFPLAYOUTANCHORETOP" val="True"/>
  <p:tag name="BTFPLAYOUTANCHOREBOTTOM" val="False"/>
  <p:tag name="BTFPLAYOUTENABLED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False"/>
  <p:tag name="BTFPLAYOUTANCHORETOP" val="True"/>
  <p:tag name="BTFPLAYOUTANCHOREBOTTOM" val="False"/>
  <p:tag name="BTFPLAYOUTENABLED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heme/theme1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56CF97D2-A744-43CA-AE15-0214FF29DAC4}" vid="{A64E784E-EE2A-4031-BBD4-3B52B2D870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E28C1D2031CE49B65EB9398B6665A4" ma:contentTypeVersion="16" ma:contentTypeDescription="Ein neues Dokument erstellen." ma:contentTypeScope="" ma:versionID="915be8ddf9203496dff81045837c2095">
  <xsd:schema xmlns:xsd="http://www.w3.org/2001/XMLSchema" xmlns:xs="http://www.w3.org/2001/XMLSchema" xmlns:p="http://schemas.microsoft.com/office/2006/metadata/properties" xmlns:ns2="024ef72b-9a44-443b-86c7-2b9b89248177" xmlns:ns3="df6b8441-aa16-4692-b757-547843ef6d58" xmlns:ns4="0e427f73-0d6a-4740-aee4-eea3ddf9cfe2" targetNamespace="http://schemas.microsoft.com/office/2006/metadata/properties" ma:root="true" ma:fieldsID="93e82e7d94d6100c07791c5c9fddab0b" ns2:_="" ns3:_="" ns4:_="">
    <xsd:import namespace="024ef72b-9a44-443b-86c7-2b9b89248177"/>
    <xsd:import namespace="df6b8441-aa16-4692-b757-547843ef6d58"/>
    <xsd:import namespace="0e427f73-0d6a-4740-aee4-eea3ddf9cfe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4ef72b-9a44-443b-86c7-2b9b892481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4b166abb-7d38-406f-9233-2f33b10aef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6b8441-aa16-4692-b757-547843ef6d58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427f73-0d6a-4740-aee4-eea3ddf9cfe2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a85ec8ad-9b94-48bf-98e4-b3da507f3f23}" ma:internalName="TaxCatchAll" ma:showField="CatchAllData" ma:web="df6b8441-aa16-4692-b757-547843ef6d5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38E3FDD-F0A4-4844-9D40-FD90550EE825}">
  <ds:schemaRefs>
    <ds:schemaRef ds:uri="024ef72b-9a44-443b-86c7-2b9b89248177"/>
    <ds:schemaRef ds:uri="0e427f73-0d6a-4740-aee4-eea3ddf9cfe2"/>
    <ds:schemaRef ds:uri="df6b8441-aa16-4692-b757-547843ef6d5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AD835C2C-3CD2-40BE-BE8B-84BB9926EAC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ain Core On Screen Show (16_9)</Template>
  <TotalTime>0</TotalTime>
  <Words>3014</Words>
  <Application>Microsoft Office PowerPoint</Application>
  <PresentationFormat>Widescreen</PresentationFormat>
  <Paragraphs>1047</Paragraphs>
  <Slides>15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0" baseType="lpstr">
      <vt:lpstr>Arial</vt:lpstr>
      <vt:lpstr>Calibri</vt:lpstr>
      <vt:lpstr>Segoe UI</vt:lpstr>
      <vt:lpstr>Bain Core</vt:lpstr>
      <vt:lpstr>think-cell Slide</vt:lpstr>
      <vt:lpstr>Alpha Paving TX is the leading brand of Pave America but facing tough competition from Rose Paving; opportunity in improving search marketing for all Pave Am. brands</vt:lpstr>
      <vt:lpstr>Unique Visits: Alpha Paving TX leads on scale with a strong YoY growth; closest non-Pave America competitor is Rose Paving</vt:lpstr>
      <vt:lpstr>Traffic sources evolution: All the brands seeing a decline in paid-media-generated traffic hinting at reduced paid media investments industry-wide</vt:lpstr>
      <vt:lpstr>Traffic channels: Similar mix across industry; Direct and Organic search driving more than 80% of the traffic; Social responsible for 5-10%</vt:lpstr>
      <vt:lpstr>Visitor engagement: Pave America brands can enhance user engagement through faster load times, intuitive design, and compelling content strategy</vt:lpstr>
      <vt:lpstr>Cross-Purchase: Certain Pave America sub-brands have high overlap within each other but limited overlap with competitors; Alpha Paving attracts high %age of visitors from sub-brands</vt:lpstr>
      <vt:lpstr>Demographics: Vigour sees strong engagement from 25–34-year-olds and a balanced gender split; opportunity to strengthen appeal among Gen-Z audiences</vt:lpstr>
      <vt:lpstr>SEO: Most Pave America brands have potential to improve organic visits and CTR</vt:lpstr>
      <vt:lpstr>SEO: Pave America brands have opportunity to focus on unbranded terms to unlock the next set of potential customers</vt:lpstr>
      <vt:lpstr>Search ranking: Scope for Pave America brands to enhance website content to attract more users and drive conversions</vt:lpstr>
      <vt:lpstr>SEM: Rose Paving invests heavily in paid search advertising; Only US Pavement currently investing in paid search amongst Pave America brands</vt:lpstr>
      <vt:lpstr>SEM: Scope for US pavement to invest in a well-optimized mix of keywords, keeping CPCs in check</vt:lpstr>
      <vt:lpstr>Paid search: Opportunity for Pave America brands to bid on high-volume, low-cost keywords where they lack strong organic rankings</vt:lpstr>
      <vt:lpstr>Paid search spend &amp; CPC: Only US Pavement is actively spending on paid search over LTM; Opportunity for others Pave America brands to start investing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tewart, Sierra</dc:creator>
  <cp:lastModifiedBy>Kukreti, Anshul</cp:lastModifiedBy>
  <cp:revision>1</cp:revision>
  <cp:lastPrinted>2017-02-15T14:23:56Z</cp:lastPrinted>
  <dcterms:created xsi:type="dcterms:W3CDTF">2024-09-04T23:53:23Z</dcterms:created>
  <dcterms:modified xsi:type="dcterms:W3CDTF">2025-05-13T08:14:34Z</dcterms:modified>
</cp:coreProperties>
</file>